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tmp"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2" r:id="rId2"/>
    <p:sldMasterId id="2147483717" r:id="rId3"/>
  </p:sldMasterIdLst>
  <p:notesMasterIdLst>
    <p:notesMasterId r:id="rId27"/>
  </p:notesMasterIdLst>
  <p:sldIdLst>
    <p:sldId id="257" r:id="rId4"/>
    <p:sldId id="258" r:id="rId5"/>
    <p:sldId id="259" r:id="rId6"/>
    <p:sldId id="260" r:id="rId7"/>
    <p:sldId id="299" r:id="rId8"/>
    <p:sldId id="300" r:id="rId9"/>
    <p:sldId id="301" r:id="rId10"/>
    <p:sldId id="337" r:id="rId11"/>
    <p:sldId id="334" r:id="rId12"/>
    <p:sldId id="303" r:id="rId13"/>
    <p:sldId id="360" r:id="rId14"/>
    <p:sldId id="375" r:id="rId15"/>
    <p:sldId id="354" r:id="rId16"/>
    <p:sldId id="306" r:id="rId17"/>
    <p:sldId id="327" r:id="rId18"/>
    <p:sldId id="342" r:id="rId19"/>
    <p:sldId id="378" r:id="rId20"/>
    <p:sldId id="261" r:id="rId21"/>
    <p:sldId id="265" r:id="rId22"/>
    <p:sldId id="263" r:id="rId23"/>
    <p:sldId id="379" r:id="rId24"/>
    <p:sldId id="264" r:id="rId25"/>
    <p:sldId id="262"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50560" autoAdjust="0"/>
  </p:normalViewPr>
  <p:slideViewPr>
    <p:cSldViewPr snapToGrid="0">
      <p:cViewPr varScale="1">
        <p:scale>
          <a:sx n="40" d="100"/>
          <a:sy n="40" d="100"/>
        </p:scale>
        <p:origin x="1650" y="15"/>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notesMaster" Target="notesMasters/notesMaster1.xml"/><Relationship Id="rId30"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847CB80-C968-40A8-A10F-D0F89977239B}"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BBBF5888-706E-47E6-B536-443F7AEB2680}">
      <dgm:prSet phldrT="[Text]"/>
      <dgm:spPr/>
      <dgm:t>
        <a:bodyPr/>
        <a:lstStyle/>
        <a:p>
          <a:r>
            <a:rPr lang="en-US"/>
            <a:t>Guest OS Version</a:t>
          </a:r>
        </a:p>
      </dgm:t>
    </dgm:pt>
    <dgm:pt modelId="{83D860A0-1836-493E-A077-4C3361C3B955}" type="parTrans" cxnId="{92CD739B-2B6A-4C35-A8B0-D10AACFA2DB0}">
      <dgm:prSet/>
      <dgm:spPr/>
      <dgm:t>
        <a:bodyPr/>
        <a:lstStyle/>
        <a:p>
          <a:endParaRPr lang="en-US"/>
        </a:p>
      </dgm:t>
    </dgm:pt>
    <dgm:pt modelId="{1048ED3B-4F87-4546-8059-BEE8F77F0C4E}" type="sibTrans" cxnId="{92CD739B-2B6A-4C35-A8B0-D10AACFA2DB0}">
      <dgm:prSet/>
      <dgm:spPr/>
      <dgm:t>
        <a:bodyPr/>
        <a:lstStyle/>
        <a:p>
          <a:endParaRPr lang="en-US"/>
        </a:p>
      </dgm:t>
    </dgm:pt>
    <dgm:pt modelId="{57D17DB3-DD0F-411D-8B9C-31E2520EAE54}">
      <dgm:prSet/>
      <dgm:spPr/>
      <dgm:t>
        <a:bodyPr/>
        <a:lstStyle/>
        <a:p>
          <a:r>
            <a:rPr lang="en-US"/>
            <a:t>General Disk Requirements</a:t>
          </a:r>
        </a:p>
      </dgm:t>
    </dgm:pt>
    <dgm:pt modelId="{6D23E370-6D83-4940-8E45-2E418A736B7A}" type="parTrans" cxnId="{308FC9FA-91ED-4E95-8545-B37DB573CAD6}">
      <dgm:prSet/>
      <dgm:spPr/>
      <dgm:t>
        <a:bodyPr/>
        <a:lstStyle/>
        <a:p>
          <a:endParaRPr lang="en-US"/>
        </a:p>
      </dgm:t>
    </dgm:pt>
    <dgm:pt modelId="{458C73AB-76B9-4EE1-BF43-FBA9CA129A2E}" type="sibTrans" cxnId="{308FC9FA-91ED-4E95-8545-B37DB573CAD6}">
      <dgm:prSet/>
      <dgm:spPr/>
      <dgm:t>
        <a:bodyPr/>
        <a:lstStyle/>
        <a:p>
          <a:endParaRPr lang="en-US"/>
        </a:p>
      </dgm:t>
    </dgm:pt>
    <dgm:pt modelId="{B336F493-58EC-4672-86AB-AE2807B46E54}">
      <dgm:prSet/>
      <dgm:spPr/>
      <dgm:t>
        <a:bodyPr/>
        <a:lstStyle/>
        <a:p>
          <a:r>
            <a:rPr lang="en-US"/>
            <a:t>Windows OS Requirements</a:t>
          </a:r>
        </a:p>
      </dgm:t>
    </dgm:pt>
    <dgm:pt modelId="{1B2EDFA9-AC73-4006-A207-FF428E9460BA}" type="parTrans" cxnId="{4AA65BF4-9FC5-419A-930E-84D1C3A8921B}">
      <dgm:prSet/>
      <dgm:spPr/>
      <dgm:t>
        <a:bodyPr/>
        <a:lstStyle/>
        <a:p>
          <a:endParaRPr lang="en-US"/>
        </a:p>
      </dgm:t>
    </dgm:pt>
    <dgm:pt modelId="{ADA7D787-553C-455D-94DD-41B8E3792BD5}" type="sibTrans" cxnId="{4AA65BF4-9FC5-419A-930E-84D1C3A8921B}">
      <dgm:prSet/>
      <dgm:spPr/>
      <dgm:t>
        <a:bodyPr/>
        <a:lstStyle/>
        <a:p>
          <a:endParaRPr lang="en-US"/>
        </a:p>
      </dgm:t>
    </dgm:pt>
    <dgm:pt modelId="{5760889F-007B-484F-ABC1-CE8FDDE934EA}">
      <dgm:prSet/>
      <dgm:spPr/>
      <dgm:t>
        <a:bodyPr/>
        <a:lstStyle/>
        <a:p>
          <a:r>
            <a:rPr lang="en-US"/>
            <a:t>Hypervisor Requriements</a:t>
          </a:r>
        </a:p>
      </dgm:t>
    </dgm:pt>
    <dgm:pt modelId="{A4079C91-0036-4E18-AFCA-2B3D9050E266}" type="parTrans" cxnId="{5A3A8A5C-A4E2-44B1-A822-D00F87EB3EA4}">
      <dgm:prSet/>
      <dgm:spPr/>
      <dgm:t>
        <a:bodyPr/>
        <a:lstStyle/>
        <a:p>
          <a:endParaRPr lang="en-US"/>
        </a:p>
      </dgm:t>
    </dgm:pt>
    <dgm:pt modelId="{A7DF2A6B-C505-4761-B5D8-DE3508C18401}" type="sibTrans" cxnId="{5A3A8A5C-A4E2-44B1-A822-D00F87EB3EA4}">
      <dgm:prSet/>
      <dgm:spPr/>
      <dgm:t>
        <a:bodyPr/>
        <a:lstStyle/>
        <a:p>
          <a:endParaRPr lang="en-US"/>
        </a:p>
      </dgm:t>
    </dgm:pt>
    <dgm:pt modelId="{2BC1BD97-03F6-461A-A3CB-81C77586FDF6}">
      <dgm:prSet/>
      <dgm:spPr/>
      <dgm:t>
        <a:bodyPr/>
        <a:lstStyle/>
        <a:p>
          <a:r>
            <a:rPr lang="en-US"/>
            <a:t>Disk Space Requirements</a:t>
          </a:r>
        </a:p>
      </dgm:t>
    </dgm:pt>
    <dgm:pt modelId="{CD1350E4-922D-418D-B33F-4314051209F7}" type="parTrans" cxnId="{48179636-6A6A-4BED-9A51-6E2BE593A2CB}">
      <dgm:prSet/>
      <dgm:spPr/>
      <dgm:t>
        <a:bodyPr/>
        <a:lstStyle/>
        <a:p>
          <a:endParaRPr lang="en-US"/>
        </a:p>
      </dgm:t>
    </dgm:pt>
    <dgm:pt modelId="{1223B4B4-3B31-4A92-8ECC-1DA8FD6E0E5D}" type="sibTrans" cxnId="{48179636-6A6A-4BED-9A51-6E2BE593A2CB}">
      <dgm:prSet/>
      <dgm:spPr/>
      <dgm:t>
        <a:bodyPr/>
        <a:lstStyle/>
        <a:p>
          <a:endParaRPr lang="en-US"/>
        </a:p>
      </dgm:t>
    </dgm:pt>
    <dgm:pt modelId="{25B370CB-3CAD-43BC-9868-90D0B3221F73}">
      <dgm:prSet/>
      <dgm:spPr/>
      <dgm:t>
        <a:bodyPr/>
        <a:lstStyle/>
        <a:p>
          <a:r>
            <a:rPr lang="en-US"/>
            <a:t>.NET Version Requirements</a:t>
          </a:r>
        </a:p>
      </dgm:t>
    </dgm:pt>
    <dgm:pt modelId="{B55413EB-DBF5-4B5C-B9F1-632F02D5714A}" type="parTrans" cxnId="{147A7DB3-FE66-48D7-8F42-6448ECFC3413}">
      <dgm:prSet/>
      <dgm:spPr/>
      <dgm:t>
        <a:bodyPr/>
        <a:lstStyle/>
        <a:p>
          <a:endParaRPr lang="en-US"/>
        </a:p>
      </dgm:t>
    </dgm:pt>
    <dgm:pt modelId="{B5395B32-2DE7-4590-9A96-4B7039AC8DCC}" type="sibTrans" cxnId="{147A7DB3-FE66-48D7-8F42-6448ECFC3413}">
      <dgm:prSet/>
      <dgm:spPr/>
      <dgm:t>
        <a:bodyPr/>
        <a:lstStyle/>
        <a:p>
          <a:endParaRPr lang="en-US"/>
        </a:p>
      </dgm:t>
    </dgm:pt>
    <dgm:pt modelId="{647865F7-87A3-4F21-B3D0-D0335DFA76DF}">
      <dgm:prSet/>
      <dgm:spPr/>
      <dgm:t>
        <a:bodyPr/>
        <a:lstStyle/>
        <a:p>
          <a:r>
            <a:rPr lang="en-US"/>
            <a:t>Machine Name Length Requirements</a:t>
          </a:r>
        </a:p>
      </dgm:t>
    </dgm:pt>
    <dgm:pt modelId="{17E5BAEF-6A41-432C-9EEA-BF0D68350FAB}" type="parTrans" cxnId="{4E12E623-3401-48AB-B083-3D3A57FD26DA}">
      <dgm:prSet/>
      <dgm:spPr/>
      <dgm:t>
        <a:bodyPr/>
        <a:lstStyle/>
        <a:p>
          <a:endParaRPr lang="en-US"/>
        </a:p>
      </dgm:t>
    </dgm:pt>
    <dgm:pt modelId="{D254B9B4-DAE9-4816-9711-57AC5DF9B6C6}" type="sibTrans" cxnId="{4E12E623-3401-48AB-B083-3D3A57FD26DA}">
      <dgm:prSet/>
      <dgm:spPr/>
      <dgm:t>
        <a:bodyPr/>
        <a:lstStyle/>
        <a:p>
          <a:endParaRPr lang="en-US"/>
        </a:p>
      </dgm:t>
    </dgm:pt>
    <dgm:pt modelId="{FF1ACFB6-081C-4239-9AAB-5C1C1806FAF4}">
      <dgm:prSet/>
      <dgm:spPr/>
      <dgm:t>
        <a:bodyPr/>
        <a:lstStyle/>
        <a:p>
          <a:r>
            <a:rPr lang="en-US"/>
            <a:t>Boot Software Requirements</a:t>
          </a:r>
        </a:p>
      </dgm:t>
    </dgm:pt>
    <dgm:pt modelId="{63805AD2-241B-47E9-BFB7-89002F196006}" type="parTrans" cxnId="{7DB310FC-CB7D-4CD8-85C1-D469BDCEB2A7}">
      <dgm:prSet/>
      <dgm:spPr/>
      <dgm:t>
        <a:bodyPr/>
        <a:lstStyle/>
        <a:p>
          <a:endParaRPr lang="en-US"/>
        </a:p>
      </dgm:t>
    </dgm:pt>
    <dgm:pt modelId="{14CC850C-E80C-4A9F-8400-C7A8E2DBC0E8}" type="sibTrans" cxnId="{7DB310FC-CB7D-4CD8-85C1-D469BDCEB2A7}">
      <dgm:prSet/>
      <dgm:spPr/>
      <dgm:t>
        <a:bodyPr/>
        <a:lstStyle/>
        <a:p>
          <a:endParaRPr lang="en-US"/>
        </a:p>
      </dgm:t>
    </dgm:pt>
    <dgm:pt modelId="{28DCC607-2087-4721-8104-590F0CE6B656}">
      <dgm:prSet/>
      <dgm:spPr/>
      <dgm:t>
        <a:bodyPr/>
        <a:lstStyle/>
        <a:p>
          <a:r>
            <a:rPr lang="en-US"/>
            <a:t>VMware Tools Installed</a:t>
          </a:r>
        </a:p>
      </dgm:t>
    </dgm:pt>
    <dgm:pt modelId="{7F42B4C1-4C14-4C03-B7C8-5B0D7C98A27F}" type="parTrans" cxnId="{BB174384-12E0-48EE-84B1-4D0B762800BC}">
      <dgm:prSet/>
      <dgm:spPr/>
      <dgm:t>
        <a:bodyPr/>
        <a:lstStyle/>
        <a:p>
          <a:endParaRPr lang="en-US"/>
        </a:p>
      </dgm:t>
    </dgm:pt>
    <dgm:pt modelId="{1C6AA894-EE62-45B7-A416-180244DF2CB8}" type="sibTrans" cxnId="{BB174384-12E0-48EE-84B1-4D0B762800BC}">
      <dgm:prSet/>
      <dgm:spPr/>
      <dgm:t>
        <a:bodyPr/>
        <a:lstStyle/>
        <a:p>
          <a:endParaRPr lang="en-US"/>
        </a:p>
      </dgm:t>
    </dgm:pt>
    <dgm:pt modelId="{73D0BC8D-61CD-4D01-AA44-BC465F04230C}">
      <dgm:prSet/>
      <dgm:spPr/>
      <dgm:t>
        <a:bodyPr/>
        <a:lstStyle/>
        <a:p>
          <a:r>
            <a:rPr lang="en-US"/>
            <a:t>Linux System Requirements</a:t>
          </a:r>
        </a:p>
      </dgm:t>
    </dgm:pt>
    <dgm:pt modelId="{04FD96EE-68AF-41CA-A7D4-D90E20502993}" type="parTrans" cxnId="{B7D31C6E-5D40-4B17-92AC-B5C872E78F15}">
      <dgm:prSet/>
      <dgm:spPr/>
      <dgm:t>
        <a:bodyPr/>
        <a:lstStyle/>
        <a:p>
          <a:endParaRPr lang="en-US"/>
        </a:p>
      </dgm:t>
    </dgm:pt>
    <dgm:pt modelId="{068A04FA-B26B-41E7-82B9-E014904D9EC7}" type="sibTrans" cxnId="{B7D31C6E-5D40-4B17-92AC-B5C872E78F15}">
      <dgm:prSet/>
      <dgm:spPr/>
      <dgm:t>
        <a:bodyPr/>
        <a:lstStyle/>
        <a:p>
          <a:endParaRPr lang="en-US"/>
        </a:p>
      </dgm:t>
    </dgm:pt>
    <dgm:pt modelId="{4D7D38F7-5BA0-4F0B-8BCC-0B94411955A0}" type="pres">
      <dgm:prSet presAssocID="{2847CB80-C968-40A8-A10F-D0F89977239B}" presName="diagram" presStyleCnt="0">
        <dgm:presLayoutVars>
          <dgm:dir/>
          <dgm:resizeHandles val="exact"/>
        </dgm:presLayoutVars>
      </dgm:prSet>
      <dgm:spPr/>
    </dgm:pt>
    <dgm:pt modelId="{E4EDA768-7C58-41A2-A0AF-0569A3F161C6}" type="pres">
      <dgm:prSet presAssocID="{BBBF5888-706E-47E6-B536-443F7AEB2680}" presName="node" presStyleLbl="node1" presStyleIdx="0" presStyleCnt="10">
        <dgm:presLayoutVars>
          <dgm:bulletEnabled val="1"/>
        </dgm:presLayoutVars>
      </dgm:prSet>
      <dgm:spPr/>
    </dgm:pt>
    <dgm:pt modelId="{01047C1A-D435-471B-B387-E94DF8AFB78A}" type="pres">
      <dgm:prSet presAssocID="{1048ED3B-4F87-4546-8059-BEE8F77F0C4E}" presName="sibTrans" presStyleCnt="0"/>
      <dgm:spPr/>
    </dgm:pt>
    <dgm:pt modelId="{71168C55-DEB1-4E9C-AE43-F718F11B439F}" type="pres">
      <dgm:prSet presAssocID="{57D17DB3-DD0F-411D-8B9C-31E2520EAE54}" presName="node" presStyleLbl="node1" presStyleIdx="1" presStyleCnt="10">
        <dgm:presLayoutVars>
          <dgm:bulletEnabled val="1"/>
        </dgm:presLayoutVars>
      </dgm:prSet>
      <dgm:spPr/>
    </dgm:pt>
    <dgm:pt modelId="{A4BD19E2-604A-42D6-B11C-7E9A48E1AC3B}" type="pres">
      <dgm:prSet presAssocID="{458C73AB-76B9-4EE1-BF43-FBA9CA129A2E}" presName="sibTrans" presStyleCnt="0"/>
      <dgm:spPr/>
    </dgm:pt>
    <dgm:pt modelId="{174D306F-C201-4693-ABF4-99E3633D0F75}" type="pres">
      <dgm:prSet presAssocID="{B336F493-58EC-4672-86AB-AE2807B46E54}" presName="node" presStyleLbl="node1" presStyleIdx="2" presStyleCnt="10">
        <dgm:presLayoutVars>
          <dgm:bulletEnabled val="1"/>
        </dgm:presLayoutVars>
      </dgm:prSet>
      <dgm:spPr/>
    </dgm:pt>
    <dgm:pt modelId="{0804299B-3D11-415F-80FA-51AA83687319}" type="pres">
      <dgm:prSet presAssocID="{ADA7D787-553C-455D-94DD-41B8E3792BD5}" presName="sibTrans" presStyleCnt="0"/>
      <dgm:spPr/>
    </dgm:pt>
    <dgm:pt modelId="{BCF041CE-85C2-4463-B212-67934CB2813E}" type="pres">
      <dgm:prSet presAssocID="{5760889F-007B-484F-ABC1-CE8FDDE934EA}" presName="node" presStyleLbl="node1" presStyleIdx="3" presStyleCnt="10">
        <dgm:presLayoutVars>
          <dgm:bulletEnabled val="1"/>
        </dgm:presLayoutVars>
      </dgm:prSet>
      <dgm:spPr/>
    </dgm:pt>
    <dgm:pt modelId="{874631B4-B333-4398-A784-D50202578195}" type="pres">
      <dgm:prSet presAssocID="{A7DF2A6B-C505-4761-B5D8-DE3508C18401}" presName="sibTrans" presStyleCnt="0"/>
      <dgm:spPr/>
    </dgm:pt>
    <dgm:pt modelId="{7DA1BE7F-3704-40E7-A016-365EC69183CE}" type="pres">
      <dgm:prSet presAssocID="{2BC1BD97-03F6-461A-A3CB-81C77586FDF6}" presName="node" presStyleLbl="node1" presStyleIdx="4" presStyleCnt="10">
        <dgm:presLayoutVars>
          <dgm:bulletEnabled val="1"/>
        </dgm:presLayoutVars>
      </dgm:prSet>
      <dgm:spPr/>
    </dgm:pt>
    <dgm:pt modelId="{396C81F7-D508-47E5-8E9D-CF09FD8BAB8C}" type="pres">
      <dgm:prSet presAssocID="{1223B4B4-3B31-4A92-8ECC-1DA8FD6E0E5D}" presName="sibTrans" presStyleCnt="0"/>
      <dgm:spPr/>
    </dgm:pt>
    <dgm:pt modelId="{186793EB-BCA7-4F18-8B3A-D585B7100D20}" type="pres">
      <dgm:prSet presAssocID="{25B370CB-3CAD-43BC-9868-90D0B3221F73}" presName="node" presStyleLbl="node1" presStyleIdx="5" presStyleCnt="10">
        <dgm:presLayoutVars>
          <dgm:bulletEnabled val="1"/>
        </dgm:presLayoutVars>
      </dgm:prSet>
      <dgm:spPr/>
    </dgm:pt>
    <dgm:pt modelId="{49B0BFC8-4E94-4D41-B98E-CB271EE5DB68}" type="pres">
      <dgm:prSet presAssocID="{B5395B32-2DE7-4590-9A96-4B7039AC8DCC}" presName="sibTrans" presStyleCnt="0"/>
      <dgm:spPr/>
    </dgm:pt>
    <dgm:pt modelId="{F11680EB-DB74-4F86-AF6A-1EDB12A21910}" type="pres">
      <dgm:prSet presAssocID="{647865F7-87A3-4F21-B3D0-D0335DFA76DF}" presName="node" presStyleLbl="node1" presStyleIdx="6" presStyleCnt="10">
        <dgm:presLayoutVars>
          <dgm:bulletEnabled val="1"/>
        </dgm:presLayoutVars>
      </dgm:prSet>
      <dgm:spPr/>
    </dgm:pt>
    <dgm:pt modelId="{37923FC6-933B-4DB0-8292-543674C6BB71}" type="pres">
      <dgm:prSet presAssocID="{D254B9B4-DAE9-4816-9711-57AC5DF9B6C6}" presName="sibTrans" presStyleCnt="0"/>
      <dgm:spPr/>
    </dgm:pt>
    <dgm:pt modelId="{5F9AA3FC-6BAD-4D74-B990-BDFF7439C0B2}" type="pres">
      <dgm:prSet presAssocID="{FF1ACFB6-081C-4239-9AAB-5C1C1806FAF4}" presName="node" presStyleLbl="node1" presStyleIdx="7" presStyleCnt="10">
        <dgm:presLayoutVars>
          <dgm:bulletEnabled val="1"/>
        </dgm:presLayoutVars>
      </dgm:prSet>
      <dgm:spPr/>
    </dgm:pt>
    <dgm:pt modelId="{B0B08785-9DA0-4FEF-8EC9-D896FA617BF4}" type="pres">
      <dgm:prSet presAssocID="{14CC850C-E80C-4A9F-8400-C7A8E2DBC0E8}" presName="sibTrans" presStyleCnt="0"/>
      <dgm:spPr/>
    </dgm:pt>
    <dgm:pt modelId="{9B0A27E1-8D10-4EC5-B2D1-E7FD459BBB1C}" type="pres">
      <dgm:prSet presAssocID="{28DCC607-2087-4721-8104-590F0CE6B656}" presName="node" presStyleLbl="node1" presStyleIdx="8" presStyleCnt="10">
        <dgm:presLayoutVars>
          <dgm:bulletEnabled val="1"/>
        </dgm:presLayoutVars>
      </dgm:prSet>
      <dgm:spPr/>
    </dgm:pt>
    <dgm:pt modelId="{DAD5C0C2-5F24-4B49-ADCA-54C8B22F4E3C}" type="pres">
      <dgm:prSet presAssocID="{1C6AA894-EE62-45B7-A416-180244DF2CB8}" presName="sibTrans" presStyleCnt="0"/>
      <dgm:spPr/>
    </dgm:pt>
    <dgm:pt modelId="{B04BFC0A-A0CC-4066-9D32-A630F234D4AF}" type="pres">
      <dgm:prSet presAssocID="{73D0BC8D-61CD-4D01-AA44-BC465F04230C}" presName="node" presStyleLbl="node1" presStyleIdx="9" presStyleCnt="10">
        <dgm:presLayoutVars>
          <dgm:bulletEnabled val="1"/>
        </dgm:presLayoutVars>
      </dgm:prSet>
      <dgm:spPr/>
    </dgm:pt>
  </dgm:ptLst>
  <dgm:cxnLst>
    <dgm:cxn modelId="{A651C605-507F-4F55-BC30-644FB34A7A5D}" type="presOf" srcId="{BBBF5888-706E-47E6-B536-443F7AEB2680}" destId="{E4EDA768-7C58-41A2-A0AF-0569A3F161C6}" srcOrd="0" destOrd="0" presId="urn:microsoft.com/office/officeart/2005/8/layout/default"/>
    <dgm:cxn modelId="{08592118-C8BD-4BBE-B713-1853077747A4}" type="presOf" srcId="{2BC1BD97-03F6-461A-A3CB-81C77586FDF6}" destId="{7DA1BE7F-3704-40E7-A016-365EC69183CE}" srcOrd="0" destOrd="0" presId="urn:microsoft.com/office/officeart/2005/8/layout/default"/>
    <dgm:cxn modelId="{4E12E623-3401-48AB-B083-3D3A57FD26DA}" srcId="{2847CB80-C968-40A8-A10F-D0F89977239B}" destId="{647865F7-87A3-4F21-B3D0-D0335DFA76DF}" srcOrd="6" destOrd="0" parTransId="{17E5BAEF-6A41-432C-9EEA-BF0D68350FAB}" sibTransId="{D254B9B4-DAE9-4816-9711-57AC5DF9B6C6}"/>
    <dgm:cxn modelId="{48179636-6A6A-4BED-9A51-6E2BE593A2CB}" srcId="{2847CB80-C968-40A8-A10F-D0F89977239B}" destId="{2BC1BD97-03F6-461A-A3CB-81C77586FDF6}" srcOrd="4" destOrd="0" parTransId="{CD1350E4-922D-418D-B33F-4314051209F7}" sibTransId="{1223B4B4-3B31-4A92-8ECC-1DA8FD6E0E5D}"/>
    <dgm:cxn modelId="{1A0DA55B-E296-4C41-AD29-F8F9D464CE4D}" type="presOf" srcId="{73D0BC8D-61CD-4D01-AA44-BC465F04230C}" destId="{B04BFC0A-A0CC-4066-9D32-A630F234D4AF}" srcOrd="0" destOrd="0" presId="urn:microsoft.com/office/officeart/2005/8/layout/default"/>
    <dgm:cxn modelId="{5A3A8A5C-A4E2-44B1-A822-D00F87EB3EA4}" srcId="{2847CB80-C968-40A8-A10F-D0F89977239B}" destId="{5760889F-007B-484F-ABC1-CE8FDDE934EA}" srcOrd="3" destOrd="0" parTransId="{A4079C91-0036-4E18-AFCA-2B3D9050E266}" sibTransId="{A7DF2A6B-C505-4761-B5D8-DE3508C18401}"/>
    <dgm:cxn modelId="{C3C71046-9444-446E-AFAB-66C3B3DA6171}" type="presOf" srcId="{B336F493-58EC-4672-86AB-AE2807B46E54}" destId="{174D306F-C201-4693-ABF4-99E3633D0F75}" srcOrd="0" destOrd="0" presId="urn:microsoft.com/office/officeart/2005/8/layout/default"/>
    <dgm:cxn modelId="{B7D31C6E-5D40-4B17-92AC-B5C872E78F15}" srcId="{2847CB80-C968-40A8-A10F-D0F89977239B}" destId="{73D0BC8D-61CD-4D01-AA44-BC465F04230C}" srcOrd="9" destOrd="0" parTransId="{04FD96EE-68AF-41CA-A7D4-D90E20502993}" sibTransId="{068A04FA-B26B-41E7-82B9-E014904D9EC7}"/>
    <dgm:cxn modelId="{9A17A34F-04D7-40AA-B07F-A77DE962F7DA}" type="presOf" srcId="{FF1ACFB6-081C-4239-9AAB-5C1C1806FAF4}" destId="{5F9AA3FC-6BAD-4D74-B990-BDFF7439C0B2}" srcOrd="0" destOrd="0" presId="urn:microsoft.com/office/officeart/2005/8/layout/default"/>
    <dgm:cxn modelId="{BB174384-12E0-48EE-84B1-4D0B762800BC}" srcId="{2847CB80-C968-40A8-A10F-D0F89977239B}" destId="{28DCC607-2087-4721-8104-590F0CE6B656}" srcOrd="8" destOrd="0" parTransId="{7F42B4C1-4C14-4C03-B7C8-5B0D7C98A27F}" sibTransId="{1C6AA894-EE62-45B7-A416-180244DF2CB8}"/>
    <dgm:cxn modelId="{9A16AA84-1615-4546-BB65-5496FF99D372}" type="presOf" srcId="{647865F7-87A3-4F21-B3D0-D0335DFA76DF}" destId="{F11680EB-DB74-4F86-AF6A-1EDB12A21910}" srcOrd="0" destOrd="0" presId="urn:microsoft.com/office/officeart/2005/8/layout/default"/>
    <dgm:cxn modelId="{F124748D-0642-4760-8FA0-823ECD178301}" type="presOf" srcId="{25B370CB-3CAD-43BC-9868-90D0B3221F73}" destId="{186793EB-BCA7-4F18-8B3A-D585B7100D20}" srcOrd="0" destOrd="0" presId="urn:microsoft.com/office/officeart/2005/8/layout/default"/>
    <dgm:cxn modelId="{11415C8E-4895-456C-9A65-72A97FC3BB7B}" type="presOf" srcId="{57D17DB3-DD0F-411D-8B9C-31E2520EAE54}" destId="{71168C55-DEB1-4E9C-AE43-F718F11B439F}" srcOrd="0" destOrd="0" presId="urn:microsoft.com/office/officeart/2005/8/layout/default"/>
    <dgm:cxn modelId="{92CD739B-2B6A-4C35-A8B0-D10AACFA2DB0}" srcId="{2847CB80-C968-40A8-A10F-D0F89977239B}" destId="{BBBF5888-706E-47E6-B536-443F7AEB2680}" srcOrd="0" destOrd="0" parTransId="{83D860A0-1836-493E-A077-4C3361C3B955}" sibTransId="{1048ED3B-4F87-4546-8059-BEE8F77F0C4E}"/>
    <dgm:cxn modelId="{68E5E19E-304A-4C23-9E68-79B12F734367}" type="presOf" srcId="{2847CB80-C968-40A8-A10F-D0F89977239B}" destId="{4D7D38F7-5BA0-4F0B-8BCC-0B94411955A0}" srcOrd="0" destOrd="0" presId="urn:microsoft.com/office/officeart/2005/8/layout/default"/>
    <dgm:cxn modelId="{147A7DB3-FE66-48D7-8F42-6448ECFC3413}" srcId="{2847CB80-C968-40A8-A10F-D0F89977239B}" destId="{25B370CB-3CAD-43BC-9868-90D0B3221F73}" srcOrd="5" destOrd="0" parTransId="{B55413EB-DBF5-4B5C-B9F1-632F02D5714A}" sibTransId="{B5395B32-2DE7-4590-9A96-4B7039AC8DCC}"/>
    <dgm:cxn modelId="{7351ACB3-1FE8-4F0A-AE6B-AFADA8C714A0}" type="presOf" srcId="{5760889F-007B-484F-ABC1-CE8FDDE934EA}" destId="{BCF041CE-85C2-4463-B212-67934CB2813E}" srcOrd="0" destOrd="0" presId="urn:microsoft.com/office/officeart/2005/8/layout/default"/>
    <dgm:cxn modelId="{FDBFA2DC-76F0-497A-BC87-6C6D59E72CBD}" type="presOf" srcId="{28DCC607-2087-4721-8104-590F0CE6B656}" destId="{9B0A27E1-8D10-4EC5-B2D1-E7FD459BBB1C}" srcOrd="0" destOrd="0" presId="urn:microsoft.com/office/officeart/2005/8/layout/default"/>
    <dgm:cxn modelId="{4AA65BF4-9FC5-419A-930E-84D1C3A8921B}" srcId="{2847CB80-C968-40A8-A10F-D0F89977239B}" destId="{B336F493-58EC-4672-86AB-AE2807B46E54}" srcOrd="2" destOrd="0" parTransId="{1B2EDFA9-AC73-4006-A207-FF428E9460BA}" sibTransId="{ADA7D787-553C-455D-94DD-41B8E3792BD5}"/>
    <dgm:cxn modelId="{308FC9FA-91ED-4E95-8545-B37DB573CAD6}" srcId="{2847CB80-C968-40A8-A10F-D0F89977239B}" destId="{57D17DB3-DD0F-411D-8B9C-31E2520EAE54}" srcOrd="1" destOrd="0" parTransId="{6D23E370-6D83-4940-8E45-2E418A736B7A}" sibTransId="{458C73AB-76B9-4EE1-BF43-FBA9CA129A2E}"/>
    <dgm:cxn modelId="{7DB310FC-CB7D-4CD8-85C1-D469BDCEB2A7}" srcId="{2847CB80-C968-40A8-A10F-D0F89977239B}" destId="{FF1ACFB6-081C-4239-9AAB-5C1C1806FAF4}" srcOrd="7" destOrd="0" parTransId="{63805AD2-241B-47E9-BFB7-89002F196006}" sibTransId="{14CC850C-E80C-4A9F-8400-C7A8E2DBC0E8}"/>
    <dgm:cxn modelId="{D4DD43A9-3F7E-4718-9213-F0AD9B4AFAA7}" type="presParOf" srcId="{4D7D38F7-5BA0-4F0B-8BCC-0B94411955A0}" destId="{E4EDA768-7C58-41A2-A0AF-0569A3F161C6}" srcOrd="0" destOrd="0" presId="urn:microsoft.com/office/officeart/2005/8/layout/default"/>
    <dgm:cxn modelId="{AFCFE3DD-90A4-4FD1-A512-F3EF1EC810E6}" type="presParOf" srcId="{4D7D38F7-5BA0-4F0B-8BCC-0B94411955A0}" destId="{01047C1A-D435-471B-B387-E94DF8AFB78A}" srcOrd="1" destOrd="0" presId="urn:microsoft.com/office/officeart/2005/8/layout/default"/>
    <dgm:cxn modelId="{F9FC14D6-5AE5-4E59-96D3-684A90C61B3A}" type="presParOf" srcId="{4D7D38F7-5BA0-4F0B-8BCC-0B94411955A0}" destId="{71168C55-DEB1-4E9C-AE43-F718F11B439F}" srcOrd="2" destOrd="0" presId="urn:microsoft.com/office/officeart/2005/8/layout/default"/>
    <dgm:cxn modelId="{C970472A-D373-4238-8478-299F18943222}" type="presParOf" srcId="{4D7D38F7-5BA0-4F0B-8BCC-0B94411955A0}" destId="{A4BD19E2-604A-42D6-B11C-7E9A48E1AC3B}" srcOrd="3" destOrd="0" presId="urn:microsoft.com/office/officeart/2005/8/layout/default"/>
    <dgm:cxn modelId="{27E4DE07-8641-4C79-8AF9-475F325698ED}" type="presParOf" srcId="{4D7D38F7-5BA0-4F0B-8BCC-0B94411955A0}" destId="{174D306F-C201-4693-ABF4-99E3633D0F75}" srcOrd="4" destOrd="0" presId="urn:microsoft.com/office/officeart/2005/8/layout/default"/>
    <dgm:cxn modelId="{F4247447-571D-4D84-8DE5-6AAEA12FE43F}" type="presParOf" srcId="{4D7D38F7-5BA0-4F0B-8BCC-0B94411955A0}" destId="{0804299B-3D11-415F-80FA-51AA83687319}" srcOrd="5" destOrd="0" presId="urn:microsoft.com/office/officeart/2005/8/layout/default"/>
    <dgm:cxn modelId="{CBEE8B0C-2F77-4A4C-A0D4-C3106E2B524D}" type="presParOf" srcId="{4D7D38F7-5BA0-4F0B-8BCC-0B94411955A0}" destId="{BCF041CE-85C2-4463-B212-67934CB2813E}" srcOrd="6" destOrd="0" presId="urn:microsoft.com/office/officeart/2005/8/layout/default"/>
    <dgm:cxn modelId="{4FC8643E-C6F5-4235-A739-89972D69DF6A}" type="presParOf" srcId="{4D7D38F7-5BA0-4F0B-8BCC-0B94411955A0}" destId="{874631B4-B333-4398-A784-D50202578195}" srcOrd="7" destOrd="0" presId="urn:microsoft.com/office/officeart/2005/8/layout/default"/>
    <dgm:cxn modelId="{B59090EB-9139-435B-8C68-301FAAF53163}" type="presParOf" srcId="{4D7D38F7-5BA0-4F0B-8BCC-0B94411955A0}" destId="{7DA1BE7F-3704-40E7-A016-365EC69183CE}" srcOrd="8" destOrd="0" presId="urn:microsoft.com/office/officeart/2005/8/layout/default"/>
    <dgm:cxn modelId="{7ACB1019-660E-4927-AA6B-90514914D9F5}" type="presParOf" srcId="{4D7D38F7-5BA0-4F0B-8BCC-0B94411955A0}" destId="{396C81F7-D508-47E5-8E9D-CF09FD8BAB8C}" srcOrd="9" destOrd="0" presId="urn:microsoft.com/office/officeart/2005/8/layout/default"/>
    <dgm:cxn modelId="{1C715C82-883E-4C8E-AF78-6813110A6671}" type="presParOf" srcId="{4D7D38F7-5BA0-4F0B-8BCC-0B94411955A0}" destId="{186793EB-BCA7-4F18-8B3A-D585B7100D20}" srcOrd="10" destOrd="0" presId="urn:microsoft.com/office/officeart/2005/8/layout/default"/>
    <dgm:cxn modelId="{3A5326A7-4621-4230-AD2A-AC0F0C10B570}" type="presParOf" srcId="{4D7D38F7-5BA0-4F0B-8BCC-0B94411955A0}" destId="{49B0BFC8-4E94-4D41-B98E-CB271EE5DB68}" srcOrd="11" destOrd="0" presId="urn:microsoft.com/office/officeart/2005/8/layout/default"/>
    <dgm:cxn modelId="{9B6E40EB-BC29-4C16-85C4-B7726D9375BF}" type="presParOf" srcId="{4D7D38F7-5BA0-4F0B-8BCC-0B94411955A0}" destId="{F11680EB-DB74-4F86-AF6A-1EDB12A21910}" srcOrd="12" destOrd="0" presId="urn:microsoft.com/office/officeart/2005/8/layout/default"/>
    <dgm:cxn modelId="{ED0C7206-18B5-48D2-82FF-069419A520DC}" type="presParOf" srcId="{4D7D38F7-5BA0-4F0B-8BCC-0B94411955A0}" destId="{37923FC6-933B-4DB0-8292-543674C6BB71}" srcOrd="13" destOrd="0" presId="urn:microsoft.com/office/officeart/2005/8/layout/default"/>
    <dgm:cxn modelId="{639644FB-2D88-4DE4-8CB5-D22BEEB27E48}" type="presParOf" srcId="{4D7D38F7-5BA0-4F0B-8BCC-0B94411955A0}" destId="{5F9AA3FC-6BAD-4D74-B990-BDFF7439C0B2}" srcOrd="14" destOrd="0" presId="urn:microsoft.com/office/officeart/2005/8/layout/default"/>
    <dgm:cxn modelId="{89BB09DE-ED51-4944-8E34-2DC08F585B69}" type="presParOf" srcId="{4D7D38F7-5BA0-4F0B-8BCC-0B94411955A0}" destId="{B0B08785-9DA0-4FEF-8EC9-D896FA617BF4}" srcOrd="15" destOrd="0" presId="urn:microsoft.com/office/officeart/2005/8/layout/default"/>
    <dgm:cxn modelId="{F3D99934-AAB1-4FB2-B60B-E344E9189CDF}" type="presParOf" srcId="{4D7D38F7-5BA0-4F0B-8BCC-0B94411955A0}" destId="{9B0A27E1-8D10-4EC5-B2D1-E7FD459BBB1C}" srcOrd="16" destOrd="0" presId="urn:microsoft.com/office/officeart/2005/8/layout/default"/>
    <dgm:cxn modelId="{6D8B49BD-430D-49A0-8963-87A62453D65D}" type="presParOf" srcId="{4D7D38F7-5BA0-4F0B-8BCC-0B94411955A0}" destId="{DAD5C0C2-5F24-4B49-ADCA-54C8B22F4E3C}" srcOrd="17" destOrd="0" presId="urn:microsoft.com/office/officeart/2005/8/layout/default"/>
    <dgm:cxn modelId="{BE6B1216-6740-473C-861B-5CBA9DC92A14}" type="presParOf" srcId="{4D7D38F7-5BA0-4F0B-8BCC-0B94411955A0}" destId="{B04BFC0A-A0CC-4066-9D32-A630F234D4AF}" srcOrd="1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847CB80-C968-40A8-A10F-D0F89977239B}"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BBBF5888-706E-47E6-B536-443F7AEB2680}">
      <dgm:prSet phldrT="[Text]"/>
      <dgm:spPr>
        <a:solidFill>
          <a:srgbClr val="FF0000"/>
        </a:solidFill>
      </dgm:spPr>
      <dgm:t>
        <a:bodyPr/>
        <a:lstStyle/>
        <a:p>
          <a:r>
            <a:rPr lang="en-US" dirty="0"/>
            <a:t>Change OS to Windows Server 2008 R2 or later (very difficult)</a:t>
          </a:r>
        </a:p>
      </dgm:t>
    </dgm:pt>
    <dgm:pt modelId="{83D860A0-1836-493E-A077-4C3361C3B955}" type="parTrans" cxnId="{92CD739B-2B6A-4C35-A8B0-D10AACFA2DB0}">
      <dgm:prSet/>
      <dgm:spPr/>
      <dgm:t>
        <a:bodyPr/>
        <a:lstStyle/>
        <a:p>
          <a:endParaRPr lang="en-US"/>
        </a:p>
      </dgm:t>
    </dgm:pt>
    <dgm:pt modelId="{1048ED3B-4F87-4546-8059-BEE8F77F0C4E}" type="sibTrans" cxnId="{92CD739B-2B6A-4C35-A8B0-D10AACFA2DB0}">
      <dgm:prSet/>
      <dgm:spPr/>
      <dgm:t>
        <a:bodyPr/>
        <a:lstStyle/>
        <a:p>
          <a:endParaRPr lang="en-US"/>
        </a:p>
      </dgm:t>
    </dgm:pt>
    <dgm:pt modelId="{C3BD8C62-78B8-4D33-B228-08C41B4ED7C4}">
      <dgm:prSet/>
      <dgm:spPr>
        <a:solidFill>
          <a:srgbClr val="FFC000"/>
        </a:solidFill>
      </dgm:spPr>
      <dgm:t>
        <a:bodyPr/>
        <a:lstStyle/>
        <a:p>
          <a:r>
            <a:rPr lang="en-US" dirty="0"/>
            <a:t>Upgrade .Net version to 3.5.1 or greater (not difficult)</a:t>
          </a:r>
        </a:p>
      </dgm:t>
    </dgm:pt>
    <dgm:pt modelId="{A2818538-3810-4E64-8C78-D21EF368070B}" type="parTrans" cxnId="{EAEB3653-F47B-497A-AE44-A3E3F8B587B9}">
      <dgm:prSet/>
      <dgm:spPr/>
      <dgm:t>
        <a:bodyPr/>
        <a:lstStyle/>
        <a:p>
          <a:endParaRPr lang="en-US"/>
        </a:p>
      </dgm:t>
    </dgm:pt>
    <dgm:pt modelId="{F254472A-70FF-4D86-9B9E-9F0433067DD2}" type="sibTrans" cxnId="{EAEB3653-F47B-497A-AE44-A3E3F8B587B9}">
      <dgm:prSet/>
      <dgm:spPr/>
      <dgm:t>
        <a:bodyPr/>
        <a:lstStyle/>
        <a:p>
          <a:endParaRPr lang="en-US"/>
        </a:p>
      </dgm:t>
    </dgm:pt>
    <dgm:pt modelId="{5069F935-ED37-4BD2-8EC9-21E6C490CDF8}">
      <dgm:prSet/>
      <dgm:spPr>
        <a:solidFill>
          <a:srgbClr val="00B050"/>
        </a:solidFill>
      </dgm:spPr>
      <dgm:t>
        <a:bodyPr/>
        <a:lstStyle/>
        <a:p>
          <a:r>
            <a:rPr lang="en-US" dirty="0"/>
            <a:t>Compute Optimization</a:t>
          </a:r>
        </a:p>
      </dgm:t>
    </dgm:pt>
    <dgm:pt modelId="{CFDFF27F-A0EA-40C0-B849-E4FC88F02358}" type="parTrans" cxnId="{A349FB99-C6C2-4602-859D-ACD68107E7A9}">
      <dgm:prSet/>
      <dgm:spPr/>
      <dgm:t>
        <a:bodyPr/>
        <a:lstStyle/>
        <a:p>
          <a:endParaRPr lang="en-US"/>
        </a:p>
      </dgm:t>
    </dgm:pt>
    <dgm:pt modelId="{06969892-6BE8-4EFC-938D-7D9D1894D173}" type="sibTrans" cxnId="{A349FB99-C6C2-4602-859D-ACD68107E7A9}">
      <dgm:prSet/>
      <dgm:spPr/>
      <dgm:t>
        <a:bodyPr/>
        <a:lstStyle/>
        <a:p>
          <a:endParaRPr lang="en-US"/>
        </a:p>
      </dgm:t>
    </dgm:pt>
    <dgm:pt modelId="{31B0CA3B-6A8C-4D66-849E-0BE7B8B76E8C}">
      <dgm:prSet/>
      <dgm:spPr>
        <a:solidFill>
          <a:srgbClr val="00B050"/>
        </a:solidFill>
      </dgm:spPr>
      <dgm:t>
        <a:bodyPr/>
        <a:lstStyle/>
        <a:p>
          <a:r>
            <a:rPr lang="en-US" dirty="0"/>
            <a:t>…etc.</a:t>
          </a:r>
        </a:p>
      </dgm:t>
    </dgm:pt>
    <dgm:pt modelId="{5C140D4C-2E2D-42A7-B58F-5456994718F7}" type="parTrans" cxnId="{D327C4D5-AD10-4471-A52D-06EAD1EC1F06}">
      <dgm:prSet/>
      <dgm:spPr/>
      <dgm:t>
        <a:bodyPr/>
        <a:lstStyle/>
        <a:p>
          <a:endParaRPr lang="en-US"/>
        </a:p>
      </dgm:t>
    </dgm:pt>
    <dgm:pt modelId="{5AEA2621-0804-43A5-B232-AFBE1616DFB7}" type="sibTrans" cxnId="{D327C4D5-AD10-4471-A52D-06EAD1EC1F06}">
      <dgm:prSet/>
      <dgm:spPr/>
      <dgm:t>
        <a:bodyPr/>
        <a:lstStyle/>
        <a:p>
          <a:endParaRPr lang="en-US"/>
        </a:p>
      </dgm:t>
    </dgm:pt>
    <dgm:pt modelId="{049713C2-44C7-4528-8A0F-67515EFAE0F0}">
      <dgm:prSet/>
      <dgm:spPr>
        <a:solidFill>
          <a:srgbClr val="00B050"/>
        </a:solidFill>
      </dgm:spPr>
      <dgm:t>
        <a:bodyPr/>
        <a:lstStyle/>
        <a:p>
          <a:r>
            <a:rPr lang="en-US" dirty="0"/>
            <a:t>Storage Optimization</a:t>
          </a:r>
        </a:p>
      </dgm:t>
    </dgm:pt>
    <dgm:pt modelId="{DDC37C6E-A6E4-42BE-B4C6-967E59C71761}" type="parTrans" cxnId="{9E36C3A9-1F11-4C2D-9446-A4C7C053D159}">
      <dgm:prSet/>
      <dgm:spPr/>
      <dgm:t>
        <a:bodyPr/>
        <a:lstStyle/>
        <a:p>
          <a:endParaRPr lang="en-US"/>
        </a:p>
      </dgm:t>
    </dgm:pt>
    <dgm:pt modelId="{986BC5EA-D22E-4D27-8D8F-0FB1E4176392}" type="sibTrans" cxnId="{9E36C3A9-1F11-4C2D-9446-A4C7C053D159}">
      <dgm:prSet/>
      <dgm:spPr/>
      <dgm:t>
        <a:bodyPr/>
        <a:lstStyle/>
        <a:p>
          <a:endParaRPr lang="en-US"/>
        </a:p>
      </dgm:t>
    </dgm:pt>
    <dgm:pt modelId="{4D7D38F7-5BA0-4F0B-8BCC-0B94411955A0}" type="pres">
      <dgm:prSet presAssocID="{2847CB80-C968-40A8-A10F-D0F89977239B}" presName="diagram" presStyleCnt="0">
        <dgm:presLayoutVars>
          <dgm:dir/>
          <dgm:resizeHandles val="exact"/>
        </dgm:presLayoutVars>
      </dgm:prSet>
      <dgm:spPr/>
    </dgm:pt>
    <dgm:pt modelId="{E4EDA768-7C58-41A2-A0AF-0569A3F161C6}" type="pres">
      <dgm:prSet presAssocID="{BBBF5888-706E-47E6-B536-443F7AEB2680}" presName="node" presStyleLbl="node1" presStyleIdx="0" presStyleCnt="5">
        <dgm:presLayoutVars>
          <dgm:bulletEnabled val="1"/>
        </dgm:presLayoutVars>
      </dgm:prSet>
      <dgm:spPr/>
    </dgm:pt>
    <dgm:pt modelId="{01047C1A-D435-471B-B387-E94DF8AFB78A}" type="pres">
      <dgm:prSet presAssocID="{1048ED3B-4F87-4546-8059-BEE8F77F0C4E}" presName="sibTrans" presStyleCnt="0"/>
      <dgm:spPr/>
    </dgm:pt>
    <dgm:pt modelId="{93F07671-10A0-48E3-85C0-BB1A55F0F6CE}" type="pres">
      <dgm:prSet presAssocID="{C3BD8C62-78B8-4D33-B228-08C41B4ED7C4}" presName="node" presStyleLbl="node1" presStyleIdx="1" presStyleCnt="5">
        <dgm:presLayoutVars>
          <dgm:bulletEnabled val="1"/>
        </dgm:presLayoutVars>
      </dgm:prSet>
      <dgm:spPr/>
    </dgm:pt>
    <dgm:pt modelId="{37001E77-02B1-48CC-8D07-FC9FFD373537}" type="pres">
      <dgm:prSet presAssocID="{F254472A-70FF-4D86-9B9E-9F0433067DD2}" presName="sibTrans" presStyleCnt="0"/>
      <dgm:spPr/>
    </dgm:pt>
    <dgm:pt modelId="{5B170CFD-AC90-4D37-B0E6-9919DF4EF3A8}" type="pres">
      <dgm:prSet presAssocID="{5069F935-ED37-4BD2-8EC9-21E6C490CDF8}" presName="node" presStyleLbl="node1" presStyleIdx="2" presStyleCnt="5">
        <dgm:presLayoutVars>
          <dgm:bulletEnabled val="1"/>
        </dgm:presLayoutVars>
      </dgm:prSet>
      <dgm:spPr/>
    </dgm:pt>
    <dgm:pt modelId="{8CEB65BD-54D8-4893-B962-AFCC92627279}" type="pres">
      <dgm:prSet presAssocID="{06969892-6BE8-4EFC-938D-7D9D1894D173}" presName="sibTrans" presStyleCnt="0"/>
      <dgm:spPr/>
    </dgm:pt>
    <dgm:pt modelId="{FEABE3F9-1014-4A19-BBEF-70E0893E14CF}" type="pres">
      <dgm:prSet presAssocID="{049713C2-44C7-4528-8A0F-67515EFAE0F0}" presName="node" presStyleLbl="node1" presStyleIdx="3" presStyleCnt="5">
        <dgm:presLayoutVars>
          <dgm:bulletEnabled val="1"/>
        </dgm:presLayoutVars>
      </dgm:prSet>
      <dgm:spPr/>
    </dgm:pt>
    <dgm:pt modelId="{81C6E6CD-13E5-4542-9E9B-017C8DDE9E8E}" type="pres">
      <dgm:prSet presAssocID="{986BC5EA-D22E-4D27-8D8F-0FB1E4176392}" presName="sibTrans" presStyleCnt="0"/>
      <dgm:spPr/>
    </dgm:pt>
    <dgm:pt modelId="{DA58EB4A-4BAD-4288-B36E-ABE7B67B2E70}" type="pres">
      <dgm:prSet presAssocID="{31B0CA3B-6A8C-4D66-849E-0BE7B8B76E8C}" presName="node" presStyleLbl="node1" presStyleIdx="4" presStyleCnt="5">
        <dgm:presLayoutVars>
          <dgm:bulletEnabled val="1"/>
        </dgm:presLayoutVars>
      </dgm:prSet>
      <dgm:spPr/>
    </dgm:pt>
  </dgm:ptLst>
  <dgm:cxnLst>
    <dgm:cxn modelId="{A651C605-507F-4F55-BC30-644FB34A7A5D}" type="presOf" srcId="{BBBF5888-706E-47E6-B536-443F7AEB2680}" destId="{E4EDA768-7C58-41A2-A0AF-0569A3F161C6}" srcOrd="0" destOrd="0" presId="urn:microsoft.com/office/officeart/2005/8/layout/default"/>
    <dgm:cxn modelId="{129C3419-A914-47DD-938D-48F88DA3E534}" type="presOf" srcId="{5069F935-ED37-4BD2-8EC9-21E6C490CDF8}" destId="{5B170CFD-AC90-4D37-B0E6-9919DF4EF3A8}" srcOrd="0" destOrd="0" presId="urn:microsoft.com/office/officeart/2005/8/layout/default"/>
    <dgm:cxn modelId="{CA394E42-89F1-4DF7-942F-0A9CE2E87017}" type="presOf" srcId="{049713C2-44C7-4528-8A0F-67515EFAE0F0}" destId="{FEABE3F9-1014-4A19-BBEF-70E0893E14CF}" srcOrd="0" destOrd="0" presId="urn:microsoft.com/office/officeart/2005/8/layout/default"/>
    <dgm:cxn modelId="{EAEB3653-F47B-497A-AE44-A3E3F8B587B9}" srcId="{2847CB80-C968-40A8-A10F-D0F89977239B}" destId="{C3BD8C62-78B8-4D33-B228-08C41B4ED7C4}" srcOrd="1" destOrd="0" parTransId="{A2818538-3810-4E64-8C78-D21EF368070B}" sibTransId="{F254472A-70FF-4D86-9B9E-9F0433067DD2}"/>
    <dgm:cxn modelId="{A349FB99-C6C2-4602-859D-ACD68107E7A9}" srcId="{2847CB80-C968-40A8-A10F-D0F89977239B}" destId="{5069F935-ED37-4BD2-8EC9-21E6C490CDF8}" srcOrd="2" destOrd="0" parTransId="{CFDFF27F-A0EA-40C0-B849-E4FC88F02358}" sibTransId="{06969892-6BE8-4EFC-938D-7D9D1894D173}"/>
    <dgm:cxn modelId="{92CD739B-2B6A-4C35-A8B0-D10AACFA2DB0}" srcId="{2847CB80-C968-40A8-A10F-D0F89977239B}" destId="{BBBF5888-706E-47E6-B536-443F7AEB2680}" srcOrd="0" destOrd="0" parTransId="{83D860A0-1836-493E-A077-4C3361C3B955}" sibTransId="{1048ED3B-4F87-4546-8059-BEE8F77F0C4E}"/>
    <dgm:cxn modelId="{68E5E19E-304A-4C23-9E68-79B12F734367}" type="presOf" srcId="{2847CB80-C968-40A8-A10F-D0F89977239B}" destId="{4D7D38F7-5BA0-4F0B-8BCC-0B94411955A0}" srcOrd="0" destOrd="0" presId="urn:microsoft.com/office/officeart/2005/8/layout/default"/>
    <dgm:cxn modelId="{9E36C3A9-1F11-4C2D-9446-A4C7C053D159}" srcId="{2847CB80-C968-40A8-A10F-D0F89977239B}" destId="{049713C2-44C7-4528-8A0F-67515EFAE0F0}" srcOrd="3" destOrd="0" parTransId="{DDC37C6E-A6E4-42BE-B4C6-967E59C71761}" sibTransId="{986BC5EA-D22E-4D27-8D8F-0FB1E4176392}"/>
    <dgm:cxn modelId="{D327C4D5-AD10-4471-A52D-06EAD1EC1F06}" srcId="{2847CB80-C968-40A8-A10F-D0F89977239B}" destId="{31B0CA3B-6A8C-4D66-849E-0BE7B8B76E8C}" srcOrd="4" destOrd="0" parTransId="{5C140D4C-2E2D-42A7-B58F-5456994718F7}" sibTransId="{5AEA2621-0804-43A5-B232-AFBE1616DFB7}"/>
    <dgm:cxn modelId="{B6492AD9-B2C5-4FB8-90AA-E73CA81C91BF}" type="presOf" srcId="{31B0CA3B-6A8C-4D66-849E-0BE7B8B76E8C}" destId="{DA58EB4A-4BAD-4288-B36E-ABE7B67B2E70}" srcOrd="0" destOrd="0" presId="urn:microsoft.com/office/officeart/2005/8/layout/default"/>
    <dgm:cxn modelId="{D12ED7ED-BF3C-4E30-8916-D50D5242B7BD}" type="presOf" srcId="{C3BD8C62-78B8-4D33-B228-08C41B4ED7C4}" destId="{93F07671-10A0-48E3-85C0-BB1A55F0F6CE}" srcOrd="0" destOrd="0" presId="urn:microsoft.com/office/officeart/2005/8/layout/default"/>
    <dgm:cxn modelId="{D4DD43A9-3F7E-4718-9213-F0AD9B4AFAA7}" type="presParOf" srcId="{4D7D38F7-5BA0-4F0B-8BCC-0B94411955A0}" destId="{E4EDA768-7C58-41A2-A0AF-0569A3F161C6}" srcOrd="0" destOrd="0" presId="urn:microsoft.com/office/officeart/2005/8/layout/default"/>
    <dgm:cxn modelId="{AFCFE3DD-90A4-4FD1-A512-F3EF1EC810E6}" type="presParOf" srcId="{4D7D38F7-5BA0-4F0B-8BCC-0B94411955A0}" destId="{01047C1A-D435-471B-B387-E94DF8AFB78A}" srcOrd="1" destOrd="0" presId="urn:microsoft.com/office/officeart/2005/8/layout/default"/>
    <dgm:cxn modelId="{40809BD6-FC0A-4CD5-A4C3-97A97549482E}" type="presParOf" srcId="{4D7D38F7-5BA0-4F0B-8BCC-0B94411955A0}" destId="{93F07671-10A0-48E3-85C0-BB1A55F0F6CE}" srcOrd="2" destOrd="0" presId="urn:microsoft.com/office/officeart/2005/8/layout/default"/>
    <dgm:cxn modelId="{28875EA5-EFDD-48F3-A753-159DFBB413E1}" type="presParOf" srcId="{4D7D38F7-5BA0-4F0B-8BCC-0B94411955A0}" destId="{37001E77-02B1-48CC-8D07-FC9FFD373537}" srcOrd="3" destOrd="0" presId="urn:microsoft.com/office/officeart/2005/8/layout/default"/>
    <dgm:cxn modelId="{7D735D65-BA26-42C0-8477-E30DE0793429}" type="presParOf" srcId="{4D7D38F7-5BA0-4F0B-8BCC-0B94411955A0}" destId="{5B170CFD-AC90-4D37-B0E6-9919DF4EF3A8}" srcOrd="4" destOrd="0" presId="urn:microsoft.com/office/officeart/2005/8/layout/default"/>
    <dgm:cxn modelId="{EC29C65A-4229-40CC-B84F-7EF0D9384B81}" type="presParOf" srcId="{4D7D38F7-5BA0-4F0B-8BCC-0B94411955A0}" destId="{8CEB65BD-54D8-4893-B962-AFCC92627279}" srcOrd="5" destOrd="0" presId="urn:microsoft.com/office/officeart/2005/8/layout/default"/>
    <dgm:cxn modelId="{0F1B88B3-0675-4CD3-8C68-9BE95140C8CC}" type="presParOf" srcId="{4D7D38F7-5BA0-4F0B-8BCC-0B94411955A0}" destId="{FEABE3F9-1014-4A19-BBEF-70E0893E14CF}" srcOrd="6" destOrd="0" presId="urn:microsoft.com/office/officeart/2005/8/layout/default"/>
    <dgm:cxn modelId="{38391CA3-D878-450B-8683-C05D26BFF996}" type="presParOf" srcId="{4D7D38F7-5BA0-4F0B-8BCC-0B94411955A0}" destId="{81C6E6CD-13E5-4542-9E9B-017C8DDE9E8E}" srcOrd="7" destOrd="0" presId="urn:microsoft.com/office/officeart/2005/8/layout/default"/>
    <dgm:cxn modelId="{CFAD98DD-D306-48DC-B528-36D55517578A}" type="presParOf" srcId="{4D7D38F7-5BA0-4F0B-8BCC-0B94411955A0}" destId="{DA58EB4A-4BAD-4288-B36E-ABE7B67B2E70}" srcOrd="8" destOrd="0" presId="urn:microsoft.com/office/officeart/2005/8/layout/defaul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EDA768-7C58-41A2-A0AF-0569A3F161C6}">
      <dsp:nvSpPr>
        <dsp:cNvPr id="0" name=""/>
        <dsp:cNvSpPr/>
      </dsp:nvSpPr>
      <dsp:spPr>
        <a:xfrm>
          <a:off x="250918" y="2438"/>
          <a:ext cx="1199490" cy="719694"/>
        </a:xfrm>
        <a:prstGeom prst="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t>Guest OS Version</a:t>
          </a:r>
        </a:p>
      </dsp:txBody>
      <dsp:txXfrm>
        <a:off x="250918" y="2438"/>
        <a:ext cx="1199490" cy="719694"/>
      </dsp:txXfrm>
    </dsp:sp>
    <dsp:sp modelId="{71168C55-DEB1-4E9C-AE43-F718F11B439F}">
      <dsp:nvSpPr>
        <dsp:cNvPr id="0" name=""/>
        <dsp:cNvSpPr/>
      </dsp:nvSpPr>
      <dsp:spPr>
        <a:xfrm>
          <a:off x="1570357" y="2438"/>
          <a:ext cx="1199490" cy="719694"/>
        </a:xfrm>
        <a:prstGeom prst="rect">
          <a:avLst/>
        </a:prstGeom>
        <a:solidFill>
          <a:schemeClr val="accent4">
            <a:hueOff val="394675"/>
            <a:satOff val="-4042"/>
            <a:lumOff val="-228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t>General Disk Requirements</a:t>
          </a:r>
        </a:p>
      </dsp:txBody>
      <dsp:txXfrm>
        <a:off x="1570357" y="2438"/>
        <a:ext cx="1199490" cy="719694"/>
      </dsp:txXfrm>
    </dsp:sp>
    <dsp:sp modelId="{174D306F-C201-4693-ABF4-99E3633D0F75}">
      <dsp:nvSpPr>
        <dsp:cNvPr id="0" name=""/>
        <dsp:cNvSpPr/>
      </dsp:nvSpPr>
      <dsp:spPr>
        <a:xfrm>
          <a:off x="2889797" y="2438"/>
          <a:ext cx="1199490" cy="719694"/>
        </a:xfrm>
        <a:prstGeom prst="rect">
          <a:avLst/>
        </a:prstGeom>
        <a:solidFill>
          <a:schemeClr val="accent4">
            <a:hueOff val="789350"/>
            <a:satOff val="-8084"/>
            <a:lumOff val="-4575"/>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t>Windows OS Requirements</a:t>
          </a:r>
        </a:p>
      </dsp:txBody>
      <dsp:txXfrm>
        <a:off x="2889797" y="2438"/>
        <a:ext cx="1199490" cy="719694"/>
      </dsp:txXfrm>
    </dsp:sp>
    <dsp:sp modelId="{BCF041CE-85C2-4463-B212-67934CB2813E}">
      <dsp:nvSpPr>
        <dsp:cNvPr id="0" name=""/>
        <dsp:cNvSpPr/>
      </dsp:nvSpPr>
      <dsp:spPr>
        <a:xfrm>
          <a:off x="250918" y="842081"/>
          <a:ext cx="1199490" cy="719694"/>
        </a:xfrm>
        <a:prstGeom prst="rect">
          <a:avLst/>
        </a:prstGeom>
        <a:solidFill>
          <a:schemeClr val="accent4">
            <a:hueOff val="1184024"/>
            <a:satOff val="-12126"/>
            <a:lumOff val="-6862"/>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t>Hypervisor Requriements</a:t>
          </a:r>
        </a:p>
      </dsp:txBody>
      <dsp:txXfrm>
        <a:off x="250918" y="842081"/>
        <a:ext cx="1199490" cy="719694"/>
      </dsp:txXfrm>
    </dsp:sp>
    <dsp:sp modelId="{7DA1BE7F-3704-40E7-A016-365EC69183CE}">
      <dsp:nvSpPr>
        <dsp:cNvPr id="0" name=""/>
        <dsp:cNvSpPr/>
      </dsp:nvSpPr>
      <dsp:spPr>
        <a:xfrm>
          <a:off x="1570357" y="842081"/>
          <a:ext cx="1199490" cy="719694"/>
        </a:xfrm>
        <a:prstGeom prst="rect">
          <a:avLst/>
        </a:prstGeom>
        <a:solidFill>
          <a:schemeClr val="accent4">
            <a:hueOff val="1578699"/>
            <a:satOff val="-16168"/>
            <a:lumOff val="-915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t>Disk Space Requirements</a:t>
          </a:r>
        </a:p>
      </dsp:txBody>
      <dsp:txXfrm>
        <a:off x="1570357" y="842081"/>
        <a:ext cx="1199490" cy="719694"/>
      </dsp:txXfrm>
    </dsp:sp>
    <dsp:sp modelId="{186793EB-BCA7-4F18-8B3A-D585B7100D20}">
      <dsp:nvSpPr>
        <dsp:cNvPr id="0" name=""/>
        <dsp:cNvSpPr/>
      </dsp:nvSpPr>
      <dsp:spPr>
        <a:xfrm>
          <a:off x="2889797" y="842081"/>
          <a:ext cx="1199490" cy="719694"/>
        </a:xfrm>
        <a:prstGeom prst="rect">
          <a:avLst/>
        </a:prstGeom>
        <a:solidFill>
          <a:schemeClr val="accent4">
            <a:hueOff val="1973374"/>
            <a:satOff val="-20210"/>
            <a:lumOff val="-1143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t>.NET Version Requirements</a:t>
          </a:r>
        </a:p>
      </dsp:txBody>
      <dsp:txXfrm>
        <a:off x="2889797" y="842081"/>
        <a:ext cx="1199490" cy="719694"/>
      </dsp:txXfrm>
    </dsp:sp>
    <dsp:sp modelId="{F11680EB-DB74-4F86-AF6A-1EDB12A21910}">
      <dsp:nvSpPr>
        <dsp:cNvPr id="0" name=""/>
        <dsp:cNvSpPr/>
      </dsp:nvSpPr>
      <dsp:spPr>
        <a:xfrm>
          <a:off x="250918" y="1681725"/>
          <a:ext cx="1199490" cy="719694"/>
        </a:xfrm>
        <a:prstGeom prst="rect">
          <a:avLst/>
        </a:prstGeom>
        <a:solidFill>
          <a:schemeClr val="accent4">
            <a:hueOff val="2368049"/>
            <a:satOff val="-24252"/>
            <a:lumOff val="-13725"/>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t>Machine Name Length Requirements</a:t>
          </a:r>
        </a:p>
      </dsp:txBody>
      <dsp:txXfrm>
        <a:off x="250918" y="1681725"/>
        <a:ext cx="1199490" cy="719694"/>
      </dsp:txXfrm>
    </dsp:sp>
    <dsp:sp modelId="{5F9AA3FC-6BAD-4D74-B990-BDFF7439C0B2}">
      <dsp:nvSpPr>
        <dsp:cNvPr id="0" name=""/>
        <dsp:cNvSpPr/>
      </dsp:nvSpPr>
      <dsp:spPr>
        <a:xfrm>
          <a:off x="1570357" y="1681725"/>
          <a:ext cx="1199490" cy="719694"/>
        </a:xfrm>
        <a:prstGeom prst="rect">
          <a:avLst/>
        </a:prstGeom>
        <a:solidFill>
          <a:schemeClr val="accent4">
            <a:hueOff val="2762723"/>
            <a:satOff val="-28294"/>
            <a:lumOff val="-16012"/>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t>Boot Software Requirements</a:t>
          </a:r>
        </a:p>
      </dsp:txBody>
      <dsp:txXfrm>
        <a:off x="1570357" y="1681725"/>
        <a:ext cx="1199490" cy="719694"/>
      </dsp:txXfrm>
    </dsp:sp>
    <dsp:sp modelId="{9B0A27E1-8D10-4EC5-B2D1-E7FD459BBB1C}">
      <dsp:nvSpPr>
        <dsp:cNvPr id="0" name=""/>
        <dsp:cNvSpPr/>
      </dsp:nvSpPr>
      <dsp:spPr>
        <a:xfrm>
          <a:off x="2889797" y="1681725"/>
          <a:ext cx="1199490" cy="719694"/>
        </a:xfrm>
        <a:prstGeom prst="rect">
          <a:avLst/>
        </a:prstGeom>
        <a:solidFill>
          <a:schemeClr val="accent4">
            <a:hueOff val="3157398"/>
            <a:satOff val="-32336"/>
            <a:lumOff val="-1830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t>VMware Tools Installed</a:t>
          </a:r>
        </a:p>
      </dsp:txBody>
      <dsp:txXfrm>
        <a:off x="2889797" y="1681725"/>
        <a:ext cx="1199490" cy="719694"/>
      </dsp:txXfrm>
    </dsp:sp>
    <dsp:sp modelId="{B04BFC0A-A0CC-4066-9D32-A630F234D4AF}">
      <dsp:nvSpPr>
        <dsp:cNvPr id="0" name=""/>
        <dsp:cNvSpPr/>
      </dsp:nvSpPr>
      <dsp:spPr>
        <a:xfrm>
          <a:off x="1570357" y="2521368"/>
          <a:ext cx="1199490" cy="719694"/>
        </a:xfrm>
        <a:prstGeom prst="rect">
          <a:avLst/>
        </a:prstGeom>
        <a:solidFill>
          <a:schemeClr val="accent4">
            <a:hueOff val="3552073"/>
            <a:satOff val="-36378"/>
            <a:lumOff val="-2058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t>Linux System Requirements</a:t>
          </a:r>
        </a:p>
      </dsp:txBody>
      <dsp:txXfrm>
        <a:off x="1570357" y="2521368"/>
        <a:ext cx="1199490" cy="71969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EDA768-7C58-41A2-A0AF-0569A3F161C6}">
      <dsp:nvSpPr>
        <dsp:cNvPr id="0" name=""/>
        <dsp:cNvSpPr/>
      </dsp:nvSpPr>
      <dsp:spPr>
        <a:xfrm>
          <a:off x="244136" y="565"/>
          <a:ext cx="1203729" cy="722237"/>
        </a:xfrm>
        <a:prstGeom prst="rect">
          <a:avLst/>
        </a:prstGeom>
        <a:solidFill>
          <a:srgbClr val="FF000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Change OS to Windows Server 2008 R2 or later (very difficult)</a:t>
          </a:r>
        </a:p>
      </dsp:txBody>
      <dsp:txXfrm>
        <a:off x="244136" y="565"/>
        <a:ext cx="1203729" cy="722237"/>
      </dsp:txXfrm>
    </dsp:sp>
    <dsp:sp modelId="{93F07671-10A0-48E3-85C0-BB1A55F0F6CE}">
      <dsp:nvSpPr>
        <dsp:cNvPr id="0" name=""/>
        <dsp:cNvSpPr/>
      </dsp:nvSpPr>
      <dsp:spPr>
        <a:xfrm>
          <a:off x="1568238" y="565"/>
          <a:ext cx="1203729" cy="722237"/>
        </a:xfrm>
        <a:prstGeom prst="rect">
          <a:avLst/>
        </a:prstGeom>
        <a:solidFill>
          <a:srgbClr val="FFC00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Upgrade .Net version to 3.5.1 or greater (not difficult)</a:t>
          </a:r>
        </a:p>
      </dsp:txBody>
      <dsp:txXfrm>
        <a:off x="1568238" y="565"/>
        <a:ext cx="1203729" cy="722237"/>
      </dsp:txXfrm>
    </dsp:sp>
    <dsp:sp modelId="{5B170CFD-AC90-4D37-B0E6-9919DF4EF3A8}">
      <dsp:nvSpPr>
        <dsp:cNvPr id="0" name=""/>
        <dsp:cNvSpPr/>
      </dsp:nvSpPr>
      <dsp:spPr>
        <a:xfrm>
          <a:off x="2892340" y="565"/>
          <a:ext cx="1203729" cy="722237"/>
        </a:xfrm>
        <a:prstGeom prst="rect">
          <a:avLst/>
        </a:prstGeom>
        <a:solidFill>
          <a:srgbClr val="00B05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Compute Optimization</a:t>
          </a:r>
        </a:p>
      </dsp:txBody>
      <dsp:txXfrm>
        <a:off x="2892340" y="565"/>
        <a:ext cx="1203729" cy="722237"/>
      </dsp:txXfrm>
    </dsp:sp>
    <dsp:sp modelId="{FEABE3F9-1014-4A19-BBEF-70E0893E14CF}">
      <dsp:nvSpPr>
        <dsp:cNvPr id="0" name=""/>
        <dsp:cNvSpPr/>
      </dsp:nvSpPr>
      <dsp:spPr>
        <a:xfrm>
          <a:off x="906187" y="843175"/>
          <a:ext cx="1203729" cy="722237"/>
        </a:xfrm>
        <a:prstGeom prst="rect">
          <a:avLst/>
        </a:prstGeom>
        <a:solidFill>
          <a:srgbClr val="00B05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Storage Optimization</a:t>
          </a:r>
        </a:p>
      </dsp:txBody>
      <dsp:txXfrm>
        <a:off x="906187" y="843175"/>
        <a:ext cx="1203729" cy="722237"/>
      </dsp:txXfrm>
    </dsp:sp>
    <dsp:sp modelId="{DA58EB4A-4BAD-4288-B36E-ABE7B67B2E70}">
      <dsp:nvSpPr>
        <dsp:cNvPr id="0" name=""/>
        <dsp:cNvSpPr/>
      </dsp:nvSpPr>
      <dsp:spPr>
        <a:xfrm>
          <a:off x="2230289" y="843175"/>
          <a:ext cx="1203729" cy="722237"/>
        </a:xfrm>
        <a:prstGeom prst="rect">
          <a:avLst/>
        </a:prstGeom>
        <a:solidFill>
          <a:srgbClr val="00B05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etc.</a:t>
          </a:r>
        </a:p>
      </dsp:txBody>
      <dsp:txXfrm>
        <a:off x="2230289" y="843175"/>
        <a:ext cx="1203729" cy="722237"/>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007C94-5845-4B46-9429-99080CC2B25E}" type="datetimeFigureOut">
              <a:rPr lang="en-US" smtClean="0"/>
              <a:t>9/5/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88724A3-8D23-415C-96F2-F50C64D26F97}" type="slidenum">
              <a:rPr lang="en-US" smtClean="0"/>
              <a:t>‹#›</a:t>
            </a:fld>
            <a:endParaRPr lang="en-US"/>
          </a:p>
        </p:txBody>
      </p:sp>
    </p:spTree>
    <p:extLst>
      <p:ext uri="{BB962C8B-B14F-4D97-AF65-F5344CB8AC3E}">
        <p14:creationId xmlns:p14="http://schemas.microsoft.com/office/powerpoint/2010/main" val="37710390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azure.microsoft.com/en-us/services/cosmos-db/"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azure.microsoft.com/en-us/overview/productivity/" TargetMode="External"/><Relationship Id="rId2" Type="http://schemas.openxmlformats.org/officeDocument/2006/relationships/slide" Target="../slides/slide16.xml"/><Relationship Id="rId1" Type="http://schemas.openxmlformats.org/officeDocument/2006/relationships/notesMaster" Target="../notesMasters/notesMaster1.xml"/><Relationship Id="rId5" Type="http://schemas.openxmlformats.org/officeDocument/2006/relationships/hyperlink" Target="https://azure.microsoft.com/en-us/overview/intelligent/" TargetMode="External"/><Relationship Id="rId4" Type="http://schemas.openxmlformats.org/officeDocument/2006/relationships/hyperlink" Target="https://azure.microsoft.com/en-us/overview/hybrid-cloud/"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azure.microsoft.com/en-us/overview/productivity/" TargetMode="External"/><Relationship Id="rId2" Type="http://schemas.openxmlformats.org/officeDocument/2006/relationships/slide" Target="../slides/slide4.xml"/><Relationship Id="rId1" Type="http://schemas.openxmlformats.org/officeDocument/2006/relationships/notesMaster" Target="../notesMasters/notesMaster1.xml"/><Relationship Id="rId5" Type="http://schemas.openxmlformats.org/officeDocument/2006/relationships/hyperlink" Target="https://azure.microsoft.com/en-us/overview/intelligent/" TargetMode="External"/><Relationship Id="rId4" Type="http://schemas.openxmlformats.org/officeDocument/2006/relationships/hyperlink" Target="https://azure.microsoft.com/en-us/overview/hybrid-cloud/"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azure.microsoft.com/en-us/overview/productivity/" TargetMode="External"/><Relationship Id="rId2" Type="http://schemas.openxmlformats.org/officeDocument/2006/relationships/slide" Target="../slides/slide6.xml"/><Relationship Id="rId1" Type="http://schemas.openxmlformats.org/officeDocument/2006/relationships/notesMaster" Target="../notesMasters/notesMaster1.xml"/><Relationship Id="rId5" Type="http://schemas.openxmlformats.org/officeDocument/2006/relationships/hyperlink" Target="https://azure.microsoft.com/en-us/overview/intelligent/" TargetMode="External"/><Relationship Id="rId4" Type="http://schemas.openxmlformats.org/officeDocument/2006/relationships/hyperlink" Target="https://azure.microsoft.com/en-us/overview/hybrid-cloud/" TargetMode="External"/></Relationships>
</file>

<file path=ppt/notesSlides/_rels/notesSlide7.xml.rels><?xml version="1.0" encoding="UTF-8" standalone="yes"?>
<Relationships xmlns="http://schemas.openxmlformats.org/package/2006/relationships"><Relationship Id="rId8" Type="http://schemas.openxmlformats.org/officeDocument/2006/relationships/hyperlink" Target="https://azure.microsoft.com/en-us/features/cloud-shell/" TargetMode="External"/><Relationship Id="rId3" Type="http://schemas.openxmlformats.org/officeDocument/2006/relationships/hyperlink" Target="https://docs.microsoft.com/en-us/nodejs/azure/" TargetMode="External"/><Relationship Id="rId7" Type="http://schemas.openxmlformats.org/officeDocument/2006/relationships/hyperlink" Target="https://azure.microsoft.com/en-us/features/azure-portal/" TargetMode="External"/><Relationship Id="rId2" Type="http://schemas.openxmlformats.org/officeDocument/2006/relationships/slide" Target="../slides/slide7.xml"/><Relationship Id="rId1" Type="http://schemas.openxmlformats.org/officeDocument/2006/relationships/notesMaster" Target="../notesMasters/notesMaster1.xml"/><Relationship Id="rId6" Type="http://schemas.openxmlformats.org/officeDocument/2006/relationships/hyperlink" Target="https://azure.microsoft.com/en-us/services/" TargetMode="External"/><Relationship Id="rId5" Type="http://schemas.openxmlformats.org/officeDocument/2006/relationships/hyperlink" Target="https://docs.microsoft.com/en-us/dotnet/azure/" TargetMode="External"/><Relationship Id="rId4" Type="http://schemas.openxmlformats.org/officeDocument/2006/relationships/hyperlink" Target="https://docs.microsoft.com/en-us/java/azure/" TargetMode="External"/><Relationship Id="rId9" Type="http://schemas.openxmlformats.org/officeDocument/2006/relationships/hyperlink" Target="https://azure.microsoft.com/en-us/services/visual-studio-team-services/"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5/2018 9: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287184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a:t>Azure Stack: an extension of Azure</a:t>
            </a:r>
          </a:p>
          <a:p>
            <a:pPr marL="0" indent="0">
              <a:buFont typeface="Arial" panose="020B0604020202020204" pitchFamily="34" charset="0"/>
              <a:buNone/>
            </a:pPr>
            <a:endParaRPr lang="en-US" b="1"/>
          </a:p>
          <a:p>
            <a:pPr marL="171450" indent="-171450">
              <a:buFont typeface="Arial" panose="020B0604020202020204" pitchFamily="34" charset="0"/>
              <a:buChar char="•"/>
            </a:pPr>
            <a:r>
              <a:rPr lang="en-US"/>
              <a:t>One important aspect of the hybrid approach is Azure Stack. </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What is Azure Stack? </a:t>
            </a:r>
          </a:p>
          <a:p>
            <a:pPr marL="171450" indent="-171450">
              <a:buFont typeface="Arial" panose="020B0604020202020204" pitchFamily="34" charset="0"/>
              <a:buChar char="•"/>
            </a:pPr>
            <a:r>
              <a:rPr lang="en-US"/>
              <a:t>It’s the code of Azure that is instantiated on a small footprint, a on-premises server stack. </a:t>
            </a:r>
          </a:p>
          <a:p>
            <a:pPr marL="171450" indent="-171450">
              <a:buFont typeface="Arial" panose="020B0604020202020204" pitchFamily="34" charset="0"/>
              <a:buChar char="•"/>
            </a:pPr>
            <a:r>
              <a:rPr lang="en-US"/>
              <a:t>You can build applications using the same APIs, same capabilities, and the same management portal. </a:t>
            </a:r>
          </a:p>
          <a:p>
            <a:pPr marL="171450" indent="-171450">
              <a:buFont typeface="Arial" panose="020B0604020202020204" pitchFamily="34" charset="0"/>
              <a:buChar char="•"/>
            </a:pPr>
            <a:r>
              <a:rPr lang="en-US"/>
              <a:t>There are three reasons you may want to do that:</a:t>
            </a:r>
          </a:p>
          <a:p>
            <a:pPr marL="628650" lvl="1" indent="-171450">
              <a:buFont typeface="Arial" panose="020B0604020202020204" pitchFamily="34" charset="0"/>
              <a:buChar char="•"/>
            </a:pPr>
            <a:r>
              <a:rPr lang="en-US"/>
              <a:t>First, the disconnected and edge scenarios. </a:t>
            </a:r>
          </a:p>
          <a:p>
            <a:pPr marL="628650" lvl="1" indent="-171450">
              <a:buFont typeface="Arial" panose="020B0604020202020204" pitchFamily="34" charset="0"/>
              <a:buChar char="•"/>
            </a:pPr>
            <a:r>
              <a:rPr lang="en-US"/>
              <a:t>For example, cruise ships roaming the oceans that are not always connected, oil rigs in a remote situation that might not have high bandwidth. </a:t>
            </a:r>
          </a:p>
          <a:p>
            <a:pPr marL="628650" lvl="1" indent="-171450">
              <a:buFont typeface="Arial" panose="020B0604020202020204" pitchFamily="34" charset="0"/>
              <a:buChar char="•"/>
            </a:pPr>
            <a:r>
              <a:rPr lang="en-US"/>
              <a:t>Your application can run in Azure for connected environments and locally on Azure Stack for the disconnected environments.</a:t>
            </a:r>
          </a:p>
          <a:p>
            <a:pPr marL="171450" indent="-171450">
              <a:buFont typeface="Arial" panose="020B0604020202020204" pitchFamily="34" charset="0"/>
              <a:buChar char="•"/>
            </a:pPr>
            <a:endParaRPr lang="en-US"/>
          </a:p>
          <a:p>
            <a:pPr marL="628650" lvl="1" indent="-171450">
              <a:buFont typeface="Arial" panose="020B0604020202020204" pitchFamily="34" charset="0"/>
              <a:buChar char="•"/>
            </a:pPr>
            <a:r>
              <a:rPr lang="en-US"/>
              <a:t>The second scenario is regulatory. </a:t>
            </a:r>
          </a:p>
          <a:p>
            <a:pPr marL="628650" lvl="1" indent="-171450">
              <a:buFont typeface="Arial" panose="020B0604020202020204" pitchFamily="34" charset="0"/>
              <a:buChar char="•"/>
            </a:pPr>
            <a:r>
              <a:rPr lang="en-US"/>
              <a:t>Where there are specific regulatory requirements about data leaving the country, but there is no Azure data center, you can have Azure Stack to meet local regulatory requirements.</a:t>
            </a:r>
          </a:p>
          <a:p>
            <a:pPr marL="628650" lvl="1" indent="-171450">
              <a:buFont typeface="Arial" panose="020B0604020202020204" pitchFamily="34" charset="0"/>
              <a:buChar char="•"/>
            </a:pPr>
            <a:endParaRPr lang="en-US"/>
          </a:p>
          <a:p>
            <a:pPr marL="628650" lvl="1" indent="-171450">
              <a:buFont typeface="Arial" panose="020B0604020202020204" pitchFamily="34" charset="0"/>
              <a:buChar char="•"/>
            </a:pPr>
            <a:r>
              <a:rPr lang="en-US"/>
              <a:t>The last one is where you may want to move to cloud-first model but are limited due to restrictions such as having a mainframe application that cannot be moved to the cloud and you need to have it close to the cloud components.</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Azure Stack is delivered as an integrated systems. It is delivered through hardware partners such as Dell and HP.</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5/2018 9: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564290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icrosoft Azure: the cloud for intelligent solutions </a:t>
            </a:r>
          </a:p>
          <a:p>
            <a:endParaRPr lang="en-US" b="1" dirty="0"/>
          </a:p>
          <a:p>
            <a:pPr marL="171450" indent="-171450">
              <a:buFont typeface="Arial" panose="020B0604020202020204" pitchFamily="34" charset="0"/>
              <a:buChar char="•"/>
            </a:pPr>
            <a:r>
              <a:rPr lang="en-US" dirty="0"/>
              <a:t>In addition to having the traditional on-premises enterprise data tools—such as SQL Server—Azure provides SQL services that connects data to AI services. </a:t>
            </a:r>
          </a:p>
          <a:p>
            <a:pPr marL="171450" indent="-171450">
              <a:buFont typeface="Arial" panose="020B0604020202020204" pitchFamily="34" charset="0"/>
              <a:buChar char="•"/>
            </a:pPr>
            <a:r>
              <a:rPr lang="en-US" dirty="0"/>
              <a:t>This enables quick adoption of technologies, such as deploying a global mobile application that integrates with facial recognition services. </a:t>
            </a:r>
          </a:p>
          <a:p>
            <a:pPr marL="171450" indent="-171450">
              <a:buFont typeface="Arial" panose="020B0604020202020204" pitchFamily="34" charset="0"/>
              <a:buChar char="•"/>
            </a:pPr>
            <a:r>
              <a:rPr lang="en-US" dirty="0"/>
              <a:t>The ease of integration enables anyone to build solutions like that. </a:t>
            </a:r>
          </a:p>
          <a:p>
            <a:pPr marL="171450" indent="-171450">
              <a:buFont typeface="Arial" panose="020B0604020202020204" pitchFamily="34" charset="0"/>
              <a:buChar char="•"/>
            </a:pPr>
            <a:r>
              <a:rPr lang="en-US" dirty="0"/>
              <a:t>From bot frameworks to cognitive services, you can fundamentally change the way your business goes to market with Microsoft’s power AI platform</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06579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b="1" dirty="0"/>
              <a:t>Develop breakthrough apps with built-in intelligence</a:t>
            </a:r>
          </a:p>
          <a:p>
            <a:r>
              <a:rPr lang="en-US" dirty="0"/>
              <a:t>Take advantage of a comprehensive set of services, infrastructure, and tools to build AI-powered experiences including bots that naturally interact with users and built-in advanced analytics tools, such as R, to make faster predictions.</a:t>
            </a:r>
          </a:p>
          <a:p>
            <a:r>
              <a:rPr lang="en-US" dirty="0"/>
              <a:t>Elastically scale storage and performance with </a:t>
            </a:r>
            <a:r>
              <a:rPr lang="en-US" dirty="0">
                <a:hlinkClick r:id="rId3"/>
              </a:rPr>
              <a:t>Azure Cosmos DB</a:t>
            </a:r>
            <a:r>
              <a:rPr lang="en-US" dirty="0"/>
              <a:t>, the first globally distributed database service that delivers horizontal scale-out with guaranteed single digit millisecond latency.</a:t>
            </a:r>
          </a:p>
          <a:p>
            <a:r>
              <a:rPr lang="en-US" dirty="0"/>
              <a:t>Rest assured with managed service capabilities such as built-in monitoring, threat detection, automatic patching, and backups.</a:t>
            </a:r>
          </a:p>
          <a:p>
            <a:endParaRPr lang="en-US" dirty="0"/>
          </a:p>
          <a:p>
            <a:r>
              <a:rPr lang="en-US" b="1" dirty="0"/>
              <a:t>Expand your possibilities with an open platform</a:t>
            </a:r>
          </a:p>
          <a:p>
            <a:r>
              <a:rPr lang="en-US" dirty="0"/>
              <a:t>Build apps for any scenario with familiar technologies of your choice and a comprehensive set of data engines such as PostgreSQL, MySQL, MongoDB and Hadoop.</a:t>
            </a:r>
          </a:p>
          <a:p>
            <a:r>
              <a:rPr lang="en-US" dirty="0"/>
              <a:t>Leverage advanced analytics and AI services and tools such as Spark, and </a:t>
            </a:r>
            <a:r>
              <a:rPr lang="en-US" dirty="0" err="1"/>
              <a:t>Jupyter</a:t>
            </a:r>
            <a:r>
              <a:rPr lang="en-US" dirty="0"/>
              <a:t> Notebooks.</a:t>
            </a:r>
          </a:p>
          <a:p>
            <a:endParaRPr lang="en-US" dirty="0"/>
          </a:p>
          <a:p>
            <a:r>
              <a:rPr lang="en-US" b="1" dirty="0"/>
              <a:t>Build and deploy custom AI models at scale</a:t>
            </a:r>
          </a:p>
          <a:p>
            <a:r>
              <a:rPr lang="en-US" dirty="0"/>
              <a:t>Work across teams to build, test and manage different versions of your models in production with Azure Machine Learning Studio, Workbench, Experimentation, and Model management. Build rich AI applications with a family of GPUs `optimized for deep learning AI scenarios and run large-scale, massively parallel development with Azure Batch. Debug, test and deploy across platforms with Visual Studio Code.</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92556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Trusted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ompliance and trust is not an afterthought at Microsof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We are leaders in this space, and help set standards for global and federal organizations around the worl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171450" indent="-171450">
              <a:buFont typeface="Arial" panose="020B0604020202020204" pitchFamily="34" charset="0"/>
              <a:buChar char="•"/>
            </a:pPr>
            <a:r>
              <a:rPr lang="en-US" dirty="0"/>
              <a:t>Microsoft has been talking about trust in the cloud for a while and will continue to do so. </a:t>
            </a:r>
          </a:p>
          <a:p>
            <a:pPr marL="171450" indent="-171450">
              <a:buFont typeface="Arial" panose="020B0604020202020204" pitchFamily="34" charset="0"/>
              <a:buChar char="•"/>
            </a:pPr>
            <a:r>
              <a:rPr lang="en-US" dirty="0"/>
              <a:t>This is only a sampling of our compliance certifications, but we run the gamut. </a:t>
            </a:r>
          </a:p>
          <a:p>
            <a:pPr marL="171450" indent="-171450">
              <a:buFont typeface="Arial" panose="020B0604020202020204" pitchFamily="34" charset="0"/>
              <a:buChar char="•"/>
            </a:pPr>
            <a:r>
              <a:rPr lang="en-US" dirty="0"/>
              <a:t>Azure’s strengths are around security, privacy, and transparency around how we run the cloud. </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57135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rusted</a:t>
            </a:r>
          </a:p>
          <a:p>
            <a:endParaRPr lang="en-US" b="1" dirty="0"/>
          </a:p>
          <a:p>
            <a:pPr marL="171450" indent="-171450">
              <a:buFont typeface="Arial" panose="020B0604020202020204" pitchFamily="34" charset="0"/>
              <a:buChar char="•"/>
            </a:pPr>
            <a:r>
              <a:rPr lang="en-US" dirty="0"/>
              <a:t>Azure is continuing expand its infrastructure footprint around the globe.</a:t>
            </a:r>
          </a:p>
          <a:p>
            <a:pPr marL="171450" indent="-171450">
              <a:buFont typeface="Arial" panose="020B0604020202020204" pitchFamily="34" charset="0"/>
              <a:buChar char="•"/>
            </a:pPr>
            <a:r>
              <a:rPr lang="en-US" dirty="0"/>
              <a:t>In fact, Microsoft is the first cloud provider to put data centers in South Africa. </a:t>
            </a:r>
          </a:p>
          <a:p>
            <a:pPr marL="171450" indent="-171450">
              <a:buFont typeface="Arial" panose="020B0604020202020204" pitchFamily="34" charset="0"/>
              <a:buChar char="•"/>
            </a:pPr>
            <a:r>
              <a:rPr lang="en-US" dirty="0"/>
              <a:t>Right now, we’re at 42 Azure regions—which is more than AWS and Google </a:t>
            </a:r>
            <a:r>
              <a:rPr lang="en-US" i="1" dirty="0"/>
              <a:t>combined.</a:t>
            </a:r>
            <a:endParaRPr lang="en-US" dirty="0"/>
          </a:p>
          <a:p>
            <a:pPr marL="171450" indent="-171450">
              <a:buFont typeface="Arial" panose="020B0604020202020204" pitchFamily="34" charset="0"/>
              <a:buChar char="•"/>
            </a:pPr>
            <a:r>
              <a:rPr lang="en-US" dirty="0"/>
              <a:t>The approach Azure takes is different as it is important for enterprise customers to have data in region, close to employees, close to customers as well as have unique data handling capabilities.</a:t>
            </a:r>
          </a:p>
          <a:p>
            <a:endParaRPr lang="en-US" dirty="0"/>
          </a:p>
          <a:p>
            <a:r>
              <a:rPr lang="en-US" dirty="0"/>
              <a:t>Learn more:</a:t>
            </a:r>
          </a:p>
          <a:p>
            <a:pPr marL="171450" indent="-171450">
              <a:buFont typeface="Arial" panose="020B0604020202020204" pitchFamily="34" charset="0"/>
              <a:buChar char="•"/>
            </a:pPr>
            <a:r>
              <a:rPr lang="en-US" dirty="0"/>
              <a:t>For more information on how we run and secure the datacenters, there are more resources online.</a:t>
            </a:r>
          </a:p>
          <a:p>
            <a:pPr marL="171450" indent="-171450">
              <a:buFont typeface="Arial" panose="020B0604020202020204" pitchFamily="34" charset="0"/>
              <a:buChar char="•"/>
            </a:pPr>
            <a:r>
              <a:rPr lang="en-US" dirty="0"/>
              <a:t>Tours are available for our datacenters if you wish to see the capabilities and technologies that are in use in Azure.</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41790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Understand security state across on-premises and cloud workloads</a:t>
            </a:r>
          </a:p>
          <a:p>
            <a:r>
              <a:rPr lang="en-US" dirty="0"/>
              <a:t>Get a unified view of security across all of your on-premises and cloud workloads. Automatically discover and onboard new Azure resources, and apply security policies across your hybrid cloud workloads to ensure compliance with security standards. Collect, search, and analyze security data from a variety of sources, including firewalls and other partner solutions.</a:t>
            </a:r>
          </a:p>
          <a:p>
            <a:endParaRPr lang="en-US" dirty="0"/>
          </a:p>
          <a:p>
            <a:endParaRPr lang="en-US" dirty="0"/>
          </a:p>
          <a:p>
            <a:r>
              <a:rPr lang="en-US" b="1" dirty="0"/>
              <a:t>Find vulnerabilities and remediate quickly</a:t>
            </a:r>
          </a:p>
          <a:p>
            <a:r>
              <a:rPr lang="en-US" dirty="0"/>
              <a:t>Continuously monitor the security of your machines, networks, and Azure services using hundreds of built-in security assessments or create your own. Use actionable security recommendations to remediate issues before they can be exploited.</a:t>
            </a:r>
          </a:p>
          <a:p>
            <a:endParaRPr lang="en-US" dirty="0"/>
          </a:p>
          <a:p>
            <a:r>
              <a:rPr lang="en-US" b="1" dirty="0"/>
              <a:t>Limit your exposure to threats</a:t>
            </a:r>
          </a:p>
          <a:p>
            <a:r>
              <a:rPr lang="en-US" dirty="0"/>
              <a:t>Enable adaptive threat protections to reduce exposure to attacks. Block malware and other unwanted code by applying application controls adapted to your specific workloads and powered by machine learning. Enable just-in-time, controlled access to management ports on Azure VMs to drastically reduce surface area exposed to brute force and other network attacks.</a:t>
            </a:r>
          </a:p>
          <a:p>
            <a:endParaRPr lang="en-US" dirty="0"/>
          </a:p>
          <a:p>
            <a:endParaRPr lang="en-US" dirty="0"/>
          </a:p>
          <a:p>
            <a:r>
              <a:rPr lang="en-US" b="1" dirty="0"/>
              <a:t>Detect and respond swiftly to attacks</a:t>
            </a:r>
          </a:p>
          <a:p>
            <a:r>
              <a:rPr lang="en-US" dirty="0"/>
              <a:t>Use advanced analytics and the Microsoft Intelligent Security Graph to get an edge over evolving cyber attacks. Leverage built-in behavioral analytics and machine learning to identify attacks and zero-day exploits. Monitor networks, machines, and cloud services for incoming attacks and post-breach activity. Streamline investigation with interactive tools and contextual threat intelligence.</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405126-A9F4-CF45-B123-BDF1F03605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49268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Azure. Cloud for al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se 4 pillars represent the main value proposition for what differentiates Azure from the competi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s you can see in the proof points, these are the reason why customers choose Microsoft, because of the unique value that we provide in a productive, hybrid, intelligent, and trusted cloud.</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With Azure, you can do—or </a:t>
            </a:r>
            <a:r>
              <a:rPr lang="en-US" b="0" i="1" dirty="0"/>
              <a:t>be</a:t>
            </a:r>
            <a:r>
              <a:rPr lang="en-US" b="0" i="0" dirty="0"/>
              <a:t>—all of these thing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Productive</a:t>
            </a:r>
          </a:p>
          <a:p>
            <a:pPr marL="171450" indent="-171450">
              <a:buFont typeface="Arial" panose="020B0604020202020204" pitchFamily="34" charset="0"/>
              <a:buChar char="•"/>
            </a:pPr>
            <a:r>
              <a:rPr lang="en-US" dirty="0"/>
              <a:t>Get unparalleled developer productivity with integrated tools from mobile DevOps to </a:t>
            </a:r>
            <a:r>
              <a:rPr lang="en-US" dirty="0" err="1"/>
              <a:t>serverless</a:t>
            </a:r>
            <a:r>
              <a:rPr lang="en-US" dirty="0"/>
              <a:t> computing.</a:t>
            </a:r>
          </a:p>
          <a:p>
            <a:pPr marL="171450" indent="-171450">
              <a:buFont typeface="Arial" panose="020B0604020202020204" pitchFamily="34" charset="0"/>
              <a:buChar char="•"/>
            </a:pPr>
            <a:r>
              <a:rPr lang="en-US" dirty="0">
                <a:hlinkClick r:id="rId3"/>
              </a:rPr>
              <a:t>Learn about accelerating innovation</a:t>
            </a:r>
            <a:r>
              <a:rPr lang="en-US" dirty="0"/>
              <a:t> </a:t>
            </a:r>
          </a:p>
          <a:p>
            <a:pPr marL="171450" indent="-171450">
              <a:buFont typeface="Arial" panose="020B0604020202020204" pitchFamily="34" charset="0"/>
              <a:buChar char="•"/>
            </a:pPr>
            <a:r>
              <a:rPr lang="en-US" b="1" dirty="0"/>
              <a:t>Hybrid</a:t>
            </a:r>
          </a:p>
          <a:p>
            <a:pPr marL="171450" indent="-171450">
              <a:buFont typeface="Arial" panose="020B0604020202020204" pitchFamily="34" charset="0"/>
              <a:buChar char="•"/>
            </a:pPr>
            <a:r>
              <a:rPr lang="en-US" dirty="0"/>
              <a:t>Develop and deploy where you want, with the only consistent hybrid cloud on the market. Extend Azure on-premises with Azure Stack.</a:t>
            </a:r>
          </a:p>
          <a:p>
            <a:pPr marL="171450" indent="-171450">
              <a:buFont typeface="Arial" panose="020B0604020202020204" pitchFamily="34" charset="0"/>
              <a:buChar char="•"/>
            </a:pPr>
            <a:r>
              <a:rPr lang="en-US" dirty="0">
                <a:hlinkClick r:id="rId4"/>
              </a:rPr>
              <a:t>Learn about our consistent hybrid cloud</a:t>
            </a:r>
            <a:r>
              <a:rPr lang="en-US" dirty="0"/>
              <a:t> </a:t>
            </a:r>
          </a:p>
          <a:p>
            <a:pPr marL="171450" indent="-171450">
              <a:buFont typeface="Arial" panose="020B0604020202020204" pitchFamily="34" charset="0"/>
              <a:buChar char="•"/>
            </a:pPr>
            <a:r>
              <a:rPr lang="en-US" b="1" dirty="0"/>
              <a:t>Intelligent</a:t>
            </a:r>
          </a:p>
          <a:p>
            <a:pPr marL="171450" indent="-171450">
              <a:buFont typeface="Arial" panose="020B0604020202020204" pitchFamily="34" charset="0"/>
              <a:buChar char="•"/>
            </a:pPr>
            <a:r>
              <a:rPr lang="en-US" dirty="0"/>
              <a:t>Create intelligent apps that delight with data-driven experiences. Go quickly from concept to release with Azure data services and artificial intelligence, from image recognition to bot services.</a:t>
            </a:r>
          </a:p>
          <a:p>
            <a:pPr marL="171450" indent="-171450">
              <a:buFont typeface="Arial" panose="020B0604020202020204" pitchFamily="34" charset="0"/>
              <a:buChar char="•"/>
            </a:pPr>
            <a:r>
              <a:rPr lang="en-US" dirty="0">
                <a:hlinkClick r:id="rId5"/>
              </a:rPr>
              <a:t>Learn about intelligent apps</a:t>
            </a:r>
            <a:r>
              <a:rPr lang="en-US" dirty="0"/>
              <a:t> </a:t>
            </a:r>
          </a:p>
          <a:p>
            <a:pPr marL="171450" indent="-171450">
              <a:buFont typeface="Arial" panose="020B0604020202020204" pitchFamily="34" charset="0"/>
              <a:buChar char="•"/>
            </a:pPr>
            <a:r>
              <a:rPr lang="en-US" b="1" dirty="0"/>
              <a:t>Trusted</a:t>
            </a:r>
          </a:p>
          <a:p>
            <a:pPr marL="171450" indent="-171450">
              <a:buFont typeface="Arial" panose="020B0604020202020204" pitchFamily="34" charset="0"/>
              <a:buChar char="•"/>
            </a:pPr>
            <a:r>
              <a:rPr lang="en-US" dirty="0"/>
              <a:t>Join startups, governments, and 90 percent of Fortune 500s that trust the Microsoft Cloud for security, privacy, transparency, and the most compliance coverage of any cloud provider.</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5/2018 9: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605766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Azure Marchitectu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is is a broad overview of the 140+ azure services we have available for customer us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y are organized by Tools, Advanced workloads (PaaS), core infra (IaaS), and Azure Stack + hybri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is is not a complete listing of all the of the services, but highlights some of the key/main areas that customers need.</a:t>
            </a:r>
          </a:p>
          <a:p>
            <a:endParaRPr lang="en-US" dirty="0"/>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WPC 2015</a:t>
            </a:r>
          </a:p>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mn-cs"/>
              </a:rPr>
              <a:pPr marL="0" marR="0" lvl="0" indent="0" algn="r" defTabSz="931774" rtl="0" eaLnBrk="1" fontAlgn="auto" latinLnBrk="0" hangingPunct="1">
                <a:lnSpc>
                  <a:spcPct val="100000"/>
                </a:lnSpc>
                <a:spcBef>
                  <a:spcPts val="0"/>
                </a:spcBef>
                <a:spcAft>
                  <a:spcPts val="0"/>
                </a:spcAft>
                <a:buClrTx/>
                <a:buSzTx/>
                <a:buFontTx/>
                <a:buNone/>
                <a:tabLst/>
                <a:defRPr/>
              </a:pPr>
              <a:t>9/5/2018 9:50 PM</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mn-cs"/>
              </a:rPr>
              <a:pPr marL="0" marR="0" lvl="0" indent="0" algn="r" defTabSz="931774"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mn-cs"/>
            </a:endParaRPr>
          </a:p>
        </p:txBody>
      </p:sp>
    </p:spTree>
    <p:extLst>
      <p:ext uri="{BB962C8B-B14F-4D97-AF65-F5344CB8AC3E}">
        <p14:creationId xmlns:p14="http://schemas.microsoft.com/office/powerpoint/2010/main" val="31575115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ving to HANA might</a:t>
            </a:r>
            <a:r>
              <a:rPr lang="en-US" baseline="0" dirty="0"/>
              <a:t> be on the top of CIOs minds these days, but modernizing SAP environments doesn’t have to be just about the move to HANA. By bringing the benefits of the cloud into your SAP landscapes, you achieve significant cost savings and agility. This gets you one step closer to transformation even if you are planning on HANA transition down the road.</a:t>
            </a:r>
          </a:p>
          <a:p>
            <a:endParaRPr lang="en-US" dirty="0"/>
          </a:p>
          <a:p>
            <a:r>
              <a:rPr lang="en-US" dirty="0"/>
              <a:t>Azure has a wide</a:t>
            </a:r>
            <a:r>
              <a:rPr lang="en-US" baseline="0" dirty="0"/>
              <a:t> set of SAP </a:t>
            </a:r>
            <a:r>
              <a:rPr lang="en-US" baseline="0" dirty="0" err="1"/>
              <a:t>Netweaver</a:t>
            </a:r>
            <a:r>
              <a:rPr lang="en-US" baseline="0" dirty="0"/>
              <a:t> certifications for production and non-production scenarios so you can take immediate advantage of the cloud scale, speed and economics.</a:t>
            </a:r>
          </a:p>
          <a:p>
            <a:endParaRPr lang="en-US" dirty="0"/>
          </a:p>
          <a:p>
            <a:r>
              <a:rPr lang="en-US" dirty="0"/>
              <a:t>For instance,</a:t>
            </a:r>
            <a:r>
              <a:rPr lang="en-US" baseline="0" dirty="0"/>
              <a:t> you can run your Dev/Test for SAP environments on pay-as-you-go VM infrastructure and save 40-75% on TCO. You can implement DR in Azure with out-of-the-box </a:t>
            </a:r>
            <a:r>
              <a:rPr lang="en-US" baseline="0" dirty="0" err="1"/>
              <a:t>DRaaS</a:t>
            </a:r>
            <a:r>
              <a:rPr lang="en-US" baseline="0" dirty="0"/>
              <a:t> capabilities of Azure. This differentiates Azure from other public cloud providers.</a:t>
            </a:r>
          </a:p>
          <a:p>
            <a:endParaRPr lang="en-US" baseline="0" dirty="0"/>
          </a:p>
          <a:p>
            <a:r>
              <a:rPr lang="en-US" baseline="0" dirty="0"/>
              <a:t>You can use cheap and reliable storage to save your enormous SAP historical data for archiving or compliance purposes. Of course, you can run your production environments in Azure as well and free up datacenter capacity or consolidate datacenters. </a:t>
            </a:r>
          </a:p>
          <a:p>
            <a:endParaRPr lang="en-US" baseline="0" dirty="0"/>
          </a:p>
          <a:p>
            <a:r>
              <a:rPr lang="en-US" baseline="0" dirty="0"/>
              <a:t>On top of all the cost efficiencies and agility, you can also take advantage of Azure services like ML to drive insights from your business data and optimize your business processes with the new-found intelligence.</a:t>
            </a:r>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DCA736C-07C6-423F-9230-7C5E3D520112}"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959745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88724A3-8D23-415C-96F2-F50C64D26F97}" type="slidenum">
              <a:rPr lang="en-US" smtClean="0"/>
              <a:t>19</a:t>
            </a:fld>
            <a:endParaRPr lang="en-US"/>
          </a:p>
        </p:txBody>
      </p:sp>
    </p:spTree>
    <p:extLst>
      <p:ext uri="{BB962C8B-B14F-4D97-AF65-F5344CB8AC3E}">
        <p14:creationId xmlns:p14="http://schemas.microsoft.com/office/powerpoint/2010/main" val="30953768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900" dirty="0">
                <a:solidFill>
                  <a:srgbClr val="505050"/>
                </a:solidFill>
                <a:latin typeface="Segoe UI Light"/>
                <a:ea typeface="Segoe UI" pitchFamily="34" charset="0"/>
                <a:cs typeface="Segoe UI" panose="020B0502040204020203" pitchFamily="34" charset="0"/>
              </a:rPr>
              <a:t>There are many scenarios under which </a:t>
            </a:r>
            <a:r>
              <a:rPr lang="en-US" sz="900" baseline="0" dirty="0">
                <a:solidFill>
                  <a:srgbClr val="505050"/>
                </a:solidFill>
                <a:latin typeface="Segoe UI Light"/>
                <a:ea typeface="Segoe UI" pitchFamily="34" charset="0"/>
                <a:cs typeface="Segoe UI" panose="020B0502040204020203" pitchFamily="34" charset="0"/>
              </a:rPr>
              <a:t>Lift and Shift is the best approach:</a:t>
            </a:r>
          </a:p>
          <a:p>
            <a:pPr marL="0" marR="0" lvl="0" indent="0" algn="l" defTabSz="914400" rtl="0" eaLnBrk="1" fontAlgn="ctr" latinLnBrk="0" hangingPunct="1">
              <a:lnSpc>
                <a:spcPct val="100000"/>
              </a:lnSpc>
              <a:spcBef>
                <a:spcPts val="0"/>
              </a:spcBef>
              <a:spcAft>
                <a:spcPts val="0"/>
              </a:spcAft>
              <a:buClrTx/>
              <a:buSzTx/>
              <a:buFontTx/>
              <a:buNone/>
              <a:tabLst/>
              <a:defRPr/>
            </a:pPr>
            <a:endParaRPr lang="en-US" sz="900" baseline="0" dirty="0">
              <a:solidFill>
                <a:srgbClr val="505050"/>
              </a:solidFill>
              <a:latin typeface="Segoe UI Light"/>
              <a:ea typeface="Segoe UI" pitchFamily="34" charset="0"/>
              <a:cs typeface="Segoe UI" panose="020B0502040204020203" pitchFamily="34" charset="0"/>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900" dirty="0">
                <a:solidFill>
                  <a:srgbClr val="505050"/>
                </a:solidFill>
                <a:latin typeface="Segoe UI Light"/>
                <a:ea typeface="Segoe UI" pitchFamily="34" charset="0"/>
                <a:cs typeface="Segoe UI" panose="020B0502040204020203" pitchFamily="34" charset="0"/>
              </a:rPr>
              <a:t>Want to move to Cloud as-is</a:t>
            </a:r>
            <a:r>
              <a:rPr lang="en-US" sz="900" baseline="0" dirty="0">
                <a:solidFill>
                  <a:srgbClr val="505050"/>
                </a:solidFill>
                <a:latin typeface="Segoe UI Light"/>
                <a:ea typeface="Segoe UI" pitchFamily="34" charset="0"/>
                <a:cs typeface="Segoe UI" panose="020B0502040204020203" pitchFamily="34" charset="0"/>
              </a:rPr>
              <a:t> to lower your maintenance costs taking advantage of cloud infrastructure </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endParaRPr lang="en-US" sz="900" dirty="0">
              <a:solidFill>
                <a:srgbClr val="505050"/>
              </a:solidFill>
              <a:latin typeface="Segoe UI Light"/>
              <a:ea typeface="Segoe UI" pitchFamily="34" charset="0"/>
              <a:cs typeface="Segoe UI" panose="020B0502040204020203" pitchFamily="34" charset="0"/>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900" dirty="0">
                <a:solidFill>
                  <a:srgbClr val="505050"/>
                </a:solidFill>
                <a:latin typeface="Segoe UI Light"/>
                <a:ea typeface="Segoe UI" pitchFamily="34" charset="0"/>
                <a:cs typeface="Segoe UI" panose="020B0502040204020203" pitchFamily="34" charset="0"/>
              </a:rPr>
              <a:t>Want to avoid the burden of owning on-premises servers and data centers. </a:t>
            </a:r>
            <a:endParaRPr lang="en-US" sz="900" dirty="0">
              <a:gradFill>
                <a:gsLst>
                  <a:gs pos="2917">
                    <a:srgbClr val="FFFFFF"/>
                  </a:gs>
                  <a:gs pos="30000">
                    <a:srgbClr val="FFFFFF"/>
                  </a:gs>
                </a:gsLst>
                <a:lin ang="5400000" scaled="0"/>
              </a:gradFill>
              <a:latin typeface="Segoe UI"/>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endParaRPr lang="en-US" sz="900" dirty="0">
              <a:solidFill>
                <a:srgbClr val="505050"/>
              </a:solidFill>
              <a:latin typeface="Segoe UI Light"/>
              <a:ea typeface="Segoe UI" pitchFamily="34" charset="0"/>
              <a:cs typeface="Segoe UI" panose="020B0502040204020203" pitchFamily="34" charset="0"/>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900" dirty="0">
                <a:solidFill>
                  <a:srgbClr val="505050"/>
                </a:solidFill>
                <a:latin typeface="Segoe UI Light"/>
                <a:ea typeface="Segoe UI" pitchFamily="34" charset="0"/>
                <a:cs typeface="Segoe UI" panose="020B0502040204020203" pitchFamily="34" charset="0"/>
              </a:rPr>
              <a:t>Need a scale-on-demand capacity with no change in application environment needed. </a:t>
            </a:r>
            <a:endParaRPr lang="en-US" sz="1000" spc="20" dirty="0">
              <a:solidFill>
                <a:srgbClr val="3C3C3C">
                  <a:lumMod val="50000"/>
                </a:srgbClr>
              </a:solidFill>
              <a:latin typeface="Segoe UI Light"/>
              <a:cs typeface="Segoe UI Semibold" panose="020B0702040204020203" pitchFamily="34" charset="0"/>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endParaRPr lang="en-US" sz="900" dirty="0">
              <a:solidFill>
                <a:srgbClr val="505050"/>
              </a:solidFill>
              <a:latin typeface="Segoe UI Light"/>
              <a:ea typeface="Segoe UI" pitchFamily="34" charset="0"/>
              <a:cs typeface="Segoe UI" panose="020B0502040204020203" pitchFamily="34" charset="0"/>
            </a:endParaRPr>
          </a:p>
          <a:p>
            <a:pPr marL="171450" indent="-171450" rtl="0" eaLnBrk="1" fontAlgn="ctr" latinLnBrk="0" hangingPunct="1">
              <a:buFont typeface="Arial" panose="020B0604020202020204" pitchFamily="34" charset="0"/>
              <a:buChar char="•"/>
            </a:pPr>
            <a:r>
              <a:rPr lang="en-US" sz="900" b="0" i="0" u="none" strike="noStrike" kern="1200" dirty="0">
                <a:solidFill>
                  <a:schemeClr val="tx1"/>
                </a:solidFill>
                <a:effectLst/>
                <a:latin typeface="Segoe UI Light" pitchFamily="34" charset="0"/>
                <a:ea typeface="+mn-ea"/>
                <a:cs typeface="+mn-cs"/>
              </a:rPr>
              <a:t>Need disaster recovery </a:t>
            </a:r>
          </a:p>
        </p:txBody>
      </p:sp>
      <p:sp>
        <p:nvSpPr>
          <p:cNvPr id="4" name="Footer Placeholder 3"/>
          <p:cNvSpPr>
            <a:spLocks noGrp="1"/>
          </p:cNvSpPr>
          <p:nvPr>
            <p:ph type="ftr" sz="quarter" idx="10"/>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9/5/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812119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88724A3-8D23-415C-96F2-F50C64D26F97}" type="slidenum">
              <a:rPr lang="en-US" smtClean="0"/>
              <a:t>20</a:t>
            </a:fld>
            <a:endParaRPr lang="en-US"/>
          </a:p>
        </p:txBody>
      </p:sp>
    </p:spTree>
    <p:extLst>
      <p:ext uri="{BB962C8B-B14F-4D97-AF65-F5344CB8AC3E}">
        <p14:creationId xmlns:p14="http://schemas.microsoft.com/office/powerpoint/2010/main" val="19522270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88724A3-8D23-415C-96F2-F50C64D26F97}" type="slidenum">
              <a:rPr lang="en-US" smtClean="0"/>
              <a:t>21</a:t>
            </a:fld>
            <a:endParaRPr lang="en-US"/>
          </a:p>
        </p:txBody>
      </p:sp>
    </p:spTree>
    <p:extLst>
      <p:ext uri="{BB962C8B-B14F-4D97-AF65-F5344CB8AC3E}">
        <p14:creationId xmlns:p14="http://schemas.microsoft.com/office/powerpoint/2010/main" val="7509253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88724A3-8D23-415C-96F2-F50C64D26F97}" type="slidenum">
              <a:rPr lang="en-US" smtClean="0"/>
              <a:t>22</a:t>
            </a:fld>
            <a:endParaRPr lang="en-US"/>
          </a:p>
        </p:txBody>
      </p:sp>
    </p:spTree>
    <p:extLst>
      <p:ext uri="{BB962C8B-B14F-4D97-AF65-F5344CB8AC3E}">
        <p14:creationId xmlns:p14="http://schemas.microsoft.com/office/powerpoint/2010/main" val="425853376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47201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EBE5A9D-A977-4BC0-B298-CDF48BBF95C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5/2018 9:5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097488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These 4 pillars represent the main value proposition for what differentiates Azure from the competition. As you can see in the proof points, these are the reason why customers choose Microsoft, because of the unique value that we provide in a productive, hybrid, intelligent, and trusted cloud.</a:t>
            </a:r>
          </a:p>
          <a:p>
            <a:endParaRPr lang="en-US"/>
          </a:p>
          <a:p>
            <a:r>
              <a:rPr lang="en-US" b="1"/>
              <a:t>Productive</a:t>
            </a:r>
          </a:p>
          <a:p>
            <a:r>
              <a:rPr lang="en-US"/>
              <a:t>Get unparalleled developer productivity with integrated tools from mobile DevOps to </a:t>
            </a:r>
            <a:r>
              <a:rPr lang="en-US" err="1"/>
              <a:t>serverless</a:t>
            </a:r>
            <a:r>
              <a:rPr lang="en-US"/>
              <a:t> computing.</a:t>
            </a:r>
          </a:p>
          <a:p>
            <a:r>
              <a:rPr lang="en-US">
                <a:hlinkClick r:id="rId3"/>
              </a:rPr>
              <a:t>Learn about accelerating innovation</a:t>
            </a:r>
            <a:r>
              <a:rPr lang="en-US"/>
              <a:t> </a:t>
            </a:r>
          </a:p>
          <a:p>
            <a:r>
              <a:rPr lang="en-US" b="1"/>
              <a:t>Hybrid</a:t>
            </a:r>
          </a:p>
          <a:p>
            <a:r>
              <a:rPr lang="en-US"/>
              <a:t>Develop and deploy where you want, with the only consistent hybrid cloud on the market. Extend Azure on-premises with Azure Stack.</a:t>
            </a:r>
          </a:p>
          <a:p>
            <a:r>
              <a:rPr lang="en-US">
                <a:hlinkClick r:id="rId4"/>
              </a:rPr>
              <a:t>Learn about our consistent hybrid cloud</a:t>
            </a:r>
            <a:r>
              <a:rPr lang="en-US"/>
              <a:t> </a:t>
            </a:r>
          </a:p>
          <a:p>
            <a:r>
              <a:rPr lang="en-US" b="1"/>
              <a:t>Intelligent</a:t>
            </a:r>
          </a:p>
          <a:p>
            <a:r>
              <a:rPr lang="en-US"/>
              <a:t>Create intelligent apps that delight with data-driven experiences. Go quickly from concept to release with Azure data services and artificial intelligence, from image recognition to bot services.</a:t>
            </a:r>
          </a:p>
          <a:p>
            <a:r>
              <a:rPr lang="en-US">
                <a:hlinkClick r:id="rId5"/>
              </a:rPr>
              <a:t>Learn about intelligent apps</a:t>
            </a:r>
            <a:r>
              <a:rPr lang="en-US"/>
              <a:t> </a:t>
            </a:r>
          </a:p>
          <a:p>
            <a:r>
              <a:rPr lang="en-US" b="1"/>
              <a:t>Trusted</a:t>
            </a:r>
          </a:p>
          <a:p>
            <a:r>
              <a:rPr lang="en-US"/>
              <a:t>Join startups, governments, and 90 percent of Fortune 500s that trust the Microsoft Cloud for security, privacy, transparency, and the most compliance coverage of any cloud provider.</a:t>
            </a:r>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5/2018 9: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069470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Productive, hybrid, intelligent, trust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In order to satisfy the demands of keeping up in the modern world, you need a platform that has these four qualiti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is is the unique value proposition that Microsoft offer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is a good place to give a personal story of how your customers are making their journey to the cloud]</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E405126-A9F4-CF45-B123-BDF1F0360553}"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261911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Azure. Cloud for al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se 4 pillars represent the main value proposition for what differentiates Azure from the competi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s you can see in the proof points, these are the reason why customers choose Microsoft, because of the unique value that we provide in a productive, hybrid, intelligent, and trusted cloud.</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With Azure, you can do—or </a:t>
            </a:r>
            <a:r>
              <a:rPr lang="en-US" b="0" i="1" dirty="0"/>
              <a:t>be</a:t>
            </a:r>
            <a:r>
              <a:rPr lang="en-US" b="0" i="0" dirty="0"/>
              <a:t>—all of these thing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Productive</a:t>
            </a:r>
          </a:p>
          <a:p>
            <a:pPr marL="171450" indent="-171450">
              <a:buFont typeface="Arial" panose="020B0604020202020204" pitchFamily="34" charset="0"/>
              <a:buChar char="•"/>
            </a:pPr>
            <a:r>
              <a:rPr lang="en-US" dirty="0"/>
              <a:t>Get unparalleled developer productivity with integrated tools from mobile DevOps to </a:t>
            </a:r>
            <a:r>
              <a:rPr lang="en-US" dirty="0" err="1"/>
              <a:t>serverless</a:t>
            </a:r>
            <a:r>
              <a:rPr lang="en-US" dirty="0"/>
              <a:t> computing.</a:t>
            </a:r>
          </a:p>
          <a:p>
            <a:pPr marL="171450" indent="-171450">
              <a:buFont typeface="Arial" panose="020B0604020202020204" pitchFamily="34" charset="0"/>
              <a:buChar char="•"/>
            </a:pPr>
            <a:r>
              <a:rPr lang="en-US" dirty="0">
                <a:hlinkClick r:id="rId3"/>
              </a:rPr>
              <a:t>Learn about accelerating innovation</a:t>
            </a:r>
            <a:r>
              <a:rPr lang="en-US" dirty="0"/>
              <a:t> </a:t>
            </a:r>
          </a:p>
          <a:p>
            <a:pPr marL="171450" indent="-171450">
              <a:buFont typeface="Arial" panose="020B0604020202020204" pitchFamily="34" charset="0"/>
              <a:buChar char="•"/>
            </a:pPr>
            <a:r>
              <a:rPr lang="en-US" b="1" dirty="0"/>
              <a:t>Hybrid</a:t>
            </a:r>
          </a:p>
          <a:p>
            <a:pPr marL="171450" indent="-171450">
              <a:buFont typeface="Arial" panose="020B0604020202020204" pitchFamily="34" charset="0"/>
              <a:buChar char="•"/>
            </a:pPr>
            <a:r>
              <a:rPr lang="en-US" dirty="0"/>
              <a:t>Develop and deploy where you want, with the only consistent hybrid cloud on the market. Extend Azure on-premises with Azure Stack.</a:t>
            </a:r>
          </a:p>
          <a:p>
            <a:pPr marL="171450" indent="-171450">
              <a:buFont typeface="Arial" panose="020B0604020202020204" pitchFamily="34" charset="0"/>
              <a:buChar char="•"/>
            </a:pPr>
            <a:r>
              <a:rPr lang="en-US" dirty="0">
                <a:hlinkClick r:id="rId4"/>
              </a:rPr>
              <a:t>Learn about our consistent hybrid cloud</a:t>
            </a:r>
            <a:r>
              <a:rPr lang="en-US" dirty="0"/>
              <a:t> </a:t>
            </a:r>
          </a:p>
          <a:p>
            <a:pPr marL="171450" indent="-171450">
              <a:buFont typeface="Arial" panose="020B0604020202020204" pitchFamily="34" charset="0"/>
              <a:buChar char="•"/>
            </a:pPr>
            <a:r>
              <a:rPr lang="en-US" b="1" dirty="0"/>
              <a:t>Intelligent</a:t>
            </a:r>
          </a:p>
          <a:p>
            <a:pPr marL="171450" indent="-171450">
              <a:buFont typeface="Arial" panose="020B0604020202020204" pitchFamily="34" charset="0"/>
              <a:buChar char="•"/>
            </a:pPr>
            <a:r>
              <a:rPr lang="en-US" dirty="0"/>
              <a:t>Create intelligent apps that delight with data-driven experiences. Go quickly from concept to release with Azure data services and artificial intelligence, from image recognition to bot services.</a:t>
            </a:r>
          </a:p>
          <a:p>
            <a:pPr marL="171450" indent="-171450">
              <a:buFont typeface="Arial" panose="020B0604020202020204" pitchFamily="34" charset="0"/>
              <a:buChar char="•"/>
            </a:pPr>
            <a:r>
              <a:rPr lang="en-US" dirty="0">
                <a:hlinkClick r:id="rId5"/>
              </a:rPr>
              <a:t>Learn about intelligent apps</a:t>
            </a:r>
            <a:r>
              <a:rPr lang="en-US" dirty="0"/>
              <a:t> </a:t>
            </a:r>
          </a:p>
          <a:p>
            <a:pPr marL="171450" indent="-171450">
              <a:buFont typeface="Arial" panose="020B0604020202020204" pitchFamily="34" charset="0"/>
              <a:buChar char="•"/>
            </a:pPr>
            <a:r>
              <a:rPr lang="en-US" b="1" dirty="0"/>
              <a:t>Trusted</a:t>
            </a:r>
          </a:p>
          <a:p>
            <a:pPr marL="171450" indent="-171450">
              <a:buFont typeface="Arial" panose="020B0604020202020204" pitchFamily="34" charset="0"/>
              <a:buChar char="•"/>
            </a:pPr>
            <a:r>
              <a:rPr lang="en-US" dirty="0"/>
              <a:t>Join startups, governments, and 90 percent of Fortune 500s that trust the Microsoft Cloud for security, privacy, transparency, and the most compliance coverage of any cloud provider.</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5/2018 9: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398299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Use any dev tool or language</a:t>
            </a:r>
          </a:p>
          <a:p>
            <a:r>
              <a:rPr lang="en-US" dirty="0"/>
              <a:t>Build applications using the language of your choice including </a:t>
            </a:r>
            <a:r>
              <a:rPr lang="en-US" dirty="0">
                <a:hlinkClick r:id="rId3"/>
              </a:rPr>
              <a:t>Node.js</a:t>
            </a:r>
            <a:r>
              <a:rPr lang="en-US" dirty="0"/>
              <a:t>, </a:t>
            </a:r>
            <a:r>
              <a:rPr lang="en-US" dirty="0">
                <a:hlinkClick r:id="rId4"/>
              </a:rPr>
              <a:t>Java</a:t>
            </a:r>
            <a:r>
              <a:rPr lang="en-US" dirty="0"/>
              <a:t>, </a:t>
            </a:r>
            <a:r>
              <a:rPr lang="en-US" dirty="0">
                <a:hlinkClick r:id="rId5"/>
              </a:rPr>
              <a:t>.NET</a:t>
            </a:r>
            <a:r>
              <a:rPr lang="en-US" dirty="0"/>
              <a:t>. </a:t>
            </a:r>
          </a:p>
          <a:p>
            <a:r>
              <a:rPr lang="en-US" dirty="0"/>
              <a:t>Leverage best in class development tools, Visual Studio or Visual Studio Code, either on your PC or Mac.</a:t>
            </a:r>
          </a:p>
          <a:p>
            <a:r>
              <a:rPr lang="en-US" dirty="0"/>
              <a:t>Get apps to users faster by streamlining the mobile development lifecycle with Visual Studio Mobile Center, including automated builds and testing.</a:t>
            </a:r>
          </a:p>
          <a:p>
            <a:endParaRPr lang="en-US" dirty="0"/>
          </a:p>
          <a:p>
            <a:r>
              <a:rPr lang="en-US" b="1" dirty="0"/>
              <a:t>Choice of more than 100 services</a:t>
            </a:r>
          </a:p>
          <a:p>
            <a:r>
              <a:rPr lang="en-US" dirty="0"/>
              <a:t>Engage with users in richer ways whether in native mobile apps, responsive web apps, or through new experiences like bots and mixed reality. Use the best in class support by Visual Studio family of tools and 100+ of Azure Cloud Services.</a:t>
            </a:r>
          </a:p>
          <a:p>
            <a:r>
              <a:rPr lang="en-US" dirty="0"/>
              <a:t>Develop with open source technologies like Kubernetes, modernize applications using </a:t>
            </a:r>
            <a:r>
              <a:rPr lang="en-US" dirty="0" err="1"/>
              <a:t>serverless</a:t>
            </a:r>
            <a:r>
              <a:rPr lang="en-US" dirty="0"/>
              <a:t> computing with Azure Functions, and use AI and data to infuse intelligence into your solutions. </a:t>
            </a:r>
          </a:p>
          <a:p>
            <a:r>
              <a:rPr lang="en-US" dirty="0"/>
              <a:t>Easily connect applications, data, and devices taking advantage of 150+ out-of-the-box Azure Logic Apps connectors for Salesforce, Office 365, Twitter, Dropbox, Google services, and more.</a:t>
            </a:r>
          </a:p>
          <a:p>
            <a:r>
              <a:rPr lang="en-US" dirty="0">
                <a:hlinkClick r:id="rId6"/>
              </a:rPr>
              <a:t>Explore Azure products and services</a:t>
            </a:r>
            <a:r>
              <a:rPr lang="en-US" dirty="0"/>
              <a:t> </a:t>
            </a:r>
          </a:p>
          <a:p>
            <a:endParaRPr lang="en-US" dirty="0"/>
          </a:p>
          <a:p>
            <a:r>
              <a:rPr lang="en-US" b="1" dirty="0"/>
              <a:t>End-to-end management experience</a:t>
            </a:r>
          </a:p>
          <a:p>
            <a:r>
              <a:rPr lang="en-US" dirty="0"/>
              <a:t>Manage applications no matter how large or complex. Use your choice of management tools including the Azure portal, Power Shell, BASH, or REST APIs. </a:t>
            </a:r>
          </a:p>
          <a:p>
            <a:r>
              <a:rPr lang="en-US" dirty="0"/>
              <a:t>Azure provides built-in support for things like monitoring, log analytics, patching, backup and site recovery. </a:t>
            </a:r>
          </a:p>
          <a:p>
            <a:r>
              <a:rPr lang="en-US" dirty="0">
                <a:hlinkClick r:id="rId7"/>
              </a:rPr>
              <a:t>Azure portal</a:t>
            </a:r>
            <a:r>
              <a:rPr lang="en-US" dirty="0"/>
              <a:t> </a:t>
            </a:r>
            <a:br>
              <a:rPr lang="en-US" dirty="0"/>
            </a:br>
            <a:r>
              <a:rPr lang="en-US" dirty="0">
                <a:hlinkClick r:id="rId8"/>
              </a:rPr>
              <a:t>Azure Cloud Shell</a:t>
            </a:r>
            <a:r>
              <a:rPr lang="en-US" dirty="0"/>
              <a:t> </a:t>
            </a:r>
          </a:p>
          <a:p>
            <a:endParaRPr lang="en-US" dirty="0"/>
          </a:p>
          <a:p>
            <a:r>
              <a:rPr lang="en-US" b="1" dirty="0"/>
              <a:t>Accelerate application delivery with agile development practices</a:t>
            </a:r>
          </a:p>
          <a:p>
            <a:r>
              <a:rPr lang="en-US" dirty="0"/>
              <a:t>Encourage </a:t>
            </a:r>
            <a:r>
              <a:rPr lang="en-US" dirty="0" err="1"/>
              <a:t>devops</a:t>
            </a:r>
            <a:r>
              <a:rPr lang="en-US" dirty="0"/>
              <a:t> practices and cross-team collaboration using Visual Studio Team Services. Enable continuous integration and delivery (CI/CD) for any app written in any language.</a:t>
            </a:r>
          </a:p>
          <a:p>
            <a:r>
              <a:rPr lang="en-US" dirty="0"/>
              <a:t>Quickly find production issues with Azure Application Insights, while saving time and money spinning up and maintaining cloud dev-test environments.</a:t>
            </a:r>
          </a:p>
          <a:p>
            <a:r>
              <a:rPr lang="en-US" dirty="0"/>
              <a:t>Build software your way with integration to popular open-source software and tools such as Jenkins and Chef.</a:t>
            </a:r>
          </a:p>
          <a:p>
            <a:r>
              <a:rPr lang="en-US" dirty="0">
                <a:hlinkClick r:id="rId9"/>
              </a:rPr>
              <a:t>Learn more about Visual Studio Team Services</a:t>
            </a:r>
            <a:r>
              <a:rPr lang="en-US" dirty="0"/>
              <a:t> </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85312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Built-in Security and Management in Azu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o be successful in the Cloud era, enterprises must have visibility/metrics and controls on every component to pinpoint issues efficiently, optimize and scale effectively, while having the assurance the security, compliance and polices are in place to ensure the velocity.</a:t>
            </a:r>
          </a:p>
          <a:p>
            <a:pPr lvl="0"/>
            <a:endParaRPr lang="en-US" b="1" dirty="0"/>
          </a:p>
          <a:p>
            <a:pPr lvl="0"/>
            <a:r>
              <a:rPr lang="en-US" b="0" i="1" dirty="0"/>
              <a:t>Start in the middle with the Azure portal</a:t>
            </a:r>
          </a:p>
          <a:p>
            <a:pPr lvl="0"/>
            <a:r>
              <a:rPr lang="en-US" b="1" dirty="0"/>
              <a:t> - </a:t>
            </a:r>
            <a:r>
              <a:rPr lang="en-US" b="0" dirty="0"/>
              <a:t>With Azure you get enterprise </a:t>
            </a:r>
            <a:r>
              <a:rPr lang="en-US" dirty="0"/>
              <a:t>grade management capabilities built-in to the platform – all services and resources together in a single, easy-to-use portal. You can create dashboards, use the friendly search and intuitive menus, quick start resource templates, and mo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 With a single platform, you get integrated and interconnected tools and data, with unified metrics and alerts across your services. So you don’t have to go to different portals with different datase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 Using out-of-the-box tools (like Azure Advisor, Azure Service Health, and Cost Management + Billing), you can optimize and right-size your investment and get personalized recommendations to enhance your experience.</a:t>
            </a:r>
          </a:p>
          <a:p>
            <a:pPr lvl="0"/>
            <a:endParaRPr lang="en-US" dirty="0"/>
          </a:p>
          <a:p>
            <a:r>
              <a:rPr lang="en-US" i="1" dirty="0"/>
              <a:t>Expand to the 5 areas of security and management</a:t>
            </a:r>
          </a:p>
          <a:p>
            <a:r>
              <a:rPr lang="en-US" dirty="0"/>
              <a:t>5 main areas:</a:t>
            </a:r>
          </a:p>
          <a:p>
            <a:pPr marL="232943" indent="-232943">
              <a:buAutoNum type="arabicPeriod"/>
            </a:pPr>
            <a:r>
              <a:rPr lang="en-US" b="1" dirty="0"/>
              <a:t>Secure: </a:t>
            </a:r>
            <a:r>
              <a:rPr lang="en-US" dirty="0"/>
              <a:t>While Azure is trusted and secure platform, you as a customer have your own security settings you need to manage.  You also need to be able to protect your individual machines against threats and monitor the security posture of your system. </a:t>
            </a:r>
          </a:p>
          <a:p>
            <a:pPr marL="232943" indent="-232943">
              <a:buAutoNum type="arabicPeriod"/>
            </a:pPr>
            <a:r>
              <a:rPr lang="en-US" b="1" dirty="0"/>
              <a:t>Protect: </a:t>
            </a:r>
            <a:r>
              <a:rPr lang="en-US" dirty="0"/>
              <a:t>Your VMs and applications in the cloud need to be backed up and protected in the event of data loss. With disaster recovery from on-</a:t>
            </a:r>
            <a:r>
              <a:rPr lang="en-US" dirty="0" err="1"/>
              <a:t>prem</a:t>
            </a:r>
            <a:r>
              <a:rPr lang="en-US" dirty="0"/>
              <a:t> to the cloud, or from one cloud to another, you can avoid downtime and keep your applications up and running.</a:t>
            </a:r>
          </a:p>
          <a:p>
            <a:pPr marL="232943" indent="-232943">
              <a:buAutoNum type="arabicPeriod"/>
            </a:pPr>
            <a:r>
              <a:rPr lang="en-US" b="1" dirty="0"/>
              <a:t>Monitor: </a:t>
            </a:r>
            <a:r>
              <a:rPr lang="en-US" dirty="0"/>
              <a:t>Every operations manager and every developer needs to be able to see the health and performance of their applications, infrastructure, and network. And seeing insights across all three together in a single dashboard can save time and resources in troubleshooting and preventing issues in the future.</a:t>
            </a:r>
          </a:p>
          <a:p>
            <a:pPr marL="232943" indent="-232943">
              <a:buAutoNum type="arabicPeriod"/>
            </a:pPr>
            <a:r>
              <a:rPr lang="en-US" b="1" dirty="0"/>
              <a:t>Configure: </a:t>
            </a:r>
            <a:r>
              <a:rPr lang="en-US" dirty="0"/>
              <a:t>For managing Azure and hybrid workloads at scale, automation and configuration capabilities help you create runbooks to automate tasks, manage the configuration settings and track changes, and monitor and deploy missing updates. Additionally in Azure you can use PowerShell and Cloud Shell for command line scripting.</a:t>
            </a:r>
          </a:p>
          <a:p>
            <a:pPr marL="232943" indent="-232943">
              <a:buAutoNum type="arabicPeriod"/>
            </a:pPr>
            <a:r>
              <a:rPr lang="en-US" b="1" dirty="0"/>
              <a:t>Govern: </a:t>
            </a:r>
            <a:r>
              <a:rPr lang="en-US" b="0" dirty="0"/>
              <a:t>Many customers need a way to look across cloud resources to assess and enforce enterprise-wide standards and policy compliance for security and management. In addition, they need to manage and monitor costs for the cloud, not just in Azure but in other clouds too.</a:t>
            </a:r>
          </a:p>
          <a:p>
            <a:pPr marL="232943" indent="-232943">
              <a:buAutoNum type="arabicPeriod"/>
            </a:pPr>
            <a:endParaRPr lang="en-US" b="0" dirty="0"/>
          </a:p>
          <a:p>
            <a:pPr marL="0" indent="0">
              <a:buNone/>
            </a:pPr>
            <a:r>
              <a:rPr lang="en-US" b="0" dirty="0"/>
              <a:t>Lastly, Azure gives you the flexibility to manage your hybrid environments with most of these services. And you can choose which areas to invest more in, and how much to consume. </a:t>
            </a:r>
          </a:p>
          <a:p>
            <a:pPr marL="0" indent="0">
              <a:buNone/>
            </a:pPr>
            <a:r>
              <a:rPr lang="en-US" b="0" dirty="0"/>
              <a:t>With Azure you have the flexibility to choose what and how to manage your IT.</a:t>
            </a:r>
            <a:endParaRPr lang="en-US" b="1"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F46881-0CD0-4730-B19B-096431EF23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14511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Hybri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strength of the hybrid strategy is about the continuum of capabilities across the offerings, it’s not just about the platform.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Hybrid is more than just being able to move an application into the clou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re are critical elements from identity, data, and security and management that have to be addresse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You don’t have to be stuck in an all-or nothing choice – hybrid gives you the flexibility to move to the cloud when and how you want to. </a:t>
            </a:r>
          </a:p>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42878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3.emf"/><Relationship Id="rId4" Type="http://schemas.openxmlformats.org/officeDocument/2006/relationships/oleObject" Target="../embeddings/oleObject1.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5.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hyperlink" Target="http://www.microsoft.com/about/legal/permissions/" TargetMode="External"/><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2">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277634"/>
            <a:ext cx="7279098" cy="2173041"/>
          </a:xfrm>
          <a:noFill/>
        </p:spPr>
        <p:txBody>
          <a:bodyPr lIns="0" tIns="91440" rIns="146304" bIns="91440" anchor="t" anchorCtr="0"/>
          <a:lstStyle>
            <a:lvl1pPr>
              <a:defRPr sz="7058" spc="-98" baseline="0">
                <a:solidFill>
                  <a:schemeClr val="tx1"/>
                </a:solidFill>
              </a:defRPr>
            </a:lvl1pPr>
          </a:lstStyle>
          <a:p>
            <a:r>
              <a:rPr lang="en-US"/>
              <a:t>Lorem ipsum Lorem ipsum</a:t>
            </a:r>
          </a:p>
        </p:txBody>
      </p:sp>
      <p:sp>
        <p:nvSpPr>
          <p:cNvPr id="3" name="Text Placeholder 2"/>
          <p:cNvSpPr>
            <a:spLocks noGrp="1"/>
          </p:cNvSpPr>
          <p:nvPr>
            <p:ph type="body" sz="quarter" idx="10"/>
          </p:nvPr>
        </p:nvSpPr>
        <p:spPr>
          <a:xfrm>
            <a:off x="269239" y="3576361"/>
            <a:ext cx="5826761" cy="633715"/>
          </a:xfrm>
        </p:spPr>
        <p:txBody>
          <a:bodyPr/>
          <a:lstStyle>
            <a:lvl1pPr marL="0" indent="0">
              <a:spcBef>
                <a:spcPts val="980"/>
              </a:spcBef>
              <a:spcAft>
                <a:spcPts val="980"/>
              </a:spcAft>
              <a:buNone/>
              <a:defRPr sz="3921"/>
            </a:lvl1pPr>
          </a:lstStyle>
          <a:p>
            <a:pPr lvl="0"/>
            <a:r>
              <a:rPr lang="en-US"/>
              <a:t>Click to edit Master text</a:t>
            </a:r>
          </a:p>
        </p:txBody>
      </p:sp>
      <p:grpSp>
        <p:nvGrpSpPr>
          <p:cNvPr id="372" name="Group 371">
            <a:extLst>
              <a:ext uri="{FF2B5EF4-FFF2-40B4-BE49-F238E27FC236}">
                <a16:creationId xmlns:a16="http://schemas.microsoft.com/office/drawing/2014/main" id="{CDFD47E3-DDF9-4944-86BF-DA7CF82DAE44}"/>
              </a:ext>
            </a:extLst>
          </p:cNvPr>
          <p:cNvGrpSpPr/>
          <p:nvPr userDrawn="1"/>
        </p:nvGrpSpPr>
        <p:grpSpPr>
          <a:xfrm>
            <a:off x="7339478" y="135249"/>
            <a:ext cx="5744142" cy="6742427"/>
            <a:chOff x="7625796" y="627085"/>
            <a:chExt cx="5434428" cy="6377982"/>
          </a:xfrm>
        </p:grpSpPr>
        <p:grpSp>
          <p:nvGrpSpPr>
            <p:cNvPr id="249" name="Group 247">
              <a:extLst>
                <a:ext uri="{FF2B5EF4-FFF2-40B4-BE49-F238E27FC236}">
                  <a16:creationId xmlns:a16="http://schemas.microsoft.com/office/drawing/2014/main" id="{1F00B62E-9278-4200-8B74-A0BD179F9AF0}"/>
                </a:ext>
              </a:extLst>
            </p:cNvPr>
            <p:cNvGrpSpPr>
              <a:grpSpLocks noChangeAspect="1"/>
            </p:cNvGrpSpPr>
            <p:nvPr userDrawn="1"/>
          </p:nvGrpSpPr>
          <p:grpSpPr bwMode="auto">
            <a:xfrm>
              <a:off x="8508381" y="1977477"/>
              <a:ext cx="4092633" cy="5027590"/>
              <a:chOff x="6097" y="2298"/>
              <a:chExt cx="696" cy="855"/>
            </a:xfrm>
          </p:grpSpPr>
          <p:sp>
            <p:nvSpPr>
              <p:cNvPr id="250" name="AutoShape 246">
                <a:extLst>
                  <a:ext uri="{FF2B5EF4-FFF2-40B4-BE49-F238E27FC236}">
                    <a16:creationId xmlns:a16="http://schemas.microsoft.com/office/drawing/2014/main" id="{65CB237B-C1E8-4B55-848E-602697CB6CB7}"/>
                  </a:ext>
                </a:extLst>
              </p:cNvPr>
              <p:cNvSpPr>
                <a:spLocks noChangeAspect="1" noChangeArrowheads="1" noTextEdit="1"/>
              </p:cNvSpPr>
              <p:nvPr userDrawn="1"/>
            </p:nvSpPr>
            <p:spPr bwMode="auto">
              <a:xfrm>
                <a:off x="6097" y="2298"/>
                <a:ext cx="696" cy="8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Rectangle 250">
                <a:extLst>
                  <a:ext uri="{FF2B5EF4-FFF2-40B4-BE49-F238E27FC236}">
                    <a16:creationId xmlns:a16="http://schemas.microsoft.com/office/drawing/2014/main" id="{87457DDA-AD9E-4A97-9C2E-7F4E64D0AFA4}"/>
                  </a:ext>
                </a:extLst>
              </p:cNvPr>
              <p:cNvSpPr>
                <a:spLocks noChangeArrowheads="1"/>
              </p:cNvSpPr>
              <p:nvPr userDrawn="1"/>
            </p:nvSpPr>
            <p:spPr bwMode="auto">
              <a:xfrm>
                <a:off x="6468" y="3037"/>
                <a:ext cx="111" cy="114"/>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Rectangle 251">
                <a:extLst>
                  <a:ext uri="{FF2B5EF4-FFF2-40B4-BE49-F238E27FC236}">
                    <a16:creationId xmlns:a16="http://schemas.microsoft.com/office/drawing/2014/main" id="{787AC753-EFDA-426C-B584-5AECAA3027B1}"/>
                  </a:ext>
                </a:extLst>
              </p:cNvPr>
              <p:cNvSpPr>
                <a:spLocks noChangeArrowheads="1"/>
              </p:cNvSpPr>
              <p:nvPr userDrawn="1"/>
            </p:nvSpPr>
            <p:spPr bwMode="auto">
              <a:xfrm>
                <a:off x="6313" y="2815"/>
                <a:ext cx="111" cy="336"/>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Rectangle 252">
                <a:extLst>
                  <a:ext uri="{FF2B5EF4-FFF2-40B4-BE49-F238E27FC236}">
                    <a16:creationId xmlns:a16="http://schemas.microsoft.com/office/drawing/2014/main" id="{ADBB0E8B-FCE5-439F-9F2B-6FA746CBBE6A}"/>
                  </a:ext>
                </a:extLst>
              </p:cNvPr>
              <p:cNvSpPr>
                <a:spLocks noChangeArrowheads="1"/>
              </p:cNvSpPr>
              <p:nvPr userDrawn="1"/>
            </p:nvSpPr>
            <p:spPr bwMode="auto">
              <a:xfrm>
                <a:off x="6325" y="2834"/>
                <a:ext cx="13" cy="2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Rectangle 253">
                <a:extLst>
                  <a:ext uri="{FF2B5EF4-FFF2-40B4-BE49-F238E27FC236}">
                    <a16:creationId xmlns:a16="http://schemas.microsoft.com/office/drawing/2014/main" id="{E7528E24-6BDC-4F30-B75B-0CD44FD8FEED}"/>
                  </a:ext>
                </a:extLst>
              </p:cNvPr>
              <p:cNvSpPr>
                <a:spLocks noChangeArrowheads="1"/>
              </p:cNvSpPr>
              <p:nvPr userDrawn="1"/>
            </p:nvSpPr>
            <p:spPr bwMode="auto">
              <a:xfrm>
                <a:off x="6350" y="2834"/>
                <a:ext cx="11"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254">
                <a:extLst>
                  <a:ext uri="{FF2B5EF4-FFF2-40B4-BE49-F238E27FC236}">
                    <a16:creationId xmlns:a16="http://schemas.microsoft.com/office/drawing/2014/main" id="{D23DFB3F-F258-421E-B4B9-97CEA983AB71}"/>
                  </a:ext>
                </a:extLst>
              </p:cNvPr>
              <p:cNvSpPr>
                <a:spLocks noChangeArrowheads="1"/>
              </p:cNvSpPr>
              <p:nvPr userDrawn="1"/>
            </p:nvSpPr>
            <p:spPr bwMode="auto">
              <a:xfrm>
                <a:off x="6374" y="2834"/>
                <a:ext cx="10"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255">
                <a:extLst>
                  <a:ext uri="{FF2B5EF4-FFF2-40B4-BE49-F238E27FC236}">
                    <a16:creationId xmlns:a16="http://schemas.microsoft.com/office/drawing/2014/main" id="{95395EC5-C823-4F96-8AFB-A7C525ED5867}"/>
                  </a:ext>
                </a:extLst>
              </p:cNvPr>
              <p:cNvSpPr>
                <a:spLocks noChangeArrowheads="1"/>
              </p:cNvSpPr>
              <p:nvPr userDrawn="1"/>
            </p:nvSpPr>
            <p:spPr bwMode="auto">
              <a:xfrm>
                <a:off x="6397" y="2834"/>
                <a:ext cx="12" cy="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256">
                <a:extLst>
                  <a:ext uri="{FF2B5EF4-FFF2-40B4-BE49-F238E27FC236}">
                    <a16:creationId xmlns:a16="http://schemas.microsoft.com/office/drawing/2014/main" id="{EA63CA39-CA16-4B9E-8D8F-0B2EABBE11D5}"/>
                  </a:ext>
                </a:extLst>
              </p:cNvPr>
              <p:cNvSpPr>
                <a:spLocks noChangeArrowheads="1"/>
              </p:cNvSpPr>
              <p:nvPr userDrawn="1"/>
            </p:nvSpPr>
            <p:spPr bwMode="auto">
              <a:xfrm>
                <a:off x="6325" y="2866"/>
                <a:ext cx="13"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257">
                <a:extLst>
                  <a:ext uri="{FF2B5EF4-FFF2-40B4-BE49-F238E27FC236}">
                    <a16:creationId xmlns:a16="http://schemas.microsoft.com/office/drawing/2014/main" id="{D742BED7-A533-42D9-96D9-2A557DAEF1AD}"/>
                  </a:ext>
                </a:extLst>
              </p:cNvPr>
              <p:cNvSpPr>
                <a:spLocks noChangeArrowheads="1"/>
              </p:cNvSpPr>
              <p:nvPr userDrawn="1"/>
            </p:nvSpPr>
            <p:spPr bwMode="auto">
              <a:xfrm>
                <a:off x="6350" y="2866"/>
                <a:ext cx="11" cy="2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Rectangle 258">
                <a:extLst>
                  <a:ext uri="{FF2B5EF4-FFF2-40B4-BE49-F238E27FC236}">
                    <a16:creationId xmlns:a16="http://schemas.microsoft.com/office/drawing/2014/main" id="{933BA798-BF8C-4D7B-963C-784E23E26E38}"/>
                  </a:ext>
                </a:extLst>
              </p:cNvPr>
              <p:cNvSpPr>
                <a:spLocks noChangeArrowheads="1"/>
              </p:cNvSpPr>
              <p:nvPr userDrawn="1"/>
            </p:nvSpPr>
            <p:spPr bwMode="auto">
              <a:xfrm>
                <a:off x="6374" y="2866"/>
                <a:ext cx="10"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259">
                <a:extLst>
                  <a:ext uri="{FF2B5EF4-FFF2-40B4-BE49-F238E27FC236}">
                    <a16:creationId xmlns:a16="http://schemas.microsoft.com/office/drawing/2014/main" id="{DB545304-51D3-4545-A817-7A1A23218D08}"/>
                  </a:ext>
                </a:extLst>
              </p:cNvPr>
              <p:cNvSpPr>
                <a:spLocks noChangeArrowheads="1"/>
              </p:cNvSpPr>
              <p:nvPr userDrawn="1"/>
            </p:nvSpPr>
            <p:spPr bwMode="auto">
              <a:xfrm>
                <a:off x="6397" y="2866"/>
                <a:ext cx="12"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260">
                <a:extLst>
                  <a:ext uri="{FF2B5EF4-FFF2-40B4-BE49-F238E27FC236}">
                    <a16:creationId xmlns:a16="http://schemas.microsoft.com/office/drawing/2014/main" id="{5B93D5FA-6D33-458B-BFD8-30A4E335C5D5}"/>
                  </a:ext>
                </a:extLst>
              </p:cNvPr>
              <p:cNvSpPr>
                <a:spLocks noChangeArrowheads="1"/>
              </p:cNvSpPr>
              <p:nvPr userDrawn="1"/>
            </p:nvSpPr>
            <p:spPr bwMode="auto">
              <a:xfrm>
                <a:off x="6325" y="2898"/>
                <a:ext cx="13"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261">
                <a:extLst>
                  <a:ext uri="{FF2B5EF4-FFF2-40B4-BE49-F238E27FC236}">
                    <a16:creationId xmlns:a16="http://schemas.microsoft.com/office/drawing/2014/main" id="{54B095D7-A32D-45BE-9EBA-EC8A0B306ABC}"/>
                  </a:ext>
                </a:extLst>
              </p:cNvPr>
              <p:cNvSpPr>
                <a:spLocks noChangeArrowheads="1"/>
              </p:cNvSpPr>
              <p:nvPr userDrawn="1"/>
            </p:nvSpPr>
            <p:spPr bwMode="auto">
              <a:xfrm>
                <a:off x="6350" y="2898"/>
                <a:ext cx="11" cy="2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5" name="Rectangle 262">
                <a:extLst>
                  <a:ext uri="{FF2B5EF4-FFF2-40B4-BE49-F238E27FC236}">
                    <a16:creationId xmlns:a16="http://schemas.microsoft.com/office/drawing/2014/main" id="{CA60F719-D75E-4B2B-9686-607A78CD5BAA}"/>
                  </a:ext>
                </a:extLst>
              </p:cNvPr>
              <p:cNvSpPr>
                <a:spLocks noChangeArrowheads="1"/>
              </p:cNvSpPr>
              <p:nvPr userDrawn="1"/>
            </p:nvSpPr>
            <p:spPr bwMode="auto">
              <a:xfrm>
                <a:off x="6374" y="2898"/>
                <a:ext cx="10"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Rectangle 263">
                <a:extLst>
                  <a:ext uri="{FF2B5EF4-FFF2-40B4-BE49-F238E27FC236}">
                    <a16:creationId xmlns:a16="http://schemas.microsoft.com/office/drawing/2014/main" id="{16A5634E-5020-48D1-A1BE-F620D39D0732}"/>
                  </a:ext>
                </a:extLst>
              </p:cNvPr>
              <p:cNvSpPr>
                <a:spLocks noChangeArrowheads="1"/>
              </p:cNvSpPr>
              <p:nvPr userDrawn="1"/>
            </p:nvSpPr>
            <p:spPr bwMode="auto">
              <a:xfrm>
                <a:off x="6397" y="2898"/>
                <a:ext cx="12"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264">
                <a:extLst>
                  <a:ext uri="{FF2B5EF4-FFF2-40B4-BE49-F238E27FC236}">
                    <a16:creationId xmlns:a16="http://schemas.microsoft.com/office/drawing/2014/main" id="{D23C8B74-E873-4CBF-BB5B-1163F15F418E}"/>
                  </a:ext>
                </a:extLst>
              </p:cNvPr>
              <p:cNvSpPr>
                <a:spLocks noChangeArrowheads="1"/>
              </p:cNvSpPr>
              <p:nvPr userDrawn="1"/>
            </p:nvSpPr>
            <p:spPr bwMode="auto">
              <a:xfrm>
                <a:off x="6325" y="2930"/>
                <a:ext cx="13" cy="2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265">
                <a:extLst>
                  <a:ext uri="{FF2B5EF4-FFF2-40B4-BE49-F238E27FC236}">
                    <a16:creationId xmlns:a16="http://schemas.microsoft.com/office/drawing/2014/main" id="{AF71F314-7DE5-4B66-BA58-68112894167B}"/>
                  </a:ext>
                </a:extLst>
              </p:cNvPr>
              <p:cNvSpPr>
                <a:spLocks noChangeArrowheads="1"/>
              </p:cNvSpPr>
              <p:nvPr userDrawn="1"/>
            </p:nvSpPr>
            <p:spPr bwMode="auto">
              <a:xfrm>
                <a:off x="6350" y="2930"/>
                <a:ext cx="11" cy="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Rectangle 266">
                <a:extLst>
                  <a:ext uri="{FF2B5EF4-FFF2-40B4-BE49-F238E27FC236}">
                    <a16:creationId xmlns:a16="http://schemas.microsoft.com/office/drawing/2014/main" id="{DBC23984-FF32-4DA5-8DE1-7E24BD6C3FF8}"/>
                  </a:ext>
                </a:extLst>
              </p:cNvPr>
              <p:cNvSpPr>
                <a:spLocks noChangeArrowheads="1"/>
              </p:cNvSpPr>
              <p:nvPr userDrawn="1"/>
            </p:nvSpPr>
            <p:spPr bwMode="auto">
              <a:xfrm>
                <a:off x="6374" y="2930"/>
                <a:ext cx="10" cy="2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0" name="Rectangle 267">
                <a:extLst>
                  <a:ext uri="{FF2B5EF4-FFF2-40B4-BE49-F238E27FC236}">
                    <a16:creationId xmlns:a16="http://schemas.microsoft.com/office/drawing/2014/main" id="{36BE96A9-871C-4F0D-8A44-C3D6EC4677AB}"/>
                  </a:ext>
                </a:extLst>
              </p:cNvPr>
              <p:cNvSpPr>
                <a:spLocks noChangeArrowheads="1"/>
              </p:cNvSpPr>
              <p:nvPr userDrawn="1"/>
            </p:nvSpPr>
            <p:spPr bwMode="auto">
              <a:xfrm>
                <a:off x="6397" y="2930"/>
                <a:ext cx="12"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1" name="Rectangle 268">
                <a:extLst>
                  <a:ext uri="{FF2B5EF4-FFF2-40B4-BE49-F238E27FC236}">
                    <a16:creationId xmlns:a16="http://schemas.microsoft.com/office/drawing/2014/main" id="{90DFF299-9AD9-43F7-A6D5-68B29A6A38C7}"/>
                  </a:ext>
                </a:extLst>
              </p:cNvPr>
              <p:cNvSpPr>
                <a:spLocks noChangeArrowheads="1"/>
              </p:cNvSpPr>
              <p:nvPr userDrawn="1"/>
            </p:nvSpPr>
            <p:spPr bwMode="auto">
              <a:xfrm>
                <a:off x="6325" y="2962"/>
                <a:ext cx="13"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269">
                <a:extLst>
                  <a:ext uri="{FF2B5EF4-FFF2-40B4-BE49-F238E27FC236}">
                    <a16:creationId xmlns:a16="http://schemas.microsoft.com/office/drawing/2014/main" id="{01CFC304-981B-4246-A430-8C1E1A79F45A}"/>
                  </a:ext>
                </a:extLst>
              </p:cNvPr>
              <p:cNvSpPr>
                <a:spLocks noChangeArrowheads="1"/>
              </p:cNvSpPr>
              <p:nvPr userDrawn="1"/>
            </p:nvSpPr>
            <p:spPr bwMode="auto">
              <a:xfrm>
                <a:off x="6350" y="2962"/>
                <a:ext cx="11"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270">
                <a:extLst>
                  <a:ext uri="{FF2B5EF4-FFF2-40B4-BE49-F238E27FC236}">
                    <a16:creationId xmlns:a16="http://schemas.microsoft.com/office/drawing/2014/main" id="{DB453F4B-D541-4162-B3D7-F579474C36A3}"/>
                  </a:ext>
                </a:extLst>
              </p:cNvPr>
              <p:cNvSpPr>
                <a:spLocks noChangeArrowheads="1"/>
              </p:cNvSpPr>
              <p:nvPr userDrawn="1"/>
            </p:nvSpPr>
            <p:spPr bwMode="auto">
              <a:xfrm>
                <a:off x="6374" y="2962"/>
                <a:ext cx="10"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Rectangle 271">
                <a:extLst>
                  <a:ext uri="{FF2B5EF4-FFF2-40B4-BE49-F238E27FC236}">
                    <a16:creationId xmlns:a16="http://schemas.microsoft.com/office/drawing/2014/main" id="{A2B64033-5E30-4547-BEAB-D792D4750986}"/>
                  </a:ext>
                </a:extLst>
              </p:cNvPr>
              <p:cNvSpPr>
                <a:spLocks noChangeArrowheads="1"/>
              </p:cNvSpPr>
              <p:nvPr userDrawn="1"/>
            </p:nvSpPr>
            <p:spPr bwMode="auto">
              <a:xfrm>
                <a:off x="6397" y="2962"/>
                <a:ext cx="12"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Rectangle 272">
                <a:extLst>
                  <a:ext uri="{FF2B5EF4-FFF2-40B4-BE49-F238E27FC236}">
                    <a16:creationId xmlns:a16="http://schemas.microsoft.com/office/drawing/2014/main" id="{3A464137-CC53-47B6-B090-F018386CAE32}"/>
                  </a:ext>
                </a:extLst>
              </p:cNvPr>
              <p:cNvSpPr>
                <a:spLocks noChangeArrowheads="1"/>
              </p:cNvSpPr>
              <p:nvPr userDrawn="1"/>
            </p:nvSpPr>
            <p:spPr bwMode="auto">
              <a:xfrm>
                <a:off x="6325" y="2995"/>
                <a:ext cx="13" cy="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Rectangle 273">
                <a:extLst>
                  <a:ext uri="{FF2B5EF4-FFF2-40B4-BE49-F238E27FC236}">
                    <a16:creationId xmlns:a16="http://schemas.microsoft.com/office/drawing/2014/main" id="{4DA19828-26D2-41C0-89DD-888EA9639BDB}"/>
                  </a:ext>
                </a:extLst>
              </p:cNvPr>
              <p:cNvSpPr>
                <a:spLocks noChangeArrowheads="1"/>
              </p:cNvSpPr>
              <p:nvPr userDrawn="1"/>
            </p:nvSpPr>
            <p:spPr bwMode="auto">
              <a:xfrm>
                <a:off x="6350" y="2995"/>
                <a:ext cx="11" cy="19"/>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274">
                <a:extLst>
                  <a:ext uri="{FF2B5EF4-FFF2-40B4-BE49-F238E27FC236}">
                    <a16:creationId xmlns:a16="http://schemas.microsoft.com/office/drawing/2014/main" id="{961D7A8D-87F2-4D57-B4E0-23D684CF0D5E}"/>
                  </a:ext>
                </a:extLst>
              </p:cNvPr>
              <p:cNvSpPr>
                <a:spLocks noChangeArrowheads="1"/>
              </p:cNvSpPr>
              <p:nvPr userDrawn="1"/>
            </p:nvSpPr>
            <p:spPr bwMode="auto">
              <a:xfrm>
                <a:off x="6374" y="2995"/>
                <a:ext cx="10" cy="1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275">
                <a:extLst>
                  <a:ext uri="{FF2B5EF4-FFF2-40B4-BE49-F238E27FC236}">
                    <a16:creationId xmlns:a16="http://schemas.microsoft.com/office/drawing/2014/main" id="{C95256FB-A7F5-4976-B261-32E8E203553C}"/>
                  </a:ext>
                </a:extLst>
              </p:cNvPr>
              <p:cNvSpPr>
                <a:spLocks noChangeArrowheads="1"/>
              </p:cNvSpPr>
              <p:nvPr userDrawn="1"/>
            </p:nvSpPr>
            <p:spPr bwMode="auto">
              <a:xfrm>
                <a:off x="6397" y="2995"/>
                <a:ext cx="12" cy="19"/>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Rectangle 276">
                <a:extLst>
                  <a:ext uri="{FF2B5EF4-FFF2-40B4-BE49-F238E27FC236}">
                    <a16:creationId xmlns:a16="http://schemas.microsoft.com/office/drawing/2014/main" id="{38F00226-8C24-4E84-865B-B18BA1ABAEFE}"/>
                  </a:ext>
                </a:extLst>
              </p:cNvPr>
              <p:cNvSpPr>
                <a:spLocks noChangeArrowheads="1"/>
              </p:cNvSpPr>
              <p:nvPr userDrawn="1"/>
            </p:nvSpPr>
            <p:spPr bwMode="auto">
              <a:xfrm>
                <a:off x="6325" y="3027"/>
                <a:ext cx="13" cy="19"/>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Rectangle 277">
                <a:extLst>
                  <a:ext uri="{FF2B5EF4-FFF2-40B4-BE49-F238E27FC236}">
                    <a16:creationId xmlns:a16="http://schemas.microsoft.com/office/drawing/2014/main" id="{D2B74AB8-CED8-4440-BA66-C4AF85BE5896}"/>
                  </a:ext>
                </a:extLst>
              </p:cNvPr>
              <p:cNvSpPr>
                <a:spLocks noChangeArrowheads="1"/>
              </p:cNvSpPr>
              <p:nvPr userDrawn="1"/>
            </p:nvSpPr>
            <p:spPr bwMode="auto">
              <a:xfrm>
                <a:off x="6350" y="3027"/>
                <a:ext cx="11" cy="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Rectangle 278">
                <a:extLst>
                  <a:ext uri="{FF2B5EF4-FFF2-40B4-BE49-F238E27FC236}">
                    <a16:creationId xmlns:a16="http://schemas.microsoft.com/office/drawing/2014/main" id="{C65DFAE0-B1A4-4904-985F-5F68C2DEC416}"/>
                  </a:ext>
                </a:extLst>
              </p:cNvPr>
              <p:cNvSpPr>
                <a:spLocks noChangeArrowheads="1"/>
              </p:cNvSpPr>
              <p:nvPr userDrawn="1"/>
            </p:nvSpPr>
            <p:spPr bwMode="auto">
              <a:xfrm>
                <a:off x="6374" y="3027"/>
                <a:ext cx="10" cy="19"/>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Rectangle 279">
                <a:extLst>
                  <a:ext uri="{FF2B5EF4-FFF2-40B4-BE49-F238E27FC236}">
                    <a16:creationId xmlns:a16="http://schemas.microsoft.com/office/drawing/2014/main" id="{5BC322C6-17E3-42A7-911E-BE3A33CE5BD2}"/>
                  </a:ext>
                </a:extLst>
              </p:cNvPr>
              <p:cNvSpPr>
                <a:spLocks noChangeArrowheads="1"/>
              </p:cNvSpPr>
              <p:nvPr userDrawn="1"/>
            </p:nvSpPr>
            <p:spPr bwMode="auto">
              <a:xfrm>
                <a:off x="6397" y="3027"/>
                <a:ext cx="12" cy="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Rectangle 280">
                <a:extLst>
                  <a:ext uri="{FF2B5EF4-FFF2-40B4-BE49-F238E27FC236}">
                    <a16:creationId xmlns:a16="http://schemas.microsoft.com/office/drawing/2014/main" id="{1775D174-4BB0-487F-9750-E6A8B16A0AF3}"/>
                  </a:ext>
                </a:extLst>
              </p:cNvPr>
              <p:cNvSpPr>
                <a:spLocks noChangeArrowheads="1"/>
              </p:cNvSpPr>
              <p:nvPr userDrawn="1"/>
            </p:nvSpPr>
            <p:spPr bwMode="auto">
              <a:xfrm>
                <a:off x="6325" y="3059"/>
                <a:ext cx="13" cy="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Rectangle 281">
                <a:extLst>
                  <a:ext uri="{FF2B5EF4-FFF2-40B4-BE49-F238E27FC236}">
                    <a16:creationId xmlns:a16="http://schemas.microsoft.com/office/drawing/2014/main" id="{B74C8AE6-C25F-45FE-A8F4-F9EF503E4C9B}"/>
                  </a:ext>
                </a:extLst>
              </p:cNvPr>
              <p:cNvSpPr>
                <a:spLocks noChangeArrowheads="1"/>
              </p:cNvSpPr>
              <p:nvPr userDrawn="1"/>
            </p:nvSpPr>
            <p:spPr bwMode="auto">
              <a:xfrm>
                <a:off x="6350" y="3059"/>
                <a:ext cx="11" cy="1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Rectangle 282">
                <a:extLst>
                  <a:ext uri="{FF2B5EF4-FFF2-40B4-BE49-F238E27FC236}">
                    <a16:creationId xmlns:a16="http://schemas.microsoft.com/office/drawing/2014/main" id="{53A9DABC-21B6-4923-BFC3-5D68E7833787}"/>
                  </a:ext>
                </a:extLst>
              </p:cNvPr>
              <p:cNvSpPr>
                <a:spLocks noChangeArrowheads="1"/>
              </p:cNvSpPr>
              <p:nvPr userDrawn="1"/>
            </p:nvSpPr>
            <p:spPr bwMode="auto">
              <a:xfrm>
                <a:off x="6374" y="3059"/>
                <a:ext cx="10" cy="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Rectangle 283">
                <a:extLst>
                  <a:ext uri="{FF2B5EF4-FFF2-40B4-BE49-F238E27FC236}">
                    <a16:creationId xmlns:a16="http://schemas.microsoft.com/office/drawing/2014/main" id="{0A6C34E3-3E96-415E-AE68-B048EB95721B}"/>
                  </a:ext>
                </a:extLst>
              </p:cNvPr>
              <p:cNvSpPr>
                <a:spLocks noChangeArrowheads="1"/>
              </p:cNvSpPr>
              <p:nvPr userDrawn="1"/>
            </p:nvSpPr>
            <p:spPr bwMode="auto">
              <a:xfrm>
                <a:off x="6397" y="3059"/>
                <a:ext cx="12" cy="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Rectangle 284">
                <a:extLst>
                  <a:ext uri="{FF2B5EF4-FFF2-40B4-BE49-F238E27FC236}">
                    <a16:creationId xmlns:a16="http://schemas.microsoft.com/office/drawing/2014/main" id="{BB7FEFB4-9504-4201-B712-307A665893B4}"/>
                  </a:ext>
                </a:extLst>
              </p:cNvPr>
              <p:cNvSpPr>
                <a:spLocks noChangeArrowheads="1"/>
              </p:cNvSpPr>
              <p:nvPr userDrawn="1"/>
            </p:nvSpPr>
            <p:spPr bwMode="auto">
              <a:xfrm>
                <a:off x="6325" y="3091"/>
                <a:ext cx="13" cy="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Rectangle 285">
                <a:extLst>
                  <a:ext uri="{FF2B5EF4-FFF2-40B4-BE49-F238E27FC236}">
                    <a16:creationId xmlns:a16="http://schemas.microsoft.com/office/drawing/2014/main" id="{FE575B8D-2DF0-4950-B2B0-8E545228FFD4}"/>
                  </a:ext>
                </a:extLst>
              </p:cNvPr>
              <p:cNvSpPr>
                <a:spLocks noChangeArrowheads="1"/>
              </p:cNvSpPr>
              <p:nvPr userDrawn="1"/>
            </p:nvSpPr>
            <p:spPr bwMode="auto">
              <a:xfrm>
                <a:off x="6350" y="3091"/>
                <a:ext cx="11" cy="19"/>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Rectangle 286">
                <a:extLst>
                  <a:ext uri="{FF2B5EF4-FFF2-40B4-BE49-F238E27FC236}">
                    <a16:creationId xmlns:a16="http://schemas.microsoft.com/office/drawing/2014/main" id="{14D6DF65-107B-4FA2-8511-2A8871FD1323}"/>
                  </a:ext>
                </a:extLst>
              </p:cNvPr>
              <p:cNvSpPr>
                <a:spLocks noChangeArrowheads="1"/>
              </p:cNvSpPr>
              <p:nvPr userDrawn="1"/>
            </p:nvSpPr>
            <p:spPr bwMode="auto">
              <a:xfrm>
                <a:off x="6374" y="3091"/>
                <a:ext cx="10" cy="1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Rectangle 287">
                <a:extLst>
                  <a:ext uri="{FF2B5EF4-FFF2-40B4-BE49-F238E27FC236}">
                    <a16:creationId xmlns:a16="http://schemas.microsoft.com/office/drawing/2014/main" id="{7936843F-DA16-4AB1-B4B4-32C1D647C605}"/>
                  </a:ext>
                </a:extLst>
              </p:cNvPr>
              <p:cNvSpPr>
                <a:spLocks noChangeArrowheads="1"/>
              </p:cNvSpPr>
              <p:nvPr userDrawn="1"/>
            </p:nvSpPr>
            <p:spPr bwMode="auto">
              <a:xfrm>
                <a:off x="6397" y="3091"/>
                <a:ext cx="12" cy="19"/>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Rectangle 288">
                <a:extLst>
                  <a:ext uri="{FF2B5EF4-FFF2-40B4-BE49-F238E27FC236}">
                    <a16:creationId xmlns:a16="http://schemas.microsoft.com/office/drawing/2014/main" id="{B2A20399-C3B7-4855-A631-2E35760193F2}"/>
                  </a:ext>
                </a:extLst>
              </p:cNvPr>
              <p:cNvSpPr>
                <a:spLocks noChangeArrowheads="1"/>
              </p:cNvSpPr>
              <p:nvPr userDrawn="1"/>
            </p:nvSpPr>
            <p:spPr bwMode="auto">
              <a:xfrm>
                <a:off x="6151" y="2921"/>
                <a:ext cx="110" cy="230"/>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Rectangle 289">
                <a:extLst>
                  <a:ext uri="{FF2B5EF4-FFF2-40B4-BE49-F238E27FC236}">
                    <a16:creationId xmlns:a16="http://schemas.microsoft.com/office/drawing/2014/main" id="{92D9EAF6-11D3-420E-84C9-71148B38961C}"/>
                  </a:ext>
                </a:extLst>
              </p:cNvPr>
              <p:cNvSpPr>
                <a:spLocks noChangeArrowheads="1"/>
              </p:cNvSpPr>
              <p:nvPr userDrawn="1"/>
            </p:nvSpPr>
            <p:spPr bwMode="auto">
              <a:xfrm>
                <a:off x="6167" y="2950"/>
                <a:ext cx="12" cy="18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Rectangle 290">
                <a:extLst>
                  <a:ext uri="{FF2B5EF4-FFF2-40B4-BE49-F238E27FC236}">
                    <a16:creationId xmlns:a16="http://schemas.microsoft.com/office/drawing/2014/main" id="{DA212711-0735-4F66-AE6C-2A753E1A8B01}"/>
                  </a:ext>
                </a:extLst>
              </p:cNvPr>
              <p:cNvSpPr>
                <a:spLocks noChangeArrowheads="1"/>
              </p:cNvSpPr>
              <p:nvPr userDrawn="1"/>
            </p:nvSpPr>
            <p:spPr bwMode="auto">
              <a:xfrm>
                <a:off x="6188" y="2950"/>
                <a:ext cx="13" cy="18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Rectangle 291">
                <a:extLst>
                  <a:ext uri="{FF2B5EF4-FFF2-40B4-BE49-F238E27FC236}">
                    <a16:creationId xmlns:a16="http://schemas.microsoft.com/office/drawing/2014/main" id="{41AC2ADB-92C6-4CEE-8990-08DDCAA1E793}"/>
                  </a:ext>
                </a:extLst>
              </p:cNvPr>
              <p:cNvSpPr>
                <a:spLocks noChangeArrowheads="1"/>
              </p:cNvSpPr>
              <p:nvPr userDrawn="1"/>
            </p:nvSpPr>
            <p:spPr bwMode="auto">
              <a:xfrm>
                <a:off x="6209" y="2950"/>
                <a:ext cx="13" cy="18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Rectangle 292">
                <a:extLst>
                  <a:ext uri="{FF2B5EF4-FFF2-40B4-BE49-F238E27FC236}">
                    <a16:creationId xmlns:a16="http://schemas.microsoft.com/office/drawing/2014/main" id="{0B12C95D-7162-4CD0-BB3F-D683ACA85DF1}"/>
                  </a:ext>
                </a:extLst>
              </p:cNvPr>
              <p:cNvSpPr>
                <a:spLocks noChangeArrowheads="1"/>
              </p:cNvSpPr>
              <p:nvPr userDrawn="1"/>
            </p:nvSpPr>
            <p:spPr bwMode="auto">
              <a:xfrm>
                <a:off x="6231" y="2950"/>
                <a:ext cx="12" cy="18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Rectangle 293">
                <a:extLst>
                  <a:ext uri="{FF2B5EF4-FFF2-40B4-BE49-F238E27FC236}">
                    <a16:creationId xmlns:a16="http://schemas.microsoft.com/office/drawing/2014/main" id="{FFC99800-C5D7-4E62-897E-D3299139CC9D}"/>
                  </a:ext>
                </a:extLst>
              </p:cNvPr>
              <p:cNvSpPr>
                <a:spLocks noChangeArrowheads="1"/>
              </p:cNvSpPr>
              <p:nvPr userDrawn="1"/>
            </p:nvSpPr>
            <p:spPr bwMode="auto">
              <a:xfrm>
                <a:off x="6486" y="3046"/>
                <a:ext cx="13" cy="1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Rectangle 294">
                <a:extLst>
                  <a:ext uri="{FF2B5EF4-FFF2-40B4-BE49-F238E27FC236}">
                    <a16:creationId xmlns:a16="http://schemas.microsoft.com/office/drawing/2014/main" id="{ADEF1BE3-8D04-4FD0-BFE0-05CF2A0FF72A}"/>
                  </a:ext>
                </a:extLst>
              </p:cNvPr>
              <p:cNvSpPr>
                <a:spLocks noChangeArrowheads="1"/>
              </p:cNvSpPr>
              <p:nvPr userDrawn="1"/>
            </p:nvSpPr>
            <p:spPr bwMode="auto">
              <a:xfrm>
                <a:off x="6507" y="3046"/>
                <a:ext cx="13" cy="18"/>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8" name="Rectangle 295">
                <a:extLst>
                  <a:ext uri="{FF2B5EF4-FFF2-40B4-BE49-F238E27FC236}">
                    <a16:creationId xmlns:a16="http://schemas.microsoft.com/office/drawing/2014/main" id="{D3EFC061-3993-467A-BADE-43DC47300C20}"/>
                  </a:ext>
                </a:extLst>
              </p:cNvPr>
              <p:cNvSpPr>
                <a:spLocks noChangeArrowheads="1"/>
              </p:cNvSpPr>
              <p:nvPr userDrawn="1"/>
            </p:nvSpPr>
            <p:spPr bwMode="auto">
              <a:xfrm>
                <a:off x="6529" y="3046"/>
                <a:ext cx="12" cy="1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Rectangle 296">
                <a:extLst>
                  <a:ext uri="{FF2B5EF4-FFF2-40B4-BE49-F238E27FC236}">
                    <a16:creationId xmlns:a16="http://schemas.microsoft.com/office/drawing/2014/main" id="{A02A1C27-F016-465C-9A73-E1965F315C52}"/>
                  </a:ext>
                </a:extLst>
              </p:cNvPr>
              <p:cNvSpPr>
                <a:spLocks noChangeArrowheads="1"/>
              </p:cNvSpPr>
              <p:nvPr userDrawn="1"/>
            </p:nvSpPr>
            <p:spPr bwMode="auto">
              <a:xfrm>
                <a:off x="6550" y="3046"/>
                <a:ext cx="13" cy="1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Rectangle 297">
                <a:extLst>
                  <a:ext uri="{FF2B5EF4-FFF2-40B4-BE49-F238E27FC236}">
                    <a16:creationId xmlns:a16="http://schemas.microsoft.com/office/drawing/2014/main" id="{FBD3B35B-A6EE-4700-AFB7-9E6E293533EE}"/>
                  </a:ext>
                </a:extLst>
              </p:cNvPr>
              <p:cNvSpPr>
                <a:spLocks noChangeArrowheads="1"/>
              </p:cNvSpPr>
              <p:nvPr userDrawn="1"/>
            </p:nvSpPr>
            <p:spPr bwMode="auto">
              <a:xfrm>
                <a:off x="6486" y="3078"/>
                <a:ext cx="13" cy="1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Rectangle 298">
                <a:extLst>
                  <a:ext uri="{FF2B5EF4-FFF2-40B4-BE49-F238E27FC236}">
                    <a16:creationId xmlns:a16="http://schemas.microsoft.com/office/drawing/2014/main" id="{786051DB-5653-4733-A9C3-EF2E7B321458}"/>
                  </a:ext>
                </a:extLst>
              </p:cNvPr>
              <p:cNvSpPr>
                <a:spLocks noChangeArrowheads="1"/>
              </p:cNvSpPr>
              <p:nvPr userDrawn="1"/>
            </p:nvSpPr>
            <p:spPr bwMode="auto">
              <a:xfrm>
                <a:off x="6507" y="3078"/>
                <a:ext cx="13" cy="1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Rectangle 299">
                <a:extLst>
                  <a:ext uri="{FF2B5EF4-FFF2-40B4-BE49-F238E27FC236}">
                    <a16:creationId xmlns:a16="http://schemas.microsoft.com/office/drawing/2014/main" id="{0722E012-9A63-4892-8F1E-06EA263F594D}"/>
                  </a:ext>
                </a:extLst>
              </p:cNvPr>
              <p:cNvSpPr>
                <a:spLocks noChangeArrowheads="1"/>
              </p:cNvSpPr>
              <p:nvPr userDrawn="1"/>
            </p:nvSpPr>
            <p:spPr bwMode="auto">
              <a:xfrm>
                <a:off x="6529" y="3078"/>
                <a:ext cx="12" cy="18"/>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Rectangle 300">
                <a:extLst>
                  <a:ext uri="{FF2B5EF4-FFF2-40B4-BE49-F238E27FC236}">
                    <a16:creationId xmlns:a16="http://schemas.microsoft.com/office/drawing/2014/main" id="{A95B2B69-3391-4797-9DFC-7EA0C48A75FF}"/>
                  </a:ext>
                </a:extLst>
              </p:cNvPr>
              <p:cNvSpPr>
                <a:spLocks noChangeArrowheads="1"/>
              </p:cNvSpPr>
              <p:nvPr userDrawn="1"/>
            </p:nvSpPr>
            <p:spPr bwMode="auto">
              <a:xfrm>
                <a:off x="6550" y="3078"/>
                <a:ext cx="13" cy="1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Rectangle 301">
                <a:extLst>
                  <a:ext uri="{FF2B5EF4-FFF2-40B4-BE49-F238E27FC236}">
                    <a16:creationId xmlns:a16="http://schemas.microsoft.com/office/drawing/2014/main" id="{4E2EA6D4-64D0-4FD4-9189-E49A26BB9C0D}"/>
                  </a:ext>
                </a:extLst>
              </p:cNvPr>
              <p:cNvSpPr>
                <a:spLocks noChangeArrowheads="1"/>
              </p:cNvSpPr>
              <p:nvPr userDrawn="1"/>
            </p:nvSpPr>
            <p:spPr bwMode="auto">
              <a:xfrm>
                <a:off x="6486" y="3110"/>
                <a:ext cx="13" cy="1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5" name="Rectangle 302">
                <a:extLst>
                  <a:ext uri="{FF2B5EF4-FFF2-40B4-BE49-F238E27FC236}">
                    <a16:creationId xmlns:a16="http://schemas.microsoft.com/office/drawing/2014/main" id="{FFA5E57D-3948-4D6D-BF11-49C9A6FDF298}"/>
                  </a:ext>
                </a:extLst>
              </p:cNvPr>
              <p:cNvSpPr>
                <a:spLocks noChangeArrowheads="1"/>
              </p:cNvSpPr>
              <p:nvPr userDrawn="1"/>
            </p:nvSpPr>
            <p:spPr bwMode="auto">
              <a:xfrm>
                <a:off x="6507" y="3110"/>
                <a:ext cx="13" cy="1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6" name="Rectangle 303">
                <a:extLst>
                  <a:ext uri="{FF2B5EF4-FFF2-40B4-BE49-F238E27FC236}">
                    <a16:creationId xmlns:a16="http://schemas.microsoft.com/office/drawing/2014/main" id="{B47D7B23-9238-4336-8560-66D35164C264}"/>
                  </a:ext>
                </a:extLst>
              </p:cNvPr>
              <p:cNvSpPr>
                <a:spLocks noChangeArrowheads="1"/>
              </p:cNvSpPr>
              <p:nvPr userDrawn="1"/>
            </p:nvSpPr>
            <p:spPr bwMode="auto">
              <a:xfrm>
                <a:off x="6529" y="3110"/>
                <a:ext cx="12" cy="18"/>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7" name="Rectangle 304">
                <a:extLst>
                  <a:ext uri="{FF2B5EF4-FFF2-40B4-BE49-F238E27FC236}">
                    <a16:creationId xmlns:a16="http://schemas.microsoft.com/office/drawing/2014/main" id="{4ECAD871-5BD1-41D1-9362-F37624E00C81}"/>
                  </a:ext>
                </a:extLst>
              </p:cNvPr>
              <p:cNvSpPr>
                <a:spLocks noChangeArrowheads="1"/>
              </p:cNvSpPr>
              <p:nvPr userDrawn="1"/>
            </p:nvSpPr>
            <p:spPr bwMode="auto">
              <a:xfrm>
                <a:off x="6550" y="3110"/>
                <a:ext cx="13" cy="1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8" name="Freeform 305">
                <a:extLst>
                  <a:ext uri="{FF2B5EF4-FFF2-40B4-BE49-F238E27FC236}">
                    <a16:creationId xmlns:a16="http://schemas.microsoft.com/office/drawing/2014/main" id="{EABC2B01-BA57-4BEE-9C1D-75DB098E5475}"/>
                  </a:ext>
                </a:extLst>
              </p:cNvPr>
              <p:cNvSpPr>
                <a:spLocks/>
              </p:cNvSpPr>
              <p:nvPr userDrawn="1"/>
            </p:nvSpPr>
            <p:spPr bwMode="auto">
              <a:xfrm>
                <a:off x="6202" y="2596"/>
                <a:ext cx="141" cy="325"/>
              </a:xfrm>
              <a:custGeom>
                <a:avLst/>
                <a:gdLst>
                  <a:gd name="T0" fmla="*/ 3 w 79"/>
                  <a:gd name="T1" fmla="*/ 183 h 183"/>
                  <a:gd name="T2" fmla="*/ 0 w 79"/>
                  <a:gd name="T3" fmla="*/ 183 h 183"/>
                  <a:gd name="T4" fmla="*/ 0 w 79"/>
                  <a:gd name="T5" fmla="*/ 92 h 183"/>
                  <a:gd name="T6" fmla="*/ 32 w 79"/>
                  <a:gd name="T7" fmla="*/ 60 h 183"/>
                  <a:gd name="T8" fmla="*/ 48 w 79"/>
                  <a:gd name="T9" fmla="*/ 60 h 183"/>
                  <a:gd name="T10" fmla="*/ 76 w 79"/>
                  <a:gd name="T11" fmla="*/ 32 h 183"/>
                  <a:gd name="T12" fmla="*/ 76 w 79"/>
                  <a:gd name="T13" fmla="*/ 0 h 183"/>
                  <a:gd name="T14" fmla="*/ 79 w 79"/>
                  <a:gd name="T15" fmla="*/ 0 h 183"/>
                  <a:gd name="T16" fmla="*/ 79 w 79"/>
                  <a:gd name="T17" fmla="*/ 32 h 183"/>
                  <a:gd name="T18" fmla="*/ 48 w 79"/>
                  <a:gd name="T19" fmla="*/ 63 h 183"/>
                  <a:gd name="T20" fmla="*/ 32 w 79"/>
                  <a:gd name="T21" fmla="*/ 63 h 183"/>
                  <a:gd name="T22" fmla="*/ 3 w 79"/>
                  <a:gd name="T23" fmla="*/ 92 h 183"/>
                  <a:gd name="T24" fmla="*/ 3 w 79"/>
                  <a:gd name="T25"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83">
                    <a:moveTo>
                      <a:pt x="3" y="183"/>
                    </a:moveTo>
                    <a:cubicBezTo>
                      <a:pt x="0" y="183"/>
                      <a:pt x="0" y="183"/>
                      <a:pt x="0" y="183"/>
                    </a:cubicBezTo>
                    <a:cubicBezTo>
                      <a:pt x="0" y="92"/>
                      <a:pt x="0" y="92"/>
                      <a:pt x="0" y="92"/>
                    </a:cubicBezTo>
                    <a:cubicBezTo>
                      <a:pt x="0" y="74"/>
                      <a:pt x="14" y="60"/>
                      <a:pt x="32" y="60"/>
                    </a:cubicBezTo>
                    <a:cubicBezTo>
                      <a:pt x="48" y="60"/>
                      <a:pt x="48" y="60"/>
                      <a:pt x="48" y="60"/>
                    </a:cubicBezTo>
                    <a:cubicBezTo>
                      <a:pt x="63" y="60"/>
                      <a:pt x="76" y="48"/>
                      <a:pt x="76" y="32"/>
                    </a:cubicBezTo>
                    <a:cubicBezTo>
                      <a:pt x="76" y="0"/>
                      <a:pt x="76" y="0"/>
                      <a:pt x="76" y="0"/>
                    </a:cubicBezTo>
                    <a:cubicBezTo>
                      <a:pt x="79" y="0"/>
                      <a:pt x="79" y="0"/>
                      <a:pt x="79" y="0"/>
                    </a:cubicBezTo>
                    <a:cubicBezTo>
                      <a:pt x="79" y="32"/>
                      <a:pt x="79" y="32"/>
                      <a:pt x="79" y="32"/>
                    </a:cubicBezTo>
                    <a:cubicBezTo>
                      <a:pt x="79" y="49"/>
                      <a:pt x="65" y="63"/>
                      <a:pt x="48" y="63"/>
                    </a:cubicBezTo>
                    <a:cubicBezTo>
                      <a:pt x="32" y="63"/>
                      <a:pt x="32" y="63"/>
                      <a:pt x="32" y="63"/>
                    </a:cubicBezTo>
                    <a:cubicBezTo>
                      <a:pt x="16" y="63"/>
                      <a:pt x="3" y="76"/>
                      <a:pt x="3" y="92"/>
                    </a:cubicBezTo>
                    <a:lnTo>
                      <a:pt x="3" y="183"/>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9" name="Freeform 306">
                <a:extLst>
                  <a:ext uri="{FF2B5EF4-FFF2-40B4-BE49-F238E27FC236}">
                    <a16:creationId xmlns:a16="http://schemas.microsoft.com/office/drawing/2014/main" id="{2CB6FDE5-F334-4B7B-8B8B-4103516E476F}"/>
                  </a:ext>
                </a:extLst>
              </p:cNvPr>
              <p:cNvSpPr>
                <a:spLocks/>
              </p:cNvSpPr>
              <p:nvPr userDrawn="1"/>
            </p:nvSpPr>
            <p:spPr bwMode="auto">
              <a:xfrm>
                <a:off x="6463" y="2596"/>
                <a:ext cx="73" cy="439"/>
              </a:xfrm>
              <a:custGeom>
                <a:avLst/>
                <a:gdLst>
                  <a:gd name="T0" fmla="*/ 41 w 41"/>
                  <a:gd name="T1" fmla="*/ 247 h 247"/>
                  <a:gd name="T2" fmla="*/ 38 w 41"/>
                  <a:gd name="T3" fmla="*/ 247 h 247"/>
                  <a:gd name="T4" fmla="*/ 38 w 41"/>
                  <a:gd name="T5" fmla="*/ 123 h 247"/>
                  <a:gd name="T6" fmla="*/ 21 w 41"/>
                  <a:gd name="T7" fmla="*/ 106 h 247"/>
                  <a:gd name="T8" fmla="*/ 20 w 41"/>
                  <a:gd name="T9" fmla="*/ 106 h 247"/>
                  <a:gd name="T10" fmla="*/ 0 w 41"/>
                  <a:gd name="T11" fmla="*/ 86 h 247"/>
                  <a:gd name="T12" fmla="*/ 0 w 41"/>
                  <a:gd name="T13" fmla="*/ 0 h 247"/>
                  <a:gd name="T14" fmla="*/ 3 w 41"/>
                  <a:gd name="T15" fmla="*/ 0 h 247"/>
                  <a:gd name="T16" fmla="*/ 3 w 41"/>
                  <a:gd name="T17" fmla="*/ 86 h 247"/>
                  <a:gd name="T18" fmla="*/ 20 w 41"/>
                  <a:gd name="T19" fmla="*/ 103 h 247"/>
                  <a:gd name="T20" fmla="*/ 21 w 41"/>
                  <a:gd name="T21" fmla="*/ 103 h 247"/>
                  <a:gd name="T22" fmla="*/ 41 w 41"/>
                  <a:gd name="T23" fmla="*/ 123 h 247"/>
                  <a:gd name="T24" fmla="*/ 41 w 41"/>
                  <a:gd name="T25" fmla="*/ 247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247">
                    <a:moveTo>
                      <a:pt x="41" y="247"/>
                    </a:moveTo>
                    <a:cubicBezTo>
                      <a:pt x="38" y="247"/>
                      <a:pt x="38" y="247"/>
                      <a:pt x="38" y="247"/>
                    </a:cubicBezTo>
                    <a:cubicBezTo>
                      <a:pt x="38" y="123"/>
                      <a:pt x="38" y="123"/>
                      <a:pt x="38" y="123"/>
                    </a:cubicBezTo>
                    <a:cubicBezTo>
                      <a:pt x="38" y="113"/>
                      <a:pt x="31" y="106"/>
                      <a:pt x="21" y="106"/>
                    </a:cubicBezTo>
                    <a:cubicBezTo>
                      <a:pt x="20" y="106"/>
                      <a:pt x="20" y="106"/>
                      <a:pt x="20" y="106"/>
                    </a:cubicBezTo>
                    <a:cubicBezTo>
                      <a:pt x="9" y="106"/>
                      <a:pt x="0" y="97"/>
                      <a:pt x="0" y="86"/>
                    </a:cubicBezTo>
                    <a:cubicBezTo>
                      <a:pt x="0" y="0"/>
                      <a:pt x="0" y="0"/>
                      <a:pt x="0" y="0"/>
                    </a:cubicBezTo>
                    <a:cubicBezTo>
                      <a:pt x="3" y="0"/>
                      <a:pt x="3" y="0"/>
                      <a:pt x="3" y="0"/>
                    </a:cubicBezTo>
                    <a:cubicBezTo>
                      <a:pt x="3" y="86"/>
                      <a:pt x="3" y="86"/>
                      <a:pt x="3" y="86"/>
                    </a:cubicBezTo>
                    <a:cubicBezTo>
                      <a:pt x="3" y="95"/>
                      <a:pt x="11" y="103"/>
                      <a:pt x="20" y="103"/>
                    </a:cubicBezTo>
                    <a:cubicBezTo>
                      <a:pt x="21" y="103"/>
                      <a:pt x="21" y="103"/>
                      <a:pt x="21" y="103"/>
                    </a:cubicBezTo>
                    <a:cubicBezTo>
                      <a:pt x="32" y="103"/>
                      <a:pt x="41" y="112"/>
                      <a:pt x="41" y="123"/>
                    </a:cubicBezTo>
                    <a:lnTo>
                      <a:pt x="41" y="247"/>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0" name="Rectangle 307">
                <a:extLst>
                  <a:ext uri="{FF2B5EF4-FFF2-40B4-BE49-F238E27FC236}">
                    <a16:creationId xmlns:a16="http://schemas.microsoft.com/office/drawing/2014/main" id="{A38EF7CD-621B-495A-B64A-051DF2966F79}"/>
                  </a:ext>
                </a:extLst>
              </p:cNvPr>
              <p:cNvSpPr>
                <a:spLocks noChangeArrowheads="1"/>
              </p:cNvSpPr>
              <p:nvPr userDrawn="1"/>
            </p:nvSpPr>
            <p:spPr bwMode="auto">
              <a:xfrm>
                <a:off x="6383" y="2596"/>
                <a:ext cx="5" cy="219"/>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 name="Group 4">
              <a:extLst>
                <a:ext uri="{FF2B5EF4-FFF2-40B4-BE49-F238E27FC236}">
                  <a16:creationId xmlns:a16="http://schemas.microsoft.com/office/drawing/2014/main" id="{DB10F5F6-B62F-4F98-A105-7C554CB0FC31}"/>
                </a:ext>
              </a:extLst>
            </p:cNvPr>
            <p:cNvGrpSpPr>
              <a:grpSpLocks noChangeAspect="1"/>
            </p:cNvGrpSpPr>
            <p:nvPr userDrawn="1"/>
          </p:nvGrpSpPr>
          <p:grpSpPr bwMode="auto">
            <a:xfrm>
              <a:off x="7625796" y="627085"/>
              <a:ext cx="5434428" cy="3785490"/>
              <a:chOff x="5470" y="502"/>
              <a:chExt cx="1460" cy="1017"/>
            </a:xfrm>
          </p:grpSpPr>
          <p:sp>
            <p:nvSpPr>
              <p:cNvPr id="4" name="AutoShape 3">
                <a:extLst>
                  <a:ext uri="{FF2B5EF4-FFF2-40B4-BE49-F238E27FC236}">
                    <a16:creationId xmlns:a16="http://schemas.microsoft.com/office/drawing/2014/main" id="{8ED08270-25A4-4090-8316-02699D540C58}"/>
                  </a:ext>
                </a:extLst>
              </p:cNvPr>
              <p:cNvSpPr>
                <a:spLocks noChangeAspect="1" noChangeArrowheads="1" noTextEdit="1"/>
              </p:cNvSpPr>
              <p:nvPr userDrawn="1"/>
            </p:nvSpPr>
            <p:spPr bwMode="auto">
              <a:xfrm>
                <a:off x="5470" y="502"/>
                <a:ext cx="1460" cy="1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nvGrpSpPr>
              <p:cNvPr id="7" name="Group 205">
                <a:extLst>
                  <a:ext uri="{FF2B5EF4-FFF2-40B4-BE49-F238E27FC236}">
                    <a16:creationId xmlns:a16="http://schemas.microsoft.com/office/drawing/2014/main" id="{C5B78ECB-92CF-4CFA-A2C9-4554CEC9E1AF}"/>
                  </a:ext>
                </a:extLst>
              </p:cNvPr>
              <p:cNvGrpSpPr>
                <a:grpSpLocks/>
              </p:cNvGrpSpPr>
              <p:nvPr userDrawn="1"/>
            </p:nvGrpSpPr>
            <p:grpSpPr bwMode="auto">
              <a:xfrm>
                <a:off x="5845" y="650"/>
                <a:ext cx="742" cy="720"/>
                <a:chOff x="5845" y="650"/>
                <a:chExt cx="742" cy="720"/>
              </a:xfrm>
            </p:grpSpPr>
            <p:sp>
              <p:nvSpPr>
                <p:cNvPr id="49" name="Freeform 6">
                  <a:extLst>
                    <a:ext uri="{FF2B5EF4-FFF2-40B4-BE49-F238E27FC236}">
                      <a16:creationId xmlns:a16="http://schemas.microsoft.com/office/drawing/2014/main" id="{BB2B919C-2F46-44A4-AB63-1A565636E045}"/>
                    </a:ext>
                  </a:extLst>
                </p:cNvPr>
                <p:cNvSpPr>
                  <a:spLocks/>
                </p:cNvSpPr>
                <p:nvPr userDrawn="1"/>
              </p:nvSpPr>
              <p:spPr bwMode="auto">
                <a:xfrm>
                  <a:off x="6120" y="701"/>
                  <a:ext cx="8" cy="85"/>
                </a:xfrm>
                <a:custGeom>
                  <a:avLst/>
                  <a:gdLst>
                    <a:gd name="T0" fmla="*/ 8 w 8"/>
                    <a:gd name="T1" fmla="*/ 85 h 85"/>
                    <a:gd name="T2" fmla="*/ 0 w 8"/>
                    <a:gd name="T3" fmla="*/ 85 h 85"/>
                    <a:gd name="T4" fmla="*/ 1 w 8"/>
                    <a:gd name="T5" fmla="*/ 0 h 85"/>
                    <a:gd name="T6" fmla="*/ 6 w 8"/>
                    <a:gd name="T7" fmla="*/ 0 h 85"/>
                    <a:gd name="T8" fmla="*/ 8 w 8"/>
                    <a:gd name="T9" fmla="*/ 85 h 85"/>
                  </a:gdLst>
                  <a:ahLst/>
                  <a:cxnLst>
                    <a:cxn ang="0">
                      <a:pos x="T0" y="T1"/>
                    </a:cxn>
                    <a:cxn ang="0">
                      <a:pos x="T2" y="T3"/>
                    </a:cxn>
                    <a:cxn ang="0">
                      <a:pos x="T4" y="T5"/>
                    </a:cxn>
                    <a:cxn ang="0">
                      <a:pos x="T6" y="T7"/>
                    </a:cxn>
                    <a:cxn ang="0">
                      <a:pos x="T8" y="T9"/>
                    </a:cxn>
                  </a:cxnLst>
                  <a:rect l="0" t="0" r="r" b="b"/>
                  <a:pathLst>
                    <a:path w="8" h="85">
                      <a:moveTo>
                        <a:pt x="8" y="85"/>
                      </a:moveTo>
                      <a:lnTo>
                        <a:pt x="0" y="85"/>
                      </a:lnTo>
                      <a:lnTo>
                        <a:pt x="1" y="0"/>
                      </a:lnTo>
                      <a:lnTo>
                        <a:pt x="6" y="0"/>
                      </a:lnTo>
                      <a:lnTo>
                        <a:pt x="8" y="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 name="Freeform 7">
                  <a:extLst>
                    <a:ext uri="{FF2B5EF4-FFF2-40B4-BE49-F238E27FC236}">
                      <a16:creationId xmlns:a16="http://schemas.microsoft.com/office/drawing/2014/main" id="{21685852-7ACC-4066-9FEE-D83C891293C5}"/>
                    </a:ext>
                  </a:extLst>
                </p:cNvPr>
                <p:cNvSpPr>
                  <a:spLocks/>
                </p:cNvSpPr>
                <p:nvPr userDrawn="1"/>
              </p:nvSpPr>
              <p:spPr bwMode="auto">
                <a:xfrm>
                  <a:off x="6095" y="699"/>
                  <a:ext cx="31" cy="10"/>
                </a:xfrm>
                <a:custGeom>
                  <a:avLst/>
                  <a:gdLst>
                    <a:gd name="T0" fmla="*/ 67 w 69"/>
                    <a:gd name="T1" fmla="*/ 0 h 23"/>
                    <a:gd name="T2" fmla="*/ 1 w 69"/>
                    <a:gd name="T3" fmla="*/ 17 h 23"/>
                    <a:gd name="T4" fmla="*/ 69 w 69"/>
                    <a:gd name="T5" fmla="*/ 13 h 23"/>
                    <a:gd name="T6" fmla="*/ 67 w 69"/>
                    <a:gd name="T7" fmla="*/ 0 h 23"/>
                  </a:gdLst>
                  <a:ahLst/>
                  <a:cxnLst>
                    <a:cxn ang="0">
                      <a:pos x="T0" y="T1"/>
                    </a:cxn>
                    <a:cxn ang="0">
                      <a:pos x="T2" y="T3"/>
                    </a:cxn>
                    <a:cxn ang="0">
                      <a:pos x="T4" y="T5"/>
                    </a:cxn>
                    <a:cxn ang="0">
                      <a:pos x="T6" y="T7"/>
                    </a:cxn>
                  </a:cxnLst>
                  <a:rect l="0" t="0" r="r" b="b"/>
                  <a:pathLst>
                    <a:path w="69" h="23">
                      <a:moveTo>
                        <a:pt x="67" y="0"/>
                      </a:moveTo>
                      <a:cubicBezTo>
                        <a:pt x="2" y="10"/>
                        <a:pt x="0" y="15"/>
                        <a:pt x="1" y="17"/>
                      </a:cubicBezTo>
                      <a:cubicBezTo>
                        <a:pt x="1" y="19"/>
                        <a:pt x="3" y="23"/>
                        <a:pt x="69" y="13"/>
                      </a:cubicBezTo>
                      <a:lnTo>
                        <a:pt x="6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 name="Freeform 8">
                  <a:extLst>
                    <a:ext uri="{FF2B5EF4-FFF2-40B4-BE49-F238E27FC236}">
                      <a16:creationId xmlns:a16="http://schemas.microsoft.com/office/drawing/2014/main" id="{E10552BE-BC8F-45EB-A8F5-7DA83D2EA27B}"/>
                    </a:ext>
                  </a:extLst>
                </p:cNvPr>
                <p:cNvSpPr>
                  <a:spLocks/>
                </p:cNvSpPr>
                <p:nvPr userDrawn="1"/>
              </p:nvSpPr>
              <p:spPr bwMode="auto">
                <a:xfrm>
                  <a:off x="6120" y="699"/>
                  <a:ext cx="22" cy="29"/>
                </a:xfrm>
                <a:custGeom>
                  <a:avLst/>
                  <a:gdLst>
                    <a:gd name="T0" fmla="*/ 0 w 48"/>
                    <a:gd name="T1" fmla="*/ 7 h 62"/>
                    <a:gd name="T2" fmla="*/ 43 w 48"/>
                    <a:gd name="T3" fmla="*/ 59 h 62"/>
                    <a:gd name="T4" fmla="*/ 11 w 48"/>
                    <a:gd name="T5" fmla="*/ 0 h 62"/>
                    <a:gd name="T6" fmla="*/ 0 w 48"/>
                    <a:gd name="T7" fmla="*/ 7 h 62"/>
                  </a:gdLst>
                  <a:ahLst/>
                  <a:cxnLst>
                    <a:cxn ang="0">
                      <a:pos x="T0" y="T1"/>
                    </a:cxn>
                    <a:cxn ang="0">
                      <a:pos x="T2" y="T3"/>
                    </a:cxn>
                    <a:cxn ang="0">
                      <a:pos x="T4" y="T5"/>
                    </a:cxn>
                    <a:cxn ang="0">
                      <a:pos x="T6" y="T7"/>
                    </a:cxn>
                  </a:cxnLst>
                  <a:rect l="0" t="0" r="r" b="b"/>
                  <a:pathLst>
                    <a:path w="48" h="62">
                      <a:moveTo>
                        <a:pt x="0" y="7"/>
                      </a:moveTo>
                      <a:cubicBezTo>
                        <a:pt x="38" y="62"/>
                        <a:pt x="42" y="60"/>
                        <a:pt x="43" y="59"/>
                      </a:cubicBezTo>
                      <a:cubicBezTo>
                        <a:pt x="45" y="57"/>
                        <a:pt x="48" y="55"/>
                        <a:pt x="11" y="0"/>
                      </a:cubicBezTo>
                      <a:lnTo>
                        <a:pt x="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 name="Freeform 9">
                  <a:extLst>
                    <a:ext uri="{FF2B5EF4-FFF2-40B4-BE49-F238E27FC236}">
                      <a16:creationId xmlns:a16="http://schemas.microsoft.com/office/drawing/2014/main" id="{9C0BDC40-3C3F-45F6-9736-BB1693502149}"/>
                    </a:ext>
                  </a:extLst>
                </p:cNvPr>
                <p:cNvSpPr>
                  <a:spLocks/>
                </p:cNvSpPr>
                <p:nvPr userDrawn="1"/>
              </p:nvSpPr>
              <p:spPr bwMode="auto">
                <a:xfrm>
                  <a:off x="6120" y="673"/>
                  <a:ext cx="15" cy="31"/>
                </a:xfrm>
                <a:custGeom>
                  <a:avLst/>
                  <a:gdLst>
                    <a:gd name="T0" fmla="*/ 0 w 32"/>
                    <a:gd name="T1" fmla="*/ 64 h 68"/>
                    <a:gd name="T2" fmla="*/ 26 w 32"/>
                    <a:gd name="T3" fmla="*/ 2 h 68"/>
                    <a:gd name="T4" fmla="*/ 12 w 32"/>
                    <a:gd name="T5" fmla="*/ 68 h 68"/>
                    <a:gd name="T6" fmla="*/ 0 w 32"/>
                    <a:gd name="T7" fmla="*/ 64 h 68"/>
                  </a:gdLst>
                  <a:ahLst/>
                  <a:cxnLst>
                    <a:cxn ang="0">
                      <a:pos x="T0" y="T1"/>
                    </a:cxn>
                    <a:cxn ang="0">
                      <a:pos x="T2" y="T3"/>
                    </a:cxn>
                    <a:cxn ang="0">
                      <a:pos x="T4" y="T5"/>
                    </a:cxn>
                    <a:cxn ang="0">
                      <a:pos x="T6" y="T7"/>
                    </a:cxn>
                  </a:cxnLst>
                  <a:rect l="0" t="0" r="r" b="b"/>
                  <a:pathLst>
                    <a:path w="32" h="68">
                      <a:moveTo>
                        <a:pt x="0" y="64"/>
                      </a:moveTo>
                      <a:cubicBezTo>
                        <a:pt x="20" y="0"/>
                        <a:pt x="24" y="2"/>
                        <a:pt x="26" y="2"/>
                      </a:cubicBezTo>
                      <a:cubicBezTo>
                        <a:pt x="28" y="3"/>
                        <a:pt x="32" y="4"/>
                        <a:pt x="12" y="68"/>
                      </a:cubicBez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 name="Freeform 10">
                  <a:extLst>
                    <a:ext uri="{FF2B5EF4-FFF2-40B4-BE49-F238E27FC236}">
                      <a16:creationId xmlns:a16="http://schemas.microsoft.com/office/drawing/2014/main" id="{72456EFD-7A4F-4DE5-8D9C-CAE507AD2855}"/>
                    </a:ext>
                  </a:extLst>
                </p:cNvPr>
                <p:cNvSpPr>
                  <a:spLocks/>
                </p:cNvSpPr>
                <p:nvPr userDrawn="1"/>
              </p:nvSpPr>
              <p:spPr bwMode="auto">
                <a:xfrm>
                  <a:off x="6057" y="715"/>
                  <a:ext cx="9" cy="67"/>
                </a:xfrm>
                <a:custGeom>
                  <a:avLst/>
                  <a:gdLst>
                    <a:gd name="T0" fmla="*/ 9 w 9"/>
                    <a:gd name="T1" fmla="*/ 67 h 67"/>
                    <a:gd name="T2" fmla="*/ 0 w 9"/>
                    <a:gd name="T3" fmla="*/ 67 h 67"/>
                    <a:gd name="T4" fmla="*/ 1 w 9"/>
                    <a:gd name="T5" fmla="*/ 0 h 67"/>
                    <a:gd name="T6" fmla="*/ 7 w 9"/>
                    <a:gd name="T7" fmla="*/ 0 h 67"/>
                    <a:gd name="T8" fmla="*/ 9 w 9"/>
                    <a:gd name="T9" fmla="*/ 67 h 67"/>
                  </a:gdLst>
                  <a:ahLst/>
                  <a:cxnLst>
                    <a:cxn ang="0">
                      <a:pos x="T0" y="T1"/>
                    </a:cxn>
                    <a:cxn ang="0">
                      <a:pos x="T2" y="T3"/>
                    </a:cxn>
                    <a:cxn ang="0">
                      <a:pos x="T4" y="T5"/>
                    </a:cxn>
                    <a:cxn ang="0">
                      <a:pos x="T6" y="T7"/>
                    </a:cxn>
                    <a:cxn ang="0">
                      <a:pos x="T8" y="T9"/>
                    </a:cxn>
                  </a:cxnLst>
                  <a:rect l="0" t="0" r="r" b="b"/>
                  <a:pathLst>
                    <a:path w="9" h="67">
                      <a:moveTo>
                        <a:pt x="9" y="67"/>
                      </a:moveTo>
                      <a:lnTo>
                        <a:pt x="0" y="67"/>
                      </a:lnTo>
                      <a:lnTo>
                        <a:pt x="1" y="0"/>
                      </a:lnTo>
                      <a:lnTo>
                        <a:pt x="7" y="0"/>
                      </a:lnTo>
                      <a:lnTo>
                        <a:pt x="9"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 name="Freeform 11">
                  <a:extLst>
                    <a:ext uri="{FF2B5EF4-FFF2-40B4-BE49-F238E27FC236}">
                      <a16:creationId xmlns:a16="http://schemas.microsoft.com/office/drawing/2014/main" id="{223AE499-0677-4AD4-B4E9-53E6183C7EFA}"/>
                    </a:ext>
                  </a:extLst>
                </p:cNvPr>
                <p:cNvSpPr>
                  <a:spLocks/>
                </p:cNvSpPr>
                <p:nvPr userDrawn="1"/>
              </p:nvSpPr>
              <p:spPr bwMode="auto">
                <a:xfrm>
                  <a:off x="6057" y="712"/>
                  <a:ext cx="36" cy="20"/>
                </a:xfrm>
                <a:custGeom>
                  <a:avLst/>
                  <a:gdLst>
                    <a:gd name="T0" fmla="*/ 0 w 79"/>
                    <a:gd name="T1" fmla="*/ 14 h 44"/>
                    <a:gd name="T2" fmla="*/ 78 w 79"/>
                    <a:gd name="T3" fmla="*/ 38 h 44"/>
                    <a:gd name="T4" fmla="*/ 6 w 79"/>
                    <a:gd name="T5" fmla="*/ 0 h 44"/>
                    <a:gd name="T6" fmla="*/ 0 w 79"/>
                    <a:gd name="T7" fmla="*/ 14 h 44"/>
                  </a:gdLst>
                  <a:ahLst/>
                  <a:cxnLst>
                    <a:cxn ang="0">
                      <a:pos x="T0" y="T1"/>
                    </a:cxn>
                    <a:cxn ang="0">
                      <a:pos x="T2" y="T3"/>
                    </a:cxn>
                    <a:cxn ang="0">
                      <a:pos x="T4" y="T5"/>
                    </a:cxn>
                    <a:cxn ang="0">
                      <a:pos x="T6" y="T7"/>
                    </a:cxn>
                  </a:cxnLst>
                  <a:rect l="0" t="0" r="r" b="b"/>
                  <a:pathLst>
                    <a:path w="79" h="44">
                      <a:moveTo>
                        <a:pt x="0" y="14"/>
                      </a:moveTo>
                      <a:cubicBezTo>
                        <a:pt x="73" y="44"/>
                        <a:pt x="77" y="40"/>
                        <a:pt x="78" y="38"/>
                      </a:cubicBezTo>
                      <a:cubicBezTo>
                        <a:pt x="79" y="36"/>
                        <a:pt x="79" y="30"/>
                        <a:pt x="6" y="0"/>
                      </a:cubicBez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Freeform 12">
                  <a:extLst>
                    <a:ext uri="{FF2B5EF4-FFF2-40B4-BE49-F238E27FC236}">
                      <a16:creationId xmlns:a16="http://schemas.microsoft.com/office/drawing/2014/main" id="{FDBD78EB-0BE1-447C-A8BE-037612C4F7E4}"/>
                    </a:ext>
                  </a:extLst>
                </p:cNvPr>
                <p:cNvSpPr>
                  <a:spLocks/>
                </p:cNvSpPr>
                <p:nvPr userDrawn="1"/>
              </p:nvSpPr>
              <p:spPr bwMode="auto">
                <a:xfrm>
                  <a:off x="6056" y="681"/>
                  <a:ext cx="9" cy="36"/>
                </a:xfrm>
                <a:custGeom>
                  <a:avLst/>
                  <a:gdLst>
                    <a:gd name="T0" fmla="*/ 20 w 20"/>
                    <a:gd name="T1" fmla="*/ 78 h 79"/>
                    <a:gd name="T2" fmla="*/ 8 w 20"/>
                    <a:gd name="T3" fmla="*/ 0 h 79"/>
                    <a:gd name="T4" fmla="*/ 5 w 20"/>
                    <a:gd name="T5" fmla="*/ 79 h 79"/>
                    <a:gd name="T6" fmla="*/ 20 w 20"/>
                    <a:gd name="T7" fmla="*/ 78 h 79"/>
                  </a:gdLst>
                  <a:ahLst/>
                  <a:cxnLst>
                    <a:cxn ang="0">
                      <a:pos x="T0" y="T1"/>
                    </a:cxn>
                    <a:cxn ang="0">
                      <a:pos x="T2" y="T3"/>
                    </a:cxn>
                    <a:cxn ang="0">
                      <a:pos x="T4" y="T5"/>
                    </a:cxn>
                    <a:cxn ang="0">
                      <a:pos x="T6" y="T7"/>
                    </a:cxn>
                  </a:cxnLst>
                  <a:rect l="0" t="0" r="r" b="b"/>
                  <a:pathLst>
                    <a:path w="20" h="79">
                      <a:moveTo>
                        <a:pt x="20" y="78"/>
                      </a:moveTo>
                      <a:cubicBezTo>
                        <a:pt x="15" y="0"/>
                        <a:pt x="10" y="0"/>
                        <a:pt x="8" y="0"/>
                      </a:cubicBezTo>
                      <a:cubicBezTo>
                        <a:pt x="5" y="0"/>
                        <a:pt x="0" y="1"/>
                        <a:pt x="5" y="79"/>
                      </a:cubicBezTo>
                      <a:lnTo>
                        <a:pt x="2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Freeform 13">
                  <a:extLst>
                    <a:ext uri="{FF2B5EF4-FFF2-40B4-BE49-F238E27FC236}">
                      <a16:creationId xmlns:a16="http://schemas.microsoft.com/office/drawing/2014/main" id="{AAB01234-497D-4154-B501-67F96BCDDE00}"/>
                    </a:ext>
                  </a:extLst>
                </p:cNvPr>
                <p:cNvSpPr>
                  <a:spLocks/>
                </p:cNvSpPr>
                <p:nvPr userDrawn="1"/>
              </p:nvSpPr>
              <p:spPr bwMode="auto">
                <a:xfrm>
                  <a:off x="6033" y="713"/>
                  <a:ext cx="31" cy="28"/>
                </a:xfrm>
                <a:custGeom>
                  <a:avLst/>
                  <a:gdLst>
                    <a:gd name="T0" fmla="*/ 69 w 69"/>
                    <a:gd name="T1" fmla="*/ 11 h 63"/>
                    <a:gd name="T2" fmla="*/ 5 w 69"/>
                    <a:gd name="T3" fmla="*/ 58 h 63"/>
                    <a:gd name="T4" fmla="*/ 59 w 69"/>
                    <a:gd name="T5" fmla="*/ 0 h 63"/>
                    <a:gd name="T6" fmla="*/ 69 w 69"/>
                    <a:gd name="T7" fmla="*/ 11 h 63"/>
                  </a:gdLst>
                  <a:ahLst/>
                  <a:cxnLst>
                    <a:cxn ang="0">
                      <a:pos x="T0" y="T1"/>
                    </a:cxn>
                    <a:cxn ang="0">
                      <a:pos x="T2" y="T3"/>
                    </a:cxn>
                    <a:cxn ang="0">
                      <a:pos x="T4" y="T5"/>
                    </a:cxn>
                    <a:cxn ang="0">
                      <a:pos x="T6" y="T7"/>
                    </a:cxn>
                  </a:cxnLst>
                  <a:rect l="0" t="0" r="r" b="b"/>
                  <a:pathLst>
                    <a:path w="69" h="63">
                      <a:moveTo>
                        <a:pt x="69" y="11"/>
                      </a:moveTo>
                      <a:cubicBezTo>
                        <a:pt x="10" y="63"/>
                        <a:pt x="6" y="59"/>
                        <a:pt x="5" y="58"/>
                      </a:cubicBezTo>
                      <a:cubicBezTo>
                        <a:pt x="3" y="56"/>
                        <a:pt x="0" y="52"/>
                        <a:pt x="59" y="0"/>
                      </a:cubicBezTo>
                      <a:lnTo>
                        <a:pt x="69"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Freeform 14">
                  <a:extLst>
                    <a:ext uri="{FF2B5EF4-FFF2-40B4-BE49-F238E27FC236}">
                      <a16:creationId xmlns:a16="http://schemas.microsoft.com/office/drawing/2014/main" id="{548871D5-69BE-4AA1-9AD7-63FACD73DC96}"/>
                    </a:ext>
                  </a:extLst>
                </p:cNvPr>
                <p:cNvSpPr>
                  <a:spLocks/>
                </p:cNvSpPr>
                <p:nvPr userDrawn="1"/>
              </p:nvSpPr>
              <p:spPr bwMode="auto">
                <a:xfrm>
                  <a:off x="6167" y="695"/>
                  <a:ext cx="8" cy="72"/>
                </a:xfrm>
                <a:custGeom>
                  <a:avLst/>
                  <a:gdLst>
                    <a:gd name="T0" fmla="*/ 8 w 8"/>
                    <a:gd name="T1" fmla="*/ 72 h 72"/>
                    <a:gd name="T2" fmla="*/ 0 w 8"/>
                    <a:gd name="T3" fmla="*/ 72 h 72"/>
                    <a:gd name="T4" fmla="*/ 1 w 8"/>
                    <a:gd name="T5" fmla="*/ 0 h 72"/>
                    <a:gd name="T6" fmla="*/ 7 w 8"/>
                    <a:gd name="T7" fmla="*/ 0 h 72"/>
                    <a:gd name="T8" fmla="*/ 8 w 8"/>
                    <a:gd name="T9" fmla="*/ 72 h 72"/>
                  </a:gdLst>
                  <a:ahLst/>
                  <a:cxnLst>
                    <a:cxn ang="0">
                      <a:pos x="T0" y="T1"/>
                    </a:cxn>
                    <a:cxn ang="0">
                      <a:pos x="T2" y="T3"/>
                    </a:cxn>
                    <a:cxn ang="0">
                      <a:pos x="T4" y="T5"/>
                    </a:cxn>
                    <a:cxn ang="0">
                      <a:pos x="T6" y="T7"/>
                    </a:cxn>
                    <a:cxn ang="0">
                      <a:pos x="T8" y="T9"/>
                    </a:cxn>
                  </a:cxnLst>
                  <a:rect l="0" t="0" r="r" b="b"/>
                  <a:pathLst>
                    <a:path w="8" h="72">
                      <a:moveTo>
                        <a:pt x="8" y="72"/>
                      </a:moveTo>
                      <a:lnTo>
                        <a:pt x="0" y="72"/>
                      </a:lnTo>
                      <a:lnTo>
                        <a:pt x="1" y="0"/>
                      </a:lnTo>
                      <a:lnTo>
                        <a:pt x="7" y="0"/>
                      </a:lnTo>
                      <a:lnTo>
                        <a:pt x="8"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 name="Freeform 15">
                  <a:extLst>
                    <a:ext uri="{FF2B5EF4-FFF2-40B4-BE49-F238E27FC236}">
                      <a16:creationId xmlns:a16="http://schemas.microsoft.com/office/drawing/2014/main" id="{004A3C37-28C0-4F10-B2B7-91D666109E53}"/>
                    </a:ext>
                  </a:extLst>
                </p:cNvPr>
                <p:cNvSpPr>
                  <a:spLocks/>
                </p:cNvSpPr>
                <p:nvPr userDrawn="1"/>
              </p:nvSpPr>
              <p:spPr bwMode="auto">
                <a:xfrm>
                  <a:off x="6157" y="666"/>
                  <a:ext cx="18" cy="33"/>
                </a:xfrm>
                <a:custGeom>
                  <a:avLst/>
                  <a:gdLst>
                    <a:gd name="T0" fmla="*/ 40 w 40"/>
                    <a:gd name="T1" fmla="*/ 66 h 72"/>
                    <a:gd name="T2" fmla="*/ 5 w 40"/>
                    <a:gd name="T3" fmla="*/ 1 h 72"/>
                    <a:gd name="T4" fmla="*/ 27 w 40"/>
                    <a:gd name="T5" fmla="*/ 72 h 72"/>
                    <a:gd name="T6" fmla="*/ 40 w 40"/>
                    <a:gd name="T7" fmla="*/ 66 h 72"/>
                  </a:gdLst>
                  <a:ahLst/>
                  <a:cxnLst>
                    <a:cxn ang="0">
                      <a:pos x="T0" y="T1"/>
                    </a:cxn>
                    <a:cxn ang="0">
                      <a:pos x="T2" y="T3"/>
                    </a:cxn>
                    <a:cxn ang="0">
                      <a:pos x="T4" y="T5"/>
                    </a:cxn>
                    <a:cxn ang="0">
                      <a:pos x="T6" y="T7"/>
                    </a:cxn>
                  </a:cxnLst>
                  <a:rect l="0" t="0" r="r" b="b"/>
                  <a:pathLst>
                    <a:path w="40" h="72">
                      <a:moveTo>
                        <a:pt x="40" y="66"/>
                      </a:moveTo>
                      <a:cubicBezTo>
                        <a:pt x="12" y="0"/>
                        <a:pt x="7" y="0"/>
                        <a:pt x="5" y="1"/>
                      </a:cubicBezTo>
                      <a:cubicBezTo>
                        <a:pt x="3" y="2"/>
                        <a:pt x="0" y="5"/>
                        <a:pt x="27" y="72"/>
                      </a:cubicBezTo>
                      <a:lnTo>
                        <a:pt x="40"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Freeform 16">
                  <a:extLst>
                    <a:ext uri="{FF2B5EF4-FFF2-40B4-BE49-F238E27FC236}">
                      <a16:creationId xmlns:a16="http://schemas.microsoft.com/office/drawing/2014/main" id="{07EAB6C3-B38B-43C4-A214-023A7EA0274A}"/>
                    </a:ext>
                  </a:extLst>
                </p:cNvPr>
                <p:cNvSpPr>
                  <a:spLocks/>
                </p:cNvSpPr>
                <p:nvPr userDrawn="1"/>
              </p:nvSpPr>
              <p:spPr bwMode="auto">
                <a:xfrm>
                  <a:off x="6148" y="692"/>
                  <a:ext cx="26" cy="29"/>
                </a:xfrm>
                <a:custGeom>
                  <a:avLst/>
                  <a:gdLst>
                    <a:gd name="T0" fmla="*/ 48 w 58"/>
                    <a:gd name="T1" fmla="*/ 0 h 63"/>
                    <a:gd name="T2" fmla="*/ 5 w 58"/>
                    <a:gd name="T3" fmla="*/ 58 h 63"/>
                    <a:gd name="T4" fmla="*/ 58 w 58"/>
                    <a:gd name="T5" fmla="*/ 9 h 63"/>
                    <a:gd name="T6" fmla="*/ 48 w 58"/>
                    <a:gd name="T7" fmla="*/ 0 h 63"/>
                  </a:gdLst>
                  <a:ahLst/>
                  <a:cxnLst>
                    <a:cxn ang="0">
                      <a:pos x="T0" y="T1"/>
                    </a:cxn>
                    <a:cxn ang="0">
                      <a:pos x="T2" y="T3"/>
                    </a:cxn>
                    <a:cxn ang="0">
                      <a:pos x="T4" y="T5"/>
                    </a:cxn>
                    <a:cxn ang="0">
                      <a:pos x="T6" y="T7"/>
                    </a:cxn>
                  </a:cxnLst>
                  <a:rect l="0" t="0" r="r" b="b"/>
                  <a:pathLst>
                    <a:path w="58" h="63">
                      <a:moveTo>
                        <a:pt x="48" y="0"/>
                      </a:moveTo>
                      <a:cubicBezTo>
                        <a:pt x="0" y="54"/>
                        <a:pt x="4" y="57"/>
                        <a:pt x="5" y="58"/>
                      </a:cubicBezTo>
                      <a:cubicBezTo>
                        <a:pt x="7" y="60"/>
                        <a:pt x="10" y="63"/>
                        <a:pt x="58" y="9"/>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Freeform 17">
                  <a:extLst>
                    <a:ext uri="{FF2B5EF4-FFF2-40B4-BE49-F238E27FC236}">
                      <a16:creationId xmlns:a16="http://schemas.microsoft.com/office/drawing/2014/main" id="{CE4A21AB-5813-4AFA-A6B9-5BC696E5A863}"/>
                    </a:ext>
                  </a:extLst>
                </p:cNvPr>
                <p:cNvSpPr>
                  <a:spLocks/>
                </p:cNvSpPr>
                <p:nvPr userDrawn="1"/>
              </p:nvSpPr>
              <p:spPr bwMode="auto">
                <a:xfrm>
                  <a:off x="6170" y="692"/>
                  <a:ext cx="33" cy="8"/>
                </a:xfrm>
                <a:custGeom>
                  <a:avLst/>
                  <a:gdLst>
                    <a:gd name="T0" fmla="*/ 1 w 72"/>
                    <a:gd name="T1" fmla="*/ 0 h 19"/>
                    <a:gd name="T2" fmla="*/ 72 w 72"/>
                    <a:gd name="T3" fmla="*/ 12 h 19"/>
                    <a:gd name="T4" fmla="*/ 0 w 72"/>
                    <a:gd name="T5" fmla="*/ 14 h 19"/>
                    <a:gd name="T6" fmla="*/ 1 w 72"/>
                    <a:gd name="T7" fmla="*/ 0 h 19"/>
                  </a:gdLst>
                  <a:ahLst/>
                  <a:cxnLst>
                    <a:cxn ang="0">
                      <a:pos x="T0" y="T1"/>
                    </a:cxn>
                    <a:cxn ang="0">
                      <a:pos x="T2" y="T3"/>
                    </a:cxn>
                    <a:cxn ang="0">
                      <a:pos x="T4" y="T5"/>
                    </a:cxn>
                    <a:cxn ang="0">
                      <a:pos x="T6" y="T7"/>
                    </a:cxn>
                  </a:cxnLst>
                  <a:rect l="0" t="0" r="r" b="b"/>
                  <a:pathLst>
                    <a:path w="72" h="19">
                      <a:moveTo>
                        <a:pt x="1" y="0"/>
                      </a:moveTo>
                      <a:cubicBezTo>
                        <a:pt x="72" y="5"/>
                        <a:pt x="72" y="10"/>
                        <a:pt x="72" y="12"/>
                      </a:cubicBezTo>
                      <a:cubicBezTo>
                        <a:pt x="72" y="14"/>
                        <a:pt x="72" y="19"/>
                        <a:pt x="0" y="14"/>
                      </a:cubicBezTo>
                      <a:lnTo>
                        <a:pt x="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Oval 18">
                  <a:extLst>
                    <a:ext uri="{FF2B5EF4-FFF2-40B4-BE49-F238E27FC236}">
                      <a16:creationId xmlns:a16="http://schemas.microsoft.com/office/drawing/2014/main" id="{FD3F83C7-9E9B-495C-A3E4-6E76C3C79E58}"/>
                    </a:ext>
                  </a:extLst>
                </p:cNvPr>
                <p:cNvSpPr>
                  <a:spLocks noChangeArrowheads="1"/>
                </p:cNvSpPr>
                <p:nvPr userDrawn="1"/>
              </p:nvSpPr>
              <p:spPr bwMode="auto">
                <a:xfrm>
                  <a:off x="5868" y="773"/>
                  <a:ext cx="600" cy="597"/>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Freeform 19">
                  <a:extLst>
                    <a:ext uri="{FF2B5EF4-FFF2-40B4-BE49-F238E27FC236}">
                      <a16:creationId xmlns:a16="http://schemas.microsoft.com/office/drawing/2014/main" id="{0AF7C7A2-4916-4B8A-A5A5-F08820D6197A}"/>
                    </a:ext>
                  </a:extLst>
                </p:cNvPr>
                <p:cNvSpPr>
                  <a:spLocks/>
                </p:cNvSpPr>
                <p:nvPr userDrawn="1"/>
              </p:nvSpPr>
              <p:spPr bwMode="auto">
                <a:xfrm>
                  <a:off x="5902" y="807"/>
                  <a:ext cx="566" cy="563"/>
                </a:xfrm>
                <a:custGeom>
                  <a:avLst/>
                  <a:gdLst>
                    <a:gd name="T0" fmla="*/ 886 w 1241"/>
                    <a:gd name="T1" fmla="*/ 0 h 1241"/>
                    <a:gd name="T2" fmla="*/ 960 w 1241"/>
                    <a:gd name="T3" fmla="*/ 303 h 1241"/>
                    <a:gd name="T4" fmla="*/ 303 w 1241"/>
                    <a:gd name="T5" fmla="*/ 960 h 1241"/>
                    <a:gd name="T6" fmla="*/ 0 w 1241"/>
                    <a:gd name="T7" fmla="*/ 887 h 1241"/>
                    <a:gd name="T8" fmla="*/ 583 w 1241"/>
                    <a:gd name="T9" fmla="*/ 1241 h 1241"/>
                    <a:gd name="T10" fmla="*/ 1241 w 1241"/>
                    <a:gd name="T11" fmla="*/ 584 h 1241"/>
                    <a:gd name="T12" fmla="*/ 886 w 1241"/>
                    <a:gd name="T13" fmla="*/ 0 h 1241"/>
                  </a:gdLst>
                  <a:ahLst/>
                  <a:cxnLst>
                    <a:cxn ang="0">
                      <a:pos x="T0" y="T1"/>
                    </a:cxn>
                    <a:cxn ang="0">
                      <a:pos x="T2" y="T3"/>
                    </a:cxn>
                    <a:cxn ang="0">
                      <a:pos x="T4" y="T5"/>
                    </a:cxn>
                    <a:cxn ang="0">
                      <a:pos x="T6" y="T7"/>
                    </a:cxn>
                    <a:cxn ang="0">
                      <a:pos x="T8" y="T9"/>
                    </a:cxn>
                    <a:cxn ang="0">
                      <a:pos x="T10" y="T11"/>
                    </a:cxn>
                    <a:cxn ang="0">
                      <a:pos x="T12" y="T13"/>
                    </a:cxn>
                  </a:cxnLst>
                  <a:rect l="0" t="0" r="r" b="b"/>
                  <a:pathLst>
                    <a:path w="1241" h="1241">
                      <a:moveTo>
                        <a:pt x="886" y="0"/>
                      </a:moveTo>
                      <a:cubicBezTo>
                        <a:pt x="933" y="91"/>
                        <a:pt x="960" y="194"/>
                        <a:pt x="960" y="303"/>
                      </a:cubicBezTo>
                      <a:cubicBezTo>
                        <a:pt x="960" y="666"/>
                        <a:pt x="666" y="960"/>
                        <a:pt x="303" y="960"/>
                      </a:cubicBezTo>
                      <a:cubicBezTo>
                        <a:pt x="193" y="960"/>
                        <a:pt x="91" y="934"/>
                        <a:pt x="0" y="887"/>
                      </a:cubicBezTo>
                      <a:cubicBezTo>
                        <a:pt x="109" y="1097"/>
                        <a:pt x="330" y="1241"/>
                        <a:pt x="583" y="1241"/>
                      </a:cubicBezTo>
                      <a:cubicBezTo>
                        <a:pt x="946" y="1241"/>
                        <a:pt x="1241" y="947"/>
                        <a:pt x="1241" y="584"/>
                      </a:cubicBezTo>
                      <a:cubicBezTo>
                        <a:pt x="1241" y="330"/>
                        <a:pt x="1097" y="110"/>
                        <a:pt x="886" y="0"/>
                      </a:cubicBezTo>
                      <a:close/>
                    </a:path>
                  </a:pathLst>
                </a:custGeom>
                <a:solidFill>
                  <a:srgbClr val="9AB3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Oval 20">
                  <a:extLst>
                    <a:ext uri="{FF2B5EF4-FFF2-40B4-BE49-F238E27FC236}">
                      <a16:creationId xmlns:a16="http://schemas.microsoft.com/office/drawing/2014/main" id="{456035C9-F75C-4834-A91D-D006D3037E12}"/>
                    </a:ext>
                  </a:extLst>
                </p:cNvPr>
                <p:cNvSpPr>
                  <a:spLocks noChangeArrowheads="1"/>
                </p:cNvSpPr>
                <p:nvPr userDrawn="1"/>
              </p:nvSpPr>
              <p:spPr bwMode="auto">
                <a:xfrm>
                  <a:off x="6141" y="946"/>
                  <a:ext cx="48" cy="47"/>
                </a:xfrm>
                <a:prstGeom prst="ellipse">
                  <a:avLst/>
                </a:pr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 name="Freeform 21">
                  <a:extLst>
                    <a:ext uri="{FF2B5EF4-FFF2-40B4-BE49-F238E27FC236}">
                      <a16:creationId xmlns:a16="http://schemas.microsoft.com/office/drawing/2014/main" id="{AEE6744C-CFB5-41C0-B2D8-95758A188E61}"/>
                    </a:ext>
                  </a:extLst>
                </p:cNvPr>
                <p:cNvSpPr>
                  <a:spLocks/>
                </p:cNvSpPr>
                <p:nvPr userDrawn="1"/>
              </p:nvSpPr>
              <p:spPr bwMode="auto">
                <a:xfrm>
                  <a:off x="6162" y="946"/>
                  <a:ext cx="27" cy="47"/>
                </a:xfrm>
                <a:custGeom>
                  <a:avLst/>
                  <a:gdLst>
                    <a:gd name="T0" fmla="*/ 44 w 60"/>
                    <a:gd name="T1" fmla="*/ 52 h 104"/>
                    <a:gd name="T2" fmla="*/ 0 w 60"/>
                    <a:gd name="T3" fmla="*/ 0 h 104"/>
                    <a:gd name="T4" fmla="*/ 8 w 60"/>
                    <a:gd name="T5" fmla="*/ 0 h 104"/>
                    <a:gd name="T6" fmla="*/ 60 w 60"/>
                    <a:gd name="T7" fmla="*/ 52 h 104"/>
                    <a:gd name="T8" fmla="*/ 8 w 60"/>
                    <a:gd name="T9" fmla="*/ 104 h 104"/>
                    <a:gd name="T10" fmla="*/ 0 w 60"/>
                    <a:gd name="T11" fmla="*/ 103 h 104"/>
                    <a:gd name="T12" fmla="*/ 44 w 60"/>
                    <a:gd name="T13" fmla="*/ 52 h 104"/>
                  </a:gdLst>
                  <a:ahLst/>
                  <a:cxnLst>
                    <a:cxn ang="0">
                      <a:pos x="T0" y="T1"/>
                    </a:cxn>
                    <a:cxn ang="0">
                      <a:pos x="T2" y="T3"/>
                    </a:cxn>
                    <a:cxn ang="0">
                      <a:pos x="T4" y="T5"/>
                    </a:cxn>
                    <a:cxn ang="0">
                      <a:pos x="T6" y="T7"/>
                    </a:cxn>
                    <a:cxn ang="0">
                      <a:pos x="T8" y="T9"/>
                    </a:cxn>
                    <a:cxn ang="0">
                      <a:pos x="T10" y="T11"/>
                    </a:cxn>
                    <a:cxn ang="0">
                      <a:pos x="T12" y="T13"/>
                    </a:cxn>
                  </a:cxnLst>
                  <a:rect l="0" t="0" r="r" b="b"/>
                  <a:pathLst>
                    <a:path w="60" h="104">
                      <a:moveTo>
                        <a:pt x="44" y="52"/>
                      </a:moveTo>
                      <a:cubicBezTo>
                        <a:pt x="44" y="26"/>
                        <a:pt x="25" y="4"/>
                        <a:pt x="0" y="0"/>
                      </a:cubicBezTo>
                      <a:cubicBezTo>
                        <a:pt x="3" y="0"/>
                        <a:pt x="5" y="0"/>
                        <a:pt x="8" y="0"/>
                      </a:cubicBezTo>
                      <a:cubicBezTo>
                        <a:pt x="36" y="0"/>
                        <a:pt x="60" y="23"/>
                        <a:pt x="60" y="52"/>
                      </a:cubicBezTo>
                      <a:cubicBezTo>
                        <a:pt x="60" y="80"/>
                        <a:pt x="36" y="104"/>
                        <a:pt x="8" y="104"/>
                      </a:cubicBezTo>
                      <a:cubicBezTo>
                        <a:pt x="5" y="104"/>
                        <a:pt x="3" y="104"/>
                        <a:pt x="0" y="103"/>
                      </a:cubicBezTo>
                      <a:cubicBezTo>
                        <a:pt x="25" y="100"/>
                        <a:pt x="44" y="78"/>
                        <a:pt x="44" y="52"/>
                      </a:cubicBez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Freeform 22">
                  <a:extLst>
                    <a:ext uri="{FF2B5EF4-FFF2-40B4-BE49-F238E27FC236}">
                      <a16:creationId xmlns:a16="http://schemas.microsoft.com/office/drawing/2014/main" id="{2D8C8EE8-01F6-4753-820F-AE4C08CCF808}"/>
                    </a:ext>
                  </a:extLst>
                </p:cNvPr>
                <p:cNvSpPr>
                  <a:spLocks/>
                </p:cNvSpPr>
                <p:nvPr userDrawn="1"/>
              </p:nvSpPr>
              <p:spPr bwMode="auto">
                <a:xfrm>
                  <a:off x="6163" y="961"/>
                  <a:ext cx="4" cy="56"/>
                </a:xfrm>
                <a:custGeom>
                  <a:avLst/>
                  <a:gdLst>
                    <a:gd name="T0" fmla="*/ 4 w 8"/>
                    <a:gd name="T1" fmla="*/ 123 h 123"/>
                    <a:gd name="T2" fmla="*/ 0 w 8"/>
                    <a:gd name="T3" fmla="*/ 119 h 123"/>
                    <a:gd name="T4" fmla="*/ 0 w 8"/>
                    <a:gd name="T5" fmla="*/ 4 h 123"/>
                    <a:gd name="T6" fmla="*/ 4 w 8"/>
                    <a:gd name="T7" fmla="*/ 0 h 123"/>
                    <a:gd name="T8" fmla="*/ 8 w 8"/>
                    <a:gd name="T9" fmla="*/ 4 h 123"/>
                    <a:gd name="T10" fmla="*/ 8 w 8"/>
                    <a:gd name="T11" fmla="*/ 119 h 123"/>
                    <a:gd name="T12" fmla="*/ 4 w 8"/>
                    <a:gd name="T13" fmla="*/ 123 h 123"/>
                  </a:gdLst>
                  <a:ahLst/>
                  <a:cxnLst>
                    <a:cxn ang="0">
                      <a:pos x="T0" y="T1"/>
                    </a:cxn>
                    <a:cxn ang="0">
                      <a:pos x="T2" y="T3"/>
                    </a:cxn>
                    <a:cxn ang="0">
                      <a:pos x="T4" y="T5"/>
                    </a:cxn>
                    <a:cxn ang="0">
                      <a:pos x="T6" y="T7"/>
                    </a:cxn>
                    <a:cxn ang="0">
                      <a:pos x="T8" y="T9"/>
                    </a:cxn>
                    <a:cxn ang="0">
                      <a:pos x="T10" y="T11"/>
                    </a:cxn>
                    <a:cxn ang="0">
                      <a:pos x="T12" y="T13"/>
                    </a:cxn>
                  </a:cxnLst>
                  <a:rect l="0" t="0" r="r" b="b"/>
                  <a:pathLst>
                    <a:path w="8" h="123">
                      <a:moveTo>
                        <a:pt x="4" y="123"/>
                      </a:moveTo>
                      <a:cubicBezTo>
                        <a:pt x="2" y="123"/>
                        <a:pt x="0" y="121"/>
                        <a:pt x="0" y="119"/>
                      </a:cubicBezTo>
                      <a:cubicBezTo>
                        <a:pt x="0" y="4"/>
                        <a:pt x="0" y="4"/>
                        <a:pt x="0" y="4"/>
                      </a:cubicBezTo>
                      <a:cubicBezTo>
                        <a:pt x="0" y="1"/>
                        <a:pt x="2" y="0"/>
                        <a:pt x="4" y="0"/>
                      </a:cubicBezTo>
                      <a:cubicBezTo>
                        <a:pt x="6" y="0"/>
                        <a:pt x="8" y="1"/>
                        <a:pt x="8" y="4"/>
                      </a:cubicBezTo>
                      <a:cubicBezTo>
                        <a:pt x="8" y="119"/>
                        <a:pt x="8" y="119"/>
                        <a:pt x="8" y="119"/>
                      </a:cubicBezTo>
                      <a:cubicBezTo>
                        <a:pt x="8" y="121"/>
                        <a:pt x="6" y="123"/>
                        <a:pt x="4" y="123"/>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Freeform 23">
                  <a:extLst>
                    <a:ext uri="{FF2B5EF4-FFF2-40B4-BE49-F238E27FC236}">
                      <a16:creationId xmlns:a16="http://schemas.microsoft.com/office/drawing/2014/main" id="{54A2C2AC-C8A2-4E79-95DF-2A7EBE5CFEEF}"/>
                    </a:ext>
                  </a:extLst>
                </p:cNvPr>
                <p:cNvSpPr>
                  <a:spLocks/>
                </p:cNvSpPr>
                <p:nvPr userDrawn="1"/>
              </p:nvSpPr>
              <p:spPr bwMode="auto">
                <a:xfrm>
                  <a:off x="6154" y="973"/>
                  <a:ext cx="20" cy="13"/>
                </a:xfrm>
                <a:custGeom>
                  <a:avLst/>
                  <a:gdLst>
                    <a:gd name="T0" fmla="*/ 24 w 45"/>
                    <a:gd name="T1" fmla="*/ 29 h 29"/>
                    <a:gd name="T2" fmla="*/ 2 w 45"/>
                    <a:gd name="T3" fmla="*/ 7 h 29"/>
                    <a:gd name="T4" fmla="*/ 2 w 45"/>
                    <a:gd name="T5" fmla="*/ 1 h 29"/>
                    <a:gd name="T6" fmla="*/ 7 w 45"/>
                    <a:gd name="T7" fmla="*/ 1 h 29"/>
                    <a:gd name="T8" fmla="*/ 25 w 45"/>
                    <a:gd name="T9" fmla="*/ 19 h 29"/>
                    <a:gd name="T10" fmla="*/ 39 w 45"/>
                    <a:gd name="T11" fmla="*/ 10 h 29"/>
                    <a:gd name="T12" fmla="*/ 44 w 45"/>
                    <a:gd name="T13" fmla="*/ 11 h 29"/>
                    <a:gd name="T14" fmla="*/ 43 w 45"/>
                    <a:gd name="T15" fmla="*/ 17 h 29"/>
                    <a:gd name="T16" fmla="*/ 24 w 45"/>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29">
                      <a:moveTo>
                        <a:pt x="24" y="29"/>
                      </a:moveTo>
                      <a:cubicBezTo>
                        <a:pt x="2" y="7"/>
                        <a:pt x="2" y="7"/>
                        <a:pt x="2" y="7"/>
                      </a:cubicBezTo>
                      <a:cubicBezTo>
                        <a:pt x="0" y="5"/>
                        <a:pt x="0" y="3"/>
                        <a:pt x="2" y="1"/>
                      </a:cubicBezTo>
                      <a:cubicBezTo>
                        <a:pt x="3" y="0"/>
                        <a:pt x="6" y="0"/>
                        <a:pt x="7" y="1"/>
                      </a:cubicBezTo>
                      <a:cubicBezTo>
                        <a:pt x="25" y="19"/>
                        <a:pt x="25" y="19"/>
                        <a:pt x="25" y="19"/>
                      </a:cubicBezTo>
                      <a:cubicBezTo>
                        <a:pt x="39" y="10"/>
                        <a:pt x="39" y="10"/>
                        <a:pt x="39" y="10"/>
                      </a:cubicBezTo>
                      <a:cubicBezTo>
                        <a:pt x="41" y="9"/>
                        <a:pt x="43" y="9"/>
                        <a:pt x="44" y="11"/>
                      </a:cubicBezTo>
                      <a:cubicBezTo>
                        <a:pt x="45" y="13"/>
                        <a:pt x="45" y="15"/>
                        <a:pt x="43" y="17"/>
                      </a:cubicBezTo>
                      <a:lnTo>
                        <a:pt x="24" y="29"/>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Oval 24">
                  <a:extLst>
                    <a:ext uri="{FF2B5EF4-FFF2-40B4-BE49-F238E27FC236}">
                      <a16:creationId xmlns:a16="http://schemas.microsoft.com/office/drawing/2014/main" id="{1273A130-CC98-4DB9-9FAB-FFAA23BF7459}"/>
                    </a:ext>
                  </a:extLst>
                </p:cNvPr>
                <p:cNvSpPr>
                  <a:spLocks noChangeArrowheads="1"/>
                </p:cNvSpPr>
                <p:nvPr userDrawn="1"/>
              </p:nvSpPr>
              <p:spPr bwMode="auto">
                <a:xfrm>
                  <a:off x="6186" y="875"/>
                  <a:ext cx="61" cy="61"/>
                </a:xfrm>
                <a:prstGeom prst="ellipse">
                  <a:avLst/>
                </a:pr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Freeform 25">
                  <a:extLst>
                    <a:ext uri="{FF2B5EF4-FFF2-40B4-BE49-F238E27FC236}">
                      <a16:creationId xmlns:a16="http://schemas.microsoft.com/office/drawing/2014/main" id="{4888B7F1-751F-442D-97E3-954D4A2E5F9D}"/>
                    </a:ext>
                  </a:extLst>
                </p:cNvPr>
                <p:cNvSpPr>
                  <a:spLocks/>
                </p:cNvSpPr>
                <p:nvPr userDrawn="1"/>
              </p:nvSpPr>
              <p:spPr bwMode="auto">
                <a:xfrm>
                  <a:off x="6212" y="875"/>
                  <a:ext cx="35" cy="61"/>
                </a:xfrm>
                <a:custGeom>
                  <a:avLst/>
                  <a:gdLst>
                    <a:gd name="T0" fmla="*/ 58 w 78"/>
                    <a:gd name="T1" fmla="*/ 68 h 135"/>
                    <a:gd name="T2" fmla="*/ 0 w 78"/>
                    <a:gd name="T3" fmla="*/ 1 h 135"/>
                    <a:gd name="T4" fmla="*/ 10 w 78"/>
                    <a:gd name="T5" fmla="*/ 0 h 135"/>
                    <a:gd name="T6" fmla="*/ 78 w 78"/>
                    <a:gd name="T7" fmla="*/ 68 h 135"/>
                    <a:gd name="T8" fmla="*/ 10 w 78"/>
                    <a:gd name="T9" fmla="*/ 135 h 135"/>
                    <a:gd name="T10" fmla="*/ 0 w 78"/>
                    <a:gd name="T11" fmla="*/ 135 h 135"/>
                    <a:gd name="T12" fmla="*/ 58 w 78"/>
                    <a:gd name="T13" fmla="*/ 68 h 135"/>
                  </a:gdLst>
                  <a:ahLst/>
                  <a:cxnLst>
                    <a:cxn ang="0">
                      <a:pos x="T0" y="T1"/>
                    </a:cxn>
                    <a:cxn ang="0">
                      <a:pos x="T2" y="T3"/>
                    </a:cxn>
                    <a:cxn ang="0">
                      <a:pos x="T4" y="T5"/>
                    </a:cxn>
                    <a:cxn ang="0">
                      <a:pos x="T6" y="T7"/>
                    </a:cxn>
                    <a:cxn ang="0">
                      <a:pos x="T8" y="T9"/>
                    </a:cxn>
                    <a:cxn ang="0">
                      <a:pos x="T10" y="T11"/>
                    </a:cxn>
                    <a:cxn ang="0">
                      <a:pos x="T12" y="T13"/>
                    </a:cxn>
                  </a:cxnLst>
                  <a:rect l="0" t="0" r="r" b="b"/>
                  <a:pathLst>
                    <a:path w="78" h="135">
                      <a:moveTo>
                        <a:pt x="58" y="68"/>
                      </a:moveTo>
                      <a:cubicBezTo>
                        <a:pt x="58" y="34"/>
                        <a:pt x="33" y="6"/>
                        <a:pt x="0" y="1"/>
                      </a:cubicBezTo>
                      <a:cubicBezTo>
                        <a:pt x="4" y="0"/>
                        <a:pt x="7" y="0"/>
                        <a:pt x="10" y="0"/>
                      </a:cubicBezTo>
                      <a:cubicBezTo>
                        <a:pt x="48" y="0"/>
                        <a:pt x="78" y="30"/>
                        <a:pt x="78" y="68"/>
                      </a:cubicBezTo>
                      <a:cubicBezTo>
                        <a:pt x="78" y="105"/>
                        <a:pt x="48" y="135"/>
                        <a:pt x="10" y="135"/>
                      </a:cubicBezTo>
                      <a:cubicBezTo>
                        <a:pt x="7" y="135"/>
                        <a:pt x="4" y="135"/>
                        <a:pt x="0" y="135"/>
                      </a:cubicBezTo>
                      <a:cubicBezTo>
                        <a:pt x="33" y="130"/>
                        <a:pt x="58" y="102"/>
                        <a:pt x="58" y="68"/>
                      </a:cubicBez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26">
                  <a:extLst>
                    <a:ext uri="{FF2B5EF4-FFF2-40B4-BE49-F238E27FC236}">
                      <a16:creationId xmlns:a16="http://schemas.microsoft.com/office/drawing/2014/main" id="{02352C4A-6A43-4AD9-8B76-879A5B6647E3}"/>
                    </a:ext>
                  </a:extLst>
                </p:cNvPr>
                <p:cNvSpPr>
                  <a:spLocks/>
                </p:cNvSpPr>
                <p:nvPr userDrawn="1"/>
              </p:nvSpPr>
              <p:spPr bwMode="auto">
                <a:xfrm>
                  <a:off x="6215" y="895"/>
                  <a:ext cx="3" cy="71"/>
                </a:xfrm>
                <a:custGeom>
                  <a:avLst/>
                  <a:gdLst>
                    <a:gd name="T0" fmla="*/ 3 w 6"/>
                    <a:gd name="T1" fmla="*/ 156 h 156"/>
                    <a:gd name="T2" fmla="*/ 0 w 6"/>
                    <a:gd name="T3" fmla="*/ 153 h 156"/>
                    <a:gd name="T4" fmla="*/ 0 w 6"/>
                    <a:gd name="T5" fmla="*/ 3 h 156"/>
                    <a:gd name="T6" fmla="*/ 3 w 6"/>
                    <a:gd name="T7" fmla="*/ 0 h 156"/>
                    <a:gd name="T8" fmla="*/ 6 w 6"/>
                    <a:gd name="T9" fmla="*/ 3 h 156"/>
                    <a:gd name="T10" fmla="*/ 6 w 6"/>
                    <a:gd name="T11" fmla="*/ 153 h 156"/>
                    <a:gd name="T12" fmla="*/ 3 w 6"/>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6" h="156">
                      <a:moveTo>
                        <a:pt x="3" y="156"/>
                      </a:moveTo>
                      <a:cubicBezTo>
                        <a:pt x="2" y="156"/>
                        <a:pt x="0" y="155"/>
                        <a:pt x="0" y="153"/>
                      </a:cubicBezTo>
                      <a:cubicBezTo>
                        <a:pt x="0" y="3"/>
                        <a:pt x="0" y="3"/>
                        <a:pt x="0" y="3"/>
                      </a:cubicBezTo>
                      <a:cubicBezTo>
                        <a:pt x="0" y="1"/>
                        <a:pt x="2" y="0"/>
                        <a:pt x="3" y="0"/>
                      </a:cubicBezTo>
                      <a:cubicBezTo>
                        <a:pt x="5" y="0"/>
                        <a:pt x="6" y="1"/>
                        <a:pt x="6" y="3"/>
                      </a:cubicBezTo>
                      <a:cubicBezTo>
                        <a:pt x="6" y="153"/>
                        <a:pt x="6" y="153"/>
                        <a:pt x="6" y="153"/>
                      </a:cubicBezTo>
                      <a:cubicBezTo>
                        <a:pt x="6" y="155"/>
                        <a:pt x="5" y="156"/>
                        <a:pt x="3" y="156"/>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Freeform 27">
                  <a:extLst>
                    <a:ext uri="{FF2B5EF4-FFF2-40B4-BE49-F238E27FC236}">
                      <a16:creationId xmlns:a16="http://schemas.microsoft.com/office/drawing/2014/main" id="{37EB6262-EBD3-420E-B6E1-9A4C2C7BA82F}"/>
                    </a:ext>
                  </a:extLst>
                </p:cNvPr>
                <p:cNvSpPr>
                  <a:spLocks/>
                </p:cNvSpPr>
                <p:nvPr userDrawn="1"/>
              </p:nvSpPr>
              <p:spPr bwMode="auto">
                <a:xfrm>
                  <a:off x="6203" y="911"/>
                  <a:ext cx="25" cy="16"/>
                </a:xfrm>
                <a:custGeom>
                  <a:avLst/>
                  <a:gdLst>
                    <a:gd name="T0" fmla="*/ 29 w 54"/>
                    <a:gd name="T1" fmla="*/ 34 h 34"/>
                    <a:gd name="T2" fmla="*/ 1 w 54"/>
                    <a:gd name="T3" fmla="*/ 6 h 34"/>
                    <a:gd name="T4" fmla="*/ 1 w 54"/>
                    <a:gd name="T5" fmla="*/ 2 h 34"/>
                    <a:gd name="T6" fmla="*/ 5 w 54"/>
                    <a:gd name="T7" fmla="*/ 2 h 34"/>
                    <a:gd name="T8" fmla="*/ 30 w 54"/>
                    <a:gd name="T9" fmla="*/ 26 h 34"/>
                    <a:gd name="T10" fmla="*/ 49 w 54"/>
                    <a:gd name="T11" fmla="*/ 13 h 34"/>
                    <a:gd name="T12" fmla="*/ 53 w 54"/>
                    <a:gd name="T13" fmla="*/ 14 h 34"/>
                    <a:gd name="T14" fmla="*/ 52 w 54"/>
                    <a:gd name="T15" fmla="*/ 18 h 34"/>
                    <a:gd name="T16" fmla="*/ 29 w 54"/>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34">
                      <a:moveTo>
                        <a:pt x="29" y="34"/>
                      </a:moveTo>
                      <a:cubicBezTo>
                        <a:pt x="1" y="6"/>
                        <a:pt x="1" y="6"/>
                        <a:pt x="1" y="6"/>
                      </a:cubicBezTo>
                      <a:cubicBezTo>
                        <a:pt x="0" y="5"/>
                        <a:pt x="0" y="3"/>
                        <a:pt x="1" y="2"/>
                      </a:cubicBezTo>
                      <a:cubicBezTo>
                        <a:pt x="2" y="0"/>
                        <a:pt x="4" y="0"/>
                        <a:pt x="5" y="2"/>
                      </a:cubicBezTo>
                      <a:cubicBezTo>
                        <a:pt x="30" y="26"/>
                        <a:pt x="30" y="26"/>
                        <a:pt x="30" y="26"/>
                      </a:cubicBezTo>
                      <a:cubicBezTo>
                        <a:pt x="49" y="13"/>
                        <a:pt x="49" y="13"/>
                        <a:pt x="49" y="13"/>
                      </a:cubicBezTo>
                      <a:cubicBezTo>
                        <a:pt x="50" y="12"/>
                        <a:pt x="52" y="13"/>
                        <a:pt x="53" y="14"/>
                      </a:cubicBezTo>
                      <a:cubicBezTo>
                        <a:pt x="54" y="15"/>
                        <a:pt x="54" y="17"/>
                        <a:pt x="52" y="18"/>
                      </a:cubicBezTo>
                      <a:lnTo>
                        <a:pt x="29" y="34"/>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Oval 28">
                  <a:extLst>
                    <a:ext uri="{FF2B5EF4-FFF2-40B4-BE49-F238E27FC236}">
                      <a16:creationId xmlns:a16="http://schemas.microsoft.com/office/drawing/2014/main" id="{46D72020-DC9F-4333-9D2E-2C81F00D5D4E}"/>
                    </a:ext>
                  </a:extLst>
                </p:cNvPr>
                <p:cNvSpPr>
                  <a:spLocks noChangeArrowheads="1"/>
                </p:cNvSpPr>
                <p:nvPr userDrawn="1"/>
              </p:nvSpPr>
              <p:spPr bwMode="auto">
                <a:xfrm>
                  <a:off x="6116" y="833"/>
                  <a:ext cx="62" cy="62"/>
                </a:xfrm>
                <a:prstGeom prst="ellipse">
                  <a:avLst/>
                </a:pr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Freeform 29">
                  <a:extLst>
                    <a:ext uri="{FF2B5EF4-FFF2-40B4-BE49-F238E27FC236}">
                      <a16:creationId xmlns:a16="http://schemas.microsoft.com/office/drawing/2014/main" id="{A2327BAA-0252-46B8-99AD-E8C12E6EEA0B}"/>
                    </a:ext>
                  </a:extLst>
                </p:cNvPr>
                <p:cNvSpPr>
                  <a:spLocks/>
                </p:cNvSpPr>
                <p:nvPr userDrawn="1"/>
              </p:nvSpPr>
              <p:spPr bwMode="auto">
                <a:xfrm>
                  <a:off x="6142" y="833"/>
                  <a:ext cx="36" cy="62"/>
                </a:xfrm>
                <a:custGeom>
                  <a:avLst/>
                  <a:gdLst>
                    <a:gd name="T0" fmla="*/ 58 w 78"/>
                    <a:gd name="T1" fmla="*/ 67 h 135"/>
                    <a:gd name="T2" fmla="*/ 0 w 78"/>
                    <a:gd name="T3" fmla="*/ 0 h 135"/>
                    <a:gd name="T4" fmla="*/ 10 w 78"/>
                    <a:gd name="T5" fmla="*/ 0 h 135"/>
                    <a:gd name="T6" fmla="*/ 78 w 78"/>
                    <a:gd name="T7" fmla="*/ 67 h 135"/>
                    <a:gd name="T8" fmla="*/ 10 w 78"/>
                    <a:gd name="T9" fmla="*/ 135 h 135"/>
                    <a:gd name="T10" fmla="*/ 0 w 78"/>
                    <a:gd name="T11" fmla="*/ 134 h 135"/>
                    <a:gd name="T12" fmla="*/ 58 w 78"/>
                    <a:gd name="T13" fmla="*/ 67 h 135"/>
                  </a:gdLst>
                  <a:ahLst/>
                  <a:cxnLst>
                    <a:cxn ang="0">
                      <a:pos x="T0" y="T1"/>
                    </a:cxn>
                    <a:cxn ang="0">
                      <a:pos x="T2" y="T3"/>
                    </a:cxn>
                    <a:cxn ang="0">
                      <a:pos x="T4" y="T5"/>
                    </a:cxn>
                    <a:cxn ang="0">
                      <a:pos x="T6" y="T7"/>
                    </a:cxn>
                    <a:cxn ang="0">
                      <a:pos x="T8" y="T9"/>
                    </a:cxn>
                    <a:cxn ang="0">
                      <a:pos x="T10" y="T11"/>
                    </a:cxn>
                    <a:cxn ang="0">
                      <a:pos x="T12" y="T13"/>
                    </a:cxn>
                  </a:cxnLst>
                  <a:rect l="0" t="0" r="r" b="b"/>
                  <a:pathLst>
                    <a:path w="78" h="135">
                      <a:moveTo>
                        <a:pt x="58" y="67"/>
                      </a:moveTo>
                      <a:cubicBezTo>
                        <a:pt x="58" y="33"/>
                        <a:pt x="33" y="5"/>
                        <a:pt x="0" y="0"/>
                      </a:cubicBezTo>
                      <a:cubicBezTo>
                        <a:pt x="4" y="0"/>
                        <a:pt x="7" y="0"/>
                        <a:pt x="10" y="0"/>
                      </a:cubicBezTo>
                      <a:cubicBezTo>
                        <a:pt x="48" y="0"/>
                        <a:pt x="78" y="30"/>
                        <a:pt x="78" y="67"/>
                      </a:cubicBezTo>
                      <a:cubicBezTo>
                        <a:pt x="78" y="105"/>
                        <a:pt x="48" y="135"/>
                        <a:pt x="10" y="135"/>
                      </a:cubicBezTo>
                      <a:cubicBezTo>
                        <a:pt x="7" y="135"/>
                        <a:pt x="4" y="135"/>
                        <a:pt x="0" y="134"/>
                      </a:cubicBezTo>
                      <a:cubicBezTo>
                        <a:pt x="33" y="129"/>
                        <a:pt x="58" y="101"/>
                        <a:pt x="58" y="67"/>
                      </a:cubicBez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Freeform 30">
                  <a:extLst>
                    <a:ext uri="{FF2B5EF4-FFF2-40B4-BE49-F238E27FC236}">
                      <a16:creationId xmlns:a16="http://schemas.microsoft.com/office/drawing/2014/main" id="{0D97F72E-800D-4D27-87A4-4B208D302287}"/>
                    </a:ext>
                  </a:extLst>
                </p:cNvPr>
                <p:cNvSpPr>
                  <a:spLocks/>
                </p:cNvSpPr>
                <p:nvPr userDrawn="1"/>
              </p:nvSpPr>
              <p:spPr bwMode="auto">
                <a:xfrm>
                  <a:off x="6146" y="853"/>
                  <a:ext cx="2" cy="71"/>
                </a:xfrm>
                <a:custGeom>
                  <a:avLst/>
                  <a:gdLst>
                    <a:gd name="T0" fmla="*/ 3 w 6"/>
                    <a:gd name="T1" fmla="*/ 156 h 156"/>
                    <a:gd name="T2" fmla="*/ 0 w 6"/>
                    <a:gd name="T3" fmla="*/ 153 h 156"/>
                    <a:gd name="T4" fmla="*/ 0 w 6"/>
                    <a:gd name="T5" fmla="*/ 3 h 156"/>
                    <a:gd name="T6" fmla="*/ 3 w 6"/>
                    <a:gd name="T7" fmla="*/ 0 h 156"/>
                    <a:gd name="T8" fmla="*/ 6 w 6"/>
                    <a:gd name="T9" fmla="*/ 3 h 156"/>
                    <a:gd name="T10" fmla="*/ 6 w 6"/>
                    <a:gd name="T11" fmla="*/ 153 h 156"/>
                    <a:gd name="T12" fmla="*/ 3 w 6"/>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6" h="156">
                      <a:moveTo>
                        <a:pt x="3" y="156"/>
                      </a:moveTo>
                      <a:cubicBezTo>
                        <a:pt x="2" y="156"/>
                        <a:pt x="0" y="155"/>
                        <a:pt x="0" y="153"/>
                      </a:cubicBezTo>
                      <a:cubicBezTo>
                        <a:pt x="0" y="3"/>
                        <a:pt x="0" y="3"/>
                        <a:pt x="0" y="3"/>
                      </a:cubicBezTo>
                      <a:cubicBezTo>
                        <a:pt x="0" y="2"/>
                        <a:pt x="2" y="0"/>
                        <a:pt x="3" y="0"/>
                      </a:cubicBezTo>
                      <a:cubicBezTo>
                        <a:pt x="5" y="0"/>
                        <a:pt x="6" y="2"/>
                        <a:pt x="6" y="3"/>
                      </a:cubicBezTo>
                      <a:cubicBezTo>
                        <a:pt x="6" y="153"/>
                        <a:pt x="6" y="153"/>
                        <a:pt x="6" y="153"/>
                      </a:cubicBezTo>
                      <a:cubicBezTo>
                        <a:pt x="6" y="155"/>
                        <a:pt x="5" y="156"/>
                        <a:pt x="3" y="156"/>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Freeform 31">
                  <a:extLst>
                    <a:ext uri="{FF2B5EF4-FFF2-40B4-BE49-F238E27FC236}">
                      <a16:creationId xmlns:a16="http://schemas.microsoft.com/office/drawing/2014/main" id="{FDF95E51-6F5D-4186-AC08-A611EA63625A}"/>
                    </a:ext>
                  </a:extLst>
                </p:cNvPr>
                <p:cNvSpPr>
                  <a:spLocks/>
                </p:cNvSpPr>
                <p:nvPr userDrawn="1"/>
              </p:nvSpPr>
              <p:spPr bwMode="auto">
                <a:xfrm>
                  <a:off x="6134" y="870"/>
                  <a:ext cx="24" cy="15"/>
                </a:xfrm>
                <a:custGeom>
                  <a:avLst/>
                  <a:gdLst>
                    <a:gd name="T0" fmla="*/ 29 w 54"/>
                    <a:gd name="T1" fmla="*/ 33 h 33"/>
                    <a:gd name="T2" fmla="*/ 1 w 54"/>
                    <a:gd name="T3" fmla="*/ 5 h 33"/>
                    <a:gd name="T4" fmla="*/ 1 w 54"/>
                    <a:gd name="T5" fmla="*/ 1 h 33"/>
                    <a:gd name="T6" fmla="*/ 5 w 54"/>
                    <a:gd name="T7" fmla="*/ 1 h 33"/>
                    <a:gd name="T8" fmla="*/ 30 w 54"/>
                    <a:gd name="T9" fmla="*/ 26 h 33"/>
                    <a:gd name="T10" fmla="*/ 49 w 54"/>
                    <a:gd name="T11" fmla="*/ 13 h 33"/>
                    <a:gd name="T12" fmla="*/ 53 w 54"/>
                    <a:gd name="T13" fmla="*/ 14 h 33"/>
                    <a:gd name="T14" fmla="*/ 52 w 54"/>
                    <a:gd name="T15" fmla="*/ 18 h 33"/>
                    <a:gd name="T16" fmla="*/ 29 w 54"/>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33">
                      <a:moveTo>
                        <a:pt x="29" y="33"/>
                      </a:moveTo>
                      <a:cubicBezTo>
                        <a:pt x="1" y="5"/>
                        <a:pt x="1" y="5"/>
                        <a:pt x="1" y="5"/>
                      </a:cubicBezTo>
                      <a:cubicBezTo>
                        <a:pt x="0" y="4"/>
                        <a:pt x="0" y="2"/>
                        <a:pt x="1" y="1"/>
                      </a:cubicBezTo>
                      <a:cubicBezTo>
                        <a:pt x="2" y="0"/>
                        <a:pt x="4" y="0"/>
                        <a:pt x="5" y="1"/>
                      </a:cubicBezTo>
                      <a:cubicBezTo>
                        <a:pt x="30" y="26"/>
                        <a:pt x="30" y="26"/>
                        <a:pt x="30" y="26"/>
                      </a:cubicBezTo>
                      <a:cubicBezTo>
                        <a:pt x="49" y="13"/>
                        <a:pt x="49" y="13"/>
                        <a:pt x="49" y="13"/>
                      </a:cubicBezTo>
                      <a:cubicBezTo>
                        <a:pt x="50" y="12"/>
                        <a:pt x="52" y="12"/>
                        <a:pt x="53" y="14"/>
                      </a:cubicBezTo>
                      <a:cubicBezTo>
                        <a:pt x="54" y="15"/>
                        <a:pt x="54" y="17"/>
                        <a:pt x="52" y="18"/>
                      </a:cubicBezTo>
                      <a:lnTo>
                        <a:pt x="29" y="33"/>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Freeform 32">
                  <a:extLst>
                    <a:ext uri="{FF2B5EF4-FFF2-40B4-BE49-F238E27FC236}">
                      <a16:creationId xmlns:a16="http://schemas.microsoft.com/office/drawing/2014/main" id="{C13D6874-0E9E-4406-B721-FFA17F8756C5}"/>
                    </a:ext>
                  </a:extLst>
                </p:cNvPr>
                <p:cNvSpPr>
                  <a:spLocks/>
                </p:cNvSpPr>
                <p:nvPr userDrawn="1"/>
              </p:nvSpPr>
              <p:spPr bwMode="auto">
                <a:xfrm>
                  <a:off x="5984" y="744"/>
                  <a:ext cx="285" cy="99"/>
                </a:xfrm>
                <a:custGeom>
                  <a:avLst/>
                  <a:gdLst>
                    <a:gd name="T0" fmla="*/ 123 w 626"/>
                    <a:gd name="T1" fmla="*/ 63 h 219"/>
                    <a:gd name="T2" fmla="*/ 195 w 626"/>
                    <a:gd name="T3" fmla="*/ 65 h 219"/>
                    <a:gd name="T4" fmla="*/ 259 w 626"/>
                    <a:gd name="T5" fmla="*/ 74 h 219"/>
                    <a:gd name="T6" fmla="*/ 363 w 626"/>
                    <a:gd name="T7" fmla="*/ 18 h 219"/>
                    <a:gd name="T8" fmla="*/ 421 w 626"/>
                    <a:gd name="T9" fmla="*/ 13 h 219"/>
                    <a:gd name="T10" fmla="*/ 584 w 626"/>
                    <a:gd name="T11" fmla="*/ 117 h 219"/>
                    <a:gd name="T12" fmla="*/ 0 w 626"/>
                    <a:gd name="T13" fmla="*/ 208 h 219"/>
                    <a:gd name="T14" fmla="*/ 123 w 626"/>
                    <a:gd name="T15" fmla="*/ 63 h 2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6" h="219">
                      <a:moveTo>
                        <a:pt x="123" y="63"/>
                      </a:moveTo>
                      <a:cubicBezTo>
                        <a:pt x="141" y="42"/>
                        <a:pt x="167" y="33"/>
                        <a:pt x="195" y="65"/>
                      </a:cubicBezTo>
                      <a:cubicBezTo>
                        <a:pt x="219" y="87"/>
                        <a:pt x="246" y="81"/>
                        <a:pt x="259" y="74"/>
                      </a:cubicBezTo>
                      <a:cubicBezTo>
                        <a:pt x="272" y="67"/>
                        <a:pt x="363" y="18"/>
                        <a:pt x="363" y="18"/>
                      </a:cubicBezTo>
                      <a:cubicBezTo>
                        <a:pt x="363" y="18"/>
                        <a:pt x="386" y="0"/>
                        <a:pt x="421" y="13"/>
                      </a:cubicBezTo>
                      <a:cubicBezTo>
                        <a:pt x="510" y="45"/>
                        <a:pt x="626" y="146"/>
                        <a:pt x="584" y="117"/>
                      </a:cubicBezTo>
                      <a:cubicBezTo>
                        <a:pt x="88" y="182"/>
                        <a:pt x="183" y="219"/>
                        <a:pt x="0" y="208"/>
                      </a:cubicBezTo>
                      <a:cubicBezTo>
                        <a:pt x="65" y="168"/>
                        <a:pt x="105" y="83"/>
                        <a:pt x="123" y="6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 name="Rectangle 33">
                  <a:extLst>
                    <a:ext uri="{FF2B5EF4-FFF2-40B4-BE49-F238E27FC236}">
                      <a16:creationId xmlns:a16="http://schemas.microsoft.com/office/drawing/2014/main" id="{E442CF56-962E-4C07-871A-FD36C0A77DCA}"/>
                    </a:ext>
                  </a:extLst>
                </p:cNvPr>
                <p:cNvSpPr>
                  <a:spLocks noChangeArrowheads="1"/>
                </p:cNvSpPr>
                <p:nvPr userDrawn="1"/>
              </p:nvSpPr>
              <p:spPr bwMode="auto">
                <a:xfrm>
                  <a:off x="5989" y="836"/>
                  <a:ext cx="5" cy="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 name="Oval 34">
                  <a:extLst>
                    <a:ext uri="{FF2B5EF4-FFF2-40B4-BE49-F238E27FC236}">
                      <a16:creationId xmlns:a16="http://schemas.microsoft.com/office/drawing/2014/main" id="{B576DC7A-F5E1-404D-95AA-62C8CB77EB0E}"/>
                    </a:ext>
                  </a:extLst>
                </p:cNvPr>
                <p:cNvSpPr>
                  <a:spLocks noChangeArrowheads="1"/>
                </p:cNvSpPr>
                <p:nvPr userDrawn="1"/>
              </p:nvSpPr>
              <p:spPr bwMode="auto">
                <a:xfrm>
                  <a:off x="5961" y="778"/>
                  <a:ext cx="60" cy="6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 name="Rectangle 35">
                  <a:extLst>
                    <a:ext uri="{FF2B5EF4-FFF2-40B4-BE49-F238E27FC236}">
                      <a16:creationId xmlns:a16="http://schemas.microsoft.com/office/drawing/2014/main" id="{CE8502DB-3EF3-4D9D-BDB2-C4ACB5C0790E}"/>
                    </a:ext>
                  </a:extLst>
                </p:cNvPr>
                <p:cNvSpPr>
                  <a:spLocks noChangeArrowheads="1"/>
                </p:cNvSpPr>
                <p:nvPr userDrawn="1"/>
              </p:nvSpPr>
              <p:spPr bwMode="auto">
                <a:xfrm>
                  <a:off x="5986" y="791"/>
                  <a:ext cx="10" cy="35"/>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 name="Freeform 36">
                  <a:extLst>
                    <a:ext uri="{FF2B5EF4-FFF2-40B4-BE49-F238E27FC236}">
                      <a16:creationId xmlns:a16="http://schemas.microsoft.com/office/drawing/2014/main" id="{56DCE53B-54BE-4B1D-8204-3D55024454AC}"/>
                    </a:ext>
                  </a:extLst>
                </p:cNvPr>
                <p:cNvSpPr>
                  <a:spLocks/>
                </p:cNvSpPr>
                <p:nvPr userDrawn="1"/>
              </p:nvSpPr>
              <p:spPr bwMode="auto">
                <a:xfrm>
                  <a:off x="5971" y="803"/>
                  <a:ext cx="41" cy="11"/>
                </a:xfrm>
                <a:custGeom>
                  <a:avLst/>
                  <a:gdLst>
                    <a:gd name="T0" fmla="*/ 38 w 41"/>
                    <a:gd name="T1" fmla="*/ 0 h 11"/>
                    <a:gd name="T2" fmla="*/ 41 w 41"/>
                    <a:gd name="T3" fmla="*/ 11 h 11"/>
                    <a:gd name="T4" fmla="*/ 0 w 41"/>
                    <a:gd name="T5" fmla="*/ 11 h 11"/>
                    <a:gd name="T6" fmla="*/ 3 w 41"/>
                    <a:gd name="T7" fmla="*/ 0 h 11"/>
                    <a:gd name="T8" fmla="*/ 38 w 41"/>
                    <a:gd name="T9" fmla="*/ 0 h 11"/>
                  </a:gdLst>
                  <a:ahLst/>
                  <a:cxnLst>
                    <a:cxn ang="0">
                      <a:pos x="T0" y="T1"/>
                    </a:cxn>
                    <a:cxn ang="0">
                      <a:pos x="T2" y="T3"/>
                    </a:cxn>
                    <a:cxn ang="0">
                      <a:pos x="T4" y="T5"/>
                    </a:cxn>
                    <a:cxn ang="0">
                      <a:pos x="T6" y="T7"/>
                    </a:cxn>
                    <a:cxn ang="0">
                      <a:pos x="T8" y="T9"/>
                    </a:cxn>
                  </a:cxnLst>
                  <a:rect l="0" t="0" r="r" b="b"/>
                  <a:pathLst>
                    <a:path w="41" h="11">
                      <a:moveTo>
                        <a:pt x="38" y="0"/>
                      </a:moveTo>
                      <a:lnTo>
                        <a:pt x="41" y="11"/>
                      </a:lnTo>
                      <a:lnTo>
                        <a:pt x="0" y="11"/>
                      </a:lnTo>
                      <a:lnTo>
                        <a:pt x="3" y="0"/>
                      </a:lnTo>
                      <a:lnTo>
                        <a:pt x="38"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 name="Rectangle 37">
                  <a:extLst>
                    <a:ext uri="{FF2B5EF4-FFF2-40B4-BE49-F238E27FC236}">
                      <a16:creationId xmlns:a16="http://schemas.microsoft.com/office/drawing/2014/main" id="{18C6B39C-03D4-465B-92E2-58AF50C8031E}"/>
                    </a:ext>
                  </a:extLst>
                </p:cNvPr>
                <p:cNvSpPr>
                  <a:spLocks noChangeArrowheads="1"/>
                </p:cNvSpPr>
                <p:nvPr userDrawn="1"/>
              </p:nvSpPr>
              <p:spPr bwMode="auto">
                <a:xfrm>
                  <a:off x="5868" y="906"/>
                  <a:ext cx="82" cy="1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 name="Rectangle 38">
                  <a:extLst>
                    <a:ext uri="{FF2B5EF4-FFF2-40B4-BE49-F238E27FC236}">
                      <a16:creationId xmlns:a16="http://schemas.microsoft.com/office/drawing/2014/main" id="{761F2989-C2D1-4547-95F1-543D341224C9}"/>
                    </a:ext>
                  </a:extLst>
                </p:cNvPr>
                <p:cNvSpPr>
                  <a:spLocks noChangeArrowheads="1"/>
                </p:cNvSpPr>
                <p:nvPr userDrawn="1"/>
              </p:nvSpPr>
              <p:spPr bwMode="auto">
                <a:xfrm>
                  <a:off x="5868" y="906"/>
                  <a:ext cx="82" cy="124"/>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 name="Rectangle 39">
                  <a:extLst>
                    <a:ext uri="{FF2B5EF4-FFF2-40B4-BE49-F238E27FC236}">
                      <a16:creationId xmlns:a16="http://schemas.microsoft.com/office/drawing/2014/main" id="{A773C274-9471-40F7-AE01-4B1CF68C1A30}"/>
                    </a:ext>
                  </a:extLst>
                </p:cNvPr>
                <p:cNvSpPr>
                  <a:spLocks noChangeArrowheads="1"/>
                </p:cNvSpPr>
                <p:nvPr userDrawn="1"/>
              </p:nvSpPr>
              <p:spPr bwMode="auto">
                <a:xfrm>
                  <a:off x="5881" y="921"/>
                  <a:ext cx="9"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 name="Rectangle 40">
                  <a:extLst>
                    <a:ext uri="{FF2B5EF4-FFF2-40B4-BE49-F238E27FC236}">
                      <a16:creationId xmlns:a16="http://schemas.microsoft.com/office/drawing/2014/main" id="{5C9F98EB-81FF-4787-89DF-80152A704CDE}"/>
                    </a:ext>
                  </a:extLst>
                </p:cNvPr>
                <p:cNvSpPr>
                  <a:spLocks noChangeArrowheads="1"/>
                </p:cNvSpPr>
                <p:nvPr userDrawn="1"/>
              </p:nvSpPr>
              <p:spPr bwMode="auto">
                <a:xfrm>
                  <a:off x="5897" y="921"/>
                  <a:ext cx="8"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 name="Rectangle 41">
                  <a:extLst>
                    <a:ext uri="{FF2B5EF4-FFF2-40B4-BE49-F238E27FC236}">
                      <a16:creationId xmlns:a16="http://schemas.microsoft.com/office/drawing/2014/main" id="{FEB55C59-DFD6-450B-BF31-373EDD548726}"/>
                    </a:ext>
                  </a:extLst>
                </p:cNvPr>
                <p:cNvSpPr>
                  <a:spLocks noChangeArrowheads="1"/>
                </p:cNvSpPr>
                <p:nvPr userDrawn="1"/>
              </p:nvSpPr>
              <p:spPr bwMode="auto">
                <a:xfrm>
                  <a:off x="5912" y="921"/>
                  <a:ext cx="9"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 name="Rectangle 42">
                  <a:extLst>
                    <a:ext uri="{FF2B5EF4-FFF2-40B4-BE49-F238E27FC236}">
                      <a16:creationId xmlns:a16="http://schemas.microsoft.com/office/drawing/2014/main" id="{0D40248C-6FDF-4F73-821F-FFA3AA60C4AF}"/>
                    </a:ext>
                  </a:extLst>
                </p:cNvPr>
                <p:cNvSpPr>
                  <a:spLocks noChangeArrowheads="1"/>
                </p:cNvSpPr>
                <p:nvPr userDrawn="1"/>
              </p:nvSpPr>
              <p:spPr bwMode="auto">
                <a:xfrm>
                  <a:off x="5928" y="921"/>
                  <a:ext cx="9"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 name="Rectangle 43">
                  <a:extLst>
                    <a:ext uri="{FF2B5EF4-FFF2-40B4-BE49-F238E27FC236}">
                      <a16:creationId xmlns:a16="http://schemas.microsoft.com/office/drawing/2014/main" id="{2D7AB2F3-F216-4439-A132-DA5528814BF0}"/>
                    </a:ext>
                  </a:extLst>
                </p:cNvPr>
                <p:cNvSpPr>
                  <a:spLocks noChangeArrowheads="1"/>
                </p:cNvSpPr>
                <p:nvPr userDrawn="1"/>
              </p:nvSpPr>
              <p:spPr bwMode="auto">
                <a:xfrm>
                  <a:off x="6032" y="906"/>
                  <a:ext cx="83" cy="1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 name="Rectangle 44">
                  <a:extLst>
                    <a:ext uri="{FF2B5EF4-FFF2-40B4-BE49-F238E27FC236}">
                      <a16:creationId xmlns:a16="http://schemas.microsoft.com/office/drawing/2014/main" id="{40697BA5-7290-48B5-A6F9-0B74CFB8CEA3}"/>
                    </a:ext>
                  </a:extLst>
                </p:cNvPr>
                <p:cNvSpPr>
                  <a:spLocks noChangeArrowheads="1"/>
                </p:cNvSpPr>
                <p:nvPr userDrawn="1"/>
              </p:nvSpPr>
              <p:spPr bwMode="auto">
                <a:xfrm>
                  <a:off x="6032" y="906"/>
                  <a:ext cx="83" cy="124"/>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 name="Rectangle 45">
                  <a:extLst>
                    <a:ext uri="{FF2B5EF4-FFF2-40B4-BE49-F238E27FC236}">
                      <a16:creationId xmlns:a16="http://schemas.microsoft.com/office/drawing/2014/main" id="{D47503F9-608E-4B05-AB00-E78D0E14AECB}"/>
                    </a:ext>
                  </a:extLst>
                </p:cNvPr>
                <p:cNvSpPr>
                  <a:spLocks noChangeArrowheads="1"/>
                </p:cNvSpPr>
                <p:nvPr userDrawn="1"/>
              </p:nvSpPr>
              <p:spPr bwMode="auto">
                <a:xfrm>
                  <a:off x="5950" y="861"/>
                  <a:ext cx="83" cy="16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 name="Rectangle 46">
                  <a:extLst>
                    <a:ext uri="{FF2B5EF4-FFF2-40B4-BE49-F238E27FC236}">
                      <a16:creationId xmlns:a16="http://schemas.microsoft.com/office/drawing/2014/main" id="{A6F59162-6706-41BA-951D-8438B6BEF668}"/>
                    </a:ext>
                  </a:extLst>
                </p:cNvPr>
                <p:cNvSpPr>
                  <a:spLocks noChangeArrowheads="1"/>
                </p:cNvSpPr>
                <p:nvPr userDrawn="1"/>
              </p:nvSpPr>
              <p:spPr bwMode="auto">
                <a:xfrm>
                  <a:off x="5964" y="876"/>
                  <a:ext cx="8"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0" name="Rectangle 47">
                  <a:extLst>
                    <a:ext uri="{FF2B5EF4-FFF2-40B4-BE49-F238E27FC236}">
                      <a16:creationId xmlns:a16="http://schemas.microsoft.com/office/drawing/2014/main" id="{95131BBD-570A-4983-8959-AE5EEE6FDF41}"/>
                    </a:ext>
                  </a:extLst>
                </p:cNvPr>
                <p:cNvSpPr>
                  <a:spLocks noChangeArrowheads="1"/>
                </p:cNvSpPr>
                <p:nvPr userDrawn="1"/>
              </p:nvSpPr>
              <p:spPr bwMode="auto">
                <a:xfrm>
                  <a:off x="5979" y="876"/>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 name="Rectangle 48">
                  <a:extLst>
                    <a:ext uri="{FF2B5EF4-FFF2-40B4-BE49-F238E27FC236}">
                      <a16:creationId xmlns:a16="http://schemas.microsoft.com/office/drawing/2014/main" id="{C9CC271E-8512-4C55-9F61-0FA7957E833D}"/>
                    </a:ext>
                  </a:extLst>
                </p:cNvPr>
                <p:cNvSpPr>
                  <a:spLocks noChangeArrowheads="1"/>
                </p:cNvSpPr>
                <p:nvPr userDrawn="1"/>
              </p:nvSpPr>
              <p:spPr bwMode="auto">
                <a:xfrm>
                  <a:off x="5995" y="876"/>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 name="Rectangle 49">
                  <a:extLst>
                    <a:ext uri="{FF2B5EF4-FFF2-40B4-BE49-F238E27FC236}">
                      <a16:creationId xmlns:a16="http://schemas.microsoft.com/office/drawing/2014/main" id="{371A0B73-89F9-4C27-9511-3E648A2D1BA8}"/>
                    </a:ext>
                  </a:extLst>
                </p:cNvPr>
                <p:cNvSpPr>
                  <a:spLocks noChangeArrowheads="1"/>
                </p:cNvSpPr>
                <p:nvPr userDrawn="1"/>
              </p:nvSpPr>
              <p:spPr bwMode="auto">
                <a:xfrm>
                  <a:off x="6011" y="876"/>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 name="Rectangle 50">
                  <a:extLst>
                    <a:ext uri="{FF2B5EF4-FFF2-40B4-BE49-F238E27FC236}">
                      <a16:creationId xmlns:a16="http://schemas.microsoft.com/office/drawing/2014/main" id="{7648EB2F-80C2-4685-8032-4D23F45CC43C}"/>
                    </a:ext>
                  </a:extLst>
                </p:cNvPr>
                <p:cNvSpPr>
                  <a:spLocks noChangeArrowheads="1"/>
                </p:cNvSpPr>
                <p:nvPr userDrawn="1"/>
              </p:nvSpPr>
              <p:spPr bwMode="auto">
                <a:xfrm>
                  <a:off x="5964" y="897"/>
                  <a:ext cx="8"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 name="Rectangle 51">
                  <a:extLst>
                    <a:ext uri="{FF2B5EF4-FFF2-40B4-BE49-F238E27FC236}">
                      <a16:creationId xmlns:a16="http://schemas.microsoft.com/office/drawing/2014/main" id="{987317CC-C084-4858-95C4-98FC97780155}"/>
                    </a:ext>
                  </a:extLst>
                </p:cNvPr>
                <p:cNvSpPr>
                  <a:spLocks noChangeArrowheads="1"/>
                </p:cNvSpPr>
                <p:nvPr userDrawn="1"/>
              </p:nvSpPr>
              <p:spPr bwMode="auto">
                <a:xfrm>
                  <a:off x="5979" y="897"/>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5" name="Rectangle 52">
                  <a:extLst>
                    <a:ext uri="{FF2B5EF4-FFF2-40B4-BE49-F238E27FC236}">
                      <a16:creationId xmlns:a16="http://schemas.microsoft.com/office/drawing/2014/main" id="{16422EAC-967C-4FEE-AAD5-E1070CCE7114}"/>
                    </a:ext>
                  </a:extLst>
                </p:cNvPr>
                <p:cNvSpPr>
                  <a:spLocks noChangeArrowheads="1"/>
                </p:cNvSpPr>
                <p:nvPr userDrawn="1"/>
              </p:nvSpPr>
              <p:spPr bwMode="auto">
                <a:xfrm>
                  <a:off x="5995" y="897"/>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6" name="Rectangle 53">
                  <a:extLst>
                    <a:ext uri="{FF2B5EF4-FFF2-40B4-BE49-F238E27FC236}">
                      <a16:creationId xmlns:a16="http://schemas.microsoft.com/office/drawing/2014/main" id="{EF991CC4-6613-4BE3-A351-BAEE9C0A3E60}"/>
                    </a:ext>
                  </a:extLst>
                </p:cNvPr>
                <p:cNvSpPr>
                  <a:spLocks noChangeArrowheads="1"/>
                </p:cNvSpPr>
                <p:nvPr userDrawn="1"/>
              </p:nvSpPr>
              <p:spPr bwMode="auto">
                <a:xfrm>
                  <a:off x="6011" y="897"/>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7" name="Rectangle 54">
                  <a:extLst>
                    <a:ext uri="{FF2B5EF4-FFF2-40B4-BE49-F238E27FC236}">
                      <a16:creationId xmlns:a16="http://schemas.microsoft.com/office/drawing/2014/main" id="{0629C337-52DC-4086-ACAC-FCA4144CBEB5}"/>
                    </a:ext>
                  </a:extLst>
                </p:cNvPr>
                <p:cNvSpPr>
                  <a:spLocks noChangeArrowheads="1"/>
                </p:cNvSpPr>
                <p:nvPr userDrawn="1"/>
              </p:nvSpPr>
              <p:spPr bwMode="auto">
                <a:xfrm>
                  <a:off x="5964" y="918"/>
                  <a:ext cx="8"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8" name="Rectangle 55">
                  <a:extLst>
                    <a:ext uri="{FF2B5EF4-FFF2-40B4-BE49-F238E27FC236}">
                      <a16:creationId xmlns:a16="http://schemas.microsoft.com/office/drawing/2014/main" id="{F4ED4F18-569B-4F45-8B88-CE9EEF7316AE}"/>
                    </a:ext>
                  </a:extLst>
                </p:cNvPr>
                <p:cNvSpPr>
                  <a:spLocks noChangeArrowheads="1"/>
                </p:cNvSpPr>
                <p:nvPr userDrawn="1"/>
              </p:nvSpPr>
              <p:spPr bwMode="auto">
                <a:xfrm>
                  <a:off x="5979" y="918"/>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9" name="Rectangle 56">
                  <a:extLst>
                    <a:ext uri="{FF2B5EF4-FFF2-40B4-BE49-F238E27FC236}">
                      <a16:creationId xmlns:a16="http://schemas.microsoft.com/office/drawing/2014/main" id="{05B2D64D-F193-4341-984E-75FACD5987F5}"/>
                    </a:ext>
                  </a:extLst>
                </p:cNvPr>
                <p:cNvSpPr>
                  <a:spLocks noChangeArrowheads="1"/>
                </p:cNvSpPr>
                <p:nvPr userDrawn="1"/>
              </p:nvSpPr>
              <p:spPr bwMode="auto">
                <a:xfrm>
                  <a:off x="5995" y="918"/>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0" name="Rectangle 57">
                  <a:extLst>
                    <a:ext uri="{FF2B5EF4-FFF2-40B4-BE49-F238E27FC236}">
                      <a16:creationId xmlns:a16="http://schemas.microsoft.com/office/drawing/2014/main" id="{1C9F76BC-3F55-4F42-9C95-1874BB4D119D}"/>
                    </a:ext>
                  </a:extLst>
                </p:cNvPr>
                <p:cNvSpPr>
                  <a:spLocks noChangeArrowheads="1"/>
                </p:cNvSpPr>
                <p:nvPr userDrawn="1"/>
              </p:nvSpPr>
              <p:spPr bwMode="auto">
                <a:xfrm>
                  <a:off x="6011" y="918"/>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1" name="Rectangle 58">
                  <a:extLst>
                    <a:ext uri="{FF2B5EF4-FFF2-40B4-BE49-F238E27FC236}">
                      <a16:creationId xmlns:a16="http://schemas.microsoft.com/office/drawing/2014/main" id="{22F6DCE7-9FAD-414A-BF14-CA75B7416C78}"/>
                    </a:ext>
                  </a:extLst>
                </p:cNvPr>
                <p:cNvSpPr>
                  <a:spLocks noChangeArrowheads="1"/>
                </p:cNvSpPr>
                <p:nvPr userDrawn="1"/>
              </p:nvSpPr>
              <p:spPr bwMode="auto">
                <a:xfrm>
                  <a:off x="5964" y="939"/>
                  <a:ext cx="8"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2" name="Rectangle 59">
                  <a:extLst>
                    <a:ext uri="{FF2B5EF4-FFF2-40B4-BE49-F238E27FC236}">
                      <a16:creationId xmlns:a16="http://schemas.microsoft.com/office/drawing/2014/main" id="{E96D370E-4C77-4E42-9D00-63CBDF335151}"/>
                    </a:ext>
                  </a:extLst>
                </p:cNvPr>
                <p:cNvSpPr>
                  <a:spLocks noChangeArrowheads="1"/>
                </p:cNvSpPr>
                <p:nvPr userDrawn="1"/>
              </p:nvSpPr>
              <p:spPr bwMode="auto">
                <a:xfrm>
                  <a:off x="5979" y="939"/>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3" name="Rectangle 60">
                  <a:extLst>
                    <a:ext uri="{FF2B5EF4-FFF2-40B4-BE49-F238E27FC236}">
                      <a16:creationId xmlns:a16="http://schemas.microsoft.com/office/drawing/2014/main" id="{D88C8C7C-787A-4D4C-994E-EAF0A57B85CA}"/>
                    </a:ext>
                  </a:extLst>
                </p:cNvPr>
                <p:cNvSpPr>
                  <a:spLocks noChangeArrowheads="1"/>
                </p:cNvSpPr>
                <p:nvPr userDrawn="1"/>
              </p:nvSpPr>
              <p:spPr bwMode="auto">
                <a:xfrm>
                  <a:off x="5995" y="939"/>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 name="Rectangle 61">
                  <a:extLst>
                    <a:ext uri="{FF2B5EF4-FFF2-40B4-BE49-F238E27FC236}">
                      <a16:creationId xmlns:a16="http://schemas.microsoft.com/office/drawing/2014/main" id="{66282EA4-F8D6-44C2-920D-DB93020E0BE0}"/>
                    </a:ext>
                  </a:extLst>
                </p:cNvPr>
                <p:cNvSpPr>
                  <a:spLocks noChangeArrowheads="1"/>
                </p:cNvSpPr>
                <p:nvPr userDrawn="1"/>
              </p:nvSpPr>
              <p:spPr bwMode="auto">
                <a:xfrm>
                  <a:off x="6011" y="939"/>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5" name="Rectangle 62">
                  <a:extLst>
                    <a:ext uri="{FF2B5EF4-FFF2-40B4-BE49-F238E27FC236}">
                      <a16:creationId xmlns:a16="http://schemas.microsoft.com/office/drawing/2014/main" id="{5DB5C3E7-496E-4805-8B2B-3B69E4E1A8E6}"/>
                    </a:ext>
                  </a:extLst>
                </p:cNvPr>
                <p:cNvSpPr>
                  <a:spLocks noChangeArrowheads="1"/>
                </p:cNvSpPr>
                <p:nvPr userDrawn="1"/>
              </p:nvSpPr>
              <p:spPr bwMode="auto">
                <a:xfrm>
                  <a:off x="5964" y="960"/>
                  <a:ext cx="8"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 name="Rectangle 63">
                  <a:extLst>
                    <a:ext uri="{FF2B5EF4-FFF2-40B4-BE49-F238E27FC236}">
                      <a16:creationId xmlns:a16="http://schemas.microsoft.com/office/drawing/2014/main" id="{6C0407E7-041A-44C8-B010-DEFA2B0A57B6}"/>
                    </a:ext>
                  </a:extLst>
                </p:cNvPr>
                <p:cNvSpPr>
                  <a:spLocks noChangeArrowheads="1"/>
                </p:cNvSpPr>
                <p:nvPr userDrawn="1"/>
              </p:nvSpPr>
              <p:spPr bwMode="auto">
                <a:xfrm>
                  <a:off x="5979" y="960"/>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Rectangle 64">
                  <a:extLst>
                    <a:ext uri="{FF2B5EF4-FFF2-40B4-BE49-F238E27FC236}">
                      <a16:creationId xmlns:a16="http://schemas.microsoft.com/office/drawing/2014/main" id="{A03E9D0C-488F-405A-BFA7-E856F923AA56}"/>
                    </a:ext>
                  </a:extLst>
                </p:cNvPr>
                <p:cNvSpPr>
                  <a:spLocks noChangeArrowheads="1"/>
                </p:cNvSpPr>
                <p:nvPr userDrawn="1"/>
              </p:nvSpPr>
              <p:spPr bwMode="auto">
                <a:xfrm>
                  <a:off x="5995" y="960"/>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65">
                  <a:extLst>
                    <a:ext uri="{FF2B5EF4-FFF2-40B4-BE49-F238E27FC236}">
                      <a16:creationId xmlns:a16="http://schemas.microsoft.com/office/drawing/2014/main" id="{4239FE54-1575-45C3-811D-6B9E05BB0E22}"/>
                    </a:ext>
                  </a:extLst>
                </p:cNvPr>
                <p:cNvSpPr>
                  <a:spLocks noChangeArrowheads="1"/>
                </p:cNvSpPr>
                <p:nvPr userDrawn="1"/>
              </p:nvSpPr>
              <p:spPr bwMode="auto">
                <a:xfrm>
                  <a:off x="6011" y="960"/>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66">
                  <a:extLst>
                    <a:ext uri="{FF2B5EF4-FFF2-40B4-BE49-F238E27FC236}">
                      <a16:creationId xmlns:a16="http://schemas.microsoft.com/office/drawing/2014/main" id="{7BBB5900-B1B2-4C3F-9A93-A29CA9070842}"/>
                    </a:ext>
                  </a:extLst>
                </p:cNvPr>
                <p:cNvSpPr>
                  <a:spLocks noChangeArrowheads="1"/>
                </p:cNvSpPr>
                <p:nvPr userDrawn="1"/>
              </p:nvSpPr>
              <p:spPr bwMode="auto">
                <a:xfrm>
                  <a:off x="5964" y="982"/>
                  <a:ext cx="8"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67">
                  <a:extLst>
                    <a:ext uri="{FF2B5EF4-FFF2-40B4-BE49-F238E27FC236}">
                      <a16:creationId xmlns:a16="http://schemas.microsoft.com/office/drawing/2014/main" id="{DF15587E-8AF5-43CD-89B8-8DC92A7795E8}"/>
                    </a:ext>
                  </a:extLst>
                </p:cNvPr>
                <p:cNvSpPr>
                  <a:spLocks noChangeArrowheads="1"/>
                </p:cNvSpPr>
                <p:nvPr userDrawn="1"/>
              </p:nvSpPr>
              <p:spPr bwMode="auto">
                <a:xfrm>
                  <a:off x="5979" y="982"/>
                  <a:ext cx="9"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68">
                  <a:extLst>
                    <a:ext uri="{FF2B5EF4-FFF2-40B4-BE49-F238E27FC236}">
                      <a16:creationId xmlns:a16="http://schemas.microsoft.com/office/drawing/2014/main" id="{7FCF745F-EF8F-4138-AD20-E0BF14A53754}"/>
                    </a:ext>
                  </a:extLst>
                </p:cNvPr>
                <p:cNvSpPr>
                  <a:spLocks noChangeArrowheads="1"/>
                </p:cNvSpPr>
                <p:nvPr userDrawn="1"/>
              </p:nvSpPr>
              <p:spPr bwMode="auto">
                <a:xfrm>
                  <a:off x="5995" y="982"/>
                  <a:ext cx="9"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69">
                  <a:extLst>
                    <a:ext uri="{FF2B5EF4-FFF2-40B4-BE49-F238E27FC236}">
                      <a16:creationId xmlns:a16="http://schemas.microsoft.com/office/drawing/2014/main" id="{E3BE8C4F-29F3-4F77-9774-C2AA89D892FE}"/>
                    </a:ext>
                  </a:extLst>
                </p:cNvPr>
                <p:cNvSpPr>
                  <a:spLocks noChangeArrowheads="1"/>
                </p:cNvSpPr>
                <p:nvPr userDrawn="1"/>
              </p:nvSpPr>
              <p:spPr bwMode="auto">
                <a:xfrm>
                  <a:off x="6011" y="982"/>
                  <a:ext cx="9"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70">
                  <a:extLst>
                    <a:ext uri="{FF2B5EF4-FFF2-40B4-BE49-F238E27FC236}">
                      <a16:creationId xmlns:a16="http://schemas.microsoft.com/office/drawing/2014/main" id="{E07A3C77-0038-424C-853F-521F2BE60A79}"/>
                    </a:ext>
                  </a:extLst>
                </p:cNvPr>
                <p:cNvSpPr>
                  <a:spLocks noChangeArrowheads="1"/>
                </p:cNvSpPr>
                <p:nvPr userDrawn="1"/>
              </p:nvSpPr>
              <p:spPr bwMode="auto">
                <a:xfrm>
                  <a:off x="5964" y="1003"/>
                  <a:ext cx="8"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Rectangle 71">
                  <a:extLst>
                    <a:ext uri="{FF2B5EF4-FFF2-40B4-BE49-F238E27FC236}">
                      <a16:creationId xmlns:a16="http://schemas.microsoft.com/office/drawing/2014/main" id="{876F787E-8643-43BD-8B11-335FBE42CA77}"/>
                    </a:ext>
                  </a:extLst>
                </p:cNvPr>
                <p:cNvSpPr>
                  <a:spLocks noChangeArrowheads="1"/>
                </p:cNvSpPr>
                <p:nvPr userDrawn="1"/>
              </p:nvSpPr>
              <p:spPr bwMode="auto">
                <a:xfrm>
                  <a:off x="5979" y="1003"/>
                  <a:ext cx="9"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Rectangle 72">
                  <a:extLst>
                    <a:ext uri="{FF2B5EF4-FFF2-40B4-BE49-F238E27FC236}">
                      <a16:creationId xmlns:a16="http://schemas.microsoft.com/office/drawing/2014/main" id="{9A7AE278-7359-4E11-B75F-D913194263A5}"/>
                    </a:ext>
                  </a:extLst>
                </p:cNvPr>
                <p:cNvSpPr>
                  <a:spLocks noChangeArrowheads="1"/>
                </p:cNvSpPr>
                <p:nvPr userDrawn="1"/>
              </p:nvSpPr>
              <p:spPr bwMode="auto">
                <a:xfrm>
                  <a:off x="5995" y="1003"/>
                  <a:ext cx="9"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Rectangle 73">
                  <a:extLst>
                    <a:ext uri="{FF2B5EF4-FFF2-40B4-BE49-F238E27FC236}">
                      <a16:creationId xmlns:a16="http://schemas.microsoft.com/office/drawing/2014/main" id="{32433726-F996-4D73-93CD-D7F5BCCDE3E7}"/>
                    </a:ext>
                  </a:extLst>
                </p:cNvPr>
                <p:cNvSpPr>
                  <a:spLocks noChangeArrowheads="1"/>
                </p:cNvSpPr>
                <p:nvPr userDrawn="1"/>
              </p:nvSpPr>
              <p:spPr bwMode="auto">
                <a:xfrm>
                  <a:off x="6011" y="1003"/>
                  <a:ext cx="9"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Rectangle 74">
                  <a:extLst>
                    <a:ext uri="{FF2B5EF4-FFF2-40B4-BE49-F238E27FC236}">
                      <a16:creationId xmlns:a16="http://schemas.microsoft.com/office/drawing/2014/main" id="{DD0EB608-1BB3-4A52-AC12-E5D5716FF59F}"/>
                    </a:ext>
                  </a:extLst>
                </p:cNvPr>
                <p:cNvSpPr>
                  <a:spLocks noChangeArrowheads="1"/>
                </p:cNvSpPr>
                <p:nvPr userDrawn="1"/>
              </p:nvSpPr>
              <p:spPr bwMode="auto">
                <a:xfrm>
                  <a:off x="5868" y="898"/>
                  <a:ext cx="82" cy="9"/>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Rectangle 75">
                  <a:extLst>
                    <a:ext uri="{FF2B5EF4-FFF2-40B4-BE49-F238E27FC236}">
                      <a16:creationId xmlns:a16="http://schemas.microsoft.com/office/drawing/2014/main" id="{CA5AB09E-44E3-4D78-9A65-9A0276747DB9}"/>
                    </a:ext>
                  </a:extLst>
                </p:cNvPr>
                <p:cNvSpPr>
                  <a:spLocks noChangeArrowheads="1"/>
                </p:cNvSpPr>
                <p:nvPr userDrawn="1"/>
              </p:nvSpPr>
              <p:spPr bwMode="auto">
                <a:xfrm>
                  <a:off x="5950" y="853"/>
                  <a:ext cx="83" cy="8"/>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Rectangle 76">
                  <a:extLst>
                    <a:ext uri="{FF2B5EF4-FFF2-40B4-BE49-F238E27FC236}">
                      <a16:creationId xmlns:a16="http://schemas.microsoft.com/office/drawing/2014/main" id="{C1D32E52-68BB-4000-B08A-C439D8D4AC1D}"/>
                    </a:ext>
                  </a:extLst>
                </p:cNvPr>
                <p:cNvSpPr>
                  <a:spLocks noChangeArrowheads="1"/>
                </p:cNvSpPr>
                <p:nvPr userDrawn="1"/>
              </p:nvSpPr>
              <p:spPr bwMode="auto">
                <a:xfrm>
                  <a:off x="6033" y="898"/>
                  <a:ext cx="82" cy="9"/>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Rectangle 77">
                  <a:extLst>
                    <a:ext uri="{FF2B5EF4-FFF2-40B4-BE49-F238E27FC236}">
                      <a16:creationId xmlns:a16="http://schemas.microsoft.com/office/drawing/2014/main" id="{251BC3F9-BBBE-4EF8-8AAC-A60977150B2F}"/>
                    </a:ext>
                  </a:extLst>
                </p:cNvPr>
                <p:cNvSpPr>
                  <a:spLocks noChangeArrowheads="1"/>
                </p:cNvSpPr>
                <p:nvPr userDrawn="1"/>
              </p:nvSpPr>
              <p:spPr bwMode="auto">
                <a:xfrm>
                  <a:off x="6045" y="921"/>
                  <a:ext cx="9"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Rectangle 78">
                  <a:extLst>
                    <a:ext uri="{FF2B5EF4-FFF2-40B4-BE49-F238E27FC236}">
                      <a16:creationId xmlns:a16="http://schemas.microsoft.com/office/drawing/2014/main" id="{03C41181-5FD1-4303-9989-637CFAB6062C}"/>
                    </a:ext>
                  </a:extLst>
                </p:cNvPr>
                <p:cNvSpPr>
                  <a:spLocks noChangeArrowheads="1"/>
                </p:cNvSpPr>
                <p:nvPr userDrawn="1"/>
              </p:nvSpPr>
              <p:spPr bwMode="auto">
                <a:xfrm>
                  <a:off x="6061" y="921"/>
                  <a:ext cx="9"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Rectangle 79">
                  <a:extLst>
                    <a:ext uri="{FF2B5EF4-FFF2-40B4-BE49-F238E27FC236}">
                      <a16:creationId xmlns:a16="http://schemas.microsoft.com/office/drawing/2014/main" id="{D9F3143F-2968-4C81-908B-1BDA06FC2F76}"/>
                    </a:ext>
                  </a:extLst>
                </p:cNvPr>
                <p:cNvSpPr>
                  <a:spLocks noChangeArrowheads="1"/>
                </p:cNvSpPr>
                <p:nvPr userDrawn="1"/>
              </p:nvSpPr>
              <p:spPr bwMode="auto">
                <a:xfrm>
                  <a:off x="6077" y="921"/>
                  <a:ext cx="8"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3" name="Rectangle 80">
                  <a:extLst>
                    <a:ext uri="{FF2B5EF4-FFF2-40B4-BE49-F238E27FC236}">
                      <a16:creationId xmlns:a16="http://schemas.microsoft.com/office/drawing/2014/main" id="{8ADD3039-EF87-42B7-A560-C8283CD8D5BD}"/>
                    </a:ext>
                  </a:extLst>
                </p:cNvPr>
                <p:cNvSpPr>
                  <a:spLocks noChangeArrowheads="1"/>
                </p:cNvSpPr>
                <p:nvPr userDrawn="1"/>
              </p:nvSpPr>
              <p:spPr bwMode="auto">
                <a:xfrm>
                  <a:off x="6093" y="921"/>
                  <a:ext cx="8"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 name="Rectangle 81">
                  <a:extLst>
                    <a:ext uri="{FF2B5EF4-FFF2-40B4-BE49-F238E27FC236}">
                      <a16:creationId xmlns:a16="http://schemas.microsoft.com/office/drawing/2014/main" id="{627C25F2-51A4-4252-864A-56D0042CAD13}"/>
                    </a:ext>
                  </a:extLst>
                </p:cNvPr>
                <p:cNvSpPr>
                  <a:spLocks noChangeArrowheads="1"/>
                </p:cNvSpPr>
                <p:nvPr userDrawn="1"/>
              </p:nvSpPr>
              <p:spPr bwMode="auto">
                <a:xfrm>
                  <a:off x="5845" y="1030"/>
                  <a:ext cx="292"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 name="Freeform 82">
                  <a:extLst>
                    <a:ext uri="{FF2B5EF4-FFF2-40B4-BE49-F238E27FC236}">
                      <a16:creationId xmlns:a16="http://schemas.microsoft.com/office/drawing/2014/main" id="{D0A13F4A-EEF4-43EE-9BE8-9C52E21CBB7A}"/>
                    </a:ext>
                  </a:extLst>
                </p:cNvPr>
                <p:cNvSpPr>
                  <a:spLocks/>
                </p:cNvSpPr>
                <p:nvPr userDrawn="1"/>
              </p:nvSpPr>
              <p:spPr bwMode="auto">
                <a:xfrm>
                  <a:off x="6226" y="670"/>
                  <a:ext cx="234" cy="119"/>
                </a:xfrm>
                <a:custGeom>
                  <a:avLst/>
                  <a:gdLst>
                    <a:gd name="T0" fmla="*/ 481 w 513"/>
                    <a:gd name="T1" fmla="*/ 0 h 261"/>
                    <a:gd name="T2" fmla="*/ 441 w 513"/>
                    <a:gd name="T3" fmla="*/ 65 h 261"/>
                    <a:gd name="T4" fmla="*/ 126 w 513"/>
                    <a:gd name="T5" fmla="*/ 65 h 261"/>
                    <a:gd name="T6" fmla="*/ 0 w 513"/>
                    <a:gd name="T7" fmla="*/ 261 h 261"/>
                    <a:gd name="T8" fmla="*/ 115 w 513"/>
                    <a:gd name="T9" fmla="*/ 261 h 261"/>
                    <a:gd name="T10" fmla="*/ 306 w 513"/>
                    <a:gd name="T11" fmla="*/ 110 h 261"/>
                    <a:gd name="T12" fmla="*/ 412 w 513"/>
                    <a:gd name="T13" fmla="*/ 110 h 261"/>
                    <a:gd name="T14" fmla="*/ 496 w 513"/>
                    <a:gd name="T15" fmla="*/ 111 h 261"/>
                    <a:gd name="T16" fmla="*/ 513 w 513"/>
                    <a:gd name="T17" fmla="*/ 0 h 261"/>
                    <a:gd name="T18" fmla="*/ 481 w 513"/>
                    <a:gd name="T19"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261">
                      <a:moveTo>
                        <a:pt x="481" y="0"/>
                      </a:moveTo>
                      <a:cubicBezTo>
                        <a:pt x="441" y="65"/>
                        <a:pt x="441" y="65"/>
                        <a:pt x="441" y="65"/>
                      </a:cubicBezTo>
                      <a:cubicBezTo>
                        <a:pt x="126" y="65"/>
                        <a:pt x="126" y="65"/>
                        <a:pt x="126" y="65"/>
                      </a:cubicBezTo>
                      <a:cubicBezTo>
                        <a:pt x="17" y="65"/>
                        <a:pt x="0" y="153"/>
                        <a:pt x="0" y="261"/>
                      </a:cubicBezTo>
                      <a:cubicBezTo>
                        <a:pt x="115" y="261"/>
                        <a:pt x="115" y="261"/>
                        <a:pt x="115" y="261"/>
                      </a:cubicBezTo>
                      <a:cubicBezTo>
                        <a:pt x="208" y="261"/>
                        <a:pt x="286" y="197"/>
                        <a:pt x="306" y="110"/>
                      </a:cubicBezTo>
                      <a:cubicBezTo>
                        <a:pt x="412" y="110"/>
                        <a:pt x="412" y="110"/>
                        <a:pt x="412" y="110"/>
                      </a:cubicBezTo>
                      <a:cubicBezTo>
                        <a:pt x="496" y="111"/>
                        <a:pt x="496" y="111"/>
                        <a:pt x="496" y="111"/>
                      </a:cubicBezTo>
                      <a:cubicBezTo>
                        <a:pt x="513" y="0"/>
                        <a:pt x="513" y="0"/>
                        <a:pt x="513" y="0"/>
                      </a:cubicBezTo>
                      <a:lnTo>
                        <a:pt x="48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 name="Line 83">
                  <a:extLst>
                    <a:ext uri="{FF2B5EF4-FFF2-40B4-BE49-F238E27FC236}">
                      <a16:creationId xmlns:a16="http://schemas.microsoft.com/office/drawing/2014/main" id="{B72F98EB-CA78-4075-8C2A-9EB84C096511}"/>
                    </a:ext>
                  </a:extLst>
                </p:cNvPr>
                <p:cNvSpPr>
                  <a:spLocks noChangeShapeType="1"/>
                </p:cNvSpPr>
                <p:nvPr userDrawn="1"/>
              </p:nvSpPr>
              <p:spPr bwMode="auto">
                <a:xfrm>
                  <a:off x="6315" y="659"/>
                  <a:ext cx="0" cy="45"/>
                </a:xfrm>
                <a:prstGeom prst="line">
                  <a:avLst/>
                </a:prstGeom>
                <a:noFill/>
                <a:ln w="635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27" name="Oval 84">
                  <a:extLst>
                    <a:ext uri="{FF2B5EF4-FFF2-40B4-BE49-F238E27FC236}">
                      <a16:creationId xmlns:a16="http://schemas.microsoft.com/office/drawing/2014/main" id="{7FA1ED9E-D248-4008-ACA0-C575DC5FBE6E}"/>
                    </a:ext>
                  </a:extLst>
                </p:cNvPr>
                <p:cNvSpPr>
                  <a:spLocks noChangeArrowheads="1"/>
                </p:cNvSpPr>
                <p:nvPr userDrawn="1"/>
              </p:nvSpPr>
              <p:spPr bwMode="auto">
                <a:xfrm>
                  <a:off x="6231" y="650"/>
                  <a:ext cx="168" cy="17"/>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8" name="Freeform 85">
                  <a:extLst>
                    <a:ext uri="{FF2B5EF4-FFF2-40B4-BE49-F238E27FC236}">
                      <a16:creationId xmlns:a16="http://schemas.microsoft.com/office/drawing/2014/main" id="{E4CFE463-7216-441C-A2AC-DF7F7CE14540}"/>
                    </a:ext>
                  </a:extLst>
                </p:cNvPr>
                <p:cNvSpPr>
                  <a:spLocks/>
                </p:cNvSpPr>
                <p:nvPr userDrawn="1"/>
              </p:nvSpPr>
              <p:spPr bwMode="auto">
                <a:xfrm>
                  <a:off x="6227" y="700"/>
                  <a:ext cx="106" cy="67"/>
                </a:xfrm>
                <a:custGeom>
                  <a:avLst/>
                  <a:gdLst>
                    <a:gd name="T0" fmla="*/ 124 w 233"/>
                    <a:gd name="T1" fmla="*/ 0 h 147"/>
                    <a:gd name="T2" fmla="*/ 233 w 233"/>
                    <a:gd name="T3" fmla="*/ 0 h 147"/>
                    <a:gd name="T4" fmla="*/ 85 w 233"/>
                    <a:gd name="T5" fmla="*/ 147 h 147"/>
                    <a:gd name="T6" fmla="*/ 0 w 233"/>
                    <a:gd name="T7" fmla="*/ 147 h 147"/>
                    <a:gd name="T8" fmla="*/ 124 w 233"/>
                    <a:gd name="T9" fmla="*/ 0 h 147"/>
                  </a:gdLst>
                  <a:ahLst/>
                  <a:cxnLst>
                    <a:cxn ang="0">
                      <a:pos x="T0" y="T1"/>
                    </a:cxn>
                    <a:cxn ang="0">
                      <a:pos x="T2" y="T3"/>
                    </a:cxn>
                    <a:cxn ang="0">
                      <a:pos x="T4" y="T5"/>
                    </a:cxn>
                    <a:cxn ang="0">
                      <a:pos x="T6" y="T7"/>
                    </a:cxn>
                    <a:cxn ang="0">
                      <a:pos x="T8" y="T9"/>
                    </a:cxn>
                  </a:cxnLst>
                  <a:rect l="0" t="0" r="r" b="b"/>
                  <a:pathLst>
                    <a:path w="233" h="147">
                      <a:moveTo>
                        <a:pt x="124" y="0"/>
                      </a:moveTo>
                      <a:cubicBezTo>
                        <a:pt x="233" y="0"/>
                        <a:pt x="233" y="0"/>
                        <a:pt x="233" y="0"/>
                      </a:cubicBezTo>
                      <a:cubicBezTo>
                        <a:pt x="233" y="81"/>
                        <a:pt x="167" y="147"/>
                        <a:pt x="85" y="147"/>
                      </a:cubicBezTo>
                      <a:cubicBezTo>
                        <a:pt x="0" y="147"/>
                        <a:pt x="0" y="147"/>
                        <a:pt x="0" y="147"/>
                      </a:cubicBezTo>
                      <a:cubicBezTo>
                        <a:pt x="6" y="62"/>
                        <a:pt x="33" y="0"/>
                        <a:pt x="12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9" name="Freeform 86">
                  <a:extLst>
                    <a:ext uri="{FF2B5EF4-FFF2-40B4-BE49-F238E27FC236}">
                      <a16:creationId xmlns:a16="http://schemas.microsoft.com/office/drawing/2014/main" id="{EAF5C90D-8BD1-4B13-B253-448E06C0C290}"/>
                    </a:ext>
                  </a:extLst>
                </p:cNvPr>
                <p:cNvSpPr>
                  <a:spLocks/>
                </p:cNvSpPr>
                <p:nvPr userDrawn="1"/>
              </p:nvSpPr>
              <p:spPr bwMode="auto">
                <a:xfrm>
                  <a:off x="6227" y="700"/>
                  <a:ext cx="96" cy="67"/>
                </a:xfrm>
                <a:custGeom>
                  <a:avLst/>
                  <a:gdLst>
                    <a:gd name="T0" fmla="*/ 209 w 209"/>
                    <a:gd name="T1" fmla="*/ 0 h 147"/>
                    <a:gd name="T2" fmla="*/ 124 w 209"/>
                    <a:gd name="T3" fmla="*/ 0 h 147"/>
                    <a:gd name="T4" fmla="*/ 0 w 209"/>
                    <a:gd name="T5" fmla="*/ 147 h 147"/>
                    <a:gd name="T6" fmla="*/ 85 w 209"/>
                    <a:gd name="T7" fmla="*/ 147 h 147"/>
                    <a:gd name="T8" fmla="*/ 209 w 209"/>
                    <a:gd name="T9" fmla="*/ 0 h 147"/>
                  </a:gdLst>
                  <a:ahLst/>
                  <a:cxnLst>
                    <a:cxn ang="0">
                      <a:pos x="T0" y="T1"/>
                    </a:cxn>
                    <a:cxn ang="0">
                      <a:pos x="T2" y="T3"/>
                    </a:cxn>
                    <a:cxn ang="0">
                      <a:pos x="T4" y="T5"/>
                    </a:cxn>
                    <a:cxn ang="0">
                      <a:pos x="T6" y="T7"/>
                    </a:cxn>
                    <a:cxn ang="0">
                      <a:pos x="T8" y="T9"/>
                    </a:cxn>
                  </a:cxnLst>
                  <a:rect l="0" t="0" r="r" b="b"/>
                  <a:pathLst>
                    <a:path w="209" h="147">
                      <a:moveTo>
                        <a:pt x="209" y="0"/>
                      </a:moveTo>
                      <a:cubicBezTo>
                        <a:pt x="124" y="0"/>
                        <a:pt x="124" y="0"/>
                        <a:pt x="124" y="0"/>
                      </a:cubicBezTo>
                      <a:cubicBezTo>
                        <a:pt x="33" y="0"/>
                        <a:pt x="6" y="62"/>
                        <a:pt x="0" y="147"/>
                      </a:cubicBezTo>
                      <a:cubicBezTo>
                        <a:pt x="85" y="147"/>
                        <a:pt x="85" y="147"/>
                        <a:pt x="85" y="147"/>
                      </a:cubicBezTo>
                      <a:cubicBezTo>
                        <a:pt x="91" y="62"/>
                        <a:pt x="117" y="0"/>
                        <a:pt x="209" y="0"/>
                      </a:cubicBezTo>
                      <a:close/>
                    </a:path>
                  </a:pathLst>
                </a:custGeom>
                <a:solidFill>
                  <a:srgbClr val="78C5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Line 87">
                  <a:extLst>
                    <a:ext uri="{FF2B5EF4-FFF2-40B4-BE49-F238E27FC236}">
                      <a16:creationId xmlns:a16="http://schemas.microsoft.com/office/drawing/2014/main" id="{239BC0BA-756D-4074-A2C0-ECE7BE6F96D1}"/>
                    </a:ext>
                  </a:extLst>
                </p:cNvPr>
                <p:cNvSpPr>
                  <a:spLocks noChangeShapeType="1"/>
                </p:cNvSpPr>
                <p:nvPr userDrawn="1"/>
              </p:nvSpPr>
              <p:spPr bwMode="auto">
                <a:xfrm>
                  <a:off x="6500" y="690"/>
                  <a:ext cx="87" cy="0"/>
                </a:xfrm>
                <a:prstGeom prst="line">
                  <a:avLst/>
                </a:prstGeom>
                <a:noFill/>
                <a:ln w="635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31" name="Line 88">
                  <a:extLst>
                    <a:ext uri="{FF2B5EF4-FFF2-40B4-BE49-F238E27FC236}">
                      <a16:creationId xmlns:a16="http://schemas.microsoft.com/office/drawing/2014/main" id="{6396362A-F79D-4374-811D-0BB75F1C8D9C}"/>
                    </a:ext>
                  </a:extLst>
                </p:cNvPr>
                <p:cNvSpPr>
                  <a:spLocks noChangeShapeType="1"/>
                </p:cNvSpPr>
                <p:nvPr userDrawn="1"/>
              </p:nvSpPr>
              <p:spPr bwMode="auto">
                <a:xfrm>
                  <a:off x="6483" y="705"/>
                  <a:ext cx="86" cy="0"/>
                </a:xfrm>
                <a:prstGeom prst="line">
                  <a:avLst/>
                </a:prstGeom>
                <a:noFill/>
                <a:ln w="635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32" name="Freeform 89">
                  <a:extLst>
                    <a:ext uri="{FF2B5EF4-FFF2-40B4-BE49-F238E27FC236}">
                      <a16:creationId xmlns:a16="http://schemas.microsoft.com/office/drawing/2014/main" id="{7BFA5190-82D5-4760-AF21-A8769759AB2F}"/>
                    </a:ext>
                  </a:extLst>
                </p:cNvPr>
                <p:cNvSpPr>
                  <a:spLocks/>
                </p:cNvSpPr>
                <p:nvPr userDrawn="1"/>
              </p:nvSpPr>
              <p:spPr bwMode="auto">
                <a:xfrm>
                  <a:off x="6327" y="1205"/>
                  <a:ext cx="12" cy="59"/>
                </a:xfrm>
                <a:custGeom>
                  <a:avLst/>
                  <a:gdLst>
                    <a:gd name="T0" fmla="*/ 23 w 26"/>
                    <a:gd name="T1" fmla="*/ 105 h 131"/>
                    <a:gd name="T2" fmla="*/ 19 w 26"/>
                    <a:gd name="T3" fmla="*/ 105 h 131"/>
                    <a:gd name="T4" fmla="*/ 19 w 26"/>
                    <a:gd name="T5" fmla="*/ 0 h 131"/>
                    <a:gd name="T6" fmla="*/ 7 w 26"/>
                    <a:gd name="T7" fmla="*/ 0 h 131"/>
                    <a:gd name="T8" fmla="*/ 7 w 26"/>
                    <a:gd name="T9" fmla="*/ 105 h 131"/>
                    <a:gd name="T10" fmla="*/ 4 w 26"/>
                    <a:gd name="T11" fmla="*/ 105 h 131"/>
                    <a:gd name="T12" fmla="*/ 0 w 26"/>
                    <a:gd name="T13" fmla="*/ 108 h 131"/>
                    <a:gd name="T14" fmla="*/ 0 w 26"/>
                    <a:gd name="T15" fmla="*/ 131 h 131"/>
                    <a:gd name="T16" fmla="*/ 26 w 26"/>
                    <a:gd name="T17" fmla="*/ 131 h 131"/>
                    <a:gd name="T18" fmla="*/ 26 w 26"/>
                    <a:gd name="T19" fmla="*/ 108 h 131"/>
                    <a:gd name="T20" fmla="*/ 23 w 26"/>
                    <a:gd name="T21" fmla="*/ 10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131">
                      <a:moveTo>
                        <a:pt x="23" y="105"/>
                      </a:moveTo>
                      <a:cubicBezTo>
                        <a:pt x="19" y="105"/>
                        <a:pt x="19" y="105"/>
                        <a:pt x="19" y="105"/>
                      </a:cubicBezTo>
                      <a:cubicBezTo>
                        <a:pt x="19" y="0"/>
                        <a:pt x="19" y="0"/>
                        <a:pt x="19" y="0"/>
                      </a:cubicBezTo>
                      <a:cubicBezTo>
                        <a:pt x="7" y="0"/>
                        <a:pt x="7" y="0"/>
                        <a:pt x="7" y="0"/>
                      </a:cubicBezTo>
                      <a:cubicBezTo>
                        <a:pt x="7" y="105"/>
                        <a:pt x="7" y="105"/>
                        <a:pt x="7" y="105"/>
                      </a:cubicBezTo>
                      <a:cubicBezTo>
                        <a:pt x="4" y="105"/>
                        <a:pt x="4" y="105"/>
                        <a:pt x="4" y="105"/>
                      </a:cubicBezTo>
                      <a:cubicBezTo>
                        <a:pt x="2" y="105"/>
                        <a:pt x="0" y="106"/>
                        <a:pt x="0" y="108"/>
                      </a:cubicBezTo>
                      <a:cubicBezTo>
                        <a:pt x="0" y="131"/>
                        <a:pt x="0" y="131"/>
                        <a:pt x="0" y="131"/>
                      </a:cubicBezTo>
                      <a:cubicBezTo>
                        <a:pt x="26" y="131"/>
                        <a:pt x="26" y="131"/>
                        <a:pt x="26" y="131"/>
                      </a:cubicBezTo>
                      <a:cubicBezTo>
                        <a:pt x="26" y="108"/>
                        <a:pt x="26" y="108"/>
                        <a:pt x="26" y="108"/>
                      </a:cubicBezTo>
                      <a:cubicBezTo>
                        <a:pt x="26" y="106"/>
                        <a:pt x="25" y="105"/>
                        <a:pt x="23" y="105"/>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90">
                  <a:extLst>
                    <a:ext uri="{FF2B5EF4-FFF2-40B4-BE49-F238E27FC236}">
                      <a16:creationId xmlns:a16="http://schemas.microsoft.com/office/drawing/2014/main" id="{0C2E0EF5-B742-4355-91BC-1599A47F5B60}"/>
                    </a:ext>
                  </a:extLst>
                </p:cNvPr>
                <p:cNvSpPr>
                  <a:spLocks/>
                </p:cNvSpPr>
                <p:nvPr userDrawn="1"/>
              </p:nvSpPr>
              <p:spPr bwMode="auto">
                <a:xfrm>
                  <a:off x="6327" y="1205"/>
                  <a:ext cx="6" cy="59"/>
                </a:xfrm>
                <a:custGeom>
                  <a:avLst/>
                  <a:gdLst>
                    <a:gd name="T0" fmla="*/ 4 w 12"/>
                    <a:gd name="T1" fmla="*/ 105 h 131"/>
                    <a:gd name="T2" fmla="*/ 7 w 12"/>
                    <a:gd name="T3" fmla="*/ 105 h 131"/>
                    <a:gd name="T4" fmla="*/ 7 w 12"/>
                    <a:gd name="T5" fmla="*/ 0 h 131"/>
                    <a:gd name="T6" fmla="*/ 12 w 12"/>
                    <a:gd name="T7" fmla="*/ 0 h 131"/>
                    <a:gd name="T8" fmla="*/ 12 w 12"/>
                    <a:gd name="T9" fmla="*/ 105 h 131"/>
                    <a:gd name="T10" fmla="*/ 8 w 12"/>
                    <a:gd name="T11" fmla="*/ 105 h 131"/>
                    <a:gd name="T12" fmla="*/ 5 w 12"/>
                    <a:gd name="T13" fmla="*/ 108 h 131"/>
                    <a:gd name="T14" fmla="*/ 5 w 12"/>
                    <a:gd name="T15" fmla="*/ 131 h 131"/>
                    <a:gd name="T16" fmla="*/ 0 w 12"/>
                    <a:gd name="T17" fmla="*/ 131 h 131"/>
                    <a:gd name="T18" fmla="*/ 0 w 12"/>
                    <a:gd name="T19" fmla="*/ 108 h 131"/>
                    <a:gd name="T20" fmla="*/ 4 w 12"/>
                    <a:gd name="T21" fmla="*/ 10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131">
                      <a:moveTo>
                        <a:pt x="4" y="105"/>
                      </a:moveTo>
                      <a:cubicBezTo>
                        <a:pt x="7" y="105"/>
                        <a:pt x="7" y="105"/>
                        <a:pt x="7" y="105"/>
                      </a:cubicBezTo>
                      <a:cubicBezTo>
                        <a:pt x="7" y="0"/>
                        <a:pt x="7" y="0"/>
                        <a:pt x="7" y="0"/>
                      </a:cubicBezTo>
                      <a:cubicBezTo>
                        <a:pt x="12" y="0"/>
                        <a:pt x="12" y="0"/>
                        <a:pt x="12" y="0"/>
                      </a:cubicBezTo>
                      <a:cubicBezTo>
                        <a:pt x="12" y="105"/>
                        <a:pt x="12" y="105"/>
                        <a:pt x="12" y="105"/>
                      </a:cubicBezTo>
                      <a:cubicBezTo>
                        <a:pt x="8" y="105"/>
                        <a:pt x="8" y="105"/>
                        <a:pt x="8" y="105"/>
                      </a:cubicBezTo>
                      <a:cubicBezTo>
                        <a:pt x="6" y="105"/>
                        <a:pt x="5" y="106"/>
                        <a:pt x="5" y="108"/>
                      </a:cubicBezTo>
                      <a:cubicBezTo>
                        <a:pt x="5" y="131"/>
                        <a:pt x="5" y="131"/>
                        <a:pt x="5" y="131"/>
                      </a:cubicBezTo>
                      <a:cubicBezTo>
                        <a:pt x="0" y="131"/>
                        <a:pt x="0" y="131"/>
                        <a:pt x="0" y="131"/>
                      </a:cubicBezTo>
                      <a:cubicBezTo>
                        <a:pt x="0" y="108"/>
                        <a:pt x="0" y="108"/>
                        <a:pt x="0" y="108"/>
                      </a:cubicBezTo>
                      <a:cubicBezTo>
                        <a:pt x="0" y="106"/>
                        <a:pt x="2" y="105"/>
                        <a:pt x="4" y="105"/>
                      </a:cubicBezTo>
                      <a:close/>
                    </a:path>
                  </a:pathLst>
                </a:custGeom>
                <a:solidFill>
                  <a:srgbClr val="38A1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91">
                  <a:extLst>
                    <a:ext uri="{FF2B5EF4-FFF2-40B4-BE49-F238E27FC236}">
                      <a16:creationId xmlns:a16="http://schemas.microsoft.com/office/drawing/2014/main" id="{D6E6B819-B219-4745-A82D-6A2A250E140A}"/>
                    </a:ext>
                  </a:extLst>
                </p:cNvPr>
                <p:cNvSpPr>
                  <a:spLocks/>
                </p:cNvSpPr>
                <p:nvPr userDrawn="1"/>
              </p:nvSpPr>
              <p:spPr bwMode="auto">
                <a:xfrm>
                  <a:off x="6242" y="1115"/>
                  <a:ext cx="47" cy="46"/>
                </a:xfrm>
                <a:custGeom>
                  <a:avLst/>
                  <a:gdLst>
                    <a:gd name="T0" fmla="*/ 47 w 47"/>
                    <a:gd name="T1" fmla="*/ 30 h 46"/>
                    <a:gd name="T2" fmla="*/ 31 w 47"/>
                    <a:gd name="T3" fmla="*/ 46 h 46"/>
                    <a:gd name="T4" fmla="*/ 0 w 47"/>
                    <a:gd name="T5" fmla="*/ 16 h 46"/>
                    <a:gd name="T6" fmla="*/ 17 w 47"/>
                    <a:gd name="T7" fmla="*/ 0 h 46"/>
                    <a:gd name="T8" fmla="*/ 47 w 47"/>
                    <a:gd name="T9" fmla="*/ 30 h 46"/>
                  </a:gdLst>
                  <a:ahLst/>
                  <a:cxnLst>
                    <a:cxn ang="0">
                      <a:pos x="T0" y="T1"/>
                    </a:cxn>
                    <a:cxn ang="0">
                      <a:pos x="T2" y="T3"/>
                    </a:cxn>
                    <a:cxn ang="0">
                      <a:pos x="T4" y="T5"/>
                    </a:cxn>
                    <a:cxn ang="0">
                      <a:pos x="T6" y="T7"/>
                    </a:cxn>
                    <a:cxn ang="0">
                      <a:pos x="T8" y="T9"/>
                    </a:cxn>
                  </a:cxnLst>
                  <a:rect l="0" t="0" r="r" b="b"/>
                  <a:pathLst>
                    <a:path w="47" h="46">
                      <a:moveTo>
                        <a:pt x="47" y="30"/>
                      </a:moveTo>
                      <a:lnTo>
                        <a:pt x="31" y="46"/>
                      </a:lnTo>
                      <a:lnTo>
                        <a:pt x="0" y="16"/>
                      </a:lnTo>
                      <a:lnTo>
                        <a:pt x="17" y="0"/>
                      </a:lnTo>
                      <a:lnTo>
                        <a:pt x="47" y="30"/>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92">
                  <a:extLst>
                    <a:ext uri="{FF2B5EF4-FFF2-40B4-BE49-F238E27FC236}">
                      <a16:creationId xmlns:a16="http://schemas.microsoft.com/office/drawing/2014/main" id="{88A73BD7-1E32-4B51-9601-991FAC3518A1}"/>
                    </a:ext>
                  </a:extLst>
                </p:cNvPr>
                <p:cNvSpPr>
                  <a:spLocks/>
                </p:cNvSpPr>
                <p:nvPr userDrawn="1"/>
              </p:nvSpPr>
              <p:spPr bwMode="auto">
                <a:xfrm>
                  <a:off x="6166" y="1039"/>
                  <a:ext cx="89" cy="88"/>
                </a:xfrm>
                <a:custGeom>
                  <a:avLst/>
                  <a:gdLst>
                    <a:gd name="T0" fmla="*/ 191 w 195"/>
                    <a:gd name="T1" fmla="*/ 171 h 195"/>
                    <a:gd name="T2" fmla="*/ 191 w 195"/>
                    <a:gd name="T3" fmla="*/ 185 h 195"/>
                    <a:gd name="T4" fmla="*/ 185 w 195"/>
                    <a:gd name="T5" fmla="*/ 191 h 195"/>
                    <a:gd name="T6" fmla="*/ 170 w 195"/>
                    <a:gd name="T7" fmla="*/ 191 h 195"/>
                    <a:gd name="T8" fmla="*/ 4 w 195"/>
                    <a:gd name="T9" fmla="*/ 25 h 195"/>
                    <a:gd name="T10" fmla="*/ 4 w 195"/>
                    <a:gd name="T11" fmla="*/ 10 h 195"/>
                    <a:gd name="T12" fmla="*/ 10 w 195"/>
                    <a:gd name="T13" fmla="*/ 4 h 195"/>
                    <a:gd name="T14" fmla="*/ 24 w 195"/>
                    <a:gd name="T15" fmla="*/ 4 h 195"/>
                    <a:gd name="T16" fmla="*/ 191 w 195"/>
                    <a:gd name="T17" fmla="*/ 17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195">
                      <a:moveTo>
                        <a:pt x="191" y="171"/>
                      </a:moveTo>
                      <a:cubicBezTo>
                        <a:pt x="195" y="174"/>
                        <a:pt x="195" y="181"/>
                        <a:pt x="191" y="185"/>
                      </a:cubicBezTo>
                      <a:cubicBezTo>
                        <a:pt x="185" y="191"/>
                        <a:pt x="185" y="191"/>
                        <a:pt x="185" y="191"/>
                      </a:cubicBezTo>
                      <a:cubicBezTo>
                        <a:pt x="181" y="195"/>
                        <a:pt x="174" y="195"/>
                        <a:pt x="170" y="191"/>
                      </a:cubicBezTo>
                      <a:cubicBezTo>
                        <a:pt x="4" y="25"/>
                        <a:pt x="4" y="25"/>
                        <a:pt x="4" y="25"/>
                      </a:cubicBezTo>
                      <a:cubicBezTo>
                        <a:pt x="0" y="21"/>
                        <a:pt x="0" y="14"/>
                        <a:pt x="4" y="10"/>
                      </a:cubicBezTo>
                      <a:cubicBezTo>
                        <a:pt x="10" y="4"/>
                        <a:pt x="10" y="4"/>
                        <a:pt x="10" y="4"/>
                      </a:cubicBezTo>
                      <a:cubicBezTo>
                        <a:pt x="14" y="0"/>
                        <a:pt x="21" y="0"/>
                        <a:pt x="24" y="4"/>
                      </a:cubicBezTo>
                      <a:lnTo>
                        <a:pt x="191" y="171"/>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93">
                  <a:extLst>
                    <a:ext uri="{FF2B5EF4-FFF2-40B4-BE49-F238E27FC236}">
                      <a16:creationId xmlns:a16="http://schemas.microsoft.com/office/drawing/2014/main" id="{19B23D7D-2813-4DB3-8E57-076681AB29B8}"/>
                    </a:ext>
                  </a:extLst>
                </p:cNvPr>
                <p:cNvSpPr>
                  <a:spLocks/>
                </p:cNvSpPr>
                <p:nvPr userDrawn="1"/>
              </p:nvSpPr>
              <p:spPr bwMode="auto">
                <a:xfrm>
                  <a:off x="6265" y="1137"/>
                  <a:ext cx="151" cy="150"/>
                </a:xfrm>
                <a:custGeom>
                  <a:avLst/>
                  <a:gdLst>
                    <a:gd name="T0" fmla="*/ 151 w 151"/>
                    <a:gd name="T1" fmla="*/ 128 h 150"/>
                    <a:gd name="T2" fmla="*/ 128 w 151"/>
                    <a:gd name="T3" fmla="*/ 150 h 150"/>
                    <a:gd name="T4" fmla="*/ 0 w 151"/>
                    <a:gd name="T5" fmla="*/ 23 h 150"/>
                    <a:gd name="T6" fmla="*/ 22 w 151"/>
                    <a:gd name="T7" fmla="*/ 0 h 150"/>
                    <a:gd name="T8" fmla="*/ 151 w 151"/>
                    <a:gd name="T9" fmla="*/ 128 h 150"/>
                  </a:gdLst>
                  <a:ahLst/>
                  <a:cxnLst>
                    <a:cxn ang="0">
                      <a:pos x="T0" y="T1"/>
                    </a:cxn>
                    <a:cxn ang="0">
                      <a:pos x="T2" y="T3"/>
                    </a:cxn>
                    <a:cxn ang="0">
                      <a:pos x="T4" y="T5"/>
                    </a:cxn>
                    <a:cxn ang="0">
                      <a:pos x="T6" y="T7"/>
                    </a:cxn>
                    <a:cxn ang="0">
                      <a:pos x="T8" y="T9"/>
                    </a:cxn>
                  </a:cxnLst>
                  <a:rect l="0" t="0" r="r" b="b"/>
                  <a:pathLst>
                    <a:path w="151" h="150">
                      <a:moveTo>
                        <a:pt x="151" y="128"/>
                      </a:moveTo>
                      <a:lnTo>
                        <a:pt x="128" y="150"/>
                      </a:lnTo>
                      <a:lnTo>
                        <a:pt x="0" y="23"/>
                      </a:lnTo>
                      <a:lnTo>
                        <a:pt x="22" y="0"/>
                      </a:lnTo>
                      <a:lnTo>
                        <a:pt x="151" y="1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Line 94">
                  <a:extLst>
                    <a:ext uri="{FF2B5EF4-FFF2-40B4-BE49-F238E27FC236}">
                      <a16:creationId xmlns:a16="http://schemas.microsoft.com/office/drawing/2014/main" id="{4FCD27CF-786C-413D-B0EA-58AB992ECEDA}"/>
                    </a:ext>
                  </a:extLst>
                </p:cNvPr>
                <p:cNvSpPr>
                  <a:spLocks noChangeShapeType="1"/>
                </p:cNvSpPr>
                <p:nvPr userDrawn="1"/>
              </p:nvSpPr>
              <p:spPr bwMode="auto">
                <a:xfrm flipV="1">
                  <a:off x="6242" y="1115"/>
                  <a:ext cx="17" cy="16"/>
                </a:xfrm>
                <a:prstGeom prst="line">
                  <a:avLst/>
                </a:prstGeom>
                <a:noFill/>
                <a:ln w="14288"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38" name="Line 95">
                  <a:extLst>
                    <a:ext uri="{FF2B5EF4-FFF2-40B4-BE49-F238E27FC236}">
                      <a16:creationId xmlns:a16="http://schemas.microsoft.com/office/drawing/2014/main" id="{B11EDC3C-8877-4DFD-9D26-6A53D14E107A}"/>
                    </a:ext>
                  </a:extLst>
                </p:cNvPr>
                <p:cNvSpPr>
                  <a:spLocks noChangeShapeType="1"/>
                </p:cNvSpPr>
                <p:nvPr userDrawn="1"/>
              </p:nvSpPr>
              <p:spPr bwMode="auto">
                <a:xfrm flipV="1">
                  <a:off x="6191" y="1063"/>
                  <a:ext cx="10" cy="11"/>
                </a:xfrm>
                <a:prstGeom prst="line">
                  <a:avLst/>
                </a:prstGeom>
                <a:noFill/>
                <a:ln w="14288"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96">
                  <a:extLst>
                    <a:ext uri="{FF2B5EF4-FFF2-40B4-BE49-F238E27FC236}">
                      <a16:creationId xmlns:a16="http://schemas.microsoft.com/office/drawing/2014/main" id="{8A167BFA-CF71-42A0-977B-E6011032D49C}"/>
                    </a:ext>
                  </a:extLst>
                </p:cNvPr>
                <p:cNvSpPr>
                  <a:spLocks/>
                </p:cNvSpPr>
                <p:nvPr userDrawn="1"/>
              </p:nvSpPr>
              <p:spPr bwMode="auto">
                <a:xfrm>
                  <a:off x="6281" y="1139"/>
                  <a:ext cx="135" cy="127"/>
                </a:xfrm>
                <a:custGeom>
                  <a:avLst/>
                  <a:gdLst>
                    <a:gd name="T0" fmla="*/ 135 w 135"/>
                    <a:gd name="T1" fmla="*/ 126 h 127"/>
                    <a:gd name="T2" fmla="*/ 133 w 135"/>
                    <a:gd name="T3" fmla="*/ 127 h 127"/>
                    <a:gd name="T4" fmla="*/ 0 w 135"/>
                    <a:gd name="T5" fmla="*/ 8 h 127"/>
                    <a:gd name="T6" fmla="*/ 8 w 135"/>
                    <a:gd name="T7" fmla="*/ 0 h 127"/>
                    <a:gd name="T8" fmla="*/ 135 w 135"/>
                    <a:gd name="T9" fmla="*/ 126 h 127"/>
                  </a:gdLst>
                  <a:ahLst/>
                  <a:cxnLst>
                    <a:cxn ang="0">
                      <a:pos x="T0" y="T1"/>
                    </a:cxn>
                    <a:cxn ang="0">
                      <a:pos x="T2" y="T3"/>
                    </a:cxn>
                    <a:cxn ang="0">
                      <a:pos x="T4" y="T5"/>
                    </a:cxn>
                    <a:cxn ang="0">
                      <a:pos x="T6" y="T7"/>
                    </a:cxn>
                    <a:cxn ang="0">
                      <a:pos x="T8" y="T9"/>
                    </a:cxn>
                  </a:cxnLst>
                  <a:rect l="0" t="0" r="r" b="b"/>
                  <a:pathLst>
                    <a:path w="135" h="127">
                      <a:moveTo>
                        <a:pt x="135" y="126"/>
                      </a:moveTo>
                      <a:lnTo>
                        <a:pt x="133" y="127"/>
                      </a:lnTo>
                      <a:lnTo>
                        <a:pt x="0" y="8"/>
                      </a:lnTo>
                      <a:lnTo>
                        <a:pt x="8" y="0"/>
                      </a:lnTo>
                      <a:lnTo>
                        <a:pt x="135" y="126"/>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97">
                  <a:extLst>
                    <a:ext uri="{FF2B5EF4-FFF2-40B4-BE49-F238E27FC236}">
                      <a16:creationId xmlns:a16="http://schemas.microsoft.com/office/drawing/2014/main" id="{A0D3FA31-71A9-4F04-8225-E9D37A4E580D}"/>
                    </a:ext>
                  </a:extLst>
                </p:cNvPr>
                <p:cNvSpPr>
                  <a:spLocks/>
                </p:cNvSpPr>
                <p:nvPr userDrawn="1"/>
              </p:nvSpPr>
              <p:spPr bwMode="auto">
                <a:xfrm>
                  <a:off x="6266" y="1153"/>
                  <a:ext cx="129" cy="134"/>
                </a:xfrm>
                <a:custGeom>
                  <a:avLst/>
                  <a:gdLst>
                    <a:gd name="T0" fmla="*/ 127 w 129"/>
                    <a:gd name="T1" fmla="*/ 134 h 134"/>
                    <a:gd name="T2" fmla="*/ 129 w 129"/>
                    <a:gd name="T3" fmla="*/ 132 h 134"/>
                    <a:gd name="T4" fmla="*/ 9 w 129"/>
                    <a:gd name="T5" fmla="*/ 0 h 134"/>
                    <a:gd name="T6" fmla="*/ 0 w 129"/>
                    <a:gd name="T7" fmla="*/ 8 h 134"/>
                    <a:gd name="T8" fmla="*/ 127 w 129"/>
                    <a:gd name="T9" fmla="*/ 134 h 134"/>
                  </a:gdLst>
                  <a:ahLst/>
                  <a:cxnLst>
                    <a:cxn ang="0">
                      <a:pos x="T0" y="T1"/>
                    </a:cxn>
                    <a:cxn ang="0">
                      <a:pos x="T2" y="T3"/>
                    </a:cxn>
                    <a:cxn ang="0">
                      <a:pos x="T4" y="T5"/>
                    </a:cxn>
                    <a:cxn ang="0">
                      <a:pos x="T6" y="T7"/>
                    </a:cxn>
                    <a:cxn ang="0">
                      <a:pos x="T8" y="T9"/>
                    </a:cxn>
                  </a:cxnLst>
                  <a:rect l="0" t="0" r="r" b="b"/>
                  <a:pathLst>
                    <a:path w="129" h="134">
                      <a:moveTo>
                        <a:pt x="127" y="134"/>
                      </a:moveTo>
                      <a:lnTo>
                        <a:pt x="129" y="132"/>
                      </a:lnTo>
                      <a:lnTo>
                        <a:pt x="9" y="0"/>
                      </a:lnTo>
                      <a:lnTo>
                        <a:pt x="0" y="8"/>
                      </a:lnTo>
                      <a:lnTo>
                        <a:pt x="127" y="13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Freeform 98">
                  <a:extLst>
                    <a:ext uri="{FF2B5EF4-FFF2-40B4-BE49-F238E27FC236}">
                      <a16:creationId xmlns:a16="http://schemas.microsoft.com/office/drawing/2014/main" id="{6CD5718C-FCD9-4EEE-9EE3-C7CE964F29E0}"/>
                    </a:ext>
                  </a:extLst>
                </p:cNvPr>
                <p:cNvSpPr>
                  <a:spLocks/>
                </p:cNvSpPr>
                <p:nvPr userDrawn="1"/>
              </p:nvSpPr>
              <p:spPr bwMode="auto">
                <a:xfrm>
                  <a:off x="6294" y="1264"/>
                  <a:ext cx="127" cy="19"/>
                </a:xfrm>
                <a:custGeom>
                  <a:avLst/>
                  <a:gdLst>
                    <a:gd name="T0" fmla="*/ 280 w 280"/>
                    <a:gd name="T1" fmla="*/ 17 h 41"/>
                    <a:gd name="T2" fmla="*/ 263 w 280"/>
                    <a:gd name="T3" fmla="*/ 0 h 41"/>
                    <a:gd name="T4" fmla="*/ 16 w 280"/>
                    <a:gd name="T5" fmla="*/ 0 h 41"/>
                    <a:gd name="T6" fmla="*/ 0 w 280"/>
                    <a:gd name="T7" fmla="*/ 17 h 41"/>
                    <a:gd name="T8" fmla="*/ 0 w 280"/>
                    <a:gd name="T9" fmla="*/ 24 h 41"/>
                    <a:gd name="T10" fmla="*/ 16 w 280"/>
                    <a:gd name="T11" fmla="*/ 41 h 41"/>
                    <a:gd name="T12" fmla="*/ 263 w 280"/>
                    <a:gd name="T13" fmla="*/ 41 h 41"/>
                    <a:gd name="T14" fmla="*/ 280 w 280"/>
                    <a:gd name="T15" fmla="*/ 24 h 41"/>
                    <a:gd name="T16" fmla="*/ 280 w 280"/>
                    <a:gd name="T17" fmla="*/ 1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0" h="41">
                      <a:moveTo>
                        <a:pt x="280" y="17"/>
                      </a:moveTo>
                      <a:cubicBezTo>
                        <a:pt x="280" y="8"/>
                        <a:pt x="272" y="0"/>
                        <a:pt x="263" y="0"/>
                      </a:cubicBezTo>
                      <a:cubicBezTo>
                        <a:pt x="16" y="0"/>
                        <a:pt x="16" y="0"/>
                        <a:pt x="16" y="0"/>
                      </a:cubicBezTo>
                      <a:cubicBezTo>
                        <a:pt x="7" y="0"/>
                        <a:pt x="0" y="8"/>
                        <a:pt x="0" y="17"/>
                      </a:cubicBezTo>
                      <a:cubicBezTo>
                        <a:pt x="0" y="24"/>
                        <a:pt x="0" y="24"/>
                        <a:pt x="0" y="24"/>
                      </a:cubicBezTo>
                      <a:cubicBezTo>
                        <a:pt x="0" y="33"/>
                        <a:pt x="7" y="41"/>
                        <a:pt x="16" y="41"/>
                      </a:cubicBezTo>
                      <a:cubicBezTo>
                        <a:pt x="263" y="41"/>
                        <a:pt x="263" y="41"/>
                        <a:pt x="263" y="41"/>
                      </a:cubicBezTo>
                      <a:cubicBezTo>
                        <a:pt x="272" y="41"/>
                        <a:pt x="280" y="33"/>
                        <a:pt x="280" y="24"/>
                      </a:cubicBezTo>
                      <a:lnTo>
                        <a:pt x="280" y="17"/>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2" name="Oval 99">
                  <a:extLst>
                    <a:ext uri="{FF2B5EF4-FFF2-40B4-BE49-F238E27FC236}">
                      <a16:creationId xmlns:a16="http://schemas.microsoft.com/office/drawing/2014/main" id="{CBF33669-C732-4305-90FC-B00DE2D10C91}"/>
                    </a:ext>
                  </a:extLst>
                </p:cNvPr>
                <p:cNvSpPr>
                  <a:spLocks noChangeArrowheads="1"/>
                </p:cNvSpPr>
                <p:nvPr userDrawn="1"/>
              </p:nvSpPr>
              <p:spPr bwMode="auto">
                <a:xfrm>
                  <a:off x="6235" y="1288"/>
                  <a:ext cx="37" cy="3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3" name="Oval 100">
                  <a:extLst>
                    <a:ext uri="{FF2B5EF4-FFF2-40B4-BE49-F238E27FC236}">
                      <a16:creationId xmlns:a16="http://schemas.microsoft.com/office/drawing/2014/main" id="{F0FB1127-119D-408F-AC70-98FFC9869B7F}"/>
                    </a:ext>
                  </a:extLst>
                </p:cNvPr>
                <p:cNvSpPr>
                  <a:spLocks noChangeArrowheads="1"/>
                </p:cNvSpPr>
                <p:nvPr userDrawn="1"/>
              </p:nvSpPr>
              <p:spPr bwMode="auto">
                <a:xfrm>
                  <a:off x="6309" y="1288"/>
                  <a:ext cx="36" cy="3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4" name="Oval 101">
                  <a:extLst>
                    <a:ext uri="{FF2B5EF4-FFF2-40B4-BE49-F238E27FC236}">
                      <a16:creationId xmlns:a16="http://schemas.microsoft.com/office/drawing/2014/main" id="{A3789E18-7EEE-4921-9718-E3111D872CFC}"/>
                    </a:ext>
                  </a:extLst>
                </p:cNvPr>
                <p:cNvSpPr>
                  <a:spLocks noChangeArrowheads="1"/>
                </p:cNvSpPr>
                <p:nvPr userDrawn="1"/>
              </p:nvSpPr>
              <p:spPr bwMode="auto">
                <a:xfrm>
                  <a:off x="6364" y="1288"/>
                  <a:ext cx="37" cy="3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5" name="Freeform 102">
                  <a:extLst>
                    <a:ext uri="{FF2B5EF4-FFF2-40B4-BE49-F238E27FC236}">
                      <a16:creationId xmlns:a16="http://schemas.microsoft.com/office/drawing/2014/main" id="{CFF27981-F1C0-4141-B3F8-2B18F53E845E}"/>
                    </a:ext>
                  </a:extLst>
                </p:cNvPr>
                <p:cNvSpPr>
                  <a:spLocks/>
                </p:cNvSpPr>
                <p:nvPr userDrawn="1"/>
              </p:nvSpPr>
              <p:spPr bwMode="auto">
                <a:xfrm>
                  <a:off x="6209" y="1229"/>
                  <a:ext cx="66" cy="77"/>
                </a:xfrm>
                <a:custGeom>
                  <a:avLst/>
                  <a:gdLst>
                    <a:gd name="T0" fmla="*/ 143 w 143"/>
                    <a:gd name="T1" fmla="*/ 0 h 171"/>
                    <a:gd name="T2" fmla="*/ 38 w 143"/>
                    <a:gd name="T3" fmla="*/ 0 h 171"/>
                    <a:gd name="T4" fmla="*/ 9 w 143"/>
                    <a:gd name="T5" fmla="*/ 171 h 171"/>
                    <a:gd name="T6" fmla="*/ 114 w 143"/>
                    <a:gd name="T7" fmla="*/ 171 h 171"/>
                    <a:gd name="T8" fmla="*/ 143 w 143"/>
                    <a:gd name="T9" fmla="*/ 0 h 171"/>
                  </a:gdLst>
                  <a:ahLst/>
                  <a:cxnLst>
                    <a:cxn ang="0">
                      <a:pos x="T0" y="T1"/>
                    </a:cxn>
                    <a:cxn ang="0">
                      <a:pos x="T2" y="T3"/>
                    </a:cxn>
                    <a:cxn ang="0">
                      <a:pos x="T4" y="T5"/>
                    </a:cxn>
                    <a:cxn ang="0">
                      <a:pos x="T6" y="T7"/>
                    </a:cxn>
                    <a:cxn ang="0">
                      <a:pos x="T8" y="T9"/>
                    </a:cxn>
                  </a:cxnLst>
                  <a:rect l="0" t="0" r="r" b="b"/>
                  <a:pathLst>
                    <a:path w="143" h="171">
                      <a:moveTo>
                        <a:pt x="143" y="0"/>
                      </a:moveTo>
                      <a:cubicBezTo>
                        <a:pt x="112" y="0"/>
                        <a:pt x="56" y="0"/>
                        <a:pt x="38" y="0"/>
                      </a:cubicBezTo>
                      <a:cubicBezTo>
                        <a:pt x="0" y="44"/>
                        <a:pt x="9" y="171"/>
                        <a:pt x="9" y="171"/>
                      </a:cubicBezTo>
                      <a:cubicBezTo>
                        <a:pt x="114" y="171"/>
                        <a:pt x="114" y="171"/>
                        <a:pt x="114" y="171"/>
                      </a:cubicBezTo>
                      <a:cubicBezTo>
                        <a:pt x="114" y="171"/>
                        <a:pt x="105" y="44"/>
                        <a:pt x="143"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6" name="Freeform 103">
                  <a:extLst>
                    <a:ext uri="{FF2B5EF4-FFF2-40B4-BE49-F238E27FC236}">
                      <a16:creationId xmlns:a16="http://schemas.microsoft.com/office/drawing/2014/main" id="{18BABFF7-7DB4-4C83-8B87-E6212E8C5F36}"/>
                    </a:ext>
                  </a:extLst>
                </p:cNvPr>
                <p:cNvSpPr>
                  <a:spLocks/>
                </p:cNvSpPr>
                <p:nvPr userDrawn="1"/>
              </p:nvSpPr>
              <p:spPr bwMode="auto">
                <a:xfrm>
                  <a:off x="6274" y="1283"/>
                  <a:ext cx="0"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1" y="0"/>
                        <a:pt x="1" y="0"/>
                        <a:pt x="1" y="0"/>
                      </a:cubicBezTo>
                      <a:cubicBezTo>
                        <a:pt x="0" y="0"/>
                        <a:pt x="0" y="0"/>
                        <a:pt x="0" y="0"/>
                      </a:cubicBezTo>
                      <a:close/>
                    </a:path>
                  </a:pathLst>
                </a:custGeom>
                <a:solidFill>
                  <a:srgbClr val="38A1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7" name="Freeform 104">
                  <a:extLst>
                    <a:ext uri="{FF2B5EF4-FFF2-40B4-BE49-F238E27FC236}">
                      <a16:creationId xmlns:a16="http://schemas.microsoft.com/office/drawing/2014/main" id="{F4A4686F-9A33-4D75-88F0-D09C5A2FA740}"/>
                    </a:ext>
                  </a:extLst>
                </p:cNvPr>
                <p:cNvSpPr>
                  <a:spLocks/>
                </p:cNvSpPr>
                <p:nvPr userDrawn="1"/>
              </p:nvSpPr>
              <p:spPr bwMode="auto">
                <a:xfrm>
                  <a:off x="6209" y="1229"/>
                  <a:ext cx="25" cy="77"/>
                </a:xfrm>
                <a:custGeom>
                  <a:avLst/>
                  <a:gdLst>
                    <a:gd name="T0" fmla="*/ 54 w 54"/>
                    <a:gd name="T1" fmla="*/ 0 h 171"/>
                    <a:gd name="T2" fmla="*/ 39 w 54"/>
                    <a:gd name="T3" fmla="*/ 0 h 171"/>
                    <a:gd name="T4" fmla="*/ 10 w 54"/>
                    <a:gd name="T5" fmla="*/ 171 h 171"/>
                    <a:gd name="T6" fmla="*/ 25 w 54"/>
                    <a:gd name="T7" fmla="*/ 171 h 171"/>
                    <a:gd name="T8" fmla="*/ 54 w 54"/>
                    <a:gd name="T9" fmla="*/ 0 h 171"/>
                  </a:gdLst>
                  <a:ahLst/>
                  <a:cxnLst>
                    <a:cxn ang="0">
                      <a:pos x="T0" y="T1"/>
                    </a:cxn>
                    <a:cxn ang="0">
                      <a:pos x="T2" y="T3"/>
                    </a:cxn>
                    <a:cxn ang="0">
                      <a:pos x="T4" y="T5"/>
                    </a:cxn>
                    <a:cxn ang="0">
                      <a:pos x="T6" y="T7"/>
                    </a:cxn>
                    <a:cxn ang="0">
                      <a:pos x="T8" y="T9"/>
                    </a:cxn>
                  </a:cxnLst>
                  <a:rect l="0" t="0" r="r" b="b"/>
                  <a:pathLst>
                    <a:path w="54" h="171">
                      <a:moveTo>
                        <a:pt x="54" y="0"/>
                      </a:moveTo>
                      <a:cubicBezTo>
                        <a:pt x="48" y="0"/>
                        <a:pt x="43" y="0"/>
                        <a:pt x="39" y="0"/>
                      </a:cubicBezTo>
                      <a:cubicBezTo>
                        <a:pt x="0" y="44"/>
                        <a:pt x="10" y="171"/>
                        <a:pt x="10" y="171"/>
                      </a:cubicBezTo>
                      <a:cubicBezTo>
                        <a:pt x="25" y="171"/>
                        <a:pt x="25" y="171"/>
                        <a:pt x="25" y="171"/>
                      </a:cubicBezTo>
                      <a:cubicBezTo>
                        <a:pt x="25" y="171"/>
                        <a:pt x="16" y="44"/>
                        <a:pt x="54" y="0"/>
                      </a:cubicBezTo>
                      <a:close/>
                    </a:path>
                  </a:pathLst>
                </a:custGeom>
                <a:solidFill>
                  <a:srgbClr val="38A1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8" name="Freeform 105">
                  <a:extLst>
                    <a:ext uri="{FF2B5EF4-FFF2-40B4-BE49-F238E27FC236}">
                      <a16:creationId xmlns:a16="http://schemas.microsoft.com/office/drawing/2014/main" id="{67B0E895-53AA-4087-AF6F-24E4465FC07D}"/>
                    </a:ext>
                  </a:extLst>
                </p:cNvPr>
                <p:cNvSpPr>
                  <a:spLocks/>
                </p:cNvSpPr>
                <p:nvPr userDrawn="1"/>
              </p:nvSpPr>
              <p:spPr bwMode="auto">
                <a:xfrm>
                  <a:off x="6251" y="1229"/>
                  <a:ext cx="174" cy="77"/>
                </a:xfrm>
                <a:custGeom>
                  <a:avLst/>
                  <a:gdLst>
                    <a:gd name="T0" fmla="*/ 373 w 382"/>
                    <a:gd name="T1" fmla="*/ 120 h 171"/>
                    <a:gd name="T2" fmla="*/ 127 w 382"/>
                    <a:gd name="T3" fmla="*/ 120 h 171"/>
                    <a:gd name="T4" fmla="*/ 126 w 382"/>
                    <a:gd name="T5" fmla="*/ 120 h 171"/>
                    <a:gd name="T6" fmla="*/ 126 w 382"/>
                    <a:gd name="T7" fmla="*/ 0 h 171"/>
                    <a:gd name="T8" fmla="*/ 38 w 382"/>
                    <a:gd name="T9" fmla="*/ 0 h 171"/>
                    <a:gd name="T10" fmla="*/ 9 w 382"/>
                    <a:gd name="T11" fmla="*/ 171 h 171"/>
                    <a:gd name="T12" fmla="*/ 373 w 382"/>
                    <a:gd name="T13" fmla="*/ 171 h 171"/>
                    <a:gd name="T14" fmla="*/ 382 w 382"/>
                    <a:gd name="T15" fmla="*/ 163 h 171"/>
                    <a:gd name="T16" fmla="*/ 382 w 382"/>
                    <a:gd name="T17" fmla="*/ 128 h 171"/>
                    <a:gd name="T18" fmla="*/ 373 w 382"/>
                    <a:gd name="T19" fmla="*/ 12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2" h="171">
                      <a:moveTo>
                        <a:pt x="373" y="120"/>
                      </a:moveTo>
                      <a:cubicBezTo>
                        <a:pt x="127" y="120"/>
                        <a:pt x="127" y="120"/>
                        <a:pt x="127" y="120"/>
                      </a:cubicBezTo>
                      <a:cubicBezTo>
                        <a:pt x="127" y="120"/>
                        <a:pt x="127" y="120"/>
                        <a:pt x="126" y="120"/>
                      </a:cubicBezTo>
                      <a:cubicBezTo>
                        <a:pt x="126" y="0"/>
                        <a:pt x="126" y="0"/>
                        <a:pt x="126" y="0"/>
                      </a:cubicBezTo>
                      <a:cubicBezTo>
                        <a:pt x="126" y="0"/>
                        <a:pt x="69" y="0"/>
                        <a:pt x="38" y="0"/>
                      </a:cubicBezTo>
                      <a:cubicBezTo>
                        <a:pt x="0" y="44"/>
                        <a:pt x="9" y="171"/>
                        <a:pt x="9" y="171"/>
                      </a:cubicBezTo>
                      <a:cubicBezTo>
                        <a:pt x="373" y="171"/>
                        <a:pt x="373" y="171"/>
                        <a:pt x="373" y="171"/>
                      </a:cubicBezTo>
                      <a:cubicBezTo>
                        <a:pt x="378" y="171"/>
                        <a:pt x="382" y="168"/>
                        <a:pt x="382" y="163"/>
                      </a:cubicBezTo>
                      <a:cubicBezTo>
                        <a:pt x="382" y="128"/>
                        <a:pt x="382" y="128"/>
                        <a:pt x="382" y="128"/>
                      </a:cubicBezTo>
                      <a:cubicBezTo>
                        <a:pt x="382" y="124"/>
                        <a:pt x="378" y="120"/>
                        <a:pt x="373" y="12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9" name="Freeform 106">
                  <a:extLst>
                    <a:ext uri="{FF2B5EF4-FFF2-40B4-BE49-F238E27FC236}">
                      <a16:creationId xmlns:a16="http://schemas.microsoft.com/office/drawing/2014/main" id="{BF97D152-F0ED-4407-BC2A-065F1304D863}"/>
                    </a:ext>
                  </a:extLst>
                </p:cNvPr>
                <p:cNvSpPr>
                  <a:spLocks/>
                </p:cNvSpPr>
                <p:nvPr userDrawn="1"/>
              </p:nvSpPr>
              <p:spPr bwMode="auto">
                <a:xfrm>
                  <a:off x="6251" y="1229"/>
                  <a:ext cx="57" cy="77"/>
                </a:xfrm>
                <a:custGeom>
                  <a:avLst/>
                  <a:gdLst>
                    <a:gd name="T0" fmla="*/ 47 w 126"/>
                    <a:gd name="T1" fmla="*/ 8 h 171"/>
                    <a:gd name="T2" fmla="*/ 126 w 126"/>
                    <a:gd name="T3" fmla="*/ 8 h 171"/>
                    <a:gd name="T4" fmla="*/ 126 w 126"/>
                    <a:gd name="T5" fmla="*/ 0 h 171"/>
                    <a:gd name="T6" fmla="*/ 38 w 126"/>
                    <a:gd name="T7" fmla="*/ 0 h 171"/>
                    <a:gd name="T8" fmla="*/ 9 w 126"/>
                    <a:gd name="T9" fmla="*/ 171 h 171"/>
                    <a:gd name="T10" fmla="*/ 17 w 126"/>
                    <a:gd name="T11" fmla="*/ 171 h 171"/>
                    <a:gd name="T12" fmla="*/ 47 w 126"/>
                    <a:gd name="T13" fmla="*/ 8 h 171"/>
                  </a:gdLst>
                  <a:ahLst/>
                  <a:cxnLst>
                    <a:cxn ang="0">
                      <a:pos x="T0" y="T1"/>
                    </a:cxn>
                    <a:cxn ang="0">
                      <a:pos x="T2" y="T3"/>
                    </a:cxn>
                    <a:cxn ang="0">
                      <a:pos x="T4" y="T5"/>
                    </a:cxn>
                    <a:cxn ang="0">
                      <a:pos x="T6" y="T7"/>
                    </a:cxn>
                    <a:cxn ang="0">
                      <a:pos x="T8" y="T9"/>
                    </a:cxn>
                    <a:cxn ang="0">
                      <a:pos x="T10" y="T11"/>
                    </a:cxn>
                    <a:cxn ang="0">
                      <a:pos x="T12" y="T13"/>
                    </a:cxn>
                  </a:cxnLst>
                  <a:rect l="0" t="0" r="r" b="b"/>
                  <a:pathLst>
                    <a:path w="126" h="171">
                      <a:moveTo>
                        <a:pt x="47" y="8"/>
                      </a:moveTo>
                      <a:cubicBezTo>
                        <a:pt x="71" y="8"/>
                        <a:pt x="109" y="8"/>
                        <a:pt x="126" y="8"/>
                      </a:cubicBezTo>
                      <a:cubicBezTo>
                        <a:pt x="126" y="0"/>
                        <a:pt x="126" y="0"/>
                        <a:pt x="126" y="0"/>
                      </a:cubicBezTo>
                      <a:cubicBezTo>
                        <a:pt x="126" y="0"/>
                        <a:pt x="69" y="0"/>
                        <a:pt x="38" y="0"/>
                      </a:cubicBezTo>
                      <a:cubicBezTo>
                        <a:pt x="0" y="44"/>
                        <a:pt x="9" y="171"/>
                        <a:pt x="9" y="171"/>
                      </a:cubicBezTo>
                      <a:cubicBezTo>
                        <a:pt x="17" y="171"/>
                        <a:pt x="17" y="171"/>
                        <a:pt x="17" y="171"/>
                      </a:cubicBezTo>
                      <a:cubicBezTo>
                        <a:pt x="16" y="142"/>
                        <a:pt x="14" y="46"/>
                        <a:pt x="47" y="8"/>
                      </a:cubicBezTo>
                      <a:close/>
                    </a:path>
                  </a:pathLst>
                </a:custGeom>
                <a:solidFill>
                  <a:srgbClr val="38A1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0" name="Freeform 107">
                  <a:extLst>
                    <a:ext uri="{FF2B5EF4-FFF2-40B4-BE49-F238E27FC236}">
                      <a16:creationId xmlns:a16="http://schemas.microsoft.com/office/drawing/2014/main" id="{4BCEEA36-1490-45CF-81AA-660D43F22C58}"/>
                    </a:ext>
                  </a:extLst>
                </p:cNvPr>
                <p:cNvSpPr>
                  <a:spLocks/>
                </p:cNvSpPr>
                <p:nvPr userDrawn="1"/>
              </p:nvSpPr>
              <p:spPr bwMode="auto">
                <a:xfrm>
                  <a:off x="6255" y="130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1" name="Freeform 108">
                  <a:extLst>
                    <a:ext uri="{FF2B5EF4-FFF2-40B4-BE49-F238E27FC236}">
                      <a16:creationId xmlns:a16="http://schemas.microsoft.com/office/drawing/2014/main" id="{C6D7E401-E59F-4537-B11E-3A3CB956BB2B}"/>
                    </a:ext>
                  </a:extLst>
                </p:cNvPr>
                <p:cNvSpPr>
                  <a:spLocks/>
                </p:cNvSpPr>
                <p:nvPr userDrawn="1"/>
              </p:nvSpPr>
              <p:spPr bwMode="auto">
                <a:xfrm>
                  <a:off x="6255" y="130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2" name="Freeform 109">
                  <a:extLst>
                    <a:ext uri="{FF2B5EF4-FFF2-40B4-BE49-F238E27FC236}">
                      <a16:creationId xmlns:a16="http://schemas.microsoft.com/office/drawing/2014/main" id="{84F9F9B1-3FA2-4DDB-888D-525B8B4956B7}"/>
                    </a:ext>
                  </a:extLst>
                </p:cNvPr>
                <p:cNvSpPr>
                  <a:spLocks/>
                </p:cNvSpPr>
                <p:nvPr userDrawn="1"/>
              </p:nvSpPr>
              <p:spPr bwMode="auto">
                <a:xfrm>
                  <a:off x="6255" y="1302"/>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3" name="Freeform 110">
                  <a:extLst>
                    <a:ext uri="{FF2B5EF4-FFF2-40B4-BE49-F238E27FC236}">
                      <a16:creationId xmlns:a16="http://schemas.microsoft.com/office/drawing/2014/main" id="{CAC79B52-9250-4D2A-B724-ADF1829E0418}"/>
                    </a:ext>
                  </a:extLst>
                </p:cNvPr>
                <p:cNvSpPr>
                  <a:spLocks/>
                </p:cNvSpPr>
                <p:nvPr userDrawn="1"/>
              </p:nvSpPr>
              <p:spPr bwMode="auto">
                <a:xfrm>
                  <a:off x="6255" y="130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4" name="Freeform 111">
                  <a:extLst>
                    <a:ext uri="{FF2B5EF4-FFF2-40B4-BE49-F238E27FC236}">
                      <a16:creationId xmlns:a16="http://schemas.microsoft.com/office/drawing/2014/main" id="{BEF96E31-CEBC-4932-A2C7-795E9F45A196}"/>
                    </a:ext>
                  </a:extLst>
                </p:cNvPr>
                <p:cNvSpPr>
                  <a:spLocks/>
                </p:cNvSpPr>
                <p:nvPr userDrawn="1"/>
              </p:nvSpPr>
              <p:spPr bwMode="auto">
                <a:xfrm>
                  <a:off x="6259" y="1283"/>
                  <a:ext cx="166" cy="23"/>
                </a:xfrm>
                <a:custGeom>
                  <a:avLst/>
                  <a:gdLst>
                    <a:gd name="T0" fmla="*/ 357 w 365"/>
                    <a:gd name="T1" fmla="*/ 0 h 51"/>
                    <a:gd name="T2" fmla="*/ 357 w 365"/>
                    <a:gd name="T3" fmla="*/ 32 h 51"/>
                    <a:gd name="T4" fmla="*/ 348 w 365"/>
                    <a:gd name="T5" fmla="*/ 41 h 51"/>
                    <a:gd name="T6" fmla="*/ 0 w 365"/>
                    <a:gd name="T7" fmla="*/ 41 h 51"/>
                    <a:gd name="T8" fmla="*/ 0 w 365"/>
                    <a:gd name="T9" fmla="*/ 51 h 51"/>
                    <a:gd name="T10" fmla="*/ 356 w 365"/>
                    <a:gd name="T11" fmla="*/ 51 h 51"/>
                    <a:gd name="T12" fmla="*/ 365 w 365"/>
                    <a:gd name="T13" fmla="*/ 43 h 51"/>
                    <a:gd name="T14" fmla="*/ 365 w 365"/>
                    <a:gd name="T15" fmla="*/ 8 h 51"/>
                    <a:gd name="T16" fmla="*/ 357 w 365"/>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5" h="51">
                      <a:moveTo>
                        <a:pt x="357" y="0"/>
                      </a:moveTo>
                      <a:cubicBezTo>
                        <a:pt x="357" y="32"/>
                        <a:pt x="357" y="32"/>
                        <a:pt x="357" y="32"/>
                      </a:cubicBezTo>
                      <a:cubicBezTo>
                        <a:pt x="357" y="37"/>
                        <a:pt x="353" y="41"/>
                        <a:pt x="348" y="41"/>
                      </a:cubicBezTo>
                      <a:cubicBezTo>
                        <a:pt x="0" y="41"/>
                        <a:pt x="0" y="41"/>
                        <a:pt x="0" y="41"/>
                      </a:cubicBezTo>
                      <a:cubicBezTo>
                        <a:pt x="0" y="45"/>
                        <a:pt x="0" y="49"/>
                        <a:pt x="0" y="51"/>
                      </a:cubicBezTo>
                      <a:cubicBezTo>
                        <a:pt x="356" y="51"/>
                        <a:pt x="356" y="51"/>
                        <a:pt x="356" y="51"/>
                      </a:cubicBezTo>
                      <a:cubicBezTo>
                        <a:pt x="361" y="51"/>
                        <a:pt x="365" y="48"/>
                        <a:pt x="365" y="43"/>
                      </a:cubicBezTo>
                      <a:cubicBezTo>
                        <a:pt x="365" y="8"/>
                        <a:pt x="365" y="8"/>
                        <a:pt x="365" y="8"/>
                      </a:cubicBezTo>
                      <a:cubicBezTo>
                        <a:pt x="365" y="4"/>
                        <a:pt x="361" y="0"/>
                        <a:pt x="357" y="0"/>
                      </a:cubicBez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5" name="Freeform 112">
                  <a:extLst>
                    <a:ext uri="{FF2B5EF4-FFF2-40B4-BE49-F238E27FC236}">
                      <a16:creationId xmlns:a16="http://schemas.microsoft.com/office/drawing/2014/main" id="{93B59B33-B7AA-411E-A274-9F07023088AE}"/>
                    </a:ext>
                  </a:extLst>
                </p:cNvPr>
                <p:cNvSpPr>
                  <a:spLocks/>
                </p:cNvSpPr>
                <p:nvPr userDrawn="1"/>
              </p:nvSpPr>
              <p:spPr bwMode="auto">
                <a:xfrm>
                  <a:off x="6262" y="1237"/>
                  <a:ext cx="39" cy="46"/>
                </a:xfrm>
                <a:custGeom>
                  <a:avLst/>
                  <a:gdLst>
                    <a:gd name="T0" fmla="*/ 84 w 84"/>
                    <a:gd name="T1" fmla="*/ 101 h 101"/>
                    <a:gd name="T2" fmla="*/ 84 w 84"/>
                    <a:gd name="T3" fmla="*/ 0 h 101"/>
                    <a:gd name="T4" fmla="*/ 23 w 84"/>
                    <a:gd name="T5" fmla="*/ 0 h 101"/>
                    <a:gd name="T6" fmla="*/ 0 w 84"/>
                    <a:gd name="T7" fmla="*/ 101 h 101"/>
                    <a:gd name="T8" fmla="*/ 84 w 84"/>
                    <a:gd name="T9" fmla="*/ 101 h 101"/>
                  </a:gdLst>
                  <a:ahLst/>
                  <a:cxnLst>
                    <a:cxn ang="0">
                      <a:pos x="T0" y="T1"/>
                    </a:cxn>
                    <a:cxn ang="0">
                      <a:pos x="T2" y="T3"/>
                    </a:cxn>
                    <a:cxn ang="0">
                      <a:pos x="T4" y="T5"/>
                    </a:cxn>
                    <a:cxn ang="0">
                      <a:pos x="T6" y="T7"/>
                    </a:cxn>
                    <a:cxn ang="0">
                      <a:pos x="T8" y="T9"/>
                    </a:cxn>
                  </a:cxnLst>
                  <a:rect l="0" t="0" r="r" b="b"/>
                  <a:pathLst>
                    <a:path w="84" h="101">
                      <a:moveTo>
                        <a:pt x="84" y="101"/>
                      </a:moveTo>
                      <a:cubicBezTo>
                        <a:pt x="84" y="0"/>
                        <a:pt x="84" y="0"/>
                        <a:pt x="84" y="0"/>
                      </a:cubicBezTo>
                      <a:cubicBezTo>
                        <a:pt x="84" y="0"/>
                        <a:pt x="47" y="0"/>
                        <a:pt x="23" y="0"/>
                      </a:cubicBezTo>
                      <a:cubicBezTo>
                        <a:pt x="4" y="21"/>
                        <a:pt x="0" y="69"/>
                        <a:pt x="0" y="101"/>
                      </a:cubicBezTo>
                      <a:lnTo>
                        <a:pt x="84" y="101"/>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6" name="Freeform 113">
                  <a:extLst>
                    <a:ext uri="{FF2B5EF4-FFF2-40B4-BE49-F238E27FC236}">
                      <a16:creationId xmlns:a16="http://schemas.microsoft.com/office/drawing/2014/main" id="{66567664-81A3-4153-AA7D-C97BBDD43EF3}"/>
                    </a:ext>
                  </a:extLst>
                </p:cNvPr>
                <p:cNvSpPr>
                  <a:spLocks/>
                </p:cNvSpPr>
                <p:nvPr userDrawn="1"/>
              </p:nvSpPr>
              <p:spPr bwMode="auto">
                <a:xfrm>
                  <a:off x="6262" y="1237"/>
                  <a:ext cx="39" cy="46"/>
                </a:xfrm>
                <a:custGeom>
                  <a:avLst/>
                  <a:gdLst>
                    <a:gd name="T0" fmla="*/ 84 w 84"/>
                    <a:gd name="T1" fmla="*/ 101 h 101"/>
                    <a:gd name="T2" fmla="*/ 23 w 84"/>
                    <a:gd name="T3" fmla="*/ 0 h 101"/>
                    <a:gd name="T4" fmla="*/ 0 w 84"/>
                    <a:gd name="T5" fmla="*/ 101 h 101"/>
                    <a:gd name="T6" fmla="*/ 84 w 84"/>
                    <a:gd name="T7" fmla="*/ 101 h 101"/>
                  </a:gdLst>
                  <a:ahLst/>
                  <a:cxnLst>
                    <a:cxn ang="0">
                      <a:pos x="T0" y="T1"/>
                    </a:cxn>
                    <a:cxn ang="0">
                      <a:pos x="T2" y="T3"/>
                    </a:cxn>
                    <a:cxn ang="0">
                      <a:pos x="T4" y="T5"/>
                    </a:cxn>
                    <a:cxn ang="0">
                      <a:pos x="T6" y="T7"/>
                    </a:cxn>
                  </a:cxnLst>
                  <a:rect l="0" t="0" r="r" b="b"/>
                  <a:pathLst>
                    <a:path w="84" h="101">
                      <a:moveTo>
                        <a:pt x="84" y="101"/>
                      </a:moveTo>
                      <a:cubicBezTo>
                        <a:pt x="84" y="101"/>
                        <a:pt x="49" y="42"/>
                        <a:pt x="23" y="0"/>
                      </a:cubicBezTo>
                      <a:cubicBezTo>
                        <a:pt x="4" y="21"/>
                        <a:pt x="0" y="69"/>
                        <a:pt x="0" y="101"/>
                      </a:cubicBezTo>
                      <a:lnTo>
                        <a:pt x="84" y="101"/>
                      </a:ln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7" name="Oval 114">
                  <a:extLst>
                    <a:ext uri="{FF2B5EF4-FFF2-40B4-BE49-F238E27FC236}">
                      <a16:creationId xmlns:a16="http://schemas.microsoft.com/office/drawing/2014/main" id="{06851F84-7357-4C7B-83AD-43F5999D0AAE}"/>
                    </a:ext>
                  </a:extLst>
                </p:cNvPr>
                <p:cNvSpPr>
                  <a:spLocks noChangeArrowheads="1"/>
                </p:cNvSpPr>
                <p:nvPr userDrawn="1"/>
              </p:nvSpPr>
              <p:spPr bwMode="auto">
                <a:xfrm>
                  <a:off x="6263" y="1288"/>
                  <a:ext cx="37" cy="3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8" name="Oval 115">
                  <a:extLst>
                    <a:ext uri="{FF2B5EF4-FFF2-40B4-BE49-F238E27FC236}">
                      <a16:creationId xmlns:a16="http://schemas.microsoft.com/office/drawing/2014/main" id="{D4DB6919-6B60-461F-AE0A-536B3E74DB75}"/>
                    </a:ext>
                  </a:extLst>
                </p:cNvPr>
                <p:cNvSpPr>
                  <a:spLocks noChangeArrowheads="1"/>
                </p:cNvSpPr>
                <p:nvPr userDrawn="1"/>
              </p:nvSpPr>
              <p:spPr bwMode="auto">
                <a:xfrm>
                  <a:off x="6272" y="1297"/>
                  <a:ext cx="19" cy="19"/>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9" name="Oval 116">
                  <a:extLst>
                    <a:ext uri="{FF2B5EF4-FFF2-40B4-BE49-F238E27FC236}">
                      <a16:creationId xmlns:a16="http://schemas.microsoft.com/office/drawing/2014/main" id="{092E2051-B1D1-4067-9D38-F4025DDDC3F8}"/>
                    </a:ext>
                  </a:extLst>
                </p:cNvPr>
                <p:cNvSpPr>
                  <a:spLocks noChangeArrowheads="1"/>
                </p:cNvSpPr>
                <p:nvPr userDrawn="1"/>
              </p:nvSpPr>
              <p:spPr bwMode="auto">
                <a:xfrm>
                  <a:off x="6375" y="1288"/>
                  <a:ext cx="37" cy="3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0" name="Oval 117">
                  <a:extLst>
                    <a:ext uri="{FF2B5EF4-FFF2-40B4-BE49-F238E27FC236}">
                      <a16:creationId xmlns:a16="http://schemas.microsoft.com/office/drawing/2014/main" id="{452FF931-F74E-4502-ACE2-FEB8297BA332}"/>
                    </a:ext>
                  </a:extLst>
                </p:cNvPr>
                <p:cNvSpPr>
                  <a:spLocks noChangeArrowheads="1"/>
                </p:cNvSpPr>
                <p:nvPr userDrawn="1"/>
              </p:nvSpPr>
              <p:spPr bwMode="auto">
                <a:xfrm>
                  <a:off x="6384" y="1297"/>
                  <a:ext cx="19" cy="19"/>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1" name="Oval 118">
                  <a:extLst>
                    <a:ext uri="{FF2B5EF4-FFF2-40B4-BE49-F238E27FC236}">
                      <a16:creationId xmlns:a16="http://schemas.microsoft.com/office/drawing/2014/main" id="{E2C235A0-E950-431D-84E7-EA34982ABEFA}"/>
                    </a:ext>
                  </a:extLst>
                </p:cNvPr>
                <p:cNvSpPr>
                  <a:spLocks noChangeArrowheads="1"/>
                </p:cNvSpPr>
                <p:nvPr userDrawn="1"/>
              </p:nvSpPr>
              <p:spPr bwMode="auto">
                <a:xfrm>
                  <a:off x="6337" y="1288"/>
                  <a:ext cx="36" cy="3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2" name="Oval 119">
                  <a:extLst>
                    <a:ext uri="{FF2B5EF4-FFF2-40B4-BE49-F238E27FC236}">
                      <a16:creationId xmlns:a16="http://schemas.microsoft.com/office/drawing/2014/main" id="{26545811-6E38-46F7-8960-BD23DBBBD590}"/>
                    </a:ext>
                  </a:extLst>
                </p:cNvPr>
                <p:cNvSpPr>
                  <a:spLocks noChangeArrowheads="1"/>
                </p:cNvSpPr>
                <p:nvPr userDrawn="1"/>
              </p:nvSpPr>
              <p:spPr bwMode="auto">
                <a:xfrm>
                  <a:off x="6345" y="1297"/>
                  <a:ext cx="19" cy="19"/>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3" name="Freeform 120">
                  <a:extLst>
                    <a:ext uri="{FF2B5EF4-FFF2-40B4-BE49-F238E27FC236}">
                      <a16:creationId xmlns:a16="http://schemas.microsoft.com/office/drawing/2014/main" id="{E3CE0C48-64EE-415C-A1F1-9BDDAD0E3210}"/>
                    </a:ext>
                  </a:extLst>
                </p:cNvPr>
                <p:cNvSpPr>
                  <a:spLocks/>
                </p:cNvSpPr>
                <p:nvPr userDrawn="1"/>
              </p:nvSpPr>
              <p:spPr bwMode="auto">
                <a:xfrm>
                  <a:off x="6272" y="1299"/>
                  <a:ext cx="16" cy="17"/>
                </a:xfrm>
                <a:custGeom>
                  <a:avLst/>
                  <a:gdLst>
                    <a:gd name="T0" fmla="*/ 21 w 36"/>
                    <a:gd name="T1" fmla="*/ 37 h 37"/>
                    <a:gd name="T2" fmla="*/ 36 w 36"/>
                    <a:gd name="T3" fmla="*/ 31 h 37"/>
                    <a:gd name="T4" fmla="*/ 6 w 36"/>
                    <a:gd name="T5" fmla="*/ 0 h 37"/>
                    <a:gd name="T6" fmla="*/ 0 w 36"/>
                    <a:gd name="T7" fmla="*/ 15 h 37"/>
                    <a:gd name="T8" fmla="*/ 21 w 36"/>
                    <a:gd name="T9" fmla="*/ 37 h 37"/>
                  </a:gdLst>
                  <a:ahLst/>
                  <a:cxnLst>
                    <a:cxn ang="0">
                      <a:pos x="T0" y="T1"/>
                    </a:cxn>
                    <a:cxn ang="0">
                      <a:pos x="T2" y="T3"/>
                    </a:cxn>
                    <a:cxn ang="0">
                      <a:pos x="T4" y="T5"/>
                    </a:cxn>
                    <a:cxn ang="0">
                      <a:pos x="T6" y="T7"/>
                    </a:cxn>
                    <a:cxn ang="0">
                      <a:pos x="T8" y="T9"/>
                    </a:cxn>
                  </a:cxnLst>
                  <a:rect l="0" t="0" r="r" b="b"/>
                  <a:pathLst>
                    <a:path w="36" h="37">
                      <a:moveTo>
                        <a:pt x="21" y="37"/>
                      </a:moveTo>
                      <a:cubicBezTo>
                        <a:pt x="27" y="37"/>
                        <a:pt x="32" y="34"/>
                        <a:pt x="36" y="31"/>
                      </a:cubicBezTo>
                      <a:cubicBezTo>
                        <a:pt x="6" y="0"/>
                        <a:pt x="6" y="0"/>
                        <a:pt x="6" y="0"/>
                      </a:cubicBezTo>
                      <a:cubicBezTo>
                        <a:pt x="2" y="4"/>
                        <a:pt x="0" y="10"/>
                        <a:pt x="0" y="15"/>
                      </a:cubicBezTo>
                      <a:cubicBezTo>
                        <a:pt x="0" y="27"/>
                        <a:pt x="9" y="37"/>
                        <a:pt x="21" y="37"/>
                      </a:cubicBez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4" name="Freeform 121">
                  <a:extLst>
                    <a:ext uri="{FF2B5EF4-FFF2-40B4-BE49-F238E27FC236}">
                      <a16:creationId xmlns:a16="http://schemas.microsoft.com/office/drawing/2014/main" id="{A663C3BF-53F9-4305-81F1-BCC0FE137ECE}"/>
                    </a:ext>
                  </a:extLst>
                </p:cNvPr>
                <p:cNvSpPr>
                  <a:spLocks/>
                </p:cNvSpPr>
                <p:nvPr userDrawn="1"/>
              </p:nvSpPr>
              <p:spPr bwMode="auto">
                <a:xfrm>
                  <a:off x="6345" y="1299"/>
                  <a:ext cx="17" cy="17"/>
                </a:xfrm>
                <a:custGeom>
                  <a:avLst/>
                  <a:gdLst>
                    <a:gd name="T0" fmla="*/ 22 w 37"/>
                    <a:gd name="T1" fmla="*/ 37 h 37"/>
                    <a:gd name="T2" fmla="*/ 37 w 37"/>
                    <a:gd name="T3" fmla="*/ 31 h 37"/>
                    <a:gd name="T4" fmla="*/ 7 w 37"/>
                    <a:gd name="T5" fmla="*/ 0 h 37"/>
                    <a:gd name="T6" fmla="*/ 0 w 37"/>
                    <a:gd name="T7" fmla="*/ 15 h 37"/>
                    <a:gd name="T8" fmla="*/ 22 w 37"/>
                    <a:gd name="T9" fmla="*/ 37 h 37"/>
                  </a:gdLst>
                  <a:ahLst/>
                  <a:cxnLst>
                    <a:cxn ang="0">
                      <a:pos x="T0" y="T1"/>
                    </a:cxn>
                    <a:cxn ang="0">
                      <a:pos x="T2" y="T3"/>
                    </a:cxn>
                    <a:cxn ang="0">
                      <a:pos x="T4" y="T5"/>
                    </a:cxn>
                    <a:cxn ang="0">
                      <a:pos x="T6" y="T7"/>
                    </a:cxn>
                    <a:cxn ang="0">
                      <a:pos x="T8" y="T9"/>
                    </a:cxn>
                  </a:cxnLst>
                  <a:rect l="0" t="0" r="r" b="b"/>
                  <a:pathLst>
                    <a:path w="37" h="37">
                      <a:moveTo>
                        <a:pt x="22" y="37"/>
                      </a:moveTo>
                      <a:cubicBezTo>
                        <a:pt x="28" y="37"/>
                        <a:pt x="33" y="34"/>
                        <a:pt x="37" y="31"/>
                      </a:cubicBezTo>
                      <a:cubicBezTo>
                        <a:pt x="7" y="0"/>
                        <a:pt x="7" y="0"/>
                        <a:pt x="7" y="0"/>
                      </a:cubicBezTo>
                      <a:cubicBezTo>
                        <a:pt x="3" y="4"/>
                        <a:pt x="0" y="10"/>
                        <a:pt x="0" y="15"/>
                      </a:cubicBezTo>
                      <a:cubicBezTo>
                        <a:pt x="0" y="27"/>
                        <a:pt x="10" y="37"/>
                        <a:pt x="22" y="37"/>
                      </a:cubicBez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5" name="Freeform 122">
                  <a:extLst>
                    <a:ext uri="{FF2B5EF4-FFF2-40B4-BE49-F238E27FC236}">
                      <a16:creationId xmlns:a16="http://schemas.microsoft.com/office/drawing/2014/main" id="{42FA97B0-A53B-4F81-8C02-5EE6243E8F45}"/>
                    </a:ext>
                  </a:extLst>
                </p:cNvPr>
                <p:cNvSpPr>
                  <a:spLocks/>
                </p:cNvSpPr>
                <p:nvPr userDrawn="1"/>
              </p:nvSpPr>
              <p:spPr bwMode="auto">
                <a:xfrm>
                  <a:off x="6384" y="1299"/>
                  <a:ext cx="17" cy="17"/>
                </a:xfrm>
                <a:custGeom>
                  <a:avLst/>
                  <a:gdLst>
                    <a:gd name="T0" fmla="*/ 21 w 36"/>
                    <a:gd name="T1" fmla="*/ 37 h 37"/>
                    <a:gd name="T2" fmla="*/ 36 w 36"/>
                    <a:gd name="T3" fmla="*/ 31 h 37"/>
                    <a:gd name="T4" fmla="*/ 6 w 36"/>
                    <a:gd name="T5" fmla="*/ 0 h 37"/>
                    <a:gd name="T6" fmla="*/ 0 w 36"/>
                    <a:gd name="T7" fmla="*/ 15 h 37"/>
                    <a:gd name="T8" fmla="*/ 21 w 36"/>
                    <a:gd name="T9" fmla="*/ 37 h 37"/>
                  </a:gdLst>
                  <a:ahLst/>
                  <a:cxnLst>
                    <a:cxn ang="0">
                      <a:pos x="T0" y="T1"/>
                    </a:cxn>
                    <a:cxn ang="0">
                      <a:pos x="T2" y="T3"/>
                    </a:cxn>
                    <a:cxn ang="0">
                      <a:pos x="T4" y="T5"/>
                    </a:cxn>
                    <a:cxn ang="0">
                      <a:pos x="T6" y="T7"/>
                    </a:cxn>
                    <a:cxn ang="0">
                      <a:pos x="T8" y="T9"/>
                    </a:cxn>
                  </a:cxnLst>
                  <a:rect l="0" t="0" r="r" b="b"/>
                  <a:pathLst>
                    <a:path w="36" h="37">
                      <a:moveTo>
                        <a:pt x="21" y="37"/>
                      </a:moveTo>
                      <a:cubicBezTo>
                        <a:pt x="27" y="37"/>
                        <a:pt x="32" y="34"/>
                        <a:pt x="36" y="31"/>
                      </a:cubicBezTo>
                      <a:cubicBezTo>
                        <a:pt x="6" y="0"/>
                        <a:pt x="6" y="0"/>
                        <a:pt x="6" y="0"/>
                      </a:cubicBezTo>
                      <a:cubicBezTo>
                        <a:pt x="2" y="4"/>
                        <a:pt x="0" y="10"/>
                        <a:pt x="0" y="15"/>
                      </a:cubicBezTo>
                      <a:cubicBezTo>
                        <a:pt x="0" y="27"/>
                        <a:pt x="9" y="37"/>
                        <a:pt x="21" y="37"/>
                      </a:cubicBez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6" name="Line 123">
                  <a:extLst>
                    <a:ext uri="{FF2B5EF4-FFF2-40B4-BE49-F238E27FC236}">
                      <a16:creationId xmlns:a16="http://schemas.microsoft.com/office/drawing/2014/main" id="{31DAE53E-4C88-4A9F-AE52-C5A34C5ADF67}"/>
                    </a:ext>
                  </a:extLst>
                </p:cNvPr>
                <p:cNvSpPr>
                  <a:spLocks noChangeShapeType="1"/>
                </p:cNvSpPr>
                <p:nvPr userDrawn="1"/>
              </p:nvSpPr>
              <p:spPr bwMode="auto">
                <a:xfrm>
                  <a:off x="6223" y="1291"/>
                  <a:ext cx="20" cy="0"/>
                </a:xfrm>
                <a:prstGeom prst="line">
                  <a:avLst/>
                </a:prstGeom>
                <a:noFill/>
                <a:ln w="4763" cap="rnd">
                  <a:solidFill>
                    <a:srgbClr val="BAD80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67" name="Line 124">
                  <a:extLst>
                    <a:ext uri="{FF2B5EF4-FFF2-40B4-BE49-F238E27FC236}">
                      <a16:creationId xmlns:a16="http://schemas.microsoft.com/office/drawing/2014/main" id="{1CD8F167-88CD-46D9-A951-F2B2E2852B6B}"/>
                    </a:ext>
                  </a:extLst>
                </p:cNvPr>
                <p:cNvSpPr>
                  <a:spLocks noChangeShapeType="1"/>
                </p:cNvSpPr>
                <p:nvPr userDrawn="1"/>
              </p:nvSpPr>
              <p:spPr bwMode="auto">
                <a:xfrm>
                  <a:off x="6223" y="1298"/>
                  <a:ext cx="20" cy="0"/>
                </a:xfrm>
                <a:prstGeom prst="line">
                  <a:avLst/>
                </a:prstGeom>
                <a:noFill/>
                <a:ln w="4763" cap="rnd">
                  <a:solidFill>
                    <a:srgbClr val="BAD80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68" name="Freeform 125">
                  <a:extLst>
                    <a:ext uri="{FF2B5EF4-FFF2-40B4-BE49-F238E27FC236}">
                      <a16:creationId xmlns:a16="http://schemas.microsoft.com/office/drawing/2014/main" id="{865C61AB-E40D-479F-A7BF-F43861CC03BA}"/>
                    </a:ext>
                  </a:extLst>
                </p:cNvPr>
                <p:cNvSpPr>
                  <a:spLocks/>
                </p:cNvSpPr>
                <p:nvPr userDrawn="1"/>
              </p:nvSpPr>
              <p:spPr bwMode="auto">
                <a:xfrm>
                  <a:off x="6215" y="1237"/>
                  <a:ext cx="44" cy="46"/>
                </a:xfrm>
                <a:custGeom>
                  <a:avLst/>
                  <a:gdLst>
                    <a:gd name="T0" fmla="*/ 18 w 96"/>
                    <a:gd name="T1" fmla="*/ 0 h 101"/>
                    <a:gd name="T2" fmla="*/ 0 w 96"/>
                    <a:gd name="T3" fmla="*/ 101 h 101"/>
                    <a:gd name="T4" fmla="*/ 78 w 96"/>
                    <a:gd name="T5" fmla="*/ 101 h 101"/>
                    <a:gd name="T6" fmla="*/ 96 w 96"/>
                    <a:gd name="T7" fmla="*/ 0 h 101"/>
                    <a:gd name="T8" fmla="*/ 18 w 96"/>
                    <a:gd name="T9" fmla="*/ 0 h 101"/>
                  </a:gdLst>
                  <a:ahLst/>
                  <a:cxnLst>
                    <a:cxn ang="0">
                      <a:pos x="T0" y="T1"/>
                    </a:cxn>
                    <a:cxn ang="0">
                      <a:pos x="T2" y="T3"/>
                    </a:cxn>
                    <a:cxn ang="0">
                      <a:pos x="T4" y="T5"/>
                    </a:cxn>
                    <a:cxn ang="0">
                      <a:pos x="T6" y="T7"/>
                    </a:cxn>
                    <a:cxn ang="0">
                      <a:pos x="T8" y="T9"/>
                    </a:cxn>
                  </a:cxnLst>
                  <a:rect l="0" t="0" r="r" b="b"/>
                  <a:pathLst>
                    <a:path w="96" h="101">
                      <a:moveTo>
                        <a:pt x="18" y="0"/>
                      </a:moveTo>
                      <a:cubicBezTo>
                        <a:pt x="5" y="28"/>
                        <a:pt x="1" y="69"/>
                        <a:pt x="0" y="101"/>
                      </a:cubicBezTo>
                      <a:cubicBezTo>
                        <a:pt x="78" y="101"/>
                        <a:pt x="78" y="101"/>
                        <a:pt x="78" y="101"/>
                      </a:cubicBezTo>
                      <a:cubicBezTo>
                        <a:pt x="79" y="69"/>
                        <a:pt x="83" y="28"/>
                        <a:pt x="96" y="0"/>
                      </a:cubicBezTo>
                      <a:lnTo>
                        <a:pt x="18"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9" name="Freeform 126">
                  <a:extLst>
                    <a:ext uri="{FF2B5EF4-FFF2-40B4-BE49-F238E27FC236}">
                      <a16:creationId xmlns:a16="http://schemas.microsoft.com/office/drawing/2014/main" id="{236826D5-5436-423F-B1B9-40B24B377CC5}"/>
                    </a:ext>
                  </a:extLst>
                </p:cNvPr>
                <p:cNvSpPr>
                  <a:spLocks/>
                </p:cNvSpPr>
                <p:nvPr userDrawn="1"/>
              </p:nvSpPr>
              <p:spPr bwMode="auto">
                <a:xfrm>
                  <a:off x="6215" y="1237"/>
                  <a:ext cx="36" cy="46"/>
                </a:xfrm>
                <a:custGeom>
                  <a:avLst/>
                  <a:gdLst>
                    <a:gd name="T0" fmla="*/ 18 w 79"/>
                    <a:gd name="T1" fmla="*/ 0 h 101"/>
                    <a:gd name="T2" fmla="*/ 0 w 79"/>
                    <a:gd name="T3" fmla="*/ 101 h 101"/>
                    <a:gd name="T4" fmla="*/ 78 w 79"/>
                    <a:gd name="T5" fmla="*/ 101 h 101"/>
                    <a:gd name="T6" fmla="*/ 18 w 79"/>
                    <a:gd name="T7" fmla="*/ 0 h 101"/>
                  </a:gdLst>
                  <a:ahLst/>
                  <a:cxnLst>
                    <a:cxn ang="0">
                      <a:pos x="T0" y="T1"/>
                    </a:cxn>
                    <a:cxn ang="0">
                      <a:pos x="T2" y="T3"/>
                    </a:cxn>
                    <a:cxn ang="0">
                      <a:pos x="T4" y="T5"/>
                    </a:cxn>
                    <a:cxn ang="0">
                      <a:pos x="T6" y="T7"/>
                    </a:cxn>
                  </a:cxnLst>
                  <a:rect l="0" t="0" r="r" b="b"/>
                  <a:pathLst>
                    <a:path w="79" h="101">
                      <a:moveTo>
                        <a:pt x="18" y="0"/>
                      </a:moveTo>
                      <a:cubicBezTo>
                        <a:pt x="5" y="28"/>
                        <a:pt x="1" y="69"/>
                        <a:pt x="0" y="101"/>
                      </a:cubicBezTo>
                      <a:cubicBezTo>
                        <a:pt x="78" y="101"/>
                        <a:pt x="78" y="101"/>
                        <a:pt x="78" y="101"/>
                      </a:cubicBezTo>
                      <a:cubicBezTo>
                        <a:pt x="79" y="69"/>
                        <a:pt x="18" y="0"/>
                        <a:pt x="18" y="0"/>
                      </a:cubicBez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0" name="Line 127">
                  <a:extLst>
                    <a:ext uri="{FF2B5EF4-FFF2-40B4-BE49-F238E27FC236}">
                      <a16:creationId xmlns:a16="http://schemas.microsoft.com/office/drawing/2014/main" id="{5206F7D0-16FB-409F-89D2-9F5932A7FCEE}"/>
                    </a:ext>
                  </a:extLst>
                </p:cNvPr>
                <p:cNvSpPr>
                  <a:spLocks noChangeShapeType="1"/>
                </p:cNvSpPr>
                <p:nvPr userDrawn="1"/>
              </p:nvSpPr>
              <p:spPr bwMode="auto">
                <a:xfrm>
                  <a:off x="6174" y="1047"/>
                  <a:ext cx="0" cy="71"/>
                </a:xfrm>
                <a:prstGeom prst="line">
                  <a:avLst/>
                </a:prstGeom>
                <a:noFill/>
                <a:ln w="6350"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71" name="Line 128">
                  <a:extLst>
                    <a:ext uri="{FF2B5EF4-FFF2-40B4-BE49-F238E27FC236}">
                      <a16:creationId xmlns:a16="http://schemas.microsoft.com/office/drawing/2014/main" id="{50CBBA89-95A0-4499-9D73-4AADC3208E6D}"/>
                    </a:ext>
                  </a:extLst>
                </p:cNvPr>
                <p:cNvSpPr>
                  <a:spLocks noChangeShapeType="1"/>
                </p:cNvSpPr>
                <p:nvPr userDrawn="1"/>
              </p:nvSpPr>
              <p:spPr bwMode="auto">
                <a:xfrm flipV="1">
                  <a:off x="6264" y="1136"/>
                  <a:ext cx="25" cy="25"/>
                </a:xfrm>
                <a:prstGeom prst="line">
                  <a:avLst/>
                </a:prstGeom>
                <a:noFill/>
                <a:ln w="14288" cap="rnd">
                  <a:solidFill>
                    <a:srgbClr val="93939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72" name="Freeform 129">
                  <a:extLst>
                    <a:ext uri="{FF2B5EF4-FFF2-40B4-BE49-F238E27FC236}">
                      <a16:creationId xmlns:a16="http://schemas.microsoft.com/office/drawing/2014/main" id="{530E8EB8-BFBC-4276-89FD-D2D027C59702}"/>
                    </a:ext>
                  </a:extLst>
                </p:cNvPr>
                <p:cNvSpPr>
                  <a:spLocks/>
                </p:cNvSpPr>
                <p:nvPr userDrawn="1"/>
              </p:nvSpPr>
              <p:spPr bwMode="auto">
                <a:xfrm>
                  <a:off x="6168" y="1123"/>
                  <a:ext cx="26" cy="19"/>
                </a:xfrm>
                <a:custGeom>
                  <a:avLst/>
                  <a:gdLst>
                    <a:gd name="T0" fmla="*/ 43 w 58"/>
                    <a:gd name="T1" fmla="*/ 25 h 43"/>
                    <a:gd name="T2" fmla="*/ 25 w 58"/>
                    <a:gd name="T3" fmla="*/ 7 h 43"/>
                    <a:gd name="T4" fmla="*/ 26 w 58"/>
                    <a:gd name="T5" fmla="*/ 0 h 43"/>
                    <a:gd name="T6" fmla="*/ 3 w 58"/>
                    <a:gd name="T7" fmla="*/ 0 h 43"/>
                    <a:gd name="T8" fmla="*/ 0 w 58"/>
                    <a:gd name="T9" fmla="*/ 14 h 43"/>
                    <a:gd name="T10" fmla="*/ 29 w 58"/>
                    <a:gd name="T11" fmla="*/ 43 h 43"/>
                    <a:gd name="T12" fmla="*/ 58 w 58"/>
                    <a:gd name="T13" fmla="*/ 16 h 43"/>
                    <a:gd name="T14" fmla="*/ 43 w 58"/>
                    <a:gd name="T15" fmla="*/ 25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43">
                      <a:moveTo>
                        <a:pt x="43" y="25"/>
                      </a:moveTo>
                      <a:cubicBezTo>
                        <a:pt x="33" y="25"/>
                        <a:pt x="25" y="17"/>
                        <a:pt x="25" y="7"/>
                      </a:cubicBezTo>
                      <a:cubicBezTo>
                        <a:pt x="25" y="4"/>
                        <a:pt x="25" y="2"/>
                        <a:pt x="26" y="0"/>
                      </a:cubicBezTo>
                      <a:cubicBezTo>
                        <a:pt x="3" y="0"/>
                        <a:pt x="3" y="0"/>
                        <a:pt x="3" y="0"/>
                      </a:cubicBezTo>
                      <a:cubicBezTo>
                        <a:pt x="1" y="4"/>
                        <a:pt x="0" y="9"/>
                        <a:pt x="0" y="14"/>
                      </a:cubicBezTo>
                      <a:cubicBezTo>
                        <a:pt x="0" y="30"/>
                        <a:pt x="13" y="43"/>
                        <a:pt x="29" y="43"/>
                      </a:cubicBezTo>
                      <a:cubicBezTo>
                        <a:pt x="45" y="43"/>
                        <a:pt x="57" y="31"/>
                        <a:pt x="58" y="16"/>
                      </a:cubicBezTo>
                      <a:cubicBezTo>
                        <a:pt x="55" y="21"/>
                        <a:pt x="49" y="25"/>
                        <a:pt x="43" y="25"/>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 name="Oval 130">
                  <a:extLst>
                    <a:ext uri="{FF2B5EF4-FFF2-40B4-BE49-F238E27FC236}">
                      <a16:creationId xmlns:a16="http://schemas.microsoft.com/office/drawing/2014/main" id="{F5AB92AD-9E1A-445B-B710-ABAF476ED5E4}"/>
                    </a:ext>
                  </a:extLst>
                </p:cNvPr>
                <p:cNvSpPr>
                  <a:spLocks noChangeArrowheads="1"/>
                </p:cNvSpPr>
                <p:nvPr userDrawn="1"/>
              </p:nvSpPr>
              <p:spPr bwMode="auto">
                <a:xfrm>
                  <a:off x="6167" y="1112"/>
                  <a:ext cx="14" cy="14"/>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4" name="Oval 131">
                  <a:extLst>
                    <a:ext uri="{FF2B5EF4-FFF2-40B4-BE49-F238E27FC236}">
                      <a16:creationId xmlns:a16="http://schemas.microsoft.com/office/drawing/2014/main" id="{39DCAFE6-F164-4232-986E-79AD419BE3F8}"/>
                    </a:ext>
                  </a:extLst>
                </p:cNvPr>
                <p:cNvSpPr>
                  <a:spLocks noChangeArrowheads="1"/>
                </p:cNvSpPr>
                <p:nvPr userDrawn="1"/>
              </p:nvSpPr>
              <p:spPr bwMode="auto">
                <a:xfrm>
                  <a:off x="6171" y="1116"/>
                  <a:ext cx="6" cy="6"/>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 name="Rectangle 132">
                  <a:extLst>
                    <a:ext uri="{FF2B5EF4-FFF2-40B4-BE49-F238E27FC236}">
                      <a16:creationId xmlns:a16="http://schemas.microsoft.com/office/drawing/2014/main" id="{489AE244-82A3-44C8-B8EE-6E24E3B6012F}"/>
                    </a:ext>
                  </a:extLst>
                </p:cNvPr>
                <p:cNvSpPr>
                  <a:spLocks noChangeArrowheads="1"/>
                </p:cNvSpPr>
                <p:nvPr userDrawn="1"/>
              </p:nvSpPr>
              <p:spPr bwMode="auto">
                <a:xfrm>
                  <a:off x="6035" y="1072"/>
                  <a:ext cx="38" cy="10"/>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 name="Rectangle 133">
                  <a:extLst>
                    <a:ext uri="{FF2B5EF4-FFF2-40B4-BE49-F238E27FC236}">
                      <a16:creationId xmlns:a16="http://schemas.microsoft.com/office/drawing/2014/main" id="{EFACC417-4684-42EA-A415-5E742E5759DF}"/>
                    </a:ext>
                  </a:extLst>
                </p:cNvPr>
                <p:cNvSpPr>
                  <a:spLocks noChangeArrowheads="1"/>
                </p:cNvSpPr>
                <p:nvPr userDrawn="1"/>
              </p:nvSpPr>
              <p:spPr bwMode="auto">
                <a:xfrm>
                  <a:off x="6035" y="1082"/>
                  <a:ext cx="38"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 name="Freeform 134">
                  <a:extLst>
                    <a:ext uri="{FF2B5EF4-FFF2-40B4-BE49-F238E27FC236}">
                      <a16:creationId xmlns:a16="http://schemas.microsoft.com/office/drawing/2014/main" id="{76DE2179-63A6-4B68-BE59-D3415B1C5CAE}"/>
                    </a:ext>
                  </a:extLst>
                </p:cNvPr>
                <p:cNvSpPr>
                  <a:spLocks/>
                </p:cNvSpPr>
                <p:nvPr userDrawn="1"/>
              </p:nvSpPr>
              <p:spPr bwMode="auto">
                <a:xfrm>
                  <a:off x="6073" y="1160"/>
                  <a:ext cx="120" cy="52"/>
                </a:xfrm>
                <a:custGeom>
                  <a:avLst/>
                  <a:gdLst>
                    <a:gd name="T0" fmla="*/ 147 w 263"/>
                    <a:gd name="T1" fmla="*/ 116 h 116"/>
                    <a:gd name="T2" fmla="*/ 0 w 263"/>
                    <a:gd name="T3" fmla="*/ 116 h 116"/>
                    <a:gd name="T4" fmla="*/ 0 w 263"/>
                    <a:gd name="T5" fmla="*/ 0 h 116"/>
                    <a:gd name="T6" fmla="*/ 263 w 263"/>
                    <a:gd name="T7" fmla="*/ 0 h 116"/>
                    <a:gd name="T8" fmla="*/ 147 w 263"/>
                    <a:gd name="T9" fmla="*/ 116 h 116"/>
                  </a:gdLst>
                  <a:ahLst/>
                  <a:cxnLst>
                    <a:cxn ang="0">
                      <a:pos x="T0" y="T1"/>
                    </a:cxn>
                    <a:cxn ang="0">
                      <a:pos x="T2" y="T3"/>
                    </a:cxn>
                    <a:cxn ang="0">
                      <a:pos x="T4" y="T5"/>
                    </a:cxn>
                    <a:cxn ang="0">
                      <a:pos x="T6" y="T7"/>
                    </a:cxn>
                    <a:cxn ang="0">
                      <a:pos x="T8" y="T9"/>
                    </a:cxn>
                  </a:cxnLst>
                  <a:rect l="0" t="0" r="r" b="b"/>
                  <a:pathLst>
                    <a:path w="263" h="116">
                      <a:moveTo>
                        <a:pt x="147" y="116"/>
                      </a:moveTo>
                      <a:cubicBezTo>
                        <a:pt x="0" y="116"/>
                        <a:pt x="0" y="116"/>
                        <a:pt x="0" y="116"/>
                      </a:cubicBezTo>
                      <a:cubicBezTo>
                        <a:pt x="0" y="0"/>
                        <a:pt x="0" y="0"/>
                        <a:pt x="0" y="0"/>
                      </a:cubicBezTo>
                      <a:cubicBezTo>
                        <a:pt x="263" y="0"/>
                        <a:pt x="263" y="0"/>
                        <a:pt x="263" y="0"/>
                      </a:cubicBezTo>
                      <a:cubicBezTo>
                        <a:pt x="263" y="64"/>
                        <a:pt x="211" y="116"/>
                        <a:pt x="147" y="116"/>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8" name="Freeform 135">
                  <a:extLst>
                    <a:ext uri="{FF2B5EF4-FFF2-40B4-BE49-F238E27FC236}">
                      <a16:creationId xmlns:a16="http://schemas.microsoft.com/office/drawing/2014/main" id="{EC6E9907-C10B-4E3D-8C96-9BC787D97E2A}"/>
                    </a:ext>
                  </a:extLst>
                </p:cNvPr>
                <p:cNvSpPr>
                  <a:spLocks/>
                </p:cNvSpPr>
                <p:nvPr userDrawn="1"/>
              </p:nvSpPr>
              <p:spPr bwMode="auto">
                <a:xfrm>
                  <a:off x="5848" y="1209"/>
                  <a:ext cx="311" cy="53"/>
                </a:xfrm>
                <a:custGeom>
                  <a:avLst/>
                  <a:gdLst>
                    <a:gd name="T0" fmla="*/ 565 w 682"/>
                    <a:gd name="T1" fmla="*/ 116 h 116"/>
                    <a:gd name="T2" fmla="*/ 682 w 682"/>
                    <a:gd name="T3" fmla="*/ 0 h 116"/>
                    <a:gd name="T4" fmla="*/ 0 w 682"/>
                    <a:gd name="T5" fmla="*/ 0 h 116"/>
                    <a:gd name="T6" fmla="*/ 196 w 682"/>
                    <a:gd name="T7" fmla="*/ 116 h 116"/>
                    <a:gd name="T8" fmla="*/ 565 w 682"/>
                    <a:gd name="T9" fmla="*/ 116 h 116"/>
                  </a:gdLst>
                  <a:ahLst/>
                  <a:cxnLst>
                    <a:cxn ang="0">
                      <a:pos x="T0" y="T1"/>
                    </a:cxn>
                    <a:cxn ang="0">
                      <a:pos x="T2" y="T3"/>
                    </a:cxn>
                    <a:cxn ang="0">
                      <a:pos x="T4" y="T5"/>
                    </a:cxn>
                    <a:cxn ang="0">
                      <a:pos x="T6" y="T7"/>
                    </a:cxn>
                    <a:cxn ang="0">
                      <a:pos x="T8" y="T9"/>
                    </a:cxn>
                  </a:cxnLst>
                  <a:rect l="0" t="0" r="r" b="b"/>
                  <a:pathLst>
                    <a:path w="682" h="116">
                      <a:moveTo>
                        <a:pt x="565" y="116"/>
                      </a:moveTo>
                      <a:cubicBezTo>
                        <a:pt x="630" y="116"/>
                        <a:pt x="682" y="64"/>
                        <a:pt x="682" y="0"/>
                      </a:cubicBezTo>
                      <a:cubicBezTo>
                        <a:pt x="0" y="0"/>
                        <a:pt x="0" y="0"/>
                        <a:pt x="0" y="0"/>
                      </a:cubicBezTo>
                      <a:cubicBezTo>
                        <a:pt x="196" y="116"/>
                        <a:pt x="196" y="116"/>
                        <a:pt x="196" y="116"/>
                      </a:cubicBezTo>
                      <a:lnTo>
                        <a:pt x="565" y="11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 name="Rectangle 136">
                  <a:extLst>
                    <a:ext uri="{FF2B5EF4-FFF2-40B4-BE49-F238E27FC236}">
                      <a16:creationId xmlns:a16="http://schemas.microsoft.com/office/drawing/2014/main" id="{6775BA55-9F60-40B9-81B5-0EF8E9C43304}"/>
                    </a:ext>
                  </a:extLst>
                </p:cNvPr>
                <p:cNvSpPr>
                  <a:spLocks noChangeArrowheads="1"/>
                </p:cNvSpPr>
                <p:nvPr userDrawn="1"/>
              </p:nvSpPr>
              <p:spPr bwMode="auto">
                <a:xfrm>
                  <a:off x="5848" y="1197"/>
                  <a:ext cx="311" cy="12"/>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 name="Oval 137">
                  <a:extLst>
                    <a:ext uri="{FF2B5EF4-FFF2-40B4-BE49-F238E27FC236}">
                      <a16:creationId xmlns:a16="http://schemas.microsoft.com/office/drawing/2014/main" id="{F390185E-9237-4ED2-8991-491D38EAA929}"/>
                    </a:ext>
                  </a:extLst>
                </p:cNvPr>
                <p:cNvSpPr>
                  <a:spLocks noChangeArrowheads="1"/>
                </p:cNvSpPr>
                <p:nvPr userDrawn="1"/>
              </p:nvSpPr>
              <p:spPr bwMode="auto">
                <a:xfrm>
                  <a:off x="5945" y="1226"/>
                  <a:ext cx="14" cy="14"/>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 name="Oval 138">
                  <a:extLst>
                    <a:ext uri="{FF2B5EF4-FFF2-40B4-BE49-F238E27FC236}">
                      <a16:creationId xmlns:a16="http://schemas.microsoft.com/office/drawing/2014/main" id="{9C22B856-6235-4B7C-A012-781CB3DFBFA5}"/>
                    </a:ext>
                  </a:extLst>
                </p:cNvPr>
                <p:cNvSpPr>
                  <a:spLocks noChangeArrowheads="1"/>
                </p:cNvSpPr>
                <p:nvPr userDrawn="1"/>
              </p:nvSpPr>
              <p:spPr bwMode="auto">
                <a:xfrm>
                  <a:off x="5970" y="1226"/>
                  <a:ext cx="15" cy="14"/>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2" name="Oval 139">
                  <a:extLst>
                    <a:ext uri="{FF2B5EF4-FFF2-40B4-BE49-F238E27FC236}">
                      <a16:creationId xmlns:a16="http://schemas.microsoft.com/office/drawing/2014/main" id="{64A45531-4129-4406-B9BF-08F20B00AC21}"/>
                    </a:ext>
                  </a:extLst>
                </p:cNvPr>
                <p:cNvSpPr>
                  <a:spLocks noChangeArrowheads="1"/>
                </p:cNvSpPr>
                <p:nvPr userDrawn="1"/>
              </p:nvSpPr>
              <p:spPr bwMode="auto">
                <a:xfrm>
                  <a:off x="5996" y="1226"/>
                  <a:ext cx="14" cy="14"/>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3" name="Rectangle 140">
                  <a:extLst>
                    <a:ext uri="{FF2B5EF4-FFF2-40B4-BE49-F238E27FC236}">
                      <a16:creationId xmlns:a16="http://schemas.microsoft.com/office/drawing/2014/main" id="{E81A1503-7D98-41A9-A3CF-0E716DF3CD52}"/>
                    </a:ext>
                  </a:extLst>
                </p:cNvPr>
                <p:cNvSpPr>
                  <a:spLocks noChangeArrowheads="1"/>
                </p:cNvSpPr>
                <p:nvPr userDrawn="1"/>
              </p:nvSpPr>
              <p:spPr bwMode="auto">
                <a:xfrm>
                  <a:off x="5959" y="1160"/>
                  <a:ext cx="38" cy="37"/>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 name="Rectangle 141">
                  <a:extLst>
                    <a:ext uri="{FF2B5EF4-FFF2-40B4-BE49-F238E27FC236}">
                      <a16:creationId xmlns:a16="http://schemas.microsoft.com/office/drawing/2014/main" id="{23328BE3-ADE1-4760-B4A4-1FC0AE6CA4FD}"/>
                    </a:ext>
                  </a:extLst>
                </p:cNvPr>
                <p:cNvSpPr>
                  <a:spLocks noChangeArrowheads="1"/>
                </p:cNvSpPr>
                <p:nvPr userDrawn="1"/>
              </p:nvSpPr>
              <p:spPr bwMode="auto">
                <a:xfrm>
                  <a:off x="5922" y="1160"/>
                  <a:ext cx="37"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 name="Rectangle 142">
                  <a:extLst>
                    <a:ext uri="{FF2B5EF4-FFF2-40B4-BE49-F238E27FC236}">
                      <a16:creationId xmlns:a16="http://schemas.microsoft.com/office/drawing/2014/main" id="{6777874A-520B-42E2-9315-941ECC201F51}"/>
                    </a:ext>
                  </a:extLst>
                </p:cNvPr>
                <p:cNvSpPr>
                  <a:spLocks noChangeArrowheads="1"/>
                </p:cNvSpPr>
                <p:nvPr userDrawn="1"/>
              </p:nvSpPr>
              <p:spPr bwMode="auto">
                <a:xfrm>
                  <a:off x="5922" y="1122"/>
                  <a:ext cx="37" cy="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 name="Rectangle 143">
                  <a:extLst>
                    <a:ext uri="{FF2B5EF4-FFF2-40B4-BE49-F238E27FC236}">
                      <a16:creationId xmlns:a16="http://schemas.microsoft.com/office/drawing/2014/main" id="{4D019A5D-1529-4927-81E9-CBD7F4A41ACF}"/>
                    </a:ext>
                  </a:extLst>
                </p:cNvPr>
                <p:cNvSpPr>
                  <a:spLocks noChangeArrowheads="1"/>
                </p:cNvSpPr>
                <p:nvPr userDrawn="1"/>
              </p:nvSpPr>
              <p:spPr bwMode="auto">
                <a:xfrm>
                  <a:off x="5997" y="1160"/>
                  <a:ext cx="38" cy="37"/>
                </a:xfrm>
                <a:prstGeom prst="rect">
                  <a:avLst/>
                </a:prstGeom>
                <a:solidFill>
                  <a:srgbClr val="0013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7" name="Rectangle 144">
                  <a:extLst>
                    <a:ext uri="{FF2B5EF4-FFF2-40B4-BE49-F238E27FC236}">
                      <a16:creationId xmlns:a16="http://schemas.microsoft.com/office/drawing/2014/main" id="{0D01EA47-B0FA-477E-BCFB-C788C9CFB8FF}"/>
                    </a:ext>
                  </a:extLst>
                </p:cNvPr>
                <p:cNvSpPr>
                  <a:spLocks noChangeArrowheads="1"/>
                </p:cNvSpPr>
                <p:nvPr userDrawn="1"/>
              </p:nvSpPr>
              <p:spPr bwMode="auto">
                <a:xfrm>
                  <a:off x="6035" y="1160"/>
                  <a:ext cx="38" cy="37"/>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 name="Rectangle 145">
                  <a:extLst>
                    <a:ext uri="{FF2B5EF4-FFF2-40B4-BE49-F238E27FC236}">
                      <a16:creationId xmlns:a16="http://schemas.microsoft.com/office/drawing/2014/main" id="{08F50CD9-1785-45DA-919F-089D49E7997C}"/>
                    </a:ext>
                  </a:extLst>
                </p:cNvPr>
                <p:cNvSpPr>
                  <a:spLocks noChangeArrowheads="1"/>
                </p:cNvSpPr>
                <p:nvPr userDrawn="1"/>
              </p:nvSpPr>
              <p:spPr bwMode="auto">
                <a:xfrm>
                  <a:off x="5959" y="1122"/>
                  <a:ext cx="38" cy="38"/>
                </a:xfrm>
                <a:prstGeom prst="rect">
                  <a:avLst/>
                </a:prstGeom>
                <a:solidFill>
                  <a:srgbClr val="0013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 name="Rectangle 146">
                  <a:extLst>
                    <a:ext uri="{FF2B5EF4-FFF2-40B4-BE49-F238E27FC236}">
                      <a16:creationId xmlns:a16="http://schemas.microsoft.com/office/drawing/2014/main" id="{F130CD5F-987D-40D8-A6F3-D6FF9B6BE8D9}"/>
                    </a:ext>
                  </a:extLst>
                </p:cNvPr>
                <p:cNvSpPr>
                  <a:spLocks noChangeArrowheads="1"/>
                </p:cNvSpPr>
                <p:nvPr userDrawn="1"/>
              </p:nvSpPr>
              <p:spPr bwMode="auto">
                <a:xfrm>
                  <a:off x="5997" y="1122"/>
                  <a:ext cx="38" cy="38"/>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 name="Rectangle 147">
                  <a:extLst>
                    <a:ext uri="{FF2B5EF4-FFF2-40B4-BE49-F238E27FC236}">
                      <a16:creationId xmlns:a16="http://schemas.microsoft.com/office/drawing/2014/main" id="{8B200253-24E1-4B23-AB41-5BEFCA51D219}"/>
                    </a:ext>
                  </a:extLst>
                </p:cNvPr>
                <p:cNvSpPr>
                  <a:spLocks noChangeArrowheads="1"/>
                </p:cNvSpPr>
                <p:nvPr userDrawn="1"/>
              </p:nvSpPr>
              <p:spPr bwMode="auto">
                <a:xfrm>
                  <a:off x="6048" y="1094"/>
                  <a:ext cx="10" cy="53"/>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1" name="Freeform 148">
                  <a:extLst>
                    <a:ext uri="{FF2B5EF4-FFF2-40B4-BE49-F238E27FC236}">
                      <a16:creationId xmlns:a16="http://schemas.microsoft.com/office/drawing/2014/main" id="{D70429FB-AA5D-4098-87FD-4012B0A0FED5}"/>
                    </a:ext>
                  </a:extLst>
                </p:cNvPr>
                <p:cNvSpPr>
                  <a:spLocks/>
                </p:cNvSpPr>
                <p:nvPr userDrawn="1"/>
              </p:nvSpPr>
              <p:spPr bwMode="auto">
                <a:xfrm>
                  <a:off x="5931" y="1251"/>
                  <a:ext cx="201" cy="12"/>
                </a:xfrm>
                <a:custGeom>
                  <a:avLst/>
                  <a:gdLst>
                    <a:gd name="T0" fmla="*/ 435 w 441"/>
                    <a:gd name="T1" fmla="*/ 0 h 26"/>
                    <a:gd name="T2" fmla="*/ 388 w 441"/>
                    <a:gd name="T3" fmla="*/ 0 h 26"/>
                    <a:gd name="T4" fmla="*/ 341 w 441"/>
                    <a:gd name="T5" fmla="*/ 0 h 26"/>
                    <a:gd name="T6" fmla="*/ 341 w 441"/>
                    <a:gd name="T7" fmla="*/ 0 h 26"/>
                    <a:gd name="T8" fmla="*/ 341 w 441"/>
                    <a:gd name="T9" fmla="*/ 0 h 26"/>
                    <a:gd name="T10" fmla="*/ 294 w 441"/>
                    <a:gd name="T11" fmla="*/ 0 h 26"/>
                    <a:gd name="T12" fmla="*/ 294 w 441"/>
                    <a:gd name="T13" fmla="*/ 0 h 26"/>
                    <a:gd name="T14" fmla="*/ 294 w 441"/>
                    <a:gd name="T15" fmla="*/ 0 h 26"/>
                    <a:gd name="T16" fmla="*/ 247 w 441"/>
                    <a:gd name="T17" fmla="*/ 0 h 26"/>
                    <a:gd name="T18" fmla="*/ 247 w 441"/>
                    <a:gd name="T19" fmla="*/ 1 h 26"/>
                    <a:gd name="T20" fmla="*/ 247 w 441"/>
                    <a:gd name="T21" fmla="*/ 0 h 26"/>
                    <a:gd name="T22" fmla="*/ 200 w 441"/>
                    <a:gd name="T23" fmla="*/ 0 h 26"/>
                    <a:gd name="T24" fmla="*/ 200 w 441"/>
                    <a:gd name="T25" fmla="*/ 1 h 26"/>
                    <a:gd name="T26" fmla="*/ 200 w 441"/>
                    <a:gd name="T27" fmla="*/ 0 h 26"/>
                    <a:gd name="T28" fmla="*/ 200 w 441"/>
                    <a:gd name="T29" fmla="*/ 0 h 26"/>
                    <a:gd name="T30" fmla="*/ 200 w 441"/>
                    <a:gd name="T31" fmla="*/ 1 h 26"/>
                    <a:gd name="T32" fmla="*/ 200 w 441"/>
                    <a:gd name="T33" fmla="*/ 0 h 26"/>
                    <a:gd name="T34" fmla="*/ 153 w 441"/>
                    <a:gd name="T35" fmla="*/ 0 h 26"/>
                    <a:gd name="T36" fmla="*/ 153 w 441"/>
                    <a:gd name="T37" fmla="*/ 1 h 26"/>
                    <a:gd name="T38" fmla="*/ 153 w 441"/>
                    <a:gd name="T39" fmla="*/ 0 h 26"/>
                    <a:gd name="T40" fmla="*/ 153 w 441"/>
                    <a:gd name="T41" fmla="*/ 1 h 26"/>
                    <a:gd name="T42" fmla="*/ 153 w 441"/>
                    <a:gd name="T43" fmla="*/ 0 h 26"/>
                    <a:gd name="T44" fmla="*/ 106 w 441"/>
                    <a:gd name="T45" fmla="*/ 0 h 26"/>
                    <a:gd name="T46" fmla="*/ 106 w 441"/>
                    <a:gd name="T47" fmla="*/ 1 h 26"/>
                    <a:gd name="T48" fmla="*/ 106 w 441"/>
                    <a:gd name="T49" fmla="*/ 0 h 26"/>
                    <a:gd name="T50" fmla="*/ 106 w 441"/>
                    <a:gd name="T51" fmla="*/ 1 h 26"/>
                    <a:gd name="T52" fmla="*/ 106 w 441"/>
                    <a:gd name="T53" fmla="*/ 0 h 26"/>
                    <a:gd name="T54" fmla="*/ 59 w 441"/>
                    <a:gd name="T55" fmla="*/ 0 h 26"/>
                    <a:gd name="T56" fmla="*/ 59 w 441"/>
                    <a:gd name="T57" fmla="*/ 1 h 26"/>
                    <a:gd name="T58" fmla="*/ 59 w 441"/>
                    <a:gd name="T59" fmla="*/ 1 h 26"/>
                    <a:gd name="T60" fmla="*/ 59 w 441"/>
                    <a:gd name="T61" fmla="*/ 0 h 26"/>
                    <a:gd name="T62" fmla="*/ 59 w 441"/>
                    <a:gd name="T63" fmla="*/ 0 h 26"/>
                    <a:gd name="T64" fmla="*/ 32 w 441"/>
                    <a:gd name="T65" fmla="*/ 17 h 26"/>
                    <a:gd name="T66" fmla="*/ 32 w 441"/>
                    <a:gd name="T67" fmla="*/ 17 h 26"/>
                    <a:gd name="T68" fmla="*/ 12 w 441"/>
                    <a:gd name="T69" fmla="*/ 0 h 26"/>
                    <a:gd name="T70" fmla="*/ 0 w 441"/>
                    <a:gd name="T71" fmla="*/ 15 h 26"/>
                    <a:gd name="T72" fmla="*/ 13 w 441"/>
                    <a:gd name="T73" fmla="*/ 26 h 26"/>
                    <a:gd name="T74" fmla="*/ 37 w 441"/>
                    <a:gd name="T75" fmla="*/ 26 h 26"/>
                    <a:gd name="T76" fmla="*/ 288 w 441"/>
                    <a:gd name="T77" fmla="*/ 26 h 26"/>
                    <a:gd name="T78" fmla="*/ 382 w 441"/>
                    <a:gd name="T79" fmla="*/ 26 h 26"/>
                    <a:gd name="T80" fmla="*/ 441 w 441"/>
                    <a:gd name="T81" fmla="*/ 10 h 26"/>
                    <a:gd name="T82" fmla="*/ 435 w 441"/>
                    <a:gd name="T8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41" h="26">
                      <a:moveTo>
                        <a:pt x="435" y="0"/>
                      </a:moveTo>
                      <a:cubicBezTo>
                        <a:pt x="428" y="23"/>
                        <a:pt x="395" y="23"/>
                        <a:pt x="388" y="0"/>
                      </a:cubicBezTo>
                      <a:cubicBezTo>
                        <a:pt x="382" y="20"/>
                        <a:pt x="343" y="26"/>
                        <a:pt x="341" y="0"/>
                      </a:cubicBezTo>
                      <a:cubicBezTo>
                        <a:pt x="341" y="0"/>
                        <a:pt x="341" y="0"/>
                        <a:pt x="341" y="0"/>
                      </a:cubicBezTo>
                      <a:cubicBezTo>
                        <a:pt x="341" y="0"/>
                        <a:pt x="341" y="0"/>
                        <a:pt x="341" y="0"/>
                      </a:cubicBezTo>
                      <a:cubicBezTo>
                        <a:pt x="334" y="23"/>
                        <a:pt x="301" y="23"/>
                        <a:pt x="294" y="0"/>
                      </a:cubicBezTo>
                      <a:cubicBezTo>
                        <a:pt x="294" y="0"/>
                        <a:pt x="294" y="0"/>
                        <a:pt x="294" y="0"/>
                      </a:cubicBezTo>
                      <a:cubicBezTo>
                        <a:pt x="294" y="0"/>
                        <a:pt x="294" y="0"/>
                        <a:pt x="294" y="0"/>
                      </a:cubicBezTo>
                      <a:cubicBezTo>
                        <a:pt x="287" y="23"/>
                        <a:pt x="254" y="23"/>
                        <a:pt x="247" y="0"/>
                      </a:cubicBezTo>
                      <a:cubicBezTo>
                        <a:pt x="247" y="1"/>
                        <a:pt x="247" y="1"/>
                        <a:pt x="247" y="1"/>
                      </a:cubicBezTo>
                      <a:cubicBezTo>
                        <a:pt x="247" y="0"/>
                        <a:pt x="247" y="0"/>
                        <a:pt x="247" y="0"/>
                      </a:cubicBezTo>
                      <a:cubicBezTo>
                        <a:pt x="240" y="23"/>
                        <a:pt x="207" y="23"/>
                        <a:pt x="200" y="0"/>
                      </a:cubicBezTo>
                      <a:cubicBezTo>
                        <a:pt x="200" y="1"/>
                        <a:pt x="200" y="1"/>
                        <a:pt x="200" y="1"/>
                      </a:cubicBezTo>
                      <a:cubicBezTo>
                        <a:pt x="200" y="0"/>
                        <a:pt x="200" y="0"/>
                        <a:pt x="200" y="0"/>
                      </a:cubicBezTo>
                      <a:cubicBezTo>
                        <a:pt x="200" y="0"/>
                        <a:pt x="200" y="0"/>
                        <a:pt x="200" y="0"/>
                      </a:cubicBezTo>
                      <a:cubicBezTo>
                        <a:pt x="200" y="1"/>
                        <a:pt x="200" y="1"/>
                        <a:pt x="200" y="1"/>
                      </a:cubicBezTo>
                      <a:cubicBezTo>
                        <a:pt x="200" y="1"/>
                        <a:pt x="200" y="1"/>
                        <a:pt x="200" y="0"/>
                      </a:cubicBezTo>
                      <a:cubicBezTo>
                        <a:pt x="193" y="23"/>
                        <a:pt x="160" y="23"/>
                        <a:pt x="153" y="0"/>
                      </a:cubicBezTo>
                      <a:cubicBezTo>
                        <a:pt x="153" y="1"/>
                        <a:pt x="153" y="1"/>
                        <a:pt x="153" y="1"/>
                      </a:cubicBezTo>
                      <a:cubicBezTo>
                        <a:pt x="153" y="0"/>
                        <a:pt x="153" y="0"/>
                        <a:pt x="153" y="0"/>
                      </a:cubicBezTo>
                      <a:cubicBezTo>
                        <a:pt x="153" y="1"/>
                        <a:pt x="153" y="1"/>
                        <a:pt x="153" y="1"/>
                      </a:cubicBezTo>
                      <a:cubicBezTo>
                        <a:pt x="153" y="1"/>
                        <a:pt x="153" y="1"/>
                        <a:pt x="153" y="0"/>
                      </a:cubicBezTo>
                      <a:cubicBezTo>
                        <a:pt x="146" y="22"/>
                        <a:pt x="113" y="23"/>
                        <a:pt x="106" y="0"/>
                      </a:cubicBezTo>
                      <a:cubicBezTo>
                        <a:pt x="106" y="0"/>
                        <a:pt x="106" y="1"/>
                        <a:pt x="106" y="1"/>
                      </a:cubicBezTo>
                      <a:cubicBezTo>
                        <a:pt x="106" y="1"/>
                        <a:pt x="106" y="1"/>
                        <a:pt x="106" y="0"/>
                      </a:cubicBezTo>
                      <a:cubicBezTo>
                        <a:pt x="106" y="1"/>
                        <a:pt x="106" y="1"/>
                        <a:pt x="106" y="1"/>
                      </a:cubicBezTo>
                      <a:cubicBezTo>
                        <a:pt x="106" y="0"/>
                        <a:pt x="106" y="0"/>
                        <a:pt x="106" y="0"/>
                      </a:cubicBezTo>
                      <a:cubicBezTo>
                        <a:pt x="99" y="23"/>
                        <a:pt x="66" y="23"/>
                        <a:pt x="59" y="0"/>
                      </a:cubicBezTo>
                      <a:cubicBezTo>
                        <a:pt x="59" y="1"/>
                        <a:pt x="59" y="1"/>
                        <a:pt x="59" y="1"/>
                      </a:cubicBezTo>
                      <a:cubicBezTo>
                        <a:pt x="59" y="1"/>
                        <a:pt x="59" y="1"/>
                        <a:pt x="59" y="1"/>
                      </a:cubicBezTo>
                      <a:cubicBezTo>
                        <a:pt x="59" y="0"/>
                        <a:pt x="59" y="0"/>
                        <a:pt x="59" y="0"/>
                      </a:cubicBezTo>
                      <a:cubicBezTo>
                        <a:pt x="59" y="0"/>
                        <a:pt x="59" y="0"/>
                        <a:pt x="59" y="0"/>
                      </a:cubicBezTo>
                      <a:cubicBezTo>
                        <a:pt x="56" y="12"/>
                        <a:pt x="44" y="19"/>
                        <a:pt x="32" y="17"/>
                      </a:cubicBezTo>
                      <a:cubicBezTo>
                        <a:pt x="32" y="17"/>
                        <a:pt x="32" y="17"/>
                        <a:pt x="32" y="17"/>
                      </a:cubicBezTo>
                      <a:cubicBezTo>
                        <a:pt x="23" y="16"/>
                        <a:pt x="15" y="9"/>
                        <a:pt x="12" y="0"/>
                      </a:cubicBezTo>
                      <a:cubicBezTo>
                        <a:pt x="10" y="7"/>
                        <a:pt x="6" y="12"/>
                        <a:pt x="0" y="15"/>
                      </a:cubicBezTo>
                      <a:cubicBezTo>
                        <a:pt x="13" y="26"/>
                        <a:pt x="13" y="26"/>
                        <a:pt x="13" y="26"/>
                      </a:cubicBezTo>
                      <a:cubicBezTo>
                        <a:pt x="37" y="26"/>
                        <a:pt x="37" y="26"/>
                        <a:pt x="37" y="26"/>
                      </a:cubicBezTo>
                      <a:cubicBezTo>
                        <a:pt x="288" y="26"/>
                        <a:pt x="288" y="26"/>
                        <a:pt x="288" y="26"/>
                      </a:cubicBezTo>
                      <a:cubicBezTo>
                        <a:pt x="382" y="26"/>
                        <a:pt x="382" y="26"/>
                        <a:pt x="382" y="26"/>
                      </a:cubicBezTo>
                      <a:cubicBezTo>
                        <a:pt x="404" y="26"/>
                        <a:pt x="423" y="20"/>
                        <a:pt x="441" y="10"/>
                      </a:cubicBezTo>
                      <a:cubicBezTo>
                        <a:pt x="438" y="7"/>
                        <a:pt x="436" y="4"/>
                        <a:pt x="435" y="0"/>
                      </a:cubicBez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2" name="Freeform 149">
                  <a:extLst>
                    <a:ext uri="{FF2B5EF4-FFF2-40B4-BE49-F238E27FC236}">
                      <a16:creationId xmlns:a16="http://schemas.microsoft.com/office/drawing/2014/main" id="{B81C486D-7118-4A13-B8A1-CF10746AAD37}"/>
                    </a:ext>
                  </a:extLst>
                </p:cNvPr>
                <p:cNvSpPr>
                  <a:spLocks/>
                </p:cNvSpPr>
                <p:nvPr userDrawn="1"/>
              </p:nvSpPr>
              <p:spPr bwMode="auto">
                <a:xfrm>
                  <a:off x="6354" y="762"/>
                  <a:ext cx="18" cy="60"/>
                </a:xfrm>
                <a:custGeom>
                  <a:avLst/>
                  <a:gdLst>
                    <a:gd name="T0" fmla="*/ 18 w 18"/>
                    <a:gd name="T1" fmla="*/ 60 h 60"/>
                    <a:gd name="T2" fmla="*/ 0 w 18"/>
                    <a:gd name="T3" fmla="*/ 60 h 60"/>
                    <a:gd name="T4" fmla="*/ 9 w 18"/>
                    <a:gd name="T5" fmla="*/ 0 h 60"/>
                    <a:gd name="T6" fmla="*/ 18 w 18"/>
                    <a:gd name="T7" fmla="*/ 60 h 60"/>
                  </a:gdLst>
                  <a:ahLst/>
                  <a:cxnLst>
                    <a:cxn ang="0">
                      <a:pos x="T0" y="T1"/>
                    </a:cxn>
                    <a:cxn ang="0">
                      <a:pos x="T2" y="T3"/>
                    </a:cxn>
                    <a:cxn ang="0">
                      <a:pos x="T4" y="T5"/>
                    </a:cxn>
                    <a:cxn ang="0">
                      <a:pos x="T6" y="T7"/>
                    </a:cxn>
                  </a:cxnLst>
                  <a:rect l="0" t="0" r="r" b="b"/>
                  <a:pathLst>
                    <a:path w="18" h="60">
                      <a:moveTo>
                        <a:pt x="18" y="60"/>
                      </a:moveTo>
                      <a:lnTo>
                        <a:pt x="0" y="60"/>
                      </a:lnTo>
                      <a:lnTo>
                        <a:pt x="9" y="0"/>
                      </a:lnTo>
                      <a:lnTo>
                        <a:pt x="18" y="6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3" name="Freeform 150">
                  <a:extLst>
                    <a:ext uri="{FF2B5EF4-FFF2-40B4-BE49-F238E27FC236}">
                      <a16:creationId xmlns:a16="http://schemas.microsoft.com/office/drawing/2014/main" id="{450F7E0E-00B3-4FE4-BBCD-14A66F5EA688}"/>
                    </a:ext>
                  </a:extLst>
                </p:cNvPr>
                <p:cNvSpPr>
                  <a:spLocks/>
                </p:cNvSpPr>
                <p:nvPr userDrawn="1"/>
              </p:nvSpPr>
              <p:spPr bwMode="auto">
                <a:xfrm>
                  <a:off x="6333" y="841"/>
                  <a:ext cx="61" cy="168"/>
                </a:xfrm>
                <a:custGeom>
                  <a:avLst/>
                  <a:gdLst>
                    <a:gd name="T0" fmla="*/ 128 w 134"/>
                    <a:gd name="T1" fmla="*/ 0 h 372"/>
                    <a:gd name="T2" fmla="*/ 117 w 134"/>
                    <a:gd name="T3" fmla="*/ 0 h 372"/>
                    <a:gd name="T4" fmla="*/ 16 w 134"/>
                    <a:gd name="T5" fmla="*/ 0 h 372"/>
                    <a:gd name="T6" fmla="*/ 6 w 134"/>
                    <a:gd name="T7" fmla="*/ 0 h 372"/>
                    <a:gd name="T8" fmla="*/ 0 w 134"/>
                    <a:gd name="T9" fmla="*/ 5 h 372"/>
                    <a:gd name="T10" fmla="*/ 0 w 134"/>
                    <a:gd name="T11" fmla="*/ 372 h 372"/>
                    <a:gd name="T12" fmla="*/ 16 w 134"/>
                    <a:gd name="T13" fmla="*/ 372 h 372"/>
                    <a:gd name="T14" fmla="*/ 117 w 134"/>
                    <a:gd name="T15" fmla="*/ 372 h 372"/>
                    <a:gd name="T16" fmla="*/ 134 w 134"/>
                    <a:gd name="T17" fmla="*/ 372 h 372"/>
                    <a:gd name="T18" fmla="*/ 134 w 134"/>
                    <a:gd name="T19" fmla="*/ 5 h 372"/>
                    <a:gd name="T20" fmla="*/ 128 w 134"/>
                    <a:gd name="T21"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 h="372">
                      <a:moveTo>
                        <a:pt x="128" y="0"/>
                      </a:moveTo>
                      <a:cubicBezTo>
                        <a:pt x="117" y="0"/>
                        <a:pt x="117" y="0"/>
                        <a:pt x="117" y="0"/>
                      </a:cubicBezTo>
                      <a:cubicBezTo>
                        <a:pt x="16" y="0"/>
                        <a:pt x="16" y="0"/>
                        <a:pt x="16" y="0"/>
                      </a:cubicBezTo>
                      <a:cubicBezTo>
                        <a:pt x="6" y="0"/>
                        <a:pt x="6" y="0"/>
                        <a:pt x="6" y="0"/>
                      </a:cubicBezTo>
                      <a:cubicBezTo>
                        <a:pt x="3" y="0"/>
                        <a:pt x="0" y="2"/>
                        <a:pt x="0" y="5"/>
                      </a:cubicBezTo>
                      <a:cubicBezTo>
                        <a:pt x="0" y="372"/>
                        <a:pt x="0" y="372"/>
                        <a:pt x="0" y="372"/>
                      </a:cubicBezTo>
                      <a:cubicBezTo>
                        <a:pt x="16" y="372"/>
                        <a:pt x="16" y="372"/>
                        <a:pt x="16" y="372"/>
                      </a:cubicBezTo>
                      <a:cubicBezTo>
                        <a:pt x="117" y="372"/>
                        <a:pt x="117" y="372"/>
                        <a:pt x="117" y="372"/>
                      </a:cubicBezTo>
                      <a:cubicBezTo>
                        <a:pt x="134" y="372"/>
                        <a:pt x="134" y="372"/>
                        <a:pt x="134" y="372"/>
                      </a:cubicBezTo>
                      <a:cubicBezTo>
                        <a:pt x="134" y="5"/>
                        <a:pt x="134" y="5"/>
                        <a:pt x="134" y="5"/>
                      </a:cubicBezTo>
                      <a:cubicBezTo>
                        <a:pt x="134" y="2"/>
                        <a:pt x="131" y="0"/>
                        <a:pt x="12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4" name="Freeform 151">
                  <a:extLst>
                    <a:ext uri="{FF2B5EF4-FFF2-40B4-BE49-F238E27FC236}">
                      <a16:creationId xmlns:a16="http://schemas.microsoft.com/office/drawing/2014/main" id="{3B972431-3A82-4495-BD4F-4A9E18872D2F}"/>
                    </a:ext>
                  </a:extLst>
                </p:cNvPr>
                <p:cNvSpPr>
                  <a:spLocks/>
                </p:cNvSpPr>
                <p:nvPr userDrawn="1"/>
              </p:nvSpPr>
              <p:spPr bwMode="auto">
                <a:xfrm>
                  <a:off x="6345" y="822"/>
                  <a:ext cx="36" cy="19"/>
                </a:xfrm>
                <a:custGeom>
                  <a:avLst/>
                  <a:gdLst>
                    <a:gd name="T0" fmla="*/ 79 w 79"/>
                    <a:gd name="T1" fmla="*/ 41 h 41"/>
                    <a:gd name="T2" fmla="*/ 79 w 79"/>
                    <a:gd name="T3" fmla="*/ 6 h 41"/>
                    <a:gd name="T4" fmla="*/ 74 w 79"/>
                    <a:gd name="T5" fmla="*/ 0 h 41"/>
                    <a:gd name="T6" fmla="*/ 63 w 79"/>
                    <a:gd name="T7" fmla="*/ 0 h 41"/>
                    <a:gd name="T8" fmla="*/ 17 w 79"/>
                    <a:gd name="T9" fmla="*/ 0 h 41"/>
                    <a:gd name="T10" fmla="*/ 6 w 79"/>
                    <a:gd name="T11" fmla="*/ 0 h 41"/>
                    <a:gd name="T12" fmla="*/ 0 w 79"/>
                    <a:gd name="T13" fmla="*/ 6 h 41"/>
                    <a:gd name="T14" fmla="*/ 0 w 79"/>
                    <a:gd name="T15" fmla="*/ 41 h 41"/>
                    <a:gd name="T16" fmla="*/ 79 w 79"/>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41">
                      <a:moveTo>
                        <a:pt x="79" y="41"/>
                      </a:moveTo>
                      <a:cubicBezTo>
                        <a:pt x="79" y="6"/>
                        <a:pt x="79" y="6"/>
                        <a:pt x="79" y="6"/>
                      </a:cubicBezTo>
                      <a:cubicBezTo>
                        <a:pt x="79" y="3"/>
                        <a:pt x="77" y="0"/>
                        <a:pt x="74" y="0"/>
                      </a:cubicBezTo>
                      <a:cubicBezTo>
                        <a:pt x="63" y="0"/>
                        <a:pt x="63" y="0"/>
                        <a:pt x="63" y="0"/>
                      </a:cubicBezTo>
                      <a:cubicBezTo>
                        <a:pt x="17" y="0"/>
                        <a:pt x="17" y="0"/>
                        <a:pt x="17" y="0"/>
                      </a:cubicBezTo>
                      <a:cubicBezTo>
                        <a:pt x="6" y="0"/>
                        <a:pt x="6" y="0"/>
                        <a:pt x="6" y="0"/>
                      </a:cubicBezTo>
                      <a:cubicBezTo>
                        <a:pt x="3" y="0"/>
                        <a:pt x="0" y="3"/>
                        <a:pt x="0" y="6"/>
                      </a:cubicBezTo>
                      <a:cubicBezTo>
                        <a:pt x="0" y="41"/>
                        <a:pt x="0" y="41"/>
                        <a:pt x="0" y="41"/>
                      </a:cubicBezTo>
                      <a:lnTo>
                        <a:pt x="79" y="41"/>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5" name="Freeform 152">
                  <a:extLst>
                    <a:ext uri="{FF2B5EF4-FFF2-40B4-BE49-F238E27FC236}">
                      <a16:creationId xmlns:a16="http://schemas.microsoft.com/office/drawing/2014/main" id="{777CB8F9-8FD8-4BAA-B293-BDA7BFB97AEF}"/>
                    </a:ext>
                  </a:extLst>
                </p:cNvPr>
                <p:cNvSpPr>
                  <a:spLocks/>
                </p:cNvSpPr>
                <p:nvPr userDrawn="1"/>
              </p:nvSpPr>
              <p:spPr bwMode="auto">
                <a:xfrm>
                  <a:off x="6345" y="822"/>
                  <a:ext cx="36" cy="19"/>
                </a:xfrm>
                <a:custGeom>
                  <a:avLst/>
                  <a:gdLst>
                    <a:gd name="T0" fmla="*/ 79 w 79"/>
                    <a:gd name="T1" fmla="*/ 41 h 41"/>
                    <a:gd name="T2" fmla="*/ 79 w 79"/>
                    <a:gd name="T3" fmla="*/ 6 h 41"/>
                    <a:gd name="T4" fmla="*/ 74 w 79"/>
                    <a:gd name="T5" fmla="*/ 0 h 41"/>
                    <a:gd name="T6" fmla="*/ 63 w 79"/>
                    <a:gd name="T7" fmla="*/ 0 h 41"/>
                    <a:gd name="T8" fmla="*/ 17 w 79"/>
                    <a:gd name="T9" fmla="*/ 0 h 41"/>
                    <a:gd name="T10" fmla="*/ 6 w 79"/>
                    <a:gd name="T11" fmla="*/ 0 h 41"/>
                    <a:gd name="T12" fmla="*/ 0 w 79"/>
                    <a:gd name="T13" fmla="*/ 6 h 41"/>
                    <a:gd name="T14" fmla="*/ 0 w 79"/>
                    <a:gd name="T15" fmla="*/ 41 h 41"/>
                    <a:gd name="T16" fmla="*/ 79 w 79"/>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41">
                      <a:moveTo>
                        <a:pt x="79" y="41"/>
                      </a:moveTo>
                      <a:cubicBezTo>
                        <a:pt x="79" y="6"/>
                        <a:pt x="79" y="6"/>
                        <a:pt x="79" y="6"/>
                      </a:cubicBezTo>
                      <a:cubicBezTo>
                        <a:pt x="79" y="3"/>
                        <a:pt x="77" y="0"/>
                        <a:pt x="74" y="0"/>
                      </a:cubicBezTo>
                      <a:cubicBezTo>
                        <a:pt x="63" y="0"/>
                        <a:pt x="63" y="0"/>
                        <a:pt x="63" y="0"/>
                      </a:cubicBezTo>
                      <a:cubicBezTo>
                        <a:pt x="17" y="0"/>
                        <a:pt x="17" y="0"/>
                        <a:pt x="17" y="0"/>
                      </a:cubicBezTo>
                      <a:cubicBezTo>
                        <a:pt x="6" y="0"/>
                        <a:pt x="6" y="0"/>
                        <a:pt x="6" y="0"/>
                      </a:cubicBezTo>
                      <a:cubicBezTo>
                        <a:pt x="3" y="0"/>
                        <a:pt x="0" y="3"/>
                        <a:pt x="0" y="6"/>
                      </a:cubicBezTo>
                      <a:cubicBezTo>
                        <a:pt x="0" y="41"/>
                        <a:pt x="0" y="41"/>
                        <a:pt x="0" y="41"/>
                      </a:cubicBezTo>
                      <a:lnTo>
                        <a:pt x="79" y="41"/>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6" name="Rectangle 153">
                  <a:extLst>
                    <a:ext uri="{FF2B5EF4-FFF2-40B4-BE49-F238E27FC236}">
                      <a16:creationId xmlns:a16="http://schemas.microsoft.com/office/drawing/2014/main" id="{78C14686-A269-4EE7-BCBA-1F5B297125CE}"/>
                    </a:ext>
                  </a:extLst>
                </p:cNvPr>
                <p:cNvSpPr>
                  <a:spLocks noChangeArrowheads="1"/>
                </p:cNvSpPr>
                <p:nvPr userDrawn="1"/>
              </p:nvSpPr>
              <p:spPr bwMode="auto">
                <a:xfrm>
                  <a:off x="6341" y="851"/>
                  <a:ext cx="4" cy="1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7" name="Rectangle 154">
                  <a:extLst>
                    <a:ext uri="{FF2B5EF4-FFF2-40B4-BE49-F238E27FC236}">
                      <a16:creationId xmlns:a16="http://schemas.microsoft.com/office/drawing/2014/main" id="{61657171-6EC4-4C1D-9D94-3E84FF8EB235}"/>
                    </a:ext>
                  </a:extLst>
                </p:cNvPr>
                <p:cNvSpPr>
                  <a:spLocks noChangeArrowheads="1"/>
                </p:cNvSpPr>
                <p:nvPr userDrawn="1"/>
              </p:nvSpPr>
              <p:spPr bwMode="auto">
                <a:xfrm>
                  <a:off x="6348" y="851"/>
                  <a:ext cx="3" cy="1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8" name="Rectangle 155">
                  <a:extLst>
                    <a:ext uri="{FF2B5EF4-FFF2-40B4-BE49-F238E27FC236}">
                      <a16:creationId xmlns:a16="http://schemas.microsoft.com/office/drawing/2014/main" id="{80C043C6-1C27-4DFA-B82D-688E7C50B01B}"/>
                    </a:ext>
                  </a:extLst>
                </p:cNvPr>
                <p:cNvSpPr>
                  <a:spLocks noChangeArrowheads="1"/>
                </p:cNvSpPr>
                <p:nvPr userDrawn="1"/>
              </p:nvSpPr>
              <p:spPr bwMode="auto">
                <a:xfrm>
                  <a:off x="6354" y="851"/>
                  <a:ext cx="4" cy="1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9" name="Rectangle 156">
                  <a:extLst>
                    <a:ext uri="{FF2B5EF4-FFF2-40B4-BE49-F238E27FC236}">
                      <a16:creationId xmlns:a16="http://schemas.microsoft.com/office/drawing/2014/main" id="{A7097C74-69A7-4F36-A7B9-49FB61D14B26}"/>
                    </a:ext>
                  </a:extLst>
                </p:cNvPr>
                <p:cNvSpPr>
                  <a:spLocks noChangeArrowheads="1"/>
                </p:cNvSpPr>
                <p:nvPr userDrawn="1"/>
              </p:nvSpPr>
              <p:spPr bwMode="auto">
                <a:xfrm>
                  <a:off x="6361" y="851"/>
                  <a:ext cx="4" cy="1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0" name="Rectangle 157">
                  <a:extLst>
                    <a:ext uri="{FF2B5EF4-FFF2-40B4-BE49-F238E27FC236}">
                      <a16:creationId xmlns:a16="http://schemas.microsoft.com/office/drawing/2014/main" id="{A7040A78-E4B7-472F-8A23-6B60CCC6AA67}"/>
                    </a:ext>
                  </a:extLst>
                </p:cNvPr>
                <p:cNvSpPr>
                  <a:spLocks noChangeArrowheads="1"/>
                </p:cNvSpPr>
                <p:nvPr userDrawn="1"/>
              </p:nvSpPr>
              <p:spPr bwMode="auto">
                <a:xfrm>
                  <a:off x="6368" y="851"/>
                  <a:ext cx="4" cy="1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1" name="Rectangle 158">
                  <a:extLst>
                    <a:ext uri="{FF2B5EF4-FFF2-40B4-BE49-F238E27FC236}">
                      <a16:creationId xmlns:a16="http://schemas.microsoft.com/office/drawing/2014/main" id="{4290B9EF-0B7B-45F6-97DE-1829C4D45471}"/>
                    </a:ext>
                  </a:extLst>
                </p:cNvPr>
                <p:cNvSpPr>
                  <a:spLocks noChangeArrowheads="1"/>
                </p:cNvSpPr>
                <p:nvPr userDrawn="1"/>
              </p:nvSpPr>
              <p:spPr bwMode="auto">
                <a:xfrm>
                  <a:off x="6375" y="851"/>
                  <a:ext cx="4" cy="1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2" name="Rectangle 159">
                  <a:extLst>
                    <a:ext uri="{FF2B5EF4-FFF2-40B4-BE49-F238E27FC236}">
                      <a16:creationId xmlns:a16="http://schemas.microsoft.com/office/drawing/2014/main" id="{96132D21-A192-4806-8FDC-22EFC867F217}"/>
                    </a:ext>
                  </a:extLst>
                </p:cNvPr>
                <p:cNvSpPr>
                  <a:spLocks noChangeArrowheads="1"/>
                </p:cNvSpPr>
                <p:nvPr userDrawn="1"/>
              </p:nvSpPr>
              <p:spPr bwMode="auto">
                <a:xfrm>
                  <a:off x="6381" y="851"/>
                  <a:ext cx="4" cy="1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3" name="Freeform 160">
                  <a:extLst>
                    <a:ext uri="{FF2B5EF4-FFF2-40B4-BE49-F238E27FC236}">
                      <a16:creationId xmlns:a16="http://schemas.microsoft.com/office/drawing/2014/main" id="{47F46071-0D9A-4DE2-A75B-1FE6B164335F}"/>
                    </a:ext>
                  </a:extLst>
                </p:cNvPr>
                <p:cNvSpPr>
                  <a:spLocks noEditPoints="1"/>
                </p:cNvSpPr>
                <p:nvPr userDrawn="1"/>
              </p:nvSpPr>
              <p:spPr bwMode="auto">
                <a:xfrm>
                  <a:off x="6260" y="839"/>
                  <a:ext cx="73" cy="170"/>
                </a:xfrm>
                <a:custGeom>
                  <a:avLst/>
                  <a:gdLst>
                    <a:gd name="T0" fmla="*/ 67 w 73"/>
                    <a:gd name="T1" fmla="*/ 26 h 170"/>
                    <a:gd name="T2" fmla="*/ 38 w 73"/>
                    <a:gd name="T3" fmla="*/ 10 h 170"/>
                    <a:gd name="T4" fmla="*/ 35 w 73"/>
                    <a:gd name="T5" fmla="*/ 0 h 170"/>
                    <a:gd name="T6" fmla="*/ 6 w 73"/>
                    <a:gd name="T7" fmla="*/ 26 h 170"/>
                    <a:gd name="T8" fmla="*/ 73 w 73"/>
                    <a:gd name="T9" fmla="*/ 170 h 170"/>
                    <a:gd name="T10" fmla="*/ 54 w 73"/>
                    <a:gd name="T11" fmla="*/ 54 h 170"/>
                    <a:gd name="T12" fmla="*/ 54 w 73"/>
                    <a:gd name="T13" fmla="*/ 65 h 170"/>
                    <a:gd name="T14" fmla="*/ 46 w 73"/>
                    <a:gd name="T15" fmla="*/ 83 h 170"/>
                    <a:gd name="T16" fmla="*/ 46 w 73"/>
                    <a:gd name="T17" fmla="*/ 83 h 170"/>
                    <a:gd name="T18" fmla="*/ 46 w 73"/>
                    <a:gd name="T19" fmla="*/ 116 h 170"/>
                    <a:gd name="T20" fmla="*/ 14 w 73"/>
                    <a:gd name="T21" fmla="*/ 54 h 170"/>
                    <a:gd name="T22" fmla="*/ 14 w 73"/>
                    <a:gd name="T23" fmla="*/ 65 h 170"/>
                    <a:gd name="T24" fmla="*/ 6 w 73"/>
                    <a:gd name="T25" fmla="*/ 83 h 170"/>
                    <a:gd name="T26" fmla="*/ 6 w 73"/>
                    <a:gd name="T27" fmla="*/ 83 h 170"/>
                    <a:gd name="T28" fmla="*/ 6 w 73"/>
                    <a:gd name="T29" fmla="*/ 116 h 170"/>
                    <a:gd name="T30" fmla="*/ 14 w 73"/>
                    <a:gd name="T31" fmla="*/ 134 h 170"/>
                    <a:gd name="T32" fmla="*/ 6 w 73"/>
                    <a:gd name="T33" fmla="*/ 165 h 170"/>
                    <a:gd name="T34" fmla="*/ 15 w 73"/>
                    <a:gd name="T35" fmla="*/ 165 h 170"/>
                    <a:gd name="T36" fmla="*/ 15 w 73"/>
                    <a:gd name="T37" fmla="*/ 165 h 170"/>
                    <a:gd name="T38" fmla="*/ 21 w 73"/>
                    <a:gd name="T39" fmla="*/ 145 h 170"/>
                    <a:gd name="T40" fmla="*/ 24 w 73"/>
                    <a:gd name="T41" fmla="*/ 145 h 170"/>
                    <a:gd name="T42" fmla="*/ 20 w 73"/>
                    <a:gd name="T43" fmla="*/ 134 h 170"/>
                    <a:gd name="T44" fmla="*/ 27 w 73"/>
                    <a:gd name="T45" fmla="*/ 116 h 170"/>
                    <a:gd name="T46" fmla="*/ 27 w 73"/>
                    <a:gd name="T47" fmla="*/ 116 h 170"/>
                    <a:gd name="T48" fmla="*/ 27 w 73"/>
                    <a:gd name="T49" fmla="*/ 83 h 170"/>
                    <a:gd name="T50" fmla="*/ 20 w 73"/>
                    <a:gd name="T51" fmla="*/ 65 h 170"/>
                    <a:gd name="T52" fmla="*/ 20 w 73"/>
                    <a:gd name="T53" fmla="*/ 54 h 170"/>
                    <a:gd name="T54" fmla="*/ 32 w 73"/>
                    <a:gd name="T55" fmla="*/ 165 h 170"/>
                    <a:gd name="T56" fmla="*/ 32 w 73"/>
                    <a:gd name="T57" fmla="*/ 165 h 170"/>
                    <a:gd name="T58" fmla="*/ 38 w 73"/>
                    <a:gd name="T59" fmla="*/ 145 h 170"/>
                    <a:gd name="T60" fmla="*/ 33 w 73"/>
                    <a:gd name="T61" fmla="*/ 120 h 170"/>
                    <a:gd name="T62" fmla="*/ 33 w 73"/>
                    <a:gd name="T63" fmla="*/ 116 h 170"/>
                    <a:gd name="T64" fmla="*/ 41 w 73"/>
                    <a:gd name="T65" fmla="*/ 98 h 170"/>
                    <a:gd name="T66" fmla="*/ 41 w 73"/>
                    <a:gd name="T67" fmla="*/ 98 h 170"/>
                    <a:gd name="T68" fmla="*/ 41 w 73"/>
                    <a:gd name="T69" fmla="*/ 65 h 170"/>
                    <a:gd name="T70" fmla="*/ 33 w 73"/>
                    <a:gd name="T71" fmla="*/ 40 h 170"/>
                    <a:gd name="T72" fmla="*/ 41 w 73"/>
                    <a:gd name="T73" fmla="*/ 165 h 170"/>
                    <a:gd name="T74" fmla="*/ 46 w 73"/>
                    <a:gd name="T75" fmla="*/ 120 h 170"/>
                    <a:gd name="T76" fmla="*/ 46 w 73"/>
                    <a:gd name="T77" fmla="*/ 120 h 170"/>
                    <a:gd name="T78" fmla="*/ 50 w 73"/>
                    <a:gd name="T79" fmla="*/ 145 h 170"/>
                    <a:gd name="T80" fmla="*/ 52 w 73"/>
                    <a:gd name="T81" fmla="*/ 145 h 170"/>
                    <a:gd name="T82" fmla="*/ 58 w 73"/>
                    <a:gd name="T83" fmla="*/ 165 h 170"/>
                    <a:gd name="T84" fmla="*/ 67 w 73"/>
                    <a:gd name="T85" fmla="*/ 165 h 170"/>
                    <a:gd name="T86" fmla="*/ 67 w 73"/>
                    <a:gd name="T87" fmla="*/ 165 h 170"/>
                    <a:gd name="T88" fmla="*/ 67 w 73"/>
                    <a:gd name="T89" fmla="*/ 120 h 170"/>
                    <a:gd name="T90" fmla="*/ 59 w 73"/>
                    <a:gd name="T91" fmla="*/ 101 h 170"/>
                    <a:gd name="T92" fmla="*/ 59 w 73"/>
                    <a:gd name="T93" fmla="*/ 98 h 170"/>
                    <a:gd name="T94" fmla="*/ 67 w 73"/>
                    <a:gd name="T95" fmla="*/ 80 h 170"/>
                    <a:gd name="T96" fmla="*/ 67 w 73"/>
                    <a:gd name="T97" fmla="*/ 80 h 170"/>
                    <a:gd name="T98" fmla="*/ 67 w 73"/>
                    <a:gd name="T99" fmla="*/ 4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3" h="170">
                      <a:moveTo>
                        <a:pt x="73" y="37"/>
                      </a:moveTo>
                      <a:lnTo>
                        <a:pt x="73" y="32"/>
                      </a:lnTo>
                      <a:lnTo>
                        <a:pt x="67" y="32"/>
                      </a:lnTo>
                      <a:lnTo>
                        <a:pt x="67" y="26"/>
                      </a:lnTo>
                      <a:lnTo>
                        <a:pt x="61" y="26"/>
                      </a:lnTo>
                      <a:lnTo>
                        <a:pt x="61" y="20"/>
                      </a:lnTo>
                      <a:lnTo>
                        <a:pt x="38" y="20"/>
                      </a:lnTo>
                      <a:lnTo>
                        <a:pt x="38" y="10"/>
                      </a:lnTo>
                      <a:lnTo>
                        <a:pt x="49" y="10"/>
                      </a:lnTo>
                      <a:lnTo>
                        <a:pt x="38" y="2"/>
                      </a:lnTo>
                      <a:lnTo>
                        <a:pt x="38" y="0"/>
                      </a:lnTo>
                      <a:lnTo>
                        <a:pt x="35" y="0"/>
                      </a:lnTo>
                      <a:lnTo>
                        <a:pt x="35" y="20"/>
                      </a:lnTo>
                      <a:lnTo>
                        <a:pt x="12" y="20"/>
                      </a:lnTo>
                      <a:lnTo>
                        <a:pt x="12" y="26"/>
                      </a:lnTo>
                      <a:lnTo>
                        <a:pt x="6" y="26"/>
                      </a:lnTo>
                      <a:lnTo>
                        <a:pt x="6" y="32"/>
                      </a:lnTo>
                      <a:lnTo>
                        <a:pt x="0" y="32"/>
                      </a:lnTo>
                      <a:lnTo>
                        <a:pt x="0" y="170"/>
                      </a:lnTo>
                      <a:lnTo>
                        <a:pt x="73" y="170"/>
                      </a:lnTo>
                      <a:lnTo>
                        <a:pt x="73" y="37"/>
                      </a:lnTo>
                      <a:close/>
                      <a:moveTo>
                        <a:pt x="46" y="40"/>
                      </a:moveTo>
                      <a:lnTo>
                        <a:pt x="54" y="40"/>
                      </a:lnTo>
                      <a:lnTo>
                        <a:pt x="54" y="54"/>
                      </a:lnTo>
                      <a:lnTo>
                        <a:pt x="46" y="54"/>
                      </a:lnTo>
                      <a:lnTo>
                        <a:pt x="46" y="40"/>
                      </a:lnTo>
                      <a:close/>
                      <a:moveTo>
                        <a:pt x="46" y="65"/>
                      </a:moveTo>
                      <a:lnTo>
                        <a:pt x="54" y="65"/>
                      </a:lnTo>
                      <a:lnTo>
                        <a:pt x="54" y="80"/>
                      </a:lnTo>
                      <a:lnTo>
                        <a:pt x="46" y="80"/>
                      </a:lnTo>
                      <a:lnTo>
                        <a:pt x="46" y="65"/>
                      </a:lnTo>
                      <a:close/>
                      <a:moveTo>
                        <a:pt x="46" y="83"/>
                      </a:moveTo>
                      <a:lnTo>
                        <a:pt x="54" y="83"/>
                      </a:lnTo>
                      <a:lnTo>
                        <a:pt x="54" y="98"/>
                      </a:lnTo>
                      <a:lnTo>
                        <a:pt x="46" y="98"/>
                      </a:lnTo>
                      <a:lnTo>
                        <a:pt x="46" y="83"/>
                      </a:lnTo>
                      <a:close/>
                      <a:moveTo>
                        <a:pt x="46" y="101"/>
                      </a:moveTo>
                      <a:lnTo>
                        <a:pt x="54" y="101"/>
                      </a:lnTo>
                      <a:lnTo>
                        <a:pt x="54" y="116"/>
                      </a:lnTo>
                      <a:lnTo>
                        <a:pt x="46" y="116"/>
                      </a:lnTo>
                      <a:lnTo>
                        <a:pt x="46" y="101"/>
                      </a:lnTo>
                      <a:close/>
                      <a:moveTo>
                        <a:pt x="6" y="40"/>
                      </a:moveTo>
                      <a:lnTo>
                        <a:pt x="14" y="40"/>
                      </a:lnTo>
                      <a:lnTo>
                        <a:pt x="14" y="54"/>
                      </a:lnTo>
                      <a:lnTo>
                        <a:pt x="6" y="54"/>
                      </a:lnTo>
                      <a:lnTo>
                        <a:pt x="6" y="40"/>
                      </a:lnTo>
                      <a:close/>
                      <a:moveTo>
                        <a:pt x="6" y="65"/>
                      </a:moveTo>
                      <a:lnTo>
                        <a:pt x="14" y="65"/>
                      </a:lnTo>
                      <a:lnTo>
                        <a:pt x="14" y="80"/>
                      </a:lnTo>
                      <a:lnTo>
                        <a:pt x="6" y="80"/>
                      </a:lnTo>
                      <a:lnTo>
                        <a:pt x="6" y="65"/>
                      </a:lnTo>
                      <a:close/>
                      <a:moveTo>
                        <a:pt x="6" y="83"/>
                      </a:moveTo>
                      <a:lnTo>
                        <a:pt x="14" y="83"/>
                      </a:lnTo>
                      <a:lnTo>
                        <a:pt x="14" y="98"/>
                      </a:lnTo>
                      <a:lnTo>
                        <a:pt x="6" y="98"/>
                      </a:lnTo>
                      <a:lnTo>
                        <a:pt x="6" y="83"/>
                      </a:lnTo>
                      <a:close/>
                      <a:moveTo>
                        <a:pt x="6" y="101"/>
                      </a:moveTo>
                      <a:lnTo>
                        <a:pt x="14" y="101"/>
                      </a:lnTo>
                      <a:lnTo>
                        <a:pt x="14" y="116"/>
                      </a:lnTo>
                      <a:lnTo>
                        <a:pt x="6" y="116"/>
                      </a:lnTo>
                      <a:lnTo>
                        <a:pt x="6" y="101"/>
                      </a:lnTo>
                      <a:close/>
                      <a:moveTo>
                        <a:pt x="6" y="120"/>
                      </a:moveTo>
                      <a:lnTo>
                        <a:pt x="14" y="120"/>
                      </a:lnTo>
                      <a:lnTo>
                        <a:pt x="14" y="134"/>
                      </a:lnTo>
                      <a:lnTo>
                        <a:pt x="6" y="134"/>
                      </a:lnTo>
                      <a:lnTo>
                        <a:pt x="6" y="120"/>
                      </a:lnTo>
                      <a:close/>
                      <a:moveTo>
                        <a:pt x="9" y="165"/>
                      </a:moveTo>
                      <a:lnTo>
                        <a:pt x="6" y="165"/>
                      </a:lnTo>
                      <a:lnTo>
                        <a:pt x="6" y="145"/>
                      </a:lnTo>
                      <a:lnTo>
                        <a:pt x="9" y="145"/>
                      </a:lnTo>
                      <a:lnTo>
                        <a:pt x="9" y="165"/>
                      </a:lnTo>
                      <a:close/>
                      <a:moveTo>
                        <a:pt x="15" y="165"/>
                      </a:moveTo>
                      <a:lnTo>
                        <a:pt x="12" y="165"/>
                      </a:lnTo>
                      <a:lnTo>
                        <a:pt x="12" y="145"/>
                      </a:lnTo>
                      <a:lnTo>
                        <a:pt x="15" y="145"/>
                      </a:lnTo>
                      <a:lnTo>
                        <a:pt x="15" y="165"/>
                      </a:lnTo>
                      <a:close/>
                      <a:moveTo>
                        <a:pt x="21" y="165"/>
                      </a:moveTo>
                      <a:lnTo>
                        <a:pt x="18" y="165"/>
                      </a:lnTo>
                      <a:lnTo>
                        <a:pt x="18" y="145"/>
                      </a:lnTo>
                      <a:lnTo>
                        <a:pt x="21" y="145"/>
                      </a:lnTo>
                      <a:lnTo>
                        <a:pt x="21" y="165"/>
                      </a:lnTo>
                      <a:close/>
                      <a:moveTo>
                        <a:pt x="26" y="165"/>
                      </a:moveTo>
                      <a:lnTo>
                        <a:pt x="24" y="165"/>
                      </a:lnTo>
                      <a:lnTo>
                        <a:pt x="24" y="145"/>
                      </a:lnTo>
                      <a:lnTo>
                        <a:pt x="26" y="145"/>
                      </a:lnTo>
                      <a:lnTo>
                        <a:pt x="26" y="165"/>
                      </a:lnTo>
                      <a:close/>
                      <a:moveTo>
                        <a:pt x="27" y="134"/>
                      </a:moveTo>
                      <a:lnTo>
                        <a:pt x="20" y="134"/>
                      </a:lnTo>
                      <a:lnTo>
                        <a:pt x="20" y="120"/>
                      </a:lnTo>
                      <a:lnTo>
                        <a:pt x="27" y="120"/>
                      </a:lnTo>
                      <a:lnTo>
                        <a:pt x="27" y="134"/>
                      </a:lnTo>
                      <a:close/>
                      <a:moveTo>
                        <a:pt x="27" y="116"/>
                      </a:moveTo>
                      <a:lnTo>
                        <a:pt x="20" y="116"/>
                      </a:lnTo>
                      <a:lnTo>
                        <a:pt x="20" y="101"/>
                      </a:lnTo>
                      <a:lnTo>
                        <a:pt x="27" y="101"/>
                      </a:lnTo>
                      <a:lnTo>
                        <a:pt x="27" y="116"/>
                      </a:lnTo>
                      <a:close/>
                      <a:moveTo>
                        <a:pt x="27" y="98"/>
                      </a:moveTo>
                      <a:lnTo>
                        <a:pt x="20" y="98"/>
                      </a:lnTo>
                      <a:lnTo>
                        <a:pt x="20" y="83"/>
                      </a:lnTo>
                      <a:lnTo>
                        <a:pt x="27" y="83"/>
                      </a:lnTo>
                      <a:lnTo>
                        <a:pt x="27" y="98"/>
                      </a:lnTo>
                      <a:close/>
                      <a:moveTo>
                        <a:pt x="27" y="80"/>
                      </a:moveTo>
                      <a:lnTo>
                        <a:pt x="20" y="80"/>
                      </a:lnTo>
                      <a:lnTo>
                        <a:pt x="20" y="65"/>
                      </a:lnTo>
                      <a:lnTo>
                        <a:pt x="27" y="65"/>
                      </a:lnTo>
                      <a:lnTo>
                        <a:pt x="27" y="80"/>
                      </a:lnTo>
                      <a:close/>
                      <a:moveTo>
                        <a:pt x="27" y="54"/>
                      </a:moveTo>
                      <a:lnTo>
                        <a:pt x="20" y="54"/>
                      </a:lnTo>
                      <a:lnTo>
                        <a:pt x="20" y="40"/>
                      </a:lnTo>
                      <a:lnTo>
                        <a:pt x="27" y="40"/>
                      </a:lnTo>
                      <a:lnTo>
                        <a:pt x="27" y="54"/>
                      </a:lnTo>
                      <a:close/>
                      <a:moveTo>
                        <a:pt x="32" y="165"/>
                      </a:moveTo>
                      <a:lnTo>
                        <a:pt x="29" y="165"/>
                      </a:lnTo>
                      <a:lnTo>
                        <a:pt x="29" y="145"/>
                      </a:lnTo>
                      <a:lnTo>
                        <a:pt x="32" y="145"/>
                      </a:lnTo>
                      <a:lnTo>
                        <a:pt x="32" y="165"/>
                      </a:lnTo>
                      <a:close/>
                      <a:moveTo>
                        <a:pt x="38" y="165"/>
                      </a:moveTo>
                      <a:lnTo>
                        <a:pt x="35" y="165"/>
                      </a:lnTo>
                      <a:lnTo>
                        <a:pt x="35" y="145"/>
                      </a:lnTo>
                      <a:lnTo>
                        <a:pt x="38" y="145"/>
                      </a:lnTo>
                      <a:lnTo>
                        <a:pt x="38" y="165"/>
                      </a:lnTo>
                      <a:close/>
                      <a:moveTo>
                        <a:pt x="41" y="134"/>
                      </a:moveTo>
                      <a:lnTo>
                        <a:pt x="33" y="134"/>
                      </a:lnTo>
                      <a:lnTo>
                        <a:pt x="33" y="120"/>
                      </a:lnTo>
                      <a:lnTo>
                        <a:pt x="41" y="120"/>
                      </a:lnTo>
                      <a:lnTo>
                        <a:pt x="41" y="134"/>
                      </a:lnTo>
                      <a:close/>
                      <a:moveTo>
                        <a:pt x="41" y="116"/>
                      </a:moveTo>
                      <a:lnTo>
                        <a:pt x="33" y="116"/>
                      </a:lnTo>
                      <a:lnTo>
                        <a:pt x="33" y="101"/>
                      </a:lnTo>
                      <a:lnTo>
                        <a:pt x="41" y="101"/>
                      </a:lnTo>
                      <a:lnTo>
                        <a:pt x="41" y="116"/>
                      </a:lnTo>
                      <a:close/>
                      <a:moveTo>
                        <a:pt x="41" y="98"/>
                      </a:moveTo>
                      <a:lnTo>
                        <a:pt x="33" y="98"/>
                      </a:lnTo>
                      <a:lnTo>
                        <a:pt x="33" y="83"/>
                      </a:lnTo>
                      <a:lnTo>
                        <a:pt x="41" y="83"/>
                      </a:lnTo>
                      <a:lnTo>
                        <a:pt x="41" y="98"/>
                      </a:lnTo>
                      <a:close/>
                      <a:moveTo>
                        <a:pt x="41" y="80"/>
                      </a:moveTo>
                      <a:lnTo>
                        <a:pt x="33" y="80"/>
                      </a:lnTo>
                      <a:lnTo>
                        <a:pt x="33" y="65"/>
                      </a:lnTo>
                      <a:lnTo>
                        <a:pt x="41" y="65"/>
                      </a:lnTo>
                      <a:lnTo>
                        <a:pt x="41" y="80"/>
                      </a:lnTo>
                      <a:close/>
                      <a:moveTo>
                        <a:pt x="41" y="54"/>
                      </a:moveTo>
                      <a:lnTo>
                        <a:pt x="33" y="54"/>
                      </a:lnTo>
                      <a:lnTo>
                        <a:pt x="33" y="40"/>
                      </a:lnTo>
                      <a:lnTo>
                        <a:pt x="41" y="40"/>
                      </a:lnTo>
                      <a:lnTo>
                        <a:pt x="41" y="54"/>
                      </a:lnTo>
                      <a:close/>
                      <a:moveTo>
                        <a:pt x="44" y="165"/>
                      </a:moveTo>
                      <a:lnTo>
                        <a:pt x="41" y="165"/>
                      </a:lnTo>
                      <a:lnTo>
                        <a:pt x="41" y="145"/>
                      </a:lnTo>
                      <a:lnTo>
                        <a:pt x="44" y="145"/>
                      </a:lnTo>
                      <a:lnTo>
                        <a:pt x="44" y="165"/>
                      </a:lnTo>
                      <a:close/>
                      <a:moveTo>
                        <a:pt x="46" y="120"/>
                      </a:moveTo>
                      <a:lnTo>
                        <a:pt x="54" y="120"/>
                      </a:lnTo>
                      <a:lnTo>
                        <a:pt x="54" y="134"/>
                      </a:lnTo>
                      <a:lnTo>
                        <a:pt x="46" y="134"/>
                      </a:lnTo>
                      <a:lnTo>
                        <a:pt x="46" y="120"/>
                      </a:lnTo>
                      <a:close/>
                      <a:moveTo>
                        <a:pt x="50" y="165"/>
                      </a:moveTo>
                      <a:lnTo>
                        <a:pt x="47" y="165"/>
                      </a:lnTo>
                      <a:lnTo>
                        <a:pt x="47" y="145"/>
                      </a:lnTo>
                      <a:lnTo>
                        <a:pt x="50" y="145"/>
                      </a:lnTo>
                      <a:lnTo>
                        <a:pt x="50" y="165"/>
                      </a:lnTo>
                      <a:close/>
                      <a:moveTo>
                        <a:pt x="55" y="165"/>
                      </a:moveTo>
                      <a:lnTo>
                        <a:pt x="52" y="165"/>
                      </a:lnTo>
                      <a:lnTo>
                        <a:pt x="52" y="145"/>
                      </a:lnTo>
                      <a:lnTo>
                        <a:pt x="55" y="145"/>
                      </a:lnTo>
                      <a:lnTo>
                        <a:pt x="55" y="165"/>
                      </a:lnTo>
                      <a:close/>
                      <a:moveTo>
                        <a:pt x="61" y="165"/>
                      </a:moveTo>
                      <a:lnTo>
                        <a:pt x="58" y="165"/>
                      </a:lnTo>
                      <a:lnTo>
                        <a:pt x="58" y="145"/>
                      </a:lnTo>
                      <a:lnTo>
                        <a:pt x="61" y="145"/>
                      </a:lnTo>
                      <a:lnTo>
                        <a:pt x="61" y="165"/>
                      </a:lnTo>
                      <a:close/>
                      <a:moveTo>
                        <a:pt x="67" y="165"/>
                      </a:moveTo>
                      <a:lnTo>
                        <a:pt x="64" y="165"/>
                      </a:lnTo>
                      <a:lnTo>
                        <a:pt x="64" y="145"/>
                      </a:lnTo>
                      <a:lnTo>
                        <a:pt x="67" y="145"/>
                      </a:lnTo>
                      <a:lnTo>
                        <a:pt x="67" y="165"/>
                      </a:lnTo>
                      <a:close/>
                      <a:moveTo>
                        <a:pt x="67" y="134"/>
                      </a:moveTo>
                      <a:lnTo>
                        <a:pt x="59" y="134"/>
                      </a:lnTo>
                      <a:lnTo>
                        <a:pt x="59" y="120"/>
                      </a:lnTo>
                      <a:lnTo>
                        <a:pt x="67" y="120"/>
                      </a:lnTo>
                      <a:lnTo>
                        <a:pt x="67" y="134"/>
                      </a:lnTo>
                      <a:close/>
                      <a:moveTo>
                        <a:pt x="67" y="116"/>
                      </a:moveTo>
                      <a:lnTo>
                        <a:pt x="59" y="116"/>
                      </a:lnTo>
                      <a:lnTo>
                        <a:pt x="59" y="101"/>
                      </a:lnTo>
                      <a:lnTo>
                        <a:pt x="67" y="101"/>
                      </a:lnTo>
                      <a:lnTo>
                        <a:pt x="67" y="116"/>
                      </a:lnTo>
                      <a:close/>
                      <a:moveTo>
                        <a:pt x="67" y="98"/>
                      </a:moveTo>
                      <a:lnTo>
                        <a:pt x="59" y="98"/>
                      </a:lnTo>
                      <a:lnTo>
                        <a:pt x="59" y="83"/>
                      </a:lnTo>
                      <a:lnTo>
                        <a:pt x="67" y="83"/>
                      </a:lnTo>
                      <a:lnTo>
                        <a:pt x="67" y="98"/>
                      </a:lnTo>
                      <a:close/>
                      <a:moveTo>
                        <a:pt x="67" y="80"/>
                      </a:moveTo>
                      <a:lnTo>
                        <a:pt x="59" y="80"/>
                      </a:lnTo>
                      <a:lnTo>
                        <a:pt x="59" y="65"/>
                      </a:lnTo>
                      <a:lnTo>
                        <a:pt x="67" y="65"/>
                      </a:lnTo>
                      <a:lnTo>
                        <a:pt x="67" y="80"/>
                      </a:lnTo>
                      <a:close/>
                      <a:moveTo>
                        <a:pt x="67" y="54"/>
                      </a:moveTo>
                      <a:lnTo>
                        <a:pt x="59" y="54"/>
                      </a:lnTo>
                      <a:lnTo>
                        <a:pt x="59" y="40"/>
                      </a:lnTo>
                      <a:lnTo>
                        <a:pt x="67" y="40"/>
                      </a:lnTo>
                      <a:lnTo>
                        <a:pt x="67" y="54"/>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4" name="Rectangle 161">
                  <a:extLst>
                    <a:ext uri="{FF2B5EF4-FFF2-40B4-BE49-F238E27FC236}">
                      <a16:creationId xmlns:a16="http://schemas.microsoft.com/office/drawing/2014/main" id="{9D2C3F28-402A-448E-80E7-103F3B2E1851}"/>
                    </a:ext>
                  </a:extLst>
                </p:cNvPr>
                <p:cNvSpPr>
                  <a:spLocks noChangeArrowheads="1"/>
                </p:cNvSpPr>
                <p:nvPr userDrawn="1"/>
              </p:nvSpPr>
              <p:spPr bwMode="auto">
                <a:xfrm>
                  <a:off x="6394" y="869"/>
                  <a:ext cx="66" cy="14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5" name="Rectangle 162">
                  <a:extLst>
                    <a:ext uri="{FF2B5EF4-FFF2-40B4-BE49-F238E27FC236}">
                      <a16:creationId xmlns:a16="http://schemas.microsoft.com/office/drawing/2014/main" id="{23B4C09C-5FA1-4E00-A015-75900EC1CD86}"/>
                    </a:ext>
                  </a:extLst>
                </p:cNvPr>
                <p:cNvSpPr>
                  <a:spLocks noChangeArrowheads="1"/>
                </p:cNvSpPr>
                <p:nvPr userDrawn="1"/>
              </p:nvSpPr>
              <p:spPr bwMode="auto">
                <a:xfrm>
                  <a:off x="6400" y="863"/>
                  <a:ext cx="54" cy="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6" name="Rectangle 163">
                  <a:extLst>
                    <a:ext uri="{FF2B5EF4-FFF2-40B4-BE49-F238E27FC236}">
                      <a16:creationId xmlns:a16="http://schemas.microsoft.com/office/drawing/2014/main" id="{2408A2FC-747F-4183-B8FA-59F0C3F9DAAC}"/>
                    </a:ext>
                  </a:extLst>
                </p:cNvPr>
                <p:cNvSpPr>
                  <a:spLocks noChangeArrowheads="1"/>
                </p:cNvSpPr>
                <p:nvPr userDrawn="1"/>
              </p:nvSpPr>
              <p:spPr bwMode="auto">
                <a:xfrm>
                  <a:off x="6405" y="857"/>
                  <a:ext cx="44" cy="6"/>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7" name="Freeform 164">
                  <a:extLst>
                    <a:ext uri="{FF2B5EF4-FFF2-40B4-BE49-F238E27FC236}">
                      <a16:creationId xmlns:a16="http://schemas.microsoft.com/office/drawing/2014/main" id="{679C7B11-CA11-4CB3-8597-65C9C1A5A7E4}"/>
                    </a:ext>
                  </a:extLst>
                </p:cNvPr>
                <p:cNvSpPr>
                  <a:spLocks/>
                </p:cNvSpPr>
                <p:nvPr userDrawn="1"/>
              </p:nvSpPr>
              <p:spPr bwMode="auto">
                <a:xfrm>
                  <a:off x="6399" y="906"/>
                  <a:ext cx="6" cy="9"/>
                </a:xfrm>
                <a:custGeom>
                  <a:avLst/>
                  <a:gdLst>
                    <a:gd name="T0" fmla="*/ 6 w 13"/>
                    <a:gd name="T1" fmla="*/ 0 h 19"/>
                    <a:gd name="T2" fmla="*/ 0 w 13"/>
                    <a:gd name="T3" fmla="*/ 6 h 19"/>
                    <a:gd name="T4" fmla="*/ 0 w 13"/>
                    <a:gd name="T5" fmla="*/ 19 h 19"/>
                    <a:gd name="T6" fmla="*/ 13 w 13"/>
                    <a:gd name="T7" fmla="*/ 19 h 19"/>
                    <a:gd name="T8" fmla="*/ 13 w 13"/>
                    <a:gd name="T9" fmla="*/ 6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6"/>
                      </a:cubicBezTo>
                      <a:cubicBezTo>
                        <a:pt x="0" y="19"/>
                        <a:pt x="0" y="19"/>
                        <a:pt x="0" y="19"/>
                      </a:cubicBezTo>
                      <a:cubicBezTo>
                        <a:pt x="13" y="19"/>
                        <a:pt x="13" y="19"/>
                        <a:pt x="13" y="19"/>
                      </a:cubicBezTo>
                      <a:cubicBezTo>
                        <a:pt x="13" y="6"/>
                        <a:pt x="13" y="6"/>
                        <a:pt x="13" y="6"/>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8" name="Freeform 165">
                  <a:extLst>
                    <a:ext uri="{FF2B5EF4-FFF2-40B4-BE49-F238E27FC236}">
                      <a16:creationId xmlns:a16="http://schemas.microsoft.com/office/drawing/2014/main" id="{1F1BBECA-9622-4EC7-86C9-72D6AE96312E}"/>
                    </a:ext>
                  </a:extLst>
                </p:cNvPr>
                <p:cNvSpPr>
                  <a:spLocks/>
                </p:cNvSpPr>
                <p:nvPr userDrawn="1"/>
              </p:nvSpPr>
              <p:spPr bwMode="auto">
                <a:xfrm>
                  <a:off x="6409" y="906"/>
                  <a:ext cx="6" cy="9"/>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9" name="Freeform 166">
                  <a:extLst>
                    <a:ext uri="{FF2B5EF4-FFF2-40B4-BE49-F238E27FC236}">
                      <a16:creationId xmlns:a16="http://schemas.microsoft.com/office/drawing/2014/main" id="{F99D4FA5-0E7E-48C4-9328-8B7351C6D884}"/>
                    </a:ext>
                  </a:extLst>
                </p:cNvPr>
                <p:cNvSpPr>
                  <a:spLocks/>
                </p:cNvSpPr>
                <p:nvPr userDrawn="1"/>
              </p:nvSpPr>
              <p:spPr bwMode="auto">
                <a:xfrm>
                  <a:off x="6419" y="906"/>
                  <a:ext cx="6" cy="9"/>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0" name="Freeform 167">
                  <a:extLst>
                    <a:ext uri="{FF2B5EF4-FFF2-40B4-BE49-F238E27FC236}">
                      <a16:creationId xmlns:a16="http://schemas.microsoft.com/office/drawing/2014/main" id="{A3A57459-B048-422D-A742-52FEE8DF0B09}"/>
                    </a:ext>
                  </a:extLst>
                </p:cNvPr>
                <p:cNvSpPr>
                  <a:spLocks/>
                </p:cNvSpPr>
                <p:nvPr userDrawn="1"/>
              </p:nvSpPr>
              <p:spPr bwMode="auto">
                <a:xfrm>
                  <a:off x="6429" y="906"/>
                  <a:ext cx="6" cy="9"/>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1" name="Freeform 168">
                  <a:extLst>
                    <a:ext uri="{FF2B5EF4-FFF2-40B4-BE49-F238E27FC236}">
                      <a16:creationId xmlns:a16="http://schemas.microsoft.com/office/drawing/2014/main" id="{28FCF87A-894E-4398-9607-D303D17440AD}"/>
                    </a:ext>
                  </a:extLst>
                </p:cNvPr>
                <p:cNvSpPr>
                  <a:spLocks/>
                </p:cNvSpPr>
                <p:nvPr userDrawn="1"/>
              </p:nvSpPr>
              <p:spPr bwMode="auto">
                <a:xfrm>
                  <a:off x="6439" y="906"/>
                  <a:ext cx="6" cy="9"/>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2" name="Freeform 169">
                  <a:extLst>
                    <a:ext uri="{FF2B5EF4-FFF2-40B4-BE49-F238E27FC236}">
                      <a16:creationId xmlns:a16="http://schemas.microsoft.com/office/drawing/2014/main" id="{0D4423C7-51D8-495C-B2BA-B7D86A58EFF5}"/>
                    </a:ext>
                  </a:extLst>
                </p:cNvPr>
                <p:cNvSpPr>
                  <a:spLocks/>
                </p:cNvSpPr>
                <p:nvPr userDrawn="1"/>
              </p:nvSpPr>
              <p:spPr bwMode="auto">
                <a:xfrm>
                  <a:off x="6449" y="906"/>
                  <a:ext cx="6" cy="9"/>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3" name="Freeform 170">
                  <a:extLst>
                    <a:ext uri="{FF2B5EF4-FFF2-40B4-BE49-F238E27FC236}">
                      <a16:creationId xmlns:a16="http://schemas.microsoft.com/office/drawing/2014/main" id="{FC0944EF-AFE5-4AE6-8DE1-0FB96683D619}"/>
                    </a:ext>
                  </a:extLst>
                </p:cNvPr>
                <p:cNvSpPr>
                  <a:spLocks/>
                </p:cNvSpPr>
                <p:nvPr userDrawn="1"/>
              </p:nvSpPr>
              <p:spPr bwMode="auto">
                <a:xfrm>
                  <a:off x="6399" y="918"/>
                  <a:ext cx="6" cy="9"/>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4" name="Freeform 171">
                  <a:extLst>
                    <a:ext uri="{FF2B5EF4-FFF2-40B4-BE49-F238E27FC236}">
                      <a16:creationId xmlns:a16="http://schemas.microsoft.com/office/drawing/2014/main" id="{CD6B0CAC-4685-4E7C-9356-B8E78F6C6B69}"/>
                    </a:ext>
                  </a:extLst>
                </p:cNvPr>
                <p:cNvSpPr>
                  <a:spLocks/>
                </p:cNvSpPr>
                <p:nvPr userDrawn="1"/>
              </p:nvSpPr>
              <p:spPr bwMode="auto">
                <a:xfrm>
                  <a:off x="6409" y="918"/>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5" name="Freeform 172">
                  <a:extLst>
                    <a:ext uri="{FF2B5EF4-FFF2-40B4-BE49-F238E27FC236}">
                      <a16:creationId xmlns:a16="http://schemas.microsoft.com/office/drawing/2014/main" id="{FAB0DDDF-5FE1-4047-99FC-3045CEEB168B}"/>
                    </a:ext>
                  </a:extLst>
                </p:cNvPr>
                <p:cNvSpPr>
                  <a:spLocks/>
                </p:cNvSpPr>
                <p:nvPr userDrawn="1"/>
              </p:nvSpPr>
              <p:spPr bwMode="auto">
                <a:xfrm>
                  <a:off x="6419" y="918"/>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6" name="Freeform 173">
                  <a:extLst>
                    <a:ext uri="{FF2B5EF4-FFF2-40B4-BE49-F238E27FC236}">
                      <a16:creationId xmlns:a16="http://schemas.microsoft.com/office/drawing/2014/main" id="{73DF7C07-AF51-4CAC-A687-BF497D7F3531}"/>
                    </a:ext>
                  </a:extLst>
                </p:cNvPr>
                <p:cNvSpPr>
                  <a:spLocks/>
                </p:cNvSpPr>
                <p:nvPr userDrawn="1"/>
              </p:nvSpPr>
              <p:spPr bwMode="auto">
                <a:xfrm>
                  <a:off x="6429" y="918"/>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7" name="Freeform 174">
                  <a:extLst>
                    <a:ext uri="{FF2B5EF4-FFF2-40B4-BE49-F238E27FC236}">
                      <a16:creationId xmlns:a16="http://schemas.microsoft.com/office/drawing/2014/main" id="{AB1C6424-84E5-48A3-9906-6F5E1EBFE3FB}"/>
                    </a:ext>
                  </a:extLst>
                </p:cNvPr>
                <p:cNvSpPr>
                  <a:spLocks/>
                </p:cNvSpPr>
                <p:nvPr userDrawn="1"/>
              </p:nvSpPr>
              <p:spPr bwMode="auto">
                <a:xfrm>
                  <a:off x="6439" y="918"/>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8" name="Freeform 175">
                  <a:extLst>
                    <a:ext uri="{FF2B5EF4-FFF2-40B4-BE49-F238E27FC236}">
                      <a16:creationId xmlns:a16="http://schemas.microsoft.com/office/drawing/2014/main" id="{218DD677-8A14-4222-90AB-57CCDD022934}"/>
                    </a:ext>
                  </a:extLst>
                </p:cNvPr>
                <p:cNvSpPr>
                  <a:spLocks/>
                </p:cNvSpPr>
                <p:nvPr userDrawn="1"/>
              </p:nvSpPr>
              <p:spPr bwMode="auto">
                <a:xfrm>
                  <a:off x="6449" y="918"/>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9" name="Freeform 176">
                  <a:extLst>
                    <a:ext uri="{FF2B5EF4-FFF2-40B4-BE49-F238E27FC236}">
                      <a16:creationId xmlns:a16="http://schemas.microsoft.com/office/drawing/2014/main" id="{D262A6D4-B8B1-4342-8A2F-E6425A819FD9}"/>
                    </a:ext>
                  </a:extLst>
                </p:cNvPr>
                <p:cNvSpPr>
                  <a:spLocks/>
                </p:cNvSpPr>
                <p:nvPr userDrawn="1"/>
              </p:nvSpPr>
              <p:spPr bwMode="auto">
                <a:xfrm>
                  <a:off x="6399" y="931"/>
                  <a:ext cx="6" cy="8"/>
                </a:xfrm>
                <a:custGeom>
                  <a:avLst/>
                  <a:gdLst>
                    <a:gd name="T0" fmla="*/ 6 w 13"/>
                    <a:gd name="T1" fmla="*/ 0 h 19"/>
                    <a:gd name="T2" fmla="*/ 0 w 13"/>
                    <a:gd name="T3" fmla="*/ 6 h 19"/>
                    <a:gd name="T4" fmla="*/ 0 w 13"/>
                    <a:gd name="T5" fmla="*/ 19 h 19"/>
                    <a:gd name="T6" fmla="*/ 13 w 13"/>
                    <a:gd name="T7" fmla="*/ 19 h 19"/>
                    <a:gd name="T8" fmla="*/ 13 w 13"/>
                    <a:gd name="T9" fmla="*/ 6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6"/>
                      </a:cubicBezTo>
                      <a:cubicBezTo>
                        <a:pt x="0" y="19"/>
                        <a:pt x="0" y="19"/>
                        <a:pt x="0" y="19"/>
                      </a:cubicBezTo>
                      <a:cubicBezTo>
                        <a:pt x="13" y="19"/>
                        <a:pt x="13" y="19"/>
                        <a:pt x="13" y="19"/>
                      </a:cubicBezTo>
                      <a:cubicBezTo>
                        <a:pt x="13" y="6"/>
                        <a:pt x="13" y="6"/>
                        <a:pt x="13" y="6"/>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0" name="Freeform 177">
                  <a:extLst>
                    <a:ext uri="{FF2B5EF4-FFF2-40B4-BE49-F238E27FC236}">
                      <a16:creationId xmlns:a16="http://schemas.microsoft.com/office/drawing/2014/main" id="{44942FD4-4F3C-4759-8484-7BA592A27A2B}"/>
                    </a:ext>
                  </a:extLst>
                </p:cNvPr>
                <p:cNvSpPr>
                  <a:spLocks/>
                </p:cNvSpPr>
                <p:nvPr userDrawn="1"/>
              </p:nvSpPr>
              <p:spPr bwMode="auto">
                <a:xfrm>
                  <a:off x="6409" y="931"/>
                  <a:ext cx="6" cy="8"/>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1" name="Freeform 178">
                  <a:extLst>
                    <a:ext uri="{FF2B5EF4-FFF2-40B4-BE49-F238E27FC236}">
                      <a16:creationId xmlns:a16="http://schemas.microsoft.com/office/drawing/2014/main" id="{E3D733AF-E2C8-4E8D-9EE8-C3576471BD16}"/>
                    </a:ext>
                  </a:extLst>
                </p:cNvPr>
                <p:cNvSpPr>
                  <a:spLocks/>
                </p:cNvSpPr>
                <p:nvPr userDrawn="1"/>
              </p:nvSpPr>
              <p:spPr bwMode="auto">
                <a:xfrm>
                  <a:off x="6419" y="931"/>
                  <a:ext cx="6" cy="8"/>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2" name="Freeform 179">
                  <a:extLst>
                    <a:ext uri="{FF2B5EF4-FFF2-40B4-BE49-F238E27FC236}">
                      <a16:creationId xmlns:a16="http://schemas.microsoft.com/office/drawing/2014/main" id="{80DC24C8-3F8F-4CDA-B2C4-40B72CA271EB}"/>
                    </a:ext>
                  </a:extLst>
                </p:cNvPr>
                <p:cNvSpPr>
                  <a:spLocks/>
                </p:cNvSpPr>
                <p:nvPr userDrawn="1"/>
              </p:nvSpPr>
              <p:spPr bwMode="auto">
                <a:xfrm>
                  <a:off x="6429" y="931"/>
                  <a:ext cx="6" cy="8"/>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3" name="Freeform 180">
                  <a:extLst>
                    <a:ext uri="{FF2B5EF4-FFF2-40B4-BE49-F238E27FC236}">
                      <a16:creationId xmlns:a16="http://schemas.microsoft.com/office/drawing/2014/main" id="{ABAF1B29-78E8-4607-A004-95890153B80E}"/>
                    </a:ext>
                  </a:extLst>
                </p:cNvPr>
                <p:cNvSpPr>
                  <a:spLocks/>
                </p:cNvSpPr>
                <p:nvPr userDrawn="1"/>
              </p:nvSpPr>
              <p:spPr bwMode="auto">
                <a:xfrm>
                  <a:off x="6439" y="931"/>
                  <a:ext cx="6" cy="8"/>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4" name="Freeform 181">
                  <a:extLst>
                    <a:ext uri="{FF2B5EF4-FFF2-40B4-BE49-F238E27FC236}">
                      <a16:creationId xmlns:a16="http://schemas.microsoft.com/office/drawing/2014/main" id="{E62D81F8-55F6-4951-927D-79A99F747824}"/>
                    </a:ext>
                  </a:extLst>
                </p:cNvPr>
                <p:cNvSpPr>
                  <a:spLocks/>
                </p:cNvSpPr>
                <p:nvPr userDrawn="1"/>
              </p:nvSpPr>
              <p:spPr bwMode="auto">
                <a:xfrm>
                  <a:off x="6449" y="931"/>
                  <a:ext cx="6" cy="8"/>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5" name="Freeform 182">
                  <a:extLst>
                    <a:ext uri="{FF2B5EF4-FFF2-40B4-BE49-F238E27FC236}">
                      <a16:creationId xmlns:a16="http://schemas.microsoft.com/office/drawing/2014/main" id="{94D26A18-2EC5-4410-B3F4-F4935EECD78D}"/>
                    </a:ext>
                  </a:extLst>
                </p:cNvPr>
                <p:cNvSpPr>
                  <a:spLocks/>
                </p:cNvSpPr>
                <p:nvPr userDrawn="1"/>
              </p:nvSpPr>
              <p:spPr bwMode="auto">
                <a:xfrm>
                  <a:off x="6399" y="943"/>
                  <a:ext cx="6" cy="9"/>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6" name="Freeform 183">
                  <a:extLst>
                    <a:ext uri="{FF2B5EF4-FFF2-40B4-BE49-F238E27FC236}">
                      <a16:creationId xmlns:a16="http://schemas.microsoft.com/office/drawing/2014/main" id="{5E418A97-2F14-4E14-AA4B-9689B06A0C78}"/>
                    </a:ext>
                  </a:extLst>
                </p:cNvPr>
                <p:cNvSpPr>
                  <a:spLocks/>
                </p:cNvSpPr>
                <p:nvPr userDrawn="1"/>
              </p:nvSpPr>
              <p:spPr bwMode="auto">
                <a:xfrm>
                  <a:off x="6409" y="943"/>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7" name="Freeform 184">
                  <a:extLst>
                    <a:ext uri="{FF2B5EF4-FFF2-40B4-BE49-F238E27FC236}">
                      <a16:creationId xmlns:a16="http://schemas.microsoft.com/office/drawing/2014/main" id="{7BF275DA-47FD-4E1E-AEC4-D5A35C7B718F}"/>
                    </a:ext>
                  </a:extLst>
                </p:cNvPr>
                <p:cNvSpPr>
                  <a:spLocks/>
                </p:cNvSpPr>
                <p:nvPr userDrawn="1"/>
              </p:nvSpPr>
              <p:spPr bwMode="auto">
                <a:xfrm>
                  <a:off x="6419" y="943"/>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8" name="Freeform 185">
                  <a:extLst>
                    <a:ext uri="{FF2B5EF4-FFF2-40B4-BE49-F238E27FC236}">
                      <a16:creationId xmlns:a16="http://schemas.microsoft.com/office/drawing/2014/main" id="{0806447E-FB2C-4132-AFC5-7710853F8B3E}"/>
                    </a:ext>
                  </a:extLst>
                </p:cNvPr>
                <p:cNvSpPr>
                  <a:spLocks/>
                </p:cNvSpPr>
                <p:nvPr userDrawn="1"/>
              </p:nvSpPr>
              <p:spPr bwMode="auto">
                <a:xfrm>
                  <a:off x="6429" y="943"/>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9" name="Freeform 186">
                  <a:extLst>
                    <a:ext uri="{FF2B5EF4-FFF2-40B4-BE49-F238E27FC236}">
                      <a16:creationId xmlns:a16="http://schemas.microsoft.com/office/drawing/2014/main" id="{5704FEE6-53A0-41F8-8E39-860816986856}"/>
                    </a:ext>
                  </a:extLst>
                </p:cNvPr>
                <p:cNvSpPr>
                  <a:spLocks/>
                </p:cNvSpPr>
                <p:nvPr userDrawn="1"/>
              </p:nvSpPr>
              <p:spPr bwMode="auto">
                <a:xfrm>
                  <a:off x="6439" y="943"/>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0" name="Freeform 187">
                  <a:extLst>
                    <a:ext uri="{FF2B5EF4-FFF2-40B4-BE49-F238E27FC236}">
                      <a16:creationId xmlns:a16="http://schemas.microsoft.com/office/drawing/2014/main" id="{2B2FCC14-0241-4326-8A71-17D952532204}"/>
                    </a:ext>
                  </a:extLst>
                </p:cNvPr>
                <p:cNvSpPr>
                  <a:spLocks/>
                </p:cNvSpPr>
                <p:nvPr userDrawn="1"/>
              </p:nvSpPr>
              <p:spPr bwMode="auto">
                <a:xfrm>
                  <a:off x="6449" y="943"/>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 name="Freeform 188">
                  <a:extLst>
                    <a:ext uri="{FF2B5EF4-FFF2-40B4-BE49-F238E27FC236}">
                      <a16:creationId xmlns:a16="http://schemas.microsoft.com/office/drawing/2014/main" id="{1B462744-07BA-471E-997E-BC712489374D}"/>
                    </a:ext>
                  </a:extLst>
                </p:cNvPr>
                <p:cNvSpPr>
                  <a:spLocks/>
                </p:cNvSpPr>
                <p:nvPr userDrawn="1"/>
              </p:nvSpPr>
              <p:spPr bwMode="auto">
                <a:xfrm>
                  <a:off x="6399" y="956"/>
                  <a:ext cx="6" cy="8"/>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189">
                  <a:extLst>
                    <a:ext uri="{FF2B5EF4-FFF2-40B4-BE49-F238E27FC236}">
                      <a16:creationId xmlns:a16="http://schemas.microsoft.com/office/drawing/2014/main" id="{CDBBFF47-AE9F-4523-BBEC-61E7013BA31E}"/>
                    </a:ext>
                  </a:extLst>
                </p:cNvPr>
                <p:cNvSpPr>
                  <a:spLocks/>
                </p:cNvSpPr>
                <p:nvPr userDrawn="1"/>
              </p:nvSpPr>
              <p:spPr bwMode="auto">
                <a:xfrm>
                  <a:off x="6409" y="956"/>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190">
                  <a:extLst>
                    <a:ext uri="{FF2B5EF4-FFF2-40B4-BE49-F238E27FC236}">
                      <a16:creationId xmlns:a16="http://schemas.microsoft.com/office/drawing/2014/main" id="{E5DB62A5-30D7-4D49-8F71-BDAAB0405C6B}"/>
                    </a:ext>
                  </a:extLst>
                </p:cNvPr>
                <p:cNvSpPr>
                  <a:spLocks/>
                </p:cNvSpPr>
                <p:nvPr userDrawn="1"/>
              </p:nvSpPr>
              <p:spPr bwMode="auto">
                <a:xfrm>
                  <a:off x="6419" y="956"/>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91">
                  <a:extLst>
                    <a:ext uri="{FF2B5EF4-FFF2-40B4-BE49-F238E27FC236}">
                      <a16:creationId xmlns:a16="http://schemas.microsoft.com/office/drawing/2014/main" id="{A2ECCF62-1BB5-4022-AD7D-62F9333D078C}"/>
                    </a:ext>
                  </a:extLst>
                </p:cNvPr>
                <p:cNvSpPr>
                  <a:spLocks/>
                </p:cNvSpPr>
                <p:nvPr userDrawn="1"/>
              </p:nvSpPr>
              <p:spPr bwMode="auto">
                <a:xfrm>
                  <a:off x="6429" y="956"/>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92">
                  <a:extLst>
                    <a:ext uri="{FF2B5EF4-FFF2-40B4-BE49-F238E27FC236}">
                      <a16:creationId xmlns:a16="http://schemas.microsoft.com/office/drawing/2014/main" id="{20D848C9-9B4E-4805-8B7B-E8C6C0A60A3F}"/>
                    </a:ext>
                  </a:extLst>
                </p:cNvPr>
                <p:cNvSpPr>
                  <a:spLocks/>
                </p:cNvSpPr>
                <p:nvPr userDrawn="1"/>
              </p:nvSpPr>
              <p:spPr bwMode="auto">
                <a:xfrm>
                  <a:off x="6439" y="956"/>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193">
                  <a:extLst>
                    <a:ext uri="{FF2B5EF4-FFF2-40B4-BE49-F238E27FC236}">
                      <a16:creationId xmlns:a16="http://schemas.microsoft.com/office/drawing/2014/main" id="{DF79A1B7-4C66-498E-8A20-5B12F1E0613C}"/>
                    </a:ext>
                  </a:extLst>
                </p:cNvPr>
                <p:cNvSpPr>
                  <a:spLocks/>
                </p:cNvSpPr>
                <p:nvPr userDrawn="1"/>
              </p:nvSpPr>
              <p:spPr bwMode="auto">
                <a:xfrm>
                  <a:off x="6449" y="956"/>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Freeform 194">
                  <a:extLst>
                    <a:ext uri="{FF2B5EF4-FFF2-40B4-BE49-F238E27FC236}">
                      <a16:creationId xmlns:a16="http://schemas.microsoft.com/office/drawing/2014/main" id="{E6A9F2C6-6DFF-4588-9C51-538264191B09}"/>
                    </a:ext>
                  </a:extLst>
                </p:cNvPr>
                <p:cNvSpPr>
                  <a:spLocks/>
                </p:cNvSpPr>
                <p:nvPr userDrawn="1"/>
              </p:nvSpPr>
              <p:spPr bwMode="auto">
                <a:xfrm>
                  <a:off x="6399" y="969"/>
                  <a:ext cx="6" cy="8"/>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Freeform 195">
                  <a:extLst>
                    <a:ext uri="{FF2B5EF4-FFF2-40B4-BE49-F238E27FC236}">
                      <a16:creationId xmlns:a16="http://schemas.microsoft.com/office/drawing/2014/main" id="{FB8FB081-7CAA-4EC9-9CFE-EC102F62BE77}"/>
                    </a:ext>
                  </a:extLst>
                </p:cNvPr>
                <p:cNvSpPr>
                  <a:spLocks/>
                </p:cNvSpPr>
                <p:nvPr userDrawn="1"/>
              </p:nvSpPr>
              <p:spPr bwMode="auto">
                <a:xfrm>
                  <a:off x="6409" y="969"/>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Freeform 196">
                  <a:extLst>
                    <a:ext uri="{FF2B5EF4-FFF2-40B4-BE49-F238E27FC236}">
                      <a16:creationId xmlns:a16="http://schemas.microsoft.com/office/drawing/2014/main" id="{265B30BE-498A-4548-BC77-26188F760DDC}"/>
                    </a:ext>
                  </a:extLst>
                </p:cNvPr>
                <p:cNvSpPr>
                  <a:spLocks/>
                </p:cNvSpPr>
                <p:nvPr userDrawn="1"/>
              </p:nvSpPr>
              <p:spPr bwMode="auto">
                <a:xfrm>
                  <a:off x="6419" y="969"/>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Freeform 197">
                  <a:extLst>
                    <a:ext uri="{FF2B5EF4-FFF2-40B4-BE49-F238E27FC236}">
                      <a16:creationId xmlns:a16="http://schemas.microsoft.com/office/drawing/2014/main" id="{0E73DC51-FA30-4D9B-B6D9-C32E6B3A257A}"/>
                    </a:ext>
                  </a:extLst>
                </p:cNvPr>
                <p:cNvSpPr>
                  <a:spLocks/>
                </p:cNvSpPr>
                <p:nvPr userDrawn="1"/>
              </p:nvSpPr>
              <p:spPr bwMode="auto">
                <a:xfrm>
                  <a:off x="6429" y="969"/>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 name="Freeform 198">
                  <a:extLst>
                    <a:ext uri="{FF2B5EF4-FFF2-40B4-BE49-F238E27FC236}">
                      <a16:creationId xmlns:a16="http://schemas.microsoft.com/office/drawing/2014/main" id="{7F5C1F66-2DBD-4D18-BADA-580084E80B65}"/>
                    </a:ext>
                  </a:extLst>
                </p:cNvPr>
                <p:cNvSpPr>
                  <a:spLocks/>
                </p:cNvSpPr>
                <p:nvPr userDrawn="1"/>
              </p:nvSpPr>
              <p:spPr bwMode="auto">
                <a:xfrm>
                  <a:off x="6439" y="969"/>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 name="Freeform 199">
                  <a:extLst>
                    <a:ext uri="{FF2B5EF4-FFF2-40B4-BE49-F238E27FC236}">
                      <a16:creationId xmlns:a16="http://schemas.microsoft.com/office/drawing/2014/main" id="{073880C2-946E-4FB5-858E-27D379660148}"/>
                    </a:ext>
                  </a:extLst>
                </p:cNvPr>
                <p:cNvSpPr>
                  <a:spLocks/>
                </p:cNvSpPr>
                <p:nvPr userDrawn="1"/>
              </p:nvSpPr>
              <p:spPr bwMode="auto">
                <a:xfrm>
                  <a:off x="6449" y="969"/>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 name="Freeform 200">
                  <a:extLst>
                    <a:ext uri="{FF2B5EF4-FFF2-40B4-BE49-F238E27FC236}">
                      <a16:creationId xmlns:a16="http://schemas.microsoft.com/office/drawing/2014/main" id="{24836996-1F73-499D-AABF-99DCEE64E55E}"/>
                    </a:ext>
                  </a:extLst>
                </p:cNvPr>
                <p:cNvSpPr>
                  <a:spLocks/>
                </p:cNvSpPr>
                <p:nvPr userDrawn="1"/>
              </p:nvSpPr>
              <p:spPr bwMode="auto">
                <a:xfrm>
                  <a:off x="6399" y="981"/>
                  <a:ext cx="6" cy="9"/>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 name="Freeform 201">
                  <a:extLst>
                    <a:ext uri="{FF2B5EF4-FFF2-40B4-BE49-F238E27FC236}">
                      <a16:creationId xmlns:a16="http://schemas.microsoft.com/office/drawing/2014/main" id="{33E19F03-DC55-48B6-909B-255F58C2FDDA}"/>
                    </a:ext>
                  </a:extLst>
                </p:cNvPr>
                <p:cNvSpPr>
                  <a:spLocks/>
                </p:cNvSpPr>
                <p:nvPr userDrawn="1"/>
              </p:nvSpPr>
              <p:spPr bwMode="auto">
                <a:xfrm>
                  <a:off x="6409" y="981"/>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 name="Freeform 202">
                  <a:extLst>
                    <a:ext uri="{FF2B5EF4-FFF2-40B4-BE49-F238E27FC236}">
                      <a16:creationId xmlns:a16="http://schemas.microsoft.com/office/drawing/2014/main" id="{BA3D9E32-EFF6-470C-A5D3-47F0C4820E1A}"/>
                    </a:ext>
                  </a:extLst>
                </p:cNvPr>
                <p:cNvSpPr>
                  <a:spLocks/>
                </p:cNvSpPr>
                <p:nvPr userDrawn="1"/>
              </p:nvSpPr>
              <p:spPr bwMode="auto">
                <a:xfrm>
                  <a:off x="6419" y="981"/>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 name="Freeform 203">
                  <a:extLst>
                    <a:ext uri="{FF2B5EF4-FFF2-40B4-BE49-F238E27FC236}">
                      <a16:creationId xmlns:a16="http://schemas.microsoft.com/office/drawing/2014/main" id="{BF734E77-C8D7-414B-9932-1BAF4398AFC3}"/>
                    </a:ext>
                  </a:extLst>
                </p:cNvPr>
                <p:cNvSpPr>
                  <a:spLocks/>
                </p:cNvSpPr>
                <p:nvPr userDrawn="1"/>
              </p:nvSpPr>
              <p:spPr bwMode="auto">
                <a:xfrm>
                  <a:off x="6429" y="981"/>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 name="Freeform 204">
                  <a:extLst>
                    <a:ext uri="{FF2B5EF4-FFF2-40B4-BE49-F238E27FC236}">
                      <a16:creationId xmlns:a16="http://schemas.microsoft.com/office/drawing/2014/main" id="{EC59CC30-763E-45F8-8F0A-902F4E7B07BB}"/>
                    </a:ext>
                  </a:extLst>
                </p:cNvPr>
                <p:cNvSpPr>
                  <a:spLocks/>
                </p:cNvSpPr>
                <p:nvPr userDrawn="1"/>
              </p:nvSpPr>
              <p:spPr bwMode="auto">
                <a:xfrm>
                  <a:off x="6439" y="981"/>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 name="Freeform 206">
                <a:extLst>
                  <a:ext uri="{FF2B5EF4-FFF2-40B4-BE49-F238E27FC236}">
                    <a16:creationId xmlns:a16="http://schemas.microsoft.com/office/drawing/2014/main" id="{3DC29407-1B2B-4EA1-9B7C-0361E7C95F0E}"/>
                  </a:ext>
                </a:extLst>
              </p:cNvPr>
              <p:cNvSpPr>
                <a:spLocks/>
              </p:cNvSpPr>
              <p:nvPr userDrawn="1"/>
            </p:nvSpPr>
            <p:spPr bwMode="auto">
              <a:xfrm>
                <a:off x="6449" y="981"/>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 name="Freeform 207">
                <a:extLst>
                  <a:ext uri="{FF2B5EF4-FFF2-40B4-BE49-F238E27FC236}">
                    <a16:creationId xmlns:a16="http://schemas.microsoft.com/office/drawing/2014/main" id="{34A5EEA8-273D-4DDE-AF4E-980CE389B441}"/>
                  </a:ext>
                </a:extLst>
              </p:cNvPr>
              <p:cNvSpPr>
                <a:spLocks/>
              </p:cNvSpPr>
              <p:nvPr userDrawn="1"/>
            </p:nvSpPr>
            <p:spPr bwMode="auto">
              <a:xfrm>
                <a:off x="6399" y="994"/>
                <a:ext cx="6" cy="9"/>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 name="Freeform 208">
                <a:extLst>
                  <a:ext uri="{FF2B5EF4-FFF2-40B4-BE49-F238E27FC236}">
                    <a16:creationId xmlns:a16="http://schemas.microsoft.com/office/drawing/2014/main" id="{C6B5AAB3-1562-4CB3-A945-2B1D8E16C239}"/>
                  </a:ext>
                </a:extLst>
              </p:cNvPr>
              <p:cNvSpPr>
                <a:spLocks/>
              </p:cNvSpPr>
              <p:nvPr userDrawn="1"/>
            </p:nvSpPr>
            <p:spPr bwMode="auto">
              <a:xfrm>
                <a:off x="6409" y="994"/>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209">
                <a:extLst>
                  <a:ext uri="{FF2B5EF4-FFF2-40B4-BE49-F238E27FC236}">
                    <a16:creationId xmlns:a16="http://schemas.microsoft.com/office/drawing/2014/main" id="{ACD033BD-0BDB-4767-A4AD-F6A52EA47DFF}"/>
                  </a:ext>
                </a:extLst>
              </p:cNvPr>
              <p:cNvSpPr>
                <a:spLocks/>
              </p:cNvSpPr>
              <p:nvPr userDrawn="1"/>
            </p:nvSpPr>
            <p:spPr bwMode="auto">
              <a:xfrm>
                <a:off x="6419" y="994"/>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 name="Freeform 210">
                <a:extLst>
                  <a:ext uri="{FF2B5EF4-FFF2-40B4-BE49-F238E27FC236}">
                    <a16:creationId xmlns:a16="http://schemas.microsoft.com/office/drawing/2014/main" id="{8263A67C-5E43-41AA-83EF-2042051F9ECE}"/>
                  </a:ext>
                </a:extLst>
              </p:cNvPr>
              <p:cNvSpPr>
                <a:spLocks/>
              </p:cNvSpPr>
              <p:nvPr userDrawn="1"/>
            </p:nvSpPr>
            <p:spPr bwMode="auto">
              <a:xfrm>
                <a:off x="6429" y="994"/>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Freeform 211">
                <a:extLst>
                  <a:ext uri="{FF2B5EF4-FFF2-40B4-BE49-F238E27FC236}">
                    <a16:creationId xmlns:a16="http://schemas.microsoft.com/office/drawing/2014/main" id="{A722E5B7-E7D7-4F98-8565-8637B05C6D57}"/>
                  </a:ext>
                </a:extLst>
              </p:cNvPr>
              <p:cNvSpPr>
                <a:spLocks/>
              </p:cNvSpPr>
              <p:nvPr userDrawn="1"/>
            </p:nvSpPr>
            <p:spPr bwMode="auto">
              <a:xfrm>
                <a:off x="6439" y="994"/>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 name="Freeform 212">
                <a:extLst>
                  <a:ext uri="{FF2B5EF4-FFF2-40B4-BE49-F238E27FC236}">
                    <a16:creationId xmlns:a16="http://schemas.microsoft.com/office/drawing/2014/main" id="{9B114B29-778E-4A03-87BC-69C1B9B1D57F}"/>
                  </a:ext>
                </a:extLst>
              </p:cNvPr>
              <p:cNvSpPr>
                <a:spLocks/>
              </p:cNvSpPr>
              <p:nvPr userDrawn="1"/>
            </p:nvSpPr>
            <p:spPr bwMode="auto">
              <a:xfrm>
                <a:off x="6449" y="994"/>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 name="Freeform 213">
                <a:extLst>
                  <a:ext uri="{FF2B5EF4-FFF2-40B4-BE49-F238E27FC236}">
                    <a16:creationId xmlns:a16="http://schemas.microsoft.com/office/drawing/2014/main" id="{AF49776E-1818-4148-BB56-20D88120F413}"/>
                  </a:ext>
                </a:extLst>
              </p:cNvPr>
              <p:cNvSpPr>
                <a:spLocks/>
              </p:cNvSpPr>
              <p:nvPr userDrawn="1"/>
            </p:nvSpPr>
            <p:spPr bwMode="auto">
              <a:xfrm>
                <a:off x="6399" y="880"/>
                <a:ext cx="6" cy="9"/>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 name="Freeform 214">
                <a:extLst>
                  <a:ext uri="{FF2B5EF4-FFF2-40B4-BE49-F238E27FC236}">
                    <a16:creationId xmlns:a16="http://schemas.microsoft.com/office/drawing/2014/main" id="{56E40CF7-81FF-4AEF-A691-6972050B9A90}"/>
                  </a:ext>
                </a:extLst>
              </p:cNvPr>
              <p:cNvSpPr>
                <a:spLocks/>
              </p:cNvSpPr>
              <p:nvPr userDrawn="1"/>
            </p:nvSpPr>
            <p:spPr bwMode="auto">
              <a:xfrm>
                <a:off x="6409" y="880"/>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 name="Freeform 215">
                <a:extLst>
                  <a:ext uri="{FF2B5EF4-FFF2-40B4-BE49-F238E27FC236}">
                    <a16:creationId xmlns:a16="http://schemas.microsoft.com/office/drawing/2014/main" id="{FBAFE93B-0BA6-4911-999C-CD34138653E3}"/>
                  </a:ext>
                </a:extLst>
              </p:cNvPr>
              <p:cNvSpPr>
                <a:spLocks/>
              </p:cNvSpPr>
              <p:nvPr userDrawn="1"/>
            </p:nvSpPr>
            <p:spPr bwMode="auto">
              <a:xfrm>
                <a:off x="6419" y="880"/>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 name="Freeform 216">
                <a:extLst>
                  <a:ext uri="{FF2B5EF4-FFF2-40B4-BE49-F238E27FC236}">
                    <a16:creationId xmlns:a16="http://schemas.microsoft.com/office/drawing/2014/main" id="{8F093229-7736-4224-8D46-7609B017E144}"/>
                  </a:ext>
                </a:extLst>
              </p:cNvPr>
              <p:cNvSpPr>
                <a:spLocks/>
              </p:cNvSpPr>
              <p:nvPr userDrawn="1"/>
            </p:nvSpPr>
            <p:spPr bwMode="auto">
              <a:xfrm>
                <a:off x="6429" y="880"/>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217">
                <a:extLst>
                  <a:ext uri="{FF2B5EF4-FFF2-40B4-BE49-F238E27FC236}">
                    <a16:creationId xmlns:a16="http://schemas.microsoft.com/office/drawing/2014/main" id="{62B31CDA-AD40-44D0-A705-E8D7474D0ABE}"/>
                  </a:ext>
                </a:extLst>
              </p:cNvPr>
              <p:cNvSpPr>
                <a:spLocks/>
              </p:cNvSpPr>
              <p:nvPr userDrawn="1"/>
            </p:nvSpPr>
            <p:spPr bwMode="auto">
              <a:xfrm>
                <a:off x="6439" y="880"/>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218">
                <a:extLst>
                  <a:ext uri="{FF2B5EF4-FFF2-40B4-BE49-F238E27FC236}">
                    <a16:creationId xmlns:a16="http://schemas.microsoft.com/office/drawing/2014/main" id="{76C13460-5895-48E4-8BA0-BC795AD1152D}"/>
                  </a:ext>
                </a:extLst>
              </p:cNvPr>
              <p:cNvSpPr>
                <a:spLocks/>
              </p:cNvSpPr>
              <p:nvPr userDrawn="1"/>
            </p:nvSpPr>
            <p:spPr bwMode="auto">
              <a:xfrm>
                <a:off x="6449" y="880"/>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 name="Freeform 219">
                <a:extLst>
                  <a:ext uri="{FF2B5EF4-FFF2-40B4-BE49-F238E27FC236}">
                    <a16:creationId xmlns:a16="http://schemas.microsoft.com/office/drawing/2014/main" id="{7E786016-D613-4516-AF0D-48603C33B7CA}"/>
                  </a:ext>
                </a:extLst>
              </p:cNvPr>
              <p:cNvSpPr>
                <a:spLocks/>
              </p:cNvSpPr>
              <p:nvPr userDrawn="1"/>
            </p:nvSpPr>
            <p:spPr bwMode="auto">
              <a:xfrm>
                <a:off x="6399" y="893"/>
                <a:ext cx="6" cy="9"/>
              </a:xfrm>
              <a:custGeom>
                <a:avLst/>
                <a:gdLst>
                  <a:gd name="T0" fmla="*/ 6 w 13"/>
                  <a:gd name="T1" fmla="*/ 0 h 20"/>
                  <a:gd name="T2" fmla="*/ 0 w 13"/>
                  <a:gd name="T3" fmla="*/ 7 h 20"/>
                  <a:gd name="T4" fmla="*/ 0 w 13"/>
                  <a:gd name="T5" fmla="*/ 20 h 20"/>
                  <a:gd name="T6" fmla="*/ 13 w 13"/>
                  <a:gd name="T7" fmla="*/ 20 h 20"/>
                  <a:gd name="T8" fmla="*/ 13 w 13"/>
                  <a:gd name="T9" fmla="*/ 7 h 20"/>
                  <a:gd name="T10" fmla="*/ 6 w 13"/>
                  <a:gd name="T11" fmla="*/ 0 h 20"/>
                </a:gdLst>
                <a:ahLst/>
                <a:cxnLst>
                  <a:cxn ang="0">
                    <a:pos x="T0" y="T1"/>
                  </a:cxn>
                  <a:cxn ang="0">
                    <a:pos x="T2" y="T3"/>
                  </a:cxn>
                  <a:cxn ang="0">
                    <a:pos x="T4" y="T5"/>
                  </a:cxn>
                  <a:cxn ang="0">
                    <a:pos x="T6" y="T7"/>
                  </a:cxn>
                  <a:cxn ang="0">
                    <a:pos x="T8" y="T9"/>
                  </a:cxn>
                  <a:cxn ang="0">
                    <a:pos x="T10" y="T11"/>
                  </a:cxn>
                </a:cxnLst>
                <a:rect l="0" t="0" r="r" b="b"/>
                <a:pathLst>
                  <a:path w="13" h="20">
                    <a:moveTo>
                      <a:pt x="6" y="0"/>
                    </a:moveTo>
                    <a:cubicBezTo>
                      <a:pt x="3" y="0"/>
                      <a:pt x="0" y="4"/>
                      <a:pt x="0" y="7"/>
                    </a:cubicBezTo>
                    <a:cubicBezTo>
                      <a:pt x="0" y="20"/>
                      <a:pt x="0" y="20"/>
                      <a:pt x="0" y="20"/>
                    </a:cubicBezTo>
                    <a:cubicBezTo>
                      <a:pt x="13" y="20"/>
                      <a:pt x="13" y="20"/>
                      <a:pt x="13" y="20"/>
                    </a:cubicBezTo>
                    <a:cubicBezTo>
                      <a:pt x="13" y="7"/>
                      <a:pt x="13" y="7"/>
                      <a:pt x="13" y="7"/>
                    </a:cubicBezTo>
                    <a:cubicBezTo>
                      <a:pt x="13" y="4"/>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220">
                <a:extLst>
                  <a:ext uri="{FF2B5EF4-FFF2-40B4-BE49-F238E27FC236}">
                    <a16:creationId xmlns:a16="http://schemas.microsoft.com/office/drawing/2014/main" id="{4897311A-FE1D-49DE-8D2A-CAE00B3CC095}"/>
                  </a:ext>
                </a:extLst>
              </p:cNvPr>
              <p:cNvSpPr>
                <a:spLocks/>
              </p:cNvSpPr>
              <p:nvPr userDrawn="1"/>
            </p:nvSpPr>
            <p:spPr bwMode="auto">
              <a:xfrm>
                <a:off x="6409" y="893"/>
                <a:ext cx="6" cy="9"/>
              </a:xfrm>
              <a:custGeom>
                <a:avLst/>
                <a:gdLst>
                  <a:gd name="T0" fmla="*/ 7 w 14"/>
                  <a:gd name="T1" fmla="*/ 0 h 20"/>
                  <a:gd name="T2" fmla="*/ 0 w 14"/>
                  <a:gd name="T3" fmla="*/ 7 h 20"/>
                  <a:gd name="T4" fmla="*/ 0 w 14"/>
                  <a:gd name="T5" fmla="*/ 20 h 20"/>
                  <a:gd name="T6" fmla="*/ 14 w 14"/>
                  <a:gd name="T7" fmla="*/ 20 h 20"/>
                  <a:gd name="T8" fmla="*/ 14 w 14"/>
                  <a:gd name="T9" fmla="*/ 7 h 20"/>
                  <a:gd name="T10" fmla="*/ 7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7" y="0"/>
                    </a:moveTo>
                    <a:cubicBezTo>
                      <a:pt x="3" y="0"/>
                      <a:pt x="0" y="4"/>
                      <a:pt x="0" y="7"/>
                    </a:cubicBezTo>
                    <a:cubicBezTo>
                      <a:pt x="0" y="20"/>
                      <a:pt x="0" y="20"/>
                      <a:pt x="0" y="20"/>
                    </a:cubicBezTo>
                    <a:cubicBezTo>
                      <a:pt x="14" y="20"/>
                      <a:pt x="14" y="20"/>
                      <a:pt x="14" y="20"/>
                    </a:cubicBezTo>
                    <a:cubicBezTo>
                      <a:pt x="14" y="7"/>
                      <a:pt x="14" y="7"/>
                      <a:pt x="14" y="7"/>
                    </a:cubicBezTo>
                    <a:cubicBezTo>
                      <a:pt x="14" y="4"/>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221">
                <a:extLst>
                  <a:ext uri="{FF2B5EF4-FFF2-40B4-BE49-F238E27FC236}">
                    <a16:creationId xmlns:a16="http://schemas.microsoft.com/office/drawing/2014/main" id="{C293EE50-CDA7-4D9B-A1A4-D7398BE82EB1}"/>
                  </a:ext>
                </a:extLst>
              </p:cNvPr>
              <p:cNvSpPr>
                <a:spLocks/>
              </p:cNvSpPr>
              <p:nvPr userDrawn="1"/>
            </p:nvSpPr>
            <p:spPr bwMode="auto">
              <a:xfrm>
                <a:off x="6419" y="893"/>
                <a:ext cx="6" cy="9"/>
              </a:xfrm>
              <a:custGeom>
                <a:avLst/>
                <a:gdLst>
                  <a:gd name="T0" fmla="*/ 7 w 14"/>
                  <a:gd name="T1" fmla="*/ 0 h 20"/>
                  <a:gd name="T2" fmla="*/ 0 w 14"/>
                  <a:gd name="T3" fmla="*/ 7 h 20"/>
                  <a:gd name="T4" fmla="*/ 0 w 14"/>
                  <a:gd name="T5" fmla="*/ 20 h 20"/>
                  <a:gd name="T6" fmla="*/ 14 w 14"/>
                  <a:gd name="T7" fmla="*/ 20 h 20"/>
                  <a:gd name="T8" fmla="*/ 14 w 14"/>
                  <a:gd name="T9" fmla="*/ 7 h 20"/>
                  <a:gd name="T10" fmla="*/ 7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7" y="0"/>
                    </a:moveTo>
                    <a:cubicBezTo>
                      <a:pt x="3" y="0"/>
                      <a:pt x="0" y="4"/>
                      <a:pt x="0" y="7"/>
                    </a:cubicBezTo>
                    <a:cubicBezTo>
                      <a:pt x="0" y="20"/>
                      <a:pt x="0" y="20"/>
                      <a:pt x="0" y="20"/>
                    </a:cubicBezTo>
                    <a:cubicBezTo>
                      <a:pt x="14" y="20"/>
                      <a:pt x="14" y="20"/>
                      <a:pt x="14" y="20"/>
                    </a:cubicBezTo>
                    <a:cubicBezTo>
                      <a:pt x="14" y="7"/>
                      <a:pt x="14" y="7"/>
                      <a:pt x="14" y="7"/>
                    </a:cubicBezTo>
                    <a:cubicBezTo>
                      <a:pt x="14" y="4"/>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222">
                <a:extLst>
                  <a:ext uri="{FF2B5EF4-FFF2-40B4-BE49-F238E27FC236}">
                    <a16:creationId xmlns:a16="http://schemas.microsoft.com/office/drawing/2014/main" id="{6E5D1E79-E226-4B2E-A02D-F11BD248B514}"/>
                  </a:ext>
                </a:extLst>
              </p:cNvPr>
              <p:cNvSpPr>
                <a:spLocks/>
              </p:cNvSpPr>
              <p:nvPr userDrawn="1"/>
            </p:nvSpPr>
            <p:spPr bwMode="auto">
              <a:xfrm>
                <a:off x="6429" y="893"/>
                <a:ext cx="6" cy="9"/>
              </a:xfrm>
              <a:custGeom>
                <a:avLst/>
                <a:gdLst>
                  <a:gd name="T0" fmla="*/ 7 w 14"/>
                  <a:gd name="T1" fmla="*/ 0 h 20"/>
                  <a:gd name="T2" fmla="*/ 0 w 14"/>
                  <a:gd name="T3" fmla="*/ 7 h 20"/>
                  <a:gd name="T4" fmla="*/ 0 w 14"/>
                  <a:gd name="T5" fmla="*/ 20 h 20"/>
                  <a:gd name="T6" fmla="*/ 14 w 14"/>
                  <a:gd name="T7" fmla="*/ 20 h 20"/>
                  <a:gd name="T8" fmla="*/ 14 w 14"/>
                  <a:gd name="T9" fmla="*/ 7 h 20"/>
                  <a:gd name="T10" fmla="*/ 7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7" y="0"/>
                    </a:moveTo>
                    <a:cubicBezTo>
                      <a:pt x="3" y="0"/>
                      <a:pt x="0" y="4"/>
                      <a:pt x="0" y="7"/>
                    </a:cubicBezTo>
                    <a:cubicBezTo>
                      <a:pt x="0" y="20"/>
                      <a:pt x="0" y="20"/>
                      <a:pt x="0" y="20"/>
                    </a:cubicBezTo>
                    <a:cubicBezTo>
                      <a:pt x="14" y="20"/>
                      <a:pt x="14" y="20"/>
                      <a:pt x="14" y="20"/>
                    </a:cubicBezTo>
                    <a:cubicBezTo>
                      <a:pt x="14" y="7"/>
                      <a:pt x="14" y="7"/>
                      <a:pt x="14" y="7"/>
                    </a:cubicBezTo>
                    <a:cubicBezTo>
                      <a:pt x="14" y="4"/>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 name="Freeform 223">
                <a:extLst>
                  <a:ext uri="{FF2B5EF4-FFF2-40B4-BE49-F238E27FC236}">
                    <a16:creationId xmlns:a16="http://schemas.microsoft.com/office/drawing/2014/main" id="{43AEF585-9B7A-43C0-A886-880443CF6D9B}"/>
                  </a:ext>
                </a:extLst>
              </p:cNvPr>
              <p:cNvSpPr>
                <a:spLocks/>
              </p:cNvSpPr>
              <p:nvPr userDrawn="1"/>
            </p:nvSpPr>
            <p:spPr bwMode="auto">
              <a:xfrm>
                <a:off x="6439" y="893"/>
                <a:ext cx="6" cy="9"/>
              </a:xfrm>
              <a:custGeom>
                <a:avLst/>
                <a:gdLst>
                  <a:gd name="T0" fmla="*/ 7 w 14"/>
                  <a:gd name="T1" fmla="*/ 0 h 20"/>
                  <a:gd name="T2" fmla="*/ 0 w 14"/>
                  <a:gd name="T3" fmla="*/ 7 h 20"/>
                  <a:gd name="T4" fmla="*/ 0 w 14"/>
                  <a:gd name="T5" fmla="*/ 20 h 20"/>
                  <a:gd name="T6" fmla="*/ 14 w 14"/>
                  <a:gd name="T7" fmla="*/ 20 h 20"/>
                  <a:gd name="T8" fmla="*/ 14 w 14"/>
                  <a:gd name="T9" fmla="*/ 7 h 20"/>
                  <a:gd name="T10" fmla="*/ 7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7" y="0"/>
                    </a:moveTo>
                    <a:cubicBezTo>
                      <a:pt x="3" y="0"/>
                      <a:pt x="0" y="4"/>
                      <a:pt x="0" y="7"/>
                    </a:cubicBezTo>
                    <a:cubicBezTo>
                      <a:pt x="0" y="20"/>
                      <a:pt x="0" y="20"/>
                      <a:pt x="0" y="20"/>
                    </a:cubicBezTo>
                    <a:cubicBezTo>
                      <a:pt x="14" y="20"/>
                      <a:pt x="14" y="20"/>
                      <a:pt x="14" y="20"/>
                    </a:cubicBezTo>
                    <a:cubicBezTo>
                      <a:pt x="14" y="7"/>
                      <a:pt x="14" y="7"/>
                      <a:pt x="14" y="7"/>
                    </a:cubicBezTo>
                    <a:cubicBezTo>
                      <a:pt x="14" y="4"/>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224">
                <a:extLst>
                  <a:ext uri="{FF2B5EF4-FFF2-40B4-BE49-F238E27FC236}">
                    <a16:creationId xmlns:a16="http://schemas.microsoft.com/office/drawing/2014/main" id="{7A92C03C-C5EC-4E63-8424-244DAE73CB26}"/>
                  </a:ext>
                </a:extLst>
              </p:cNvPr>
              <p:cNvSpPr>
                <a:spLocks/>
              </p:cNvSpPr>
              <p:nvPr userDrawn="1"/>
            </p:nvSpPr>
            <p:spPr bwMode="auto">
              <a:xfrm>
                <a:off x="6449" y="893"/>
                <a:ext cx="6" cy="9"/>
              </a:xfrm>
              <a:custGeom>
                <a:avLst/>
                <a:gdLst>
                  <a:gd name="T0" fmla="*/ 7 w 14"/>
                  <a:gd name="T1" fmla="*/ 0 h 20"/>
                  <a:gd name="T2" fmla="*/ 0 w 14"/>
                  <a:gd name="T3" fmla="*/ 7 h 20"/>
                  <a:gd name="T4" fmla="*/ 0 w 14"/>
                  <a:gd name="T5" fmla="*/ 20 h 20"/>
                  <a:gd name="T6" fmla="*/ 14 w 14"/>
                  <a:gd name="T7" fmla="*/ 20 h 20"/>
                  <a:gd name="T8" fmla="*/ 14 w 14"/>
                  <a:gd name="T9" fmla="*/ 7 h 20"/>
                  <a:gd name="T10" fmla="*/ 7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7" y="0"/>
                    </a:moveTo>
                    <a:cubicBezTo>
                      <a:pt x="4" y="0"/>
                      <a:pt x="0" y="4"/>
                      <a:pt x="0" y="7"/>
                    </a:cubicBezTo>
                    <a:cubicBezTo>
                      <a:pt x="0" y="20"/>
                      <a:pt x="0" y="20"/>
                      <a:pt x="0" y="20"/>
                    </a:cubicBezTo>
                    <a:cubicBezTo>
                      <a:pt x="14" y="20"/>
                      <a:pt x="14" y="20"/>
                      <a:pt x="14" y="20"/>
                    </a:cubicBezTo>
                    <a:cubicBezTo>
                      <a:pt x="14" y="7"/>
                      <a:pt x="14" y="7"/>
                      <a:pt x="14" y="7"/>
                    </a:cubicBezTo>
                    <a:cubicBezTo>
                      <a:pt x="14" y="4"/>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Rectangle 225">
                <a:extLst>
                  <a:ext uri="{FF2B5EF4-FFF2-40B4-BE49-F238E27FC236}">
                    <a16:creationId xmlns:a16="http://schemas.microsoft.com/office/drawing/2014/main" id="{905DE5E0-EA09-4D4C-9314-6E0BAE3E5AAA}"/>
                  </a:ext>
                </a:extLst>
              </p:cNvPr>
              <p:cNvSpPr>
                <a:spLocks noChangeArrowheads="1"/>
              </p:cNvSpPr>
              <p:nvPr userDrawn="1"/>
            </p:nvSpPr>
            <p:spPr bwMode="auto">
              <a:xfrm>
                <a:off x="6327" y="1129"/>
                <a:ext cx="110" cy="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Rectangle 226">
                <a:extLst>
                  <a:ext uri="{FF2B5EF4-FFF2-40B4-BE49-F238E27FC236}">
                    <a16:creationId xmlns:a16="http://schemas.microsoft.com/office/drawing/2014/main" id="{0EABE4B7-EE29-40A9-AAEC-D62F22F7745F}"/>
                  </a:ext>
                </a:extLst>
              </p:cNvPr>
              <p:cNvSpPr>
                <a:spLocks noChangeArrowheads="1"/>
              </p:cNvSpPr>
              <p:nvPr userDrawn="1"/>
            </p:nvSpPr>
            <p:spPr bwMode="auto">
              <a:xfrm>
                <a:off x="6327" y="1142"/>
                <a:ext cx="110" cy="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 name="Rectangle 227">
                <a:extLst>
                  <a:ext uri="{FF2B5EF4-FFF2-40B4-BE49-F238E27FC236}">
                    <a16:creationId xmlns:a16="http://schemas.microsoft.com/office/drawing/2014/main" id="{C35B4B54-C665-4E48-8744-BC8C27EA6CF0}"/>
                  </a:ext>
                </a:extLst>
              </p:cNvPr>
              <p:cNvSpPr>
                <a:spLocks noChangeArrowheads="1"/>
              </p:cNvSpPr>
              <p:nvPr userDrawn="1"/>
            </p:nvSpPr>
            <p:spPr bwMode="auto">
              <a:xfrm>
                <a:off x="6327" y="1136"/>
                <a:ext cx="110" cy="6"/>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 name="Rectangle 228">
                <a:extLst>
                  <a:ext uri="{FF2B5EF4-FFF2-40B4-BE49-F238E27FC236}">
                    <a16:creationId xmlns:a16="http://schemas.microsoft.com/office/drawing/2014/main" id="{2799DDFC-7890-477C-AE3F-9D2D397C1A31}"/>
                  </a:ext>
                </a:extLst>
              </p:cNvPr>
              <p:cNvSpPr>
                <a:spLocks noChangeArrowheads="1"/>
              </p:cNvSpPr>
              <p:nvPr userDrawn="1"/>
            </p:nvSpPr>
            <p:spPr bwMode="auto">
              <a:xfrm>
                <a:off x="6403" y="1075"/>
                <a:ext cx="21" cy="5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 name="Rectangle 229">
                <a:extLst>
                  <a:ext uri="{FF2B5EF4-FFF2-40B4-BE49-F238E27FC236}">
                    <a16:creationId xmlns:a16="http://schemas.microsoft.com/office/drawing/2014/main" id="{9DFA028E-0CC0-4325-8077-F3420E89B15E}"/>
                  </a:ext>
                </a:extLst>
              </p:cNvPr>
              <p:cNvSpPr>
                <a:spLocks noChangeArrowheads="1"/>
              </p:cNvSpPr>
              <p:nvPr userDrawn="1"/>
            </p:nvSpPr>
            <p:spPr bwMode="auto">
              <a:xfrm>
                <a:off x="6418" y="1080"/>
                <a:ext cx="6" cy="49"/>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Rectangle 230">
                <a:extLst>
                  <a:ext uri="{FF2B5EF4-FFF2-40B4-BE49-F238E27FC236}">
                    <a16:creationId xmlns:a16="http://schemas.microsoft.com/office/drawing/2014/main" id="{C4A0E2E0-AFA2-49DA-9F5E-B5EA47A05466}"/>
                  </a:ext>
                </a:extLst>
              </p:cNvPr>
              <p:cNvSpPr>
                <a:spLocks noChangeArrowheads="1"/>
              </p:cNvSpPr>
              <p:nvPr userDrawn="1"/>
            </p:nvSpPr>
            <p:spPr bwMode="auto">
              <a:xfrm>
                <a:off x="6372" y="1075"/>
                <a:ext cx="20" cy="5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 name="Rectangle 231">
                <a:extLst>
                  <a:ext uri="{FF2B5EF4-FFF2-40B4-BE49-F238E27FC236}">
                    <a16:creationId xmlns:a16="http://schemas.microsoft.com/office/drawing/2014/main" id="{AF2E8786-F9EE-4DF9-8CFD-713BCE5301AE}"/>
                  </a:ext>
                </a:extLst>
              </p:cNvPr>
              <p:cNvSpPr>
                <a:spLocks noChangeArrowheads="1"/>
              </p:cNvSpPr>
              <p:nvPr userDrawn="1"/>
            </p:nvSpPr>
            <p:spPr bwMode="auto">
              <a:xfrm>
                <a:off x="6386" y="1080"/>
                <a:ext cx="6" cy="49"/>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 name="Rectangle 232">
                <a:extLst>
                  <a:ext uri="{FF2B5EF4-FFF2-40B4-BE49-F238E27FC236}">
                    <a16:creationId xmlns:a16="http://schemas.microsoft.com/office/drawing/2014/main" id="{64DEEA46-F1BC-4FF6-88F6-BE5954DD0DAC}"/>
                  </a:ext>
                </a:extLst>
              </p:cNvPr>
              <p:cNvSpPr>
                <a:spLocks noChangeArrowheads="1"/>
              </p:cNvSpPr>
              <p:nvPr userDrawn="1"/>
            </p:nvSpPr>
            <p:spPr bwMode="auto">
              <a:xfrm>
                <a:off x="6341" y="1075"/>
                <a:ext cx="20" cy="5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 name="Rectangle 233">
                <a:extLst>
                  <a:ext uri="{FF2B5EF4-FFF2-40B4-BE49-F238E27FC236}">
                    <a16:creationId xmlns:a16="http://schemas.microsoft.com/office/drawing/2014/main" id="{46EF07B2-DC3D-4F4F-802E-A216B4C6E1AD}"/>
                  </a:ext>
                </a:extLst>
              </p:cNvPr>
              <p:cNvSpPr>
                <a:spLocks noChangeArrowheads="1"/>
              </p:cNvSpPr>
              <p:nvPr userDrawn="1"/>
            </p:nvSpPr>
            <p:spPr bwMode="auto">
              <a:xfrm>
                <a:off x="6355" y="1080"/>
                <a:ext cx="6" cy="49"/>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 name="Rectangle 234">
                <a:extLst>
                  <a:ext uri="{FF2B5EF4-FFF2-40B4-BE49-F238E27FC236}">
                    <a16:creationId xmlns:a16="http://schemas.microsoft.com/office/drawing/2014/main" id="{E99E1D74-FF85-4585-B3FC-1E3ED6B02898}"/>
                  </a:ext>
                </a:extLst>
              </p:cNvPr>
              <p:cNvSpPr>
                <a:spLocks noChangeArrowheads="1"/>
              </p:cNvSpPr>
              <p:nvPr userDrawn="1"/>
            </p:nvSpPr>
            <p:spPr bwMode="auto">
              <a:xfrm>
                <a:off x="6341" y="1081"/>
                <a:ext cx="14" cy="6"/>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 name="Rectangle 235">
                <a:extLst>
                  <a:ext uri="{FF2B5EF4-FFF2-40B4-BE49-F238E27FC236}">
                    <a16:creationId xmlns:a16="http://schemas.microsoft.com/office/drawing/2014/main" id="{45108875-5304-42B1-A994-7CBD40387FDB}"/>
                  </a:ext>
                </a:extLst>
              </p:cNvPr>
              <p:cNvSpPr>
                <a:spLocks noChangeArrowheads="1"/>
              </p:cNvSpPr>
              <p:nvPr userDrawn="1"/>
            </p:nvSpPr>
            <p:spPr bwMode="auto">
              <a:xfrm>
                <a:off x="6372" y="1081"/>
                <a:ext cx="14" cy="6"/>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 name="Rectangle 236">
                <a:extLst>
                  <a:ext uri="{FF2B5EF4-FFF2-40B4-BE49-F238E27FC236}">
                    <a16:creationId xmlns:a16="http://schemas.microsoft.com/office/drawing/2014/main" id="{2F2033C9-0F69-4265-AD2F-AC06896377A4}"/>
                  </a:ext>
                </a:extLst>
              </p:cNvPr>
              <p:cNvSpPr>
                <a:spLocks noChangeArrowheads="1"/>
              </p:cNvSpPr>
              <p:nvPr userDrawn="1"/>
            </p:nvSpPr>
            <p:spPr bwMode="auto">
              <a:xfrm>
                <a:off x="6403" y="1081"/>
                <a:ext cx="15" cy="6"/>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 name="Freeform 237">
                <a:extLst>
                  <a:ext uri="{FF2B5EF4-FFF2-40B4-BE49-F238E27FC236}">
                    <a16:creationId xmlns:a16="http://schemas.microsoft.com/office/drawing/2014/main" id="{057E6B48-D98F-4418-8C14-62384D60FD9E}"/>
                  </a:ext>
                </a:extLst>
              </p:cNvPr>
              <p:cNvSpPr>
                <a:spLocks/>
              </p:cNvSpPr>
              <p:nvPr userDrawn="1"/>
            </p:nvSpPr>
            <p:spPr bwMode="auto">
              <a:xfrm>
                <a:off x="6327" y="1040"/>
                <a:ext cx="110" cy="41"/>
              </a:xfrm>
              <a:custGeom>
                <a:avLst/>
                <a:gdLst>
                  <a:gd name="T0" fmla="*/ 110 w 110"/>
                  <a:gd name="T1" fmla="*/ 41 h 41"/>
                  <a:gd name="T2" fmla="*/ 0 w 110"/>
                  <a:gd name="T3" fmla="*/ 41 h 41"/>
                  <a:gd name="T4" fmla="*/ 55 w 110"/>
                  <a:gd name="T5" fmla="*/ 0 h 41"/>
                  <a:gd name="T6" fmla="*/ 110 w 110"/>
                  <a:gd name="T7" fmla="*/ 41 h 41"/>
                </a:gdLst>
                <a:ahLst/>
                <a:cxnLst>
                  <a:cxn ang="0">
                    <a:pos x="T0" y="T1"/>
                  </a:cxn>
                  <a:cxn ang="0">
                    <a:pos x="T2" y="T3"/>
                  </a:cxn>
                  <a:cxn ang="0">
                    <a:pos x="T4" y="T5"/>
                  </a:cxn>
                  <a:cxn ang="0">
                    <a:pos x="T6" y="T7"/>
                  </a:cxn>
                </a:cxnLst>
                <a:rect l="0" t="0" r="r" b="b"/>
                <a:pathLst>
                  <a:path w="110" h="41">
                    <a:moveTo>
                      <a:pt x="110" y="41"/>
                    </a:moveTo>
                    <a:lnTo>
                      <a:pt x="0" y="41"/>
                    </a:lnTo>
                    <a:lnTo>
                      <a:pt x="55" y="0"/>
                    </a:lnTo>
                    <a:lnTo>
                      <a:pt x="11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 name="Freeform 238">
                <a:extLst>
                  <a:ext uri="{FF2B5EF4-FFF2-40B4-BE49-F238E27FC236}">
                    <a16:creationId xmlns:a16="http://schemas.microsoft.com/office/drawing/2014/main" id="{E3C0E190-D3D8-4436-A38E-7956FBB901E1}"/>
                  </a:ext>
                </a:extLst>
              </p:cNvPr>
              <p:cNvSpPr>
                <a:spLocks/>
              </p:cNvSpPr>
              <p:nvPr userDrawn="1"/>
            </p:nvSpPr>
            <p:spPr bwMode="auto">
              <a:xfrm>
                <a:off x="6377" y="1040"/>
                <a:ext cx="60" cy="41"/>
              </a:xfrm>
              <a:custGeom>
                <a:avLst/>
                <a:gdLst>
                  <a:gd name="T0" fmla="*/ 5 w 60"/>
                  <a:gd name="T1" fmla="*/ 0 h 41"/>
                  <a:gd name="T2" fmla="*/ 0 w 60"/>
                  <a:gd name="T3" fmla="*/ 4 h 41"/>
                  <a:gd name="T4" fmla="*/ 32 w 60"/>
                  <a:gd name="T5" fmla="*/ 41 h 41"/>
                  <a:gd name="T6" fmla="*/ 60 w 60"/>
                  <a:gd name="T7" fmla="*/ 41 h 41"/>
                  <a:gd name="T8" fmla="*/ 5 w 60"/>
                  <a:gd name="T9" fmla="*/ 0 h 41"/>
                </a:gdLst>
                <a:ahLst/>
                <a:cxnLst>
                  <a:cxn ang="0">
                    <a:pos x="T0" y="T1"/>
                  </a:cxn>
                  <a:cxn ang="0">
                    <a:pos x="T2" y="T3"/>
                  </a:cxn>
                  <a:cxn ang="0">
                    <a:pos x="T4" y="T5"/>
                  </a:cxn>
                  <a:cxn ang="0">
                    <a:pos x="T6" y="T7"/>
                  </a:cxn>
                  <a:cxn ang="0">
                    <a:pos x="T8" y="T9"/>
                  </a:cxn>
                </a:cxnLst>
                <a:rect l="0" t="0" r="r" b="b"/>
                <a:pathLst>
                  <a:path w="60" h="41">
                    <a:moveTo>
                      <a:pt x="5" y="0"/>
                    </a:moveTo>
                    <a:lnTo>
                      <a:pt x="0" y="4"/>
                    </a:lnTo>
                    <a:lnTo>
                      <a:pt x="32" y="41"/>
                    </a:lnTo>
                    <a:lnTo>
                      <a:pt x="60" y="41"/>
                    </a:lnTo>
                    <a:lnTo>
                      <a:pt x="5"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 name="Freeform 239">
                <a:extLst>
                  <a:ext uri="{FF2B5EF4-FFF2-40B4-BE49-F238E27FC236}">
                    <a16:creationId xmlns:a16="http://schemas.microsoft.com/office/drawing/2014/main" id="{4D1C808F-C1DB-4940-B28B-D3C1659955E3}"/>
                  </a:ext>
                </a:extLst>
              </p:cNvPr>
              <p:cNvSpPr>
                <a:spLocks/>
              </p:cNvSpPr>
              <p:nvPr userDrawn="1"/>
            </p:nvSpPr>
            <p:spPr bwMode="auto">
              <a:xfrm>
                <a:off x="6453" y="1043"/>
                <a:ext cx="142" cy="40"/>
              </a:xfrm>
              <a:custGeom>
                <a:avLst/>
                <a:gdLst>
                  <a:gd name="T0" fmla="*/ 274 w 311"/>
                  <a:gd name="T1" fmla="*/ 0 h 89"/>
                  <a:gd name="T2" fmla="*/ 281 w 311"/>
                  <a:gd name="T3" fmla="*/ 24 h 89"/>
                  <a:gd name="T4" fmla="*/ 261 w 311"/>
                  <a:gd name="T5" fmla="*/ 62 h 89"/>
                  <a:gd name="T6" fmla="*/ 236 w 311"/>
                  <a:gd name="T7" fmla="*/ 69 h 89"/>
                  <a:gd name="T8" fmla="*/ 15 w 311"/>
                  <a:gd name="T9" fmla="*/ 69 h 89"/>
                  <a:gd name="T10" fmla="*/ 0 w 311"/>
                  <a:gd name="T11" fmla="*/ 67 h 89"/>
                  <a:gd name="T12" fmla="*/ 45 w 311"/>
                  <a:gd name="T13" fmla="*/ 89 h 89"/>
                  <a:gd name="T14" fmla="*/ 266 w 311"/>
                  <a:gd name="T15" fmla="*/ 89 h 89"/>
                  <a:gd name="T16" fmla="*/ 290 w 311"/>
                  <a:gd name="T17" fmla="*/ 82 h 89"/>
                  <a:gd name="T18" fmla="*/ 311 w 311"/>
                  <a:gd name="T19" fmla="*/ 44 h 89"/>
                  <a:gd name="T20" fmla="*/ 274 w 311"/>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89">
                    <a:moveTo>
                      <a:pt x="274" y="0"/>
                    </a:moveTo>
                    <a:cubicBezTo>
                      <a:pt x="279" y="7"/>
                      <a:pt x="281" y="15"/>
                      <a:pt x="281" y="24"/>
                    </a:cubicBezTo>
                    <a:cubicBezTo>
                      <a:pt x="281" y="40"/>
                      <a:pt x="273" y="54"/>
                      <a:pt x="261" y="62"/>
                    </a:cubicBezTo>
                    <a:cubicBezTo>
                      <a:pt x="253" y="66"/>
                      <a:pt x="245" y="69"/>
                      <a:pt x="236" y="69"/>
                    </a:cubicBezTo>
                    <a:cubicBezTo>
                      <a:pt x="15" y="69"/>
                      <a:pt x="15" y="69"/>
                      <a:pt x="15" y="69"/>
                    </a:cubicBezTo>
                    <a:cubicBezTo>
                      <a:pt x="10" y="69"/>
                      <a:pt x="4" y="68"/>
                      <a:pt x="0" y="67"/>
                    </a:cubicBezTo>
                    <a:cubicBezTo>
                      <a:pt x="10" y="81"/>
                      <a:pt x="26" y="89"/>
                      <a:pt x="45" y="89"/>
                    </a:cubicBezTo>
                    <a:cubicBezTo>
                      <a:pt x="266" y="89"/>
                      <a:pt x="266" y="89"/>
                      <a:pt x="266" y="89"/>
                    </a:cubicBezTo>
                    <a:cubicBezTo>
                      <a:pt x="275" y="89"/>
                      <a:pt x="283" y="87"/>
                      <a:pt x="290" y="82"/>
                    </a:cubicBezTo>
                    <a:cubicBezTo>
                      <a:pt x="303" y="74"/>
                      <a:pt x="311" y="60"/>
                      <a:pt x="311" y="44"/>
                    </a:cubicBezTo>
                    <a:cubicBezTo>
                      <a:pt x="311" y="22"/>
                      <a:pt x="295" y="4"/>
                      <a:pt x="274"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 name="Freeform 240">
                <a:extLst>
                  <a:ext uri="{FF2B5EF4-FFF2-40B4-BE49-F238E27FC236}">
                    <a16:creationId xmlns:a16="http://schemas.microsoft.com/office/drawing/2014/main" id="{AB12E6C6-C2F7-4E0E-B229-7A35BAB8165B}"/>
                  </a:ext>
                </a:extLst>
              </p:cNvPr>
              <p:cNvSpPr>
                <a:spLocks/>
              </p:cNvSpPr>
              <p:nvPr userDrawn="1"/>
            </p:nvSpPr>
            <p:spPr bwMode="auto">
              <a:xfrm>
                <a:off x="6448" y="1001"/>
                <a:ext cx="134" cy="73"/>
              </a:xfrm>
              <a:custGeom>
                <a:avLst/>
                <a:gdLst>
                  <a:gd name="T0" fmla="*/ 286 w 293"/>
                  <a:gd name="T1" fmla="*/ 93 h 162"/>
                  <a:gd name="T2" fmla="*/ 280 w 293"/>
                  <a:gd name="T3" fmla="*/ 85 h 162"/>
                  <a:gd name="T4" fmla="*/ 280 w 293"/>
                  <a:gd name="T5" fmla="*/ 81 h 162"/>
                  <a:gd name="T6" fmla="*/ 239 w 293"/>
                  <a:gd name="T7" fmla="*/ 26 h 162"/>
                  <a:gd name="T8" fmla="*/ 223 w 293"/>
                  <a:gd name="T9" fmla="*/ 24 h 162"/>
                  <a:gd name="T10" fmla="*/ 190 w 293"/>
                  <a:gd name="T11" fmla="*/ 35 h 162"/>
                  <a:gd name="T12" fmla="*/ 166 w 293"/>
                  <a:gd name="T13" fmla="*/ 11 h 162"/>
                  <a:gd name="T14" fmla="*/ 152 w 293"/>
                  <a:gd name="T15" fmla="*/ 4 h 162"/>
                  <a:gd name="T16" fmla="*/ 128 w 293"/>
                  <a:gd name="T17" fmla="*/ 0 h 162"/>
                  <a:gd name="T18" fmla="*/ 57 w 293"/>
                  <a:gd name="T19" fmla="*/ 68 h 162"/>
                  <a:gd name="T20" fmla="*/ 57 w 293"/>
                  <a:gd name="T21" fmla="*/ 69 h 162"/>
                  <a:gd name="T22" fmla="*/ 57 w 293"/>
                  <a:gd name="T23" fmla="*/ 69 h 162"/>
                  <a:gd name="T24" fmla="*/ 0 w 293"/>
                  <a:gd name="T25" fmla="*/ 126 h 162"/>
                  <a:gd name="T26" fmla="*/ 12 w 293"/>
                  <a:gd name="T27" fmla="*/ 160 h 162"/>
                  <a:gd name="T28" fmla="*/ 27 w 293"/>
                  <a:gd name="T29" fmla="*/ 162 h 162"/>
                  <a:gd name="T30" fmla="*/ 248 w 293"/>
                  <a:gd name="T31" fmla="*/ 162 h 162"/>
                  <a:gd name="T32" fmla="*/ 273 w 293"/>
                  <a:gd name="T33" fmla="*/ 155 h 162"/>
                  <a:gd name="T34" fmla="*/ 293 w 293"/>
                  <a:gd name="T35" fmla="*/ 117 h 162"/>
                  <a:gd name="T36" fmla="*/ 286 w 293"/>
                  <a:gd name="T37" fmla="*/ 9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3" h="162">
                    <a:moveTo>
                      <a:pt x="286" y="93"/>
                    </a:moveTo>
                    <a:cubicBezTo>
                      <a:pt x="284" y="90"/>
                      <a:pt x="282" y="87"/>
                      <a:pt x="280" y="85"/>
                    </a:cubicBezTo>
                    <a:cubicBezTo>
                      <a:pt x="280" y="84"/>
                      <a:pt x="280" y="82"/>
                      <a:pt x="280" y="81"/>
                    </a:cubicBezTo>
                    <a:cubicBezTo>
                      <a:pt x="280" y="55"/>
                      <a:pt x="262" y="33"/>
                      <a:pt x="239" y="26"/>
                    </a:cubicBezTo>
                    <a:cubicBezTo>
                      <a:pt x="234" y="25"/>
                      <a:pt x="229" y="24"/>
                      <a:pt x="223" y="24"/>
                    </a:cubicBezTo>
                    <a:cubicBezTo>
                      <a:pt x="211" y="24"/>
                      <a:pt x="199" y="28"/>
                      <a:pt x="190" y="35"/>
                    </a:cubicBezTo>
                    <a:cubicBezTo>
                      <a:pt x="184" y="25"/>
                      <a:pt x="176" y="17"/>
                      <a:pt x="166" y="11"/>
                    </a:cubicBezTo>
                    <a:cubicBezTo>
                      <a:pt x="162" y="8"/>
                      <a:pt x="157" y="6"/>
                      <a:pt x="152" y="4"/>
                    </a:cubicBezTo>
                    <a:cubicBezTo>
                      <a:pt x="144" y="1"/>
                      <a:pt x="137" y="0"/>
                      <a:pt x="128" y="0"/>
                    </a:cubicBezTo>
                    <a:cubicBezTo>
                      <a:pt x="90" y="0"/>
                      <a:pt x="59" y="30"/>
                      <a:pt x="57" y="68"/>
                    </a:cubicBezTo>
                    <a:cubicBezTo>
                      <a:pt x="57" y="68"/>
                      <a:pt x="57" y="69"/>
                      <a:pt x="57" y="69"/>
                    </a:cubicBezTo>
                    <a:cubicBezTo>
                      <a:pt x="57" y="69"/>
                      <a:pt x="57" y="69"/>
                      <a:pt x="57" y="69"/>
                    </a:cubicBezTo>
                    <a:cubicBezTo>
                      <a:pt x="25" y="69"/>
                      <a:pt x="0" y="95"/>
                      <a:pt x="0" y="126"/>
                    </a:cubicBezTo>
                    <a:cubicBezTo>
                      <a:pt x="0" y="139"/>
                      <a:pt x="4" y="151"/>
                      <a:pt x="12" y="160"/>
                    </a:cubicBezTo>
                    <a:cubicBezTo>
                      <a:pt x="16" y="161"/>
                      <a:pt x="22" y="162"/>
                      <a:pt x="27" y="162"/>
                    </a:cubicBezTo>
                    <a:cubicBezTo>
                      <a:pt x="248" y="162"/>
                      <a:pt x="248" y="162"/>
                      <a:pt x="248" y="162"/>
                    </a:cubicBezTo>
                    <a:cubicBezTo>
                      <a:pt x="257" y="162"/>
                      <a:pt x="265" y="159"/>
                      <a:pt x="273" y="155"/>
                    </a:cubicBezTo>
                    <a:cubicBezTo>
                      <a:pt x="285" y="147"/>
                      <a:pt x="293" y="133"/>
                      <a:pt x="293" y="117"/>
                    </a:cubicBezTo>
                    <a:cubicBezTo>
                      <a:pt x="293" y="108"/>
                      <a:pt x="291" y="100"/>
                      <a:pt x="286"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 name="Freeform 241">
                <a:extLst>
                  <a:ext uri="{FF2B5EF4-FFF2-40B4-BE49-F238E27FC236}">
                    <a16:creationId xmlns:a16="http://schemas.microsoft.com/office/drawing/2014/main" id="{9D524DDA-6DBC-435E-A3BB-499C403C02D3}"/>
                  </a:ext>
                </a:extLst>
              </p:cNvPr>
              <p:cNvSpPr>
                <a:spLocks/>
              </p:cNvSpPr>
              <p:nvPr userDrawn="1"/>
            </p:nvSpPr>
            <p:spPr bwMode="auto">
              <a:xfrm>
                <a:off x="5808" y="1121"/>
                <a:ext cx="104" cy="30"/>
              </a:xfrm>
              <a:custGeom>
                <a:avLst/>
                <a:gdLst>
                  <a:gd name="T0" fmla="*/ 201 w 228"/>
                  <a:gd name="T1" fmla="*/ 0 h 66"/>
                  <a:gd name="T2" fmla="*/ 206 w 228"/>
                  <a:gd name="T3" fmla="*/ 18 h 66"/>
                  <a:gd name="T4" fmla="*/ 191 w 228"/>
                  <a:gd name="T5" fmla="*/ 46 h 66"/>
                  <a:gd name="T6" fmla="*/ 173 w 228"/>
                  <a:gd name="T7" fmla="*/ 51 h 66"/>
                  <a:gd name="T8" fmla="*/ 11 w 228"/>
                  <a:gd name="T9" fmla="*/ 51 h 66"/>
                  <a:gd name="T10" fmla="*/ 0 w 228"/>
                  <a:gd name="T11" fmla="*/ 49 h 66"/>
                  <a:gd name="T12" fmla="*/ 33 w 228"/>
                  <a:gd name="T13" fmla="*/ 66 h 66"/>
                  <a:gd name="T14" fmla="*/ 195 w 228"/>
                  <a:gd name="T15" fmla="*/ 66 h 66"/>
                  <a:gd name="T16" fmla="*/ 213 w 228"/>
                  <a:gd name="T17" fmla="*/ 60 h 66"/>
                  <a:gd name="T18" fmla="*/ 228 w 228"/>
                  <a:gd name="T19" fmla="*/ 33 h 66"/>
                  <a:gd name="T20" fmla="*/ 201 w 228"/>
                  <a:gd name="T21"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66">
                    <a:moveTo>
                      <a:pt x="201" y="0"/>
                    </a:moveTo>
                    <a:cubicBezTo>
                      <a:pt x="204" y="5"/>
                      <a:pt x="206" y="11"/>
                      <a:pt x="206" y="18"/>
                    </a:cubicBezTo>
                    <a:cubicBezTo>
                      <a:pt x="206" y="29"/>
                      <a:pt x="200" y="40"/>
                      <a:pt x="191" y="46"/>
                    </a:cubicBezTo>
                    <a:cubicBezTo>
                      <a:pt x="186" y="49"/>
                      <a:pt x="180" y="51"/>
                      <a:pt x="173" y="51"/>
                    </a:cubicBezTo>
                    <a:cubicBezTo>
                      <a:pt x="11" y="51"/>
                      <a:pt x="11" y="51"/>
                      <a:pt x="11" y="51"/>
                    </a:cubicBezTo>
                    <a:cubicBezTo>
                      <a:pt x="7" y="51"/>
                      <a:pt x="3" y="50"/>
                      <a:pt x="0" y="49"/>
                    </a:cubicBezTo>
                    <a:cubicBezTo>
                      <a:pt x="7" y="59"/>
                      <a:pt x="19" y="66"/>
                      <a:pt x="33" y="66"/>
                    </a:cubicBezTo>
                    <a:cubicBezTo>
                      <a:pt x="195" y="66"/>
                      <a:pt x="195" y="66"/>
                      <a:pt x="195" y="66"/>
                    </a:cubicBezTo>
                    <a:cubicBezTo>
                      <a:pt x="202" y="66"/>
                      <a:pt x="208" y="64"/>
                      <a:pt x="213" y="60"/>
                    </a:cubicBezTo>
                    <a:cubicBezTo>
                      <a:pt x="222" y="55"/>
                      <a:pt x="228" y="44"/>
                      <a:pt x="228" y="33"/>
                    </a:cubicBezTo>
                    <a:cubicBezTo>
                      <a:pt x="228" y="16"/>
                      <a:pt x="216" y="3"/>
                      <a:pt x="20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 name="Freeform 242">
                <a:extLst>
                  <a:ext uri="{FF2B5EF4-FFF2-40B4-BE49-F238E27FC236}">
                    <a16:creationId xmlns:a16="http://schemas.microsoft.com/office/drawing/2014/main" id="{DB28202D-099F-4221-B93C-A1D1AA2ABE06}"/>
                  </a:ext>
                </a:extLst>
              </p:cNvPr>
              <p:cNvSpPr>
                <a:spLocks/>
              </p:cNvSpPr>
              <p:nvPr userDrawn="1"/>
            </p:nvSpPr>
            <p:spPr bwMode="auto">
              <a:xfrm>
                <a:off x="5804" y="1090"/>
                <a:ext cx="98" cy="54"/>
              </a:xfrm>
              <a:custGeom>
                <a:avLst/>
                <a:gdLst>
                  <a:gd name="T0" fmla="*/ 210 w 215"/>
                  <a:gd name="T1" fmla="*/ 68 h 119"/>
                  <a:gd name="T2" fmla="*/ 205 w 215"/>
                  <a:gd name="T3" fmla="*/ 62 h 119"/>
                  <a:gd name="T4" fmla="*/ 205 w 215"/>
                  <a:gd name="T5" fmla="*/ 59 h 119"/>
                  <a:gd name="T6" fmla="*/ 175 w 215"/>
                  <a:gd name="T7" fmla="*/ 19 h 119"/>
                  <a:gd name="T8" fmla="*/ 164 w 215"/>
                  <a:gd name="T9" fmla="*/ 18 h 119"/>
                  <a:gd name="T10" fmla="*/ 139 w 215"/>
                  <a:gd name="T11" fmla="*/ 26 h 119"/>
                  <a:gd name="T12" fmla="*/ 122 w 215"/>
                  <a:gd name="T13" fmla="*/ 8 h 119"/>
                  <a:gd name="T14" fmla="*/ 111 w 215"/>
                  <a:gd name="T15" fmla="*/ 3 h 119"/>
                  <a:gd name="T16" fmla="*/ 94 w 215"/>
                  <a:gd name="T17" fmla="*/ 0 h 119"/>
                  <a:gd name="T18" fmla="*/ 42 w 215"/>
                  <a:gd name="T19" fmla="*/ 50 h 119"/>
                  <a:gd name="T20" fmla="*/ 42 w 215"/>
                  <a:gd name="T21" fmla="*/ 51 h 119"/>
                  <a:gd name="T22" fmla="*/ 42 w 215"/>
                  <a:gd name="T23" fmla="*/ 51 h 119"/>
                  <a:gd name="T24" fmla="*/ 0 w 215"/>
                  <a:gd name="T25" fmla="*/ 92 h 119"/>
                  <a:gd name="T26" fmla="*/ 9 w 215"/>
                  <a:gd name="T27" fmla="*/ 117 h 119"/>
                  <a:gd name="T28" fmla="*/ 20 w 215"/>
                  <a:gd name="T29" fmla="*/ 119 h 119"/>
                  <a:gd name="T30" fmla="*/ 182 w 215"/>
                  <a:gd name="T31" fmla="*/ 119 h 119"/>
                  <a:gd name="T32" fmla="*/ 200 w 215"/>
                  <a:gd name="T33" fmla="*/ 114 h 119"/>
                  <a:gd name="T34" fmla="*/ 215 w 215"/>
                  <a:gd name="T35" fmla="*/ 86 h 119"/>
                  <a:gd name="T36" fmla="*/ 210 w 215"/>
                  <a:gd name="T37" fmla="*/ 6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5" h="119">
                    <a:moveTo>
                      <a:pt x="210" y="68"/>
                    </a:moveTo>
                    <a:cubicBezTo>
                      <a:pt x="209" y="66"/>
                      <a:pt x="207" y="64"/>
                      <a:pt x="205" y="62"/>
                    </a:cubicBezTo>
                    <a:cubicBezTo>
                      <a:pt x="205" y="61"/>
                      <a:pt x="205" y="60"/>
                      <a:pt x="205" y="59"/>
                    </a:cubicBezTo>
                    <a:cubicBezTo>
                      <a:pt x="205" y="40"/>
                      <a:pt x="193" y="24"/>
                      <a:pt x="175" y="19"/>
                    </a:cubicBezTo>
                    <a:cubicBezTo>
                      <a:pt x="172" y="18"/>
                      <a:pt x="168" y="18"/>
                      <a:pt x="164" y="18"/>
                    </a:cubicBezTo>
                    <a:cubicBezTo>
                      <a:pt x="155" y="18"/>
                      <a:pt x="146" y="21"/>
                      <a:pt x="139" y="26"/>
                    </a:cubicBezTo>
                    <a:cubicBezTo>
                      <a:pt x="135" y="19"/>
                      <a:pt x="129" y="12"/>
                      <a:pt x="122" y="8"/>
                    </a:cubicBezTo>
                    <a:cubicBezTo>
                      <a:pt x="119" y="6"/>
                      <a:pt x="115" y="4"/>
                      <a:pt x="111" y="3"/>
                    </a:cubicBezTo>
                    <a:cubicBezTo>
                      <a:pt x="106" y="1"/>
                      <a:pt x="100" y="0"/>
                      <a:pt x="94" y="0"/>
                    </a:cubicBezTo>
                    <a:cubicBezTo>
                      <a:pt x="66" y="0"/>
                      <a:pt x="43" y="22"/>
                      <a:pt x="42" y="50"/>
                    </a:cubicBezTo>
                    <a:cubicBezTo>
                      <a:pt x="42" y="50"/>
                      <a:pt x="42" y="51"/>
                      <a:pt x="42" y="51"/>
                    </a:cubicBezTo>
                    <a:cubicBezTo>
                      <a:pt x="42" y="51"/>
                      <a:pt x="42" y="51"/>
                      <a:pt x="42" y="51"/>
                    </a:cubicBezTo>
                    <a:cubicBezTo>
                      <a:pt x="19" y="51"/>
                      <a:pt x="0" y="69"/>
                      <a:pt x="0" y="92"/>
                    </a:cubicBezTo>
                    <a:cubicBezTo>
                      <a:pt x="0" y="102"/>
                      <a:pt x="3" y="110"/>
                      <a:pt x="9" y="117"/>
                    </a:cubicBezTo>
                    <a:cubicBezTo>
                      <a:pt x="12" y="118"/>
                      <a:pt x="16" y="119"/>
                      <a:pt x="20" y="119"/>
                    </a:cubicBezTo>
                    <a:cubicBezTo>
                      <a:pt x="182" y="119"/>
                      <a:pt x="182" y="119"/>
                      <a:pt x="182" y="119"/>
                    </a:cubicBezTo>
                    <a:cubicBezTo>
                      <a:pt x="189" y="119"/>
                      <a:pt x="195" y="117"/>
                      <a:pt x="200" y="114"/>
                    </a:cubicBezTo>
                    <a:cubicBezTo>
                      <a:pt x="209" y="108"/>
                      <a:pt x="215" y="97"/>
                      <a:pt x="215" y="86"/>
                    </a:cubicBezTo>
                    <a:cubicBezTo>
                      <a:pt x="215" y="79"/>
                      <a:pt x="213" y="73"/>
                      <a:pt x="210" y="6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 name="Freeform 243">
                <a:extLst>
                  <a:ext uri="{FF2B5EF4-FFF2-40B4-BE49-F238E27FC236}">
                    <a16:creationId xmlns:a16="http://schemas.microsoft.com/office/drawing/2014/main" id="{641A4A6A-901C-4B88-9B91-777E7B1D5D38}"/>
                  </a:ext>
                </a:extLst>
              </p:cNvPr>
              <p:cNvSpPr>
                <a:spLocks/>
              </p:cNvSpPr>
              <p:nvPr userDrawn="1"/>
            </p:nvSpPr>
            <p:spPr bwMode="auto">
              <a:xfrm>
                <a:off x="5928" y="688"/>
                <a:ext cx="83" cy="23"/>
              </a:xfrm>
              <a:custGeom>
                <a:avLst/>
                <a:gdLst>
                  <a:gd name="T0" fmla="*/ 161 w 183"/>
                  <a:gd name="T1" fmla="*/ 0 h 52"/>
                  <a:gd name="T2" fmla="*/ 165 w 183"/>
                  <a:gd name="T3" fmla="*/ 14 h 52"/>
                  <a:gd name="T4" fmla="*/ 153 w 183"/>
                  <a:gd name="T5" fmla="*/ 36 h 52"/>
                  <a:gd name="T6" fmla="*/ 139 w 183"/>
                  <a:gd name="T7" fmla="*/ 41 h 52"/>
                  <a:gd name="T8" fmla="*/ 9 w 183"/>
                  <a:gd name="T9" fmla="*/ 41 h 52"/>
                  <a:gd name="T10" fmla="*/ 0 w 183"/>
                  <a:gd name="T11" fmla="*/ 39 h 52"/>
                  <a:gd name="T12" fmla="*/ 27 w 183"/>
                  <a:gd name="T13" fmla="*/ 52 h 52"/>
                  <a:gd name="T14" fmla="*/ 156 w 183"/>
                  <a:gd name="T15" fmla="*/ 52 h 52"/>
                  <a:gd name="T16" fmla="*/ 171 w 183"/>
                  <a:gd name="T17" fmla="*/ 48 h 52"/>
                  <a:gd name="T18" fmla="*/ 183 w 183"/>
                  <a:gd name="T19" fmla="*/ 26 h 52"/>
                  <a:gd name="T20" fmla="*/ 161 w 183"/>
                  <a:gd name="T2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3" h="52">
                    <a:moveTo>
                      <a:pt x="161" y="0"/>
                    </a:moveTo>
                    <a:cubicBezTo>
                      <a:pt x="164" y="4"/>
                      <a:pt x="165" y="9"/>
                      <a:pt x="165" y="14"/>
                    </a:cubicBezTo>
                    <a:cubicBezTo>
                      <a:pt x="165" y="23"/>
                      <a:pt x="161" y="31"/>
                      <a:pt x="153" y="36"/>
                    </a:cubicBezTo>
                    <a:cubicBezTo>
                      <a:pt x="149" y="39"/>
                      <a:pt x="144" y="41"/>
                      <a:pt x="139" y="41"/>
                    </a:cubicBezTo>
                    <a:cubicBezTo>
                      <a:pt x="9" y="41"/>
                      <a:pt x="9" y="41"/>
                      <a:pt x="9" y="41"/>
                    </a:cubicBezTo>
                    <a:cubicBezTo>
                      <a:pt x="6" y="41"/>
                      <a:pt x="3" y="40"/>
                      <a:pt x="0" y="39"/>
                    </a:cubicBezTo>
                    <a:cubicBezTo>
                      <a:pt x="6" y="47"/>
                      <a:pt x="16" y="52"/>
                      <a:pt x="27" y="52"/>
                    </a:cubicBezTo>
                    <a:cubicBezTo>
                      <a:pt x="156" y="52"/>
                      <a:pt x="156" y="52"/>
                      <a:pt x="156" y="52"/>
                    </a:cubicBezTo>
                    <a:cubicBezTo>
                      <a:pt x="162" y="52"/>
                      <a:pt x="167" y="51"/>
                      <a:pt x="171" y="48"/>
                    </a:cubicBezTo>
                    <a:cubicBezTo>
                      <a:pt x="178" y="43"/>
                      <a:pt x="183" y="35"/>
                      <a:pt x="183" y="26"/>
                    </a:cubicBezTo>
                    <a:cubicBezTo>
                      <a:pt x="183" y="13"/>
                      <a:pt x="174" y="2"/>
                      <a:pt x="16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 name="Freeform 244">
                <a:extLst>
                  <a:ext uri="{FF2B5EF4-FFF2-40B4-BE49-F238E27FC236}">
                    <a16:creationId xmlns:a16="http://schemas.microsoft.com/office/drawing/2014/main" id="{8759466C-6C58-486D-BF35-615BC5380F68}"/>
                  </a:ext>
                </a:extLst>
              </p:cNvPr>
              <p:cNvSpPr>
                <a:spLocks/>
              </p:cNvSpPr>
              <p:nvPr userDrawn="1"/>
            </p:nvSpPr>
            <p:spPr bwMode="auto">
              <a:xfrm>
                <a:off x="5925" y="663"/>
                <a:ext cx="78" cy="43"/>
              </a:xfrm>
              <a:custGeom>
                <a:avLst/>
                <a:gdLst>
                  <a:gd name="T0" fmla="*/ 167 w 171"/>
                  <a:gd name="T1" fmla="*/ 55 h 96"/>
                  <a:gd name="T2" fmla="*/ 163 w 171"/>
                  <a:gd name="T3" fmla="*/ 50 h 96"/>
                  <a:gd name="T4" fmla="*/ 164 w 171"/>
                  <a:gd name="T5" fmla="*/ 48 h 96"/>
                  <a:gd name="T6" fmla="*/ 139 w 171"/>
                  <a:gd name="T7" fmla="*/ 16 h 96"/>
                  <a:gd name="T8" fmla="*/ 130 w 171"/>
                  <a:gd name="T9" fmla="*/ 15 h 96"/>
                  <a:gd name="T10" fmla="*/ 111 w 171"/>
                  <a:gd name="T11" fmla="*/ 21 h 96"/>
                  <a:gd name="T12" fmla="*/ 97 w 171"/>
                  <a:gd name="T13" fmla="*/ 7 h 96"/>
                  <a:gd name="T14" fmla="*/ 89 w 171"/>
                  <a:gd name="T15" fmla="*/ 3 h 96"/>
                  <a:gd name="T16" fmla="*/ 75 w 171"/>
                  <a:gd name="T17" fmla="*/ 0 h 96"/>
                  <a:gd name="T18" fmla="*/ 33 w 171"/>
                  <a:gd name="T19" fmla="*/ 40 h 96"/>
                  <a:gd name="T20" fmla="*/ 33 w 171"/>
                  <a:gd name="T21" fmla="*/ 41 h 96"/>
                  <a:gd name="T22" fmla="*/ 33 w 171"/>
                  <a:gd name="T23" fmla="*/ 41 h 96"/>
                  <a:gd name="T24" fmla="*/ 0 w 171"/>
                  <a:gd name="T25" fmla="*/ 74 h 96"/>
                  <a:gd name="T26" fmla="*/ 6 w 171"/>
                  <a:gd name="T27" fmla="*/ 94 h 96"/>
                  <a:gd name="T28" fmla="*/ 15 w 171"/>
                  <a:gd name="T29" fmla="*/ 96 h 96"/>
                  <a:gd name="T30" fmla="*/ 145 w 171"/>
                  <a:gd name="T31" fmla="*/ 96 h 96"/>
                  <a:gd name="T32" fmla="*/ 159 w 171"/>
                  <a:gd name="T33" fmla="*/ 91 h 96"/>
                  <a:gd name="T34" fmla="*/ 171 w 171"/>
                  <a:gd name="T35" fmla="*/ 69 h 96"/>
                  <a:gd name="T36" fmla="*/ 167 w 171"/>
                  <a:gd name="T37" fmla="*/ 5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1" h="96">
                    <a:moveTo>
                      <a:pt x="167" y="55"/>
                    </a:moveTo>
                    <a:cubicBezTo>
                      <a:pt x="166" y="53"/>
                      <a:pt x="165" y="52"/>
                      <a:pt x="163" y="50"/>
                    </a:cubicBezTo>
                    <a:cubicBezTo>
                      <a:pt x="164" y="49"/>
                      <a:pt x="164" y="49"/>
                      <a:pt x="164" y="48"/>
                    </a:cubicBezTo>
                    <a:cubicBezTo>
                      <a:pt x="164" y="33"/>
                      <a:pt x="153" y="20"/>
                      <a:pt x="139" y="16"/>
                    </a:cubicBezTo>
                    <a:cubicBezTo>
                      <a:pt x="136" y="15"/>
                      <a:pt x="134" y="15"/>
                      <a:pt x="130" y="15"/>
                    </a:cubicBezTo>
                    <a:cubicBezTo>
                      <a:pt x="123" y="15"/>
                      <a:pt x="116" y="17"/>
                      <a:pt x="111" y="21"/>
                    </a:cubicBezTo>
                    <a:cubicBezTo>
                      <a:pt x="107" y="15"/>
                      <a:pt x="103" y="10"/>
                      <a:pt x="97" y="7"/>
                    </a:cubicBezTo>
                    <a:cubicBezTo>
                      <a:pt x="94" y="5"/>
                      <a:pt x="92" y="4"/>
                      <a:pt x="89" y="3"/>
                    </a:cubicBezTo>
                    <a:cubicBezTo>
                      <a:pt x="84" y="1"/>
                      <a:pt x="80" y="0"/>
                      <a:pt x="75" y="0"/>
                    </a:cubicBezTo>
                    <a:cubicBezTo>
                      <a:pt x="52" y="0"/>
                      <a:pt x="34" y="18"/>
                      <a:pt x="33" y="40"/>
                    </a:cubicBezTo>
                    <a:cubicBezTo>
                      <a:pt x="33" y="41"/>
                      <a:pt x="33" y="41"/>
                      <a:pt x="33" y="41"/>
                    </a:cubicBezTo>
                    <a:cubicBezTo>
                      <a:pt x="33" y="41"/>
                      <a:pt x="33" y="41"/>
                      <a:pt x="33" y="41"/>
                    </a:cubicBezTo>
                    <a:cubicBezTo>
                      <a:pt x="14" y="41"/>
                      <a:pt x="0" y="56"/>
                      <a:pt x="0" y="74"/>
                    </a:cubicBezTo>
                    <a:cubicBezTo>
                      <a:pt x="0" y="82"/>
                      <a:pt x="2" y="89"/>
                      <a:pt x="6" y="94"/>
                    </a:cubicBezTo>
                    <a:cubicBezTo>
                      <a:pt x="9" y="95"/>
                      <a:pt x="12" y="96"/>
                      <a:pt x="15" y="96"/>
                    </a:cubicBezTo>
                    <a:cubicBezTo>
                      <a:pt x="145" y="96"/>
                      <a:pt x="145" y="96"/>
                      <a:pt x="145" y="96"/>
                    </a:cubicBezTo>
                    <a:cubicBezTo>
                      <a:pt x="150" y="96"/>
                      <a:pt x="155" y="94"/>
                      <a:pt x="159" y="91"/>
                    </a:cubicBezTo>
                    <a:cubicBezTo>
                      <a:pt x="167" y="86"/>
                      <a:pt x="171" y="78"/>
                      <a:pt x="171" y="69"/>
                    </a:cubicBezTo>
                    <a:cubicBezTo>
                      <a:pt x="171" y="64"/>
                      <a:pt x="170" y="59"/>
                      <a:pt x="167" y="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spTree>
    <p:extLst>
      <p:ext uri="{BB962C8B-B14F-4D97-AF65-F5344CB8AC3E}">
        <p14:creationId xmlns:p14="http://schemas.microsoft.com/office/powerpoint/2010/main" val="30403265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3163630"/>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itle Slide dark/image, right aligned">
    <p:bg>
      <p:bgPr>
        <a:solidFill>
          <a:schemeClr val="bg1"/>
        </a:solidFill>
        <a:effectLst/>
      </p:bgPr>
    </p:bg>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192000" cy="378565"/>
          </a:xfrm>
          <a:prstGeom prst="rect">
            <a:avLst/>
          </a:prstGeom>
        </p:spPr>
        <p:txBody>
          <a:bodyPr vert="horz"/>
          <a:lstStyle>
            <a:lvl1pPr>
              <a:buFontTx/>
              <a:buNone/>
              <a:defRPr sz="1400">
                <a:solidFill>
                  <a:srgbClr val="000000"/>
                </a:solidFill>
                <a:latin typeface="+mn-lt"/>
              </a:defRPr>
            </a:lvl1pPr>
          </a:lstStyle>
          <a:p>
            <a:r>
              <a:rPr lang="en-US" dirty="0"/>
              <a:t>Click icon to add picture</a:t>
            </a:r>
          </a:p>
        </p:txBody>
      </p:sp>
      <p:sp>
        <p:nvSpPr>
          <p:cNvPr id="8" name="Text Placeholder 18"/>
          <p:cNvSpPr>
            <a:spLocks noGrp="1"/>
          </p:cNvSpPr>
          <p:nvPr>
            <p:ph type="body" sz="quarter" idx="16" hasCustomPrompt="1"/>
          </p:nvPr>
        </p:nvSpPr>
        <p:spPr>
          <a:xfrm>
            <a:off x="9144000" y="3429000"/>
            <a:ext cx="3048000" cy="1143000"/>
          </a:xfrm>
          <a:prstGeom prst="rect">
            <a:avLst/>
          </a:prstGeom>
          <a:solidFill>
            <a:srgbClr val="002050">
              <a:alpha val="90000"/>
            </a:srgbClr>
          </a:solidFill>
        </p:spPr>
        <p:txBody>
          <a:bodyPr vert="horz" lIns="182880" tIns="137160">
            <a:normAutofit/>
          </a:bodyPr>
          <a:lstStyle>
            <a:lvl1pPr marL="0" indent="0">
              <a:lnSpc>
                <a:spcPct val="100000"/>
              </a:lnSpc>
              <a:buFontTx/>
              <a:buNone/>
              <a:defRPr sz="1600" baseline="0">
                <a:solidFill>
                  <a:schemeClr val="bg1"/>
                </a:solidFill>
                <a:latin typeface="Segoe UI" panose="020B0502040204020203" pitchFamily="34" charset="0"/>
                <a:cs typeface="Segoe UI" panose="020B0502040204020203" pitchFamily="34" charset="0"/>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dirty="0"/>
              <a:t>Click to edit slide content</a:t>
            </a:r>
          </a:p>
        </p:txBody>
      </p:sp>
      <p:sp>
        <p:nvSpPr>
          <p:cNvPr id="12" name="Text Placeholder 9"/>
          <p:cNvSpPr>
            <a:spLocks noGrp="1"/>
          </p:cNvSpPr>
          <p:nvPr>
            <p:ph type="body" sz="quarter" idx="13"/>
          </p:nvPr>
        </p:nvSpPr>
        <p:spPr>
          <a:xfrm>
            <a:off x="6096000" y="1143000"/>
            <a:ext cx="6096000" cy="2286000"/>
          </a:xfrm>
          <a:solidFill>
            <a:srgbClr val="0A5BBA">
              <a:alpha val="90000"/>
            </a:srgbClr>
          </a:solidFill>
        </p:spPr>
        <p:txBody>
          <a:bodyPr lIns="182880" tIns="137160">
            <a:noAutofit/>
          </a:bodyPr>
          <a:lstStyle>
            <a:lvl1pPr marL="0" indent="0">
              <a:lnSpc>
                <a:spcPct val="100000"/>
              </a:lnSpc>
              <a:buNone/>
              <a:defRPr sz="320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Tree>
    <p:extLst>
      <p:ext uri="{BB962C8B-B14F-4D97-AF65-F5344CB8AC3E}">
        <p14:creationId xmlns:p14="http://schemas.microsoft.com/office/powerpoint/2010/main" val="4176780868"/>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les with text">
    <p:bg>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0" y="0"/>
            <a:ext cx="12192000" cy="727443"/>
          </a:xfrm>
        </p:spPr>
        <p:txBody>
          <a:bodyPr/>
          <a:lstStyle>
            <a:lvl1pPr>
              <a:defRPr>
                <a:solidFill>
                  <a:srgbClr val="3F3F3F"/>
                </a:solidFill>
              </a:defRPr>
            </a:lvl1pPr>
          </a:lstStyle>
          <a:p>
            <a:r>
              <a:rPr lang="en-US" dirty="0"/>
              <a:t>Click icon to add picture</a:t>
            </a:r>
          </a:p>
        </p:txBody>
      </p:sp>
      <p:sp>
        <p:nvSpPr>
          <p:cNvPr id="2" name="Title 1"/>
          <p:cNvSpPr>
            <a:spLocks noGrp="1"/>
          </p:cNvSpPr>
          <p:nvPr>
            <p:ph type="title" hasCustomPrompt="1"/>
          </p:nvPr>
        </p:nvSpPr>
        <p:spPr>
          <a:xfrm>
            <a:off x="1" y="1143000"/>
            <a:ext cx="3048000" cy="2286000"/>
          </a:xfrm>
          <a:solidFill>
            <a:srgbClr val="0A5BBA">
              <a:alpha val="90000"/>
            </a:srgbClr>
          </a:solidFill>
        </p:spPr>
        <p:txBody>
          <a:bodyPr lIns="182880" tIns="137160" anchor="t" anchorCtr="0">
            <a:normAutofit/>
          </a:bodyPr>
          <a:lstStyle>
            <a:lvl1pPr>
              <a:defRPr sz="2400">
                <a:solidFill>
                  <a:schemeClr val="bg1"/>
                </a:solidFill>
                <a:latin typeface="Segoe UI" panose="020B0502040204020203" pitchFamily="34" charset="0"/>
                <a:cs typeface="Segoe UI" panose="020B0502040204020203" pitchFamily="34" charset="0"/>
              </a:defRPr>
            </a:lvl1pPr>
          </a:lstStyle>
          <a:p>
            <a:r>
              <a:rPr lang="en-US" dirty="0"/>
              <a:t>Click to edit slide title</a:t>
            </a:r>
          </a:p>
        </p:txBody>
      </p:sp>
      <p:sp>
        <p:nvSpPr>
          <p:cNvPr id="16" name="Text Placeholder 14"/>
          <p:cNvSpPr>
            <a:spLocks noGrp="1"/>
          </p:cNvSpPr>
          <p:nvPr>
            <p:ph type="body" sz="quarter" idx="12"/>
          </p:nvPr>
        </p:nvSpPr>
        <p:spPr>
          <a:xfrm>
            <a:off x="1" y="3429000"/>
            <a:ext cx="3048000" cy="2286000"/>
          </a:xfrm>
          <a:solidFill>
            <a:srgbClr val="002050">
              <a:alpha val="90000"/>
            </a:srgbClr>
          </a:solidFill>
        </p:spPr>
        <p:txBody>
          <a:bodyPr>
            <a:normAutofit/>
          </a:bodyPr>
          <a:lstStyle>
            <a:lvl1pPr>
              <a:lnSpc>
                <a:spcPct val="100000"/>
              </a:lnSpc>
              <a:defRPr sz="1600">
                <a:solidFill>
                  <a:schemeClr val="bg1"/>
                </a:solidFill>
                <a:latin typeface="Segoe UI" panose="020B0502040204020203" pitchFamily="34" charset="0"/>
                <a:cs typeface="Segoe UI" panose="020B0502040204020203" pitchFamily="34" charset="0"/>
              </a:defRPr>
            </a:lvl1pPr>
            <a:lvl2pPr>
              <a:lnSpc>
                <a:spcPct val="100000"/>
              </a:lnSpc>
              <a:defRPr sz="1600">
                <a:solidFill>
                  <a:schemeClr val="bg1"/>
                </a:solidFill>
                <a:latin typeface="Segoe UI" panose="020B0502040204020203" pitchFamily="34" charset="0"/>
                <a:cs typeface="Segoe UI" panose="020B0502040204020203" pitchFamily="34" charset="0"/>
              </a:defRPr>
            </a:lvl2pPr>
            <a:lvl3pPr>
              <a:lnSpc>
                <a:spcPct val="100000"/>
              </a:lnSpc>
              <a:defRPr sz="1600">
                <a:solidFill>
                  <a:schemeClr val="bg1"/>
                </a:solidFill>
                <a:latin typeface="Segoe UI" panose="020B0502040204020203" pitchFamily="34" charset="0"/>
                <a:cs typeface="Segoe UI" panose="020B0502040204020203" pitchFamily="34" charset="0"/>
              </a:defRPr>
            </a:lvl3pPr>
            <a:lvl4pPr>
              <a:lnSpc>
                <a:spcPct val="100000"/>
              </a:lnSpc>
              <a:defRPr sz="1600">
                <a:solidFill>
                  <a:schemeClr val="bg1"/>
                </a:solidFill>
                <a:latin typeface="Segoe UI" panose="020B0502040204020203" pitchFamily="34" charset="0"/>
                <a:cs typeface="Segoe UI" panose="020B0502040204020203" pitchFamily="34" charset="0"/>
              </a:defRPr>
            </a:lvl4pPr>
            <a:lvl5pPr>
              <a:lnSpc>
                <a:spcPct val="100000"/>
              </a:lnSpc>
              <a:defRPr sz="1600">
                <a:solidFill>
                  <a:schemeClr val="bg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1" y="3429000"/>
            <a:ext cx="3048000" cy="2286000"/>
          </a:xfrm>
          <a:solidFill>
            <a:srgbClr val="0E715F">
              <a:alpha val="89804"/>
            </a:srgbClr>
          </a:solidFill>
        </p:spPr>
        <p:txBody>
          <a:bodyPr>
            <a:normAutofit/>
          </a:bodyPr>
          <a:lstStyle>
            <a:lvl1pPr>
              <a:lnSpc>
                <a:spcPct val="100000"/>
              </a:lnSpc>
              <a:defRPr sz="1600">
                <a:solidFill>
                  <a:schemeClr val="bg1"/>
                </a:solidFill>
                <a:latin typeface="Segoe UI" panose="020B0502040204020203" pitchFamily="34" charset="0"/>
                <a:cs typeface="Segoe UI" panose="020B0502040204020203" pitchFamily="34" charset="0"/>
              </a:defRPr>
            </a:lvl1pPr>
            <a:lvl2pPr>
              <a:lnSpc>
                <a:spcPct val="100000"/>
              </a:lnSpc>
              <a:defRPr sz="1600">
                <a:solidFill>
                  <a:schemeClr val="bg1"/>
                </a:solidFill>
                <a:latin typeface="Segoe UI" panose="020B0502040204020203" pitchFamily="34" charset="0"/>
                <a:cs typeface="Segoe UI" panose="020B0502040204020203" pitchFamily="34" charset="0"/>
              </a:defRPr>
            </a:lvl2pPr>
            <a:lvl3pPr>
              <a:lnSpc>
                <a:spcPct val="100000"/>
              </a:lnSpc>
              <a:defRPr sz="1600">
                <a:solidFill>
                  <a:schemeClr val="bg1"/>
                </a:solidFill>
                <a:latin typeface="Segoe UI" panose="020B0502040204020203" pitchFamily="34" charset="0"/>
                <a:cs typeface="Segoe UI" panose="020B0502040204020203" pitchFamily="34" charset="0"/>
              </a:defRPr>
            </a:lvl3pPr>
            <a:lvl4pPr>
              <a:lnSpc>
                <a:spcPct val="100000"/>
              </a:lnSpc>
              <a:defRPr sz="1600">
                <a:solidFill>
                  <a:schemeClr val="bg1"/>
                </a:solidFill>
                <a:latin typeface="Segoe UI" panose="020B0502040204020203" pitchFamily="34" charset="0"/>
                <a:cs typeface="Segoe UI" panose="020B0502040204020203" pitchFamily="34" charset="0"/>
              </a:defRPr>
            </a:lvl4pPr>
            <a:lvl5pPr>
              <a:lnSpc>
                <a:spcPct val="100000"/>
              </a:lnSpc>
              <a:defRPr sz="1600">
                <a:solidFill>
                  <a:schemeClr val="bg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rgbClr val="129038">
              <a:alpha val="89804"/>
            </a:srgbClr>
          </a:solidFill>
        </p:spPr>
        <p:txBody>
          <a:bodyPr>
            <a:normAutofit/>
          </a:bodyPr>
          <a:lstStyle>
            <a:lvl1pPr>
              <a:lnSpc>
                <a:spcPct val="100000"/>
              </a:lnSpc>
              <a:defRPr sz="1600">
                <a:solidFill>
                  <a:schemeClr val="tx1"/>
                </a:solidFill>
                <a:latin typeface="Segoe UI" panose="020B0502040204020203" pitchFamily="34" charset="0"/>
                <a:cs typeface="Segoe UI" panose="020B0502040204020203" pitchFamily="34" charset="0"/>
              </a:defRPr>
            </a:lvl1pPr>
            <a:lvl2pPr>
              <a:lnSpc>
                <a:spcPct val="100000"/>
              </a:lnSpc>
              <a:defRPr sz="1600">
                <a:solidFill>
                  <a:schemeClr val="tx1"/>
                </a:solidFill>
                <a:latin typeface="Segoe UI" panose="020B0502040204020203" pitchFamily="34" charset="0"/>
                <a:cs typeface="Segoe UI" panose="020B0502040204020203" pitchFamily="34" charset="0"/>
              </a:defRPr>
            </a:lvl2pPr>
            <a:lvl3pPr>
              <a:lnSpc>
                <a:spcPct val="100000"/>
              </a:lnSpc>
              <a:defRPr sz="1600">
                <a:solidFill>
                  <a:schemeClr val="tx1"/>
                </a:solidFill>
                <a:latin typeface="Segoe UI" panose="020B0502040204020203" pitchFamily="34" charset="0"/>
                <a:cs typeface="Segoe UI" panose="020B0502040204020203" pitchFamily="34" charset="0"/>
              </a:defRPr>
            </a:lvl3pPr>
            <a:lvl4pPr>
              <a:lnSpc>
                <a:spcPct val="100000"/>
              </a:lnSpc>
              <a:defRPr sz="1600">
                <a:solidFill>
                  <a:schemeClr val="tx1"/>
                </a:solidFill>
                <a:latin typeface="Segoe UI" panose="020B0502040204020203" pitchFamily="34" charset="0"/>
                <a:cs typeface="Segoe UI" panose="020B0502040204020203" pitchFamily="34" charset="0"/>
              </a:defRPr>
            </a:lvl4pPr>
            <a:lvl5pPr>
              <a:lnSpc>
                <a:spcPct val="100000"/>
              </a:lnSpc>
              <a:defRPr sz="1600">
                <a:solidFill>
                  <a:schemeClr val="tx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4"/>
          <p:cNvSpPr>
            <a:spLocks noGrp="1"/>
          </p:cNvSpPr>
          <p:nvPr>
            <p:ph type="body" sz="quarter" idx="15"/>
          </p:nvPr>
        </p:nvSpPr>
        <p:spPr>
          <a:xfrm>
            <a:off x="9144000" y="3429000"/>
            <a:ext cx="3048000" cy="2286000"/>
          </a:xfrm>
          <a:solidFill>
            <a:srgbClr val="0C6126">
              <a:alpha val="89804"/>
            </a:srgbClr>
          </a:solidFill>
        </p:spPr>
        <p:txBody>
          <a:bodyPr>
            <a:normAutofit/>
          </a:bodyPr>
          <a:lstStyle>
            <a:lvl1pPr>
              <a:lnSpc>
                <a:spcPct val="100000"/>
              </a:lnSpc>
              <a:defRPr sz="1600">
                <a:solidFill>
                  <a:schemeClr val="bg1"/>
                </a:solidFill>
                <a:latin typeface="Segoe UI" panose="020B0502040204020203" pitchFamily="34" charset="0"/>
                <a:cs typeface="Segoe UI" panose="020B0502040204020203" pitchFamily="34" charset="0"/>
              </a:defRPr>
            </a:lvl1pPr>
            <a:lvl2pPr>
              <a:lnSpc>
                <a:spcPct val="100000"/>
              </a:lnSpc>
              <a:defRPr sz="1600">
                <a:solidFill>
                  <a:schemeClr val="bg1"/>
                </a:solidFill>
                <a:latin typeface="Segoe UI" panose="020B0502040204020203" pitchFamily="34" charset="0"/>
                <a:cs typeface="Segoe UI" panose="020B0502040204020203" pitchFamily="34" charset="0"/>
              </a:defRPr>
            </a:lvl2pPr>
            <a:lvl3pPr>
              <a:lnSpc>
                <a:spcPct val="100000"/>
              </a:lnSpc>
              <a:defRPr sz="1600">
                <a:solidFill>
                  <a:schemeClr val="bg1"/>
                </a:solidFill>
                <a:latin typeface="Segoe UI" panose="020B0502040204020203" pitchFamily="34" charset="0"/>
                <a:cs typeface="Segoe UI" panose="020B0502040204020203" pitchFamily="34" charset="0"/>
              </a:defRPr>
            </a:lvl3pPr>
            <a:lvl4pPr>
              <a:lnSpc>
                <a:spcPct val="100000"/>
              </a:lnSpc>
              <a:defRPr sz="1600">
                <a:solidFill>
                  <a:schemeClr val="bg1"/>
                </a:solidFill>
                <a:latin typeface="Segoe UI" panose="020B0502040204020203" pitchFamily="34" charset="0"/>
                <a:cs typeface="Segoe UI" panose="020B0502040204020203" pitchFamily="34" charset="0"/>
              </a:defRPr>
            </a:lvl4pPr>
            <a:lvl5pPr>
              <a:lnSpc>
                <a:spcPct val="100000"/>
              </a:lnSpc>
              <a:defRPr sz="1600">
                <a:solidFill>
                  <a:schemeClr val="bg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4"/>
          <p:cNvSpPr>
            <a:spLocks noGrp="1"/>
          </p:cNvSpPr>
          <p:nvPr>
            <p:ph type="sldNum" sz="quarter" idx="17"/>
          </p:nvPr>
        </p:nvSpPr>
        <p:spPr>
          <a:xfrm>
            <a:off x="8850631" y="6356351"/>
            <a:ext cx="2743200" cy="365125"/>
          </a:xfrm>
          <a:prstGeom prst="rect">
            <a:avLst/>
          </a:prstGeom>
        </p:spPr>
        <p:txBody>
          <a:bodyPr/>
          <a:lstStyle/>
          <a:p>
            <a:fld id="{AFFF257A-30C5-4AFB-911B-BE4CEEA1EA82}" type="slidenum">
              <a:rPr lang="en-US" smtClean="0"/>
              <a:t>‹#›</a:t>
            </a:fld>
            <a:endParaRPr lang="en-US"/>
          </a:p>
        </p:txBody>
      </p:sp>
    </p:spTree>
    <p:extLst>
      <p:ext uri="{BB962C8B-B14F-4D97-AF65-F5344CB8AC3E}">
        <p14:creationId xmlns:p14="http://schemas.microsoft.com/office/powerpoint/2010/main" val="3717255904"/>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iles with text">
    <p:spTree>
      <p:nvGrpSpPr>
        <p:cNvPr id="1" name=""/>
        <p:cNvGrpSpPr/>
        <p:nvPr/>
      </p:nvGrpSpPr>
      <p:grpSpPr>
        <a:xfrm>
          <a:off x="0" y="0"/>
          <a:ext cx="0" cy="0"/>
          <a:chOff x="0" y="0"/>
          <a:chExt cx="0" cy="0"/>
        </a:xfrm>
      </p:grpSpPr>
      <p:sp>
        <p:nvSpPr>
          <p:cNvPr id="12" name="Text Placeholder 11"/>
          <p:cNvSpPr>
            <a:spLocks noGrp="1"/>
          </p:cNvSpPr>
          <p:nvPr>
            <p:ph type="body" sz="quarter" idx="17"/>
          </p:nvPr>
        </p:nvSpPr>
        <p:spPr>
          <a:xfrm>
            <a:off x="4572000" y="1143000"/>
            <a:ext cx="7010400" cy="2286000"/>
          </a:xfrm>
        </p:spPr>
        <p:txBody>
          <a:bodyPr>
            <a:noAutofit/>
          </a:bodyPr>
          <a:lstStyle>
            <a:lvl1pPr>
              <a:defRPr sz="1800">
                <a:solidFill>
                  <a:srgbClr val="3F3F3F"/>
                </a:solidFill>
              </a:defRPr>
            </a:lvl1pPr>
            <a:lvl2pPr>
              <a:defRPr sz="1600">
                <a:solidFill>
                  <a:srgbClr val="3F3F3F"/>
                </a:solidFill>
              </a:defRPr>
            </a:lvl2pPr>
            <a:lvl3pPr>
              <a:lnSpc>
                <a:spcPct val="100000"/>
              </a:lnSpc>
              <a:defRPr sz="1400">
                <a:solidFill>
                  <a:srgbClr val="3F3F3F"/>
                </a:solidFill>
              </a:defRPr>
            </a:lvl3pPr>
            <a:lvl4pPr>
              <a:defRPr sz="1400">
                <a:solidFill>
                  <a:srgbClr val="3F3F3F"/>
                </a:solidFill>
              </a:defRPr>
            </a:lvl4pPr>
            <a:lvl5pPr>
              <a:defRPr sz="1400">
                <a:solidFill>
                  <a:srgbClr val="3F3F3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a:xfrm>
            <a:off x="1" y="1143000"/>
            <a:ext cx="3048000" cy="2286000"/>
          </a:xfrm>
          <a:solidFill>
            <a:srgbClr val="0A5BBA"/>
          </a:solidFill>
        </p:spPr>
        <p:txBody>
          <a:bodyPr lIns="182880" tIns="137160" anchor="t" anchorCtr="0">
            <a:normAutofit/>
          </a:bodyPr>
          <a:lstStyle>
            <a:lvl1pPr>
              <a:defRPr sz="2400">
                <a:solidFill>
                  <a:schemeClr val="bg1"/>
                </a:solidFill>
                <a:latin typeface="Segoe UI" panose="020B0502040204020203" pitchFamily="34" charset="0"/>
                <a:cs typeface="Segoe UI" panose="020B0502040204020203" pitchFamily="34" charset="0"/>
              </a:defRPr>
            </a:lvl1pPr>
          </a:lstStyle>
          <a:p>
            <a:r>
              <a:rPr lang="en-US" dirty="0"/>
              <a:t>Click to edit slide title</a:t>
            </a:r>
          </a:p>
        </p:txBody>
      </p:sp>
      <p:sp>
        <p:nvSpPr>
          <p:cNvPr id="16" name="Text Placeholder 14"/>
          <p:cNvSpPr>
            <a:spLocks noGrp="1"/>
          </p:cNvSpPr>
          <p:nvPr>
            <p:ph type="body" sz="quarter" idx="12"/>
          </p:nvPr>
        </p:nvSpPr>
        <p:spPr>
          <a:xfrm>
            <a:off x="1" y="3429000"/>
            <a:ext cx="3048000" cy="2286000"/>
          </a:xfrm>
          <a:solidFill>
            <a:srgbClr val="002050"/>
          </a:solidFill>
        </p:spPr>
        <p:txBody>
          <a:bodyPr>
            <a:normAutofit/>
          </a:bodyPr>
          <a:lstStyle>
            <a:lvl1pPr>
              <a:lnSpc>
                <a:spcPct val="100000"/>
              </a:lnSpc>
              <a:defRPr sz="1600">
                <a:solidFill>
                  <a:schemeClr val="bg1"/>
                </a:solidFill>
                <a:latin typeface="Segoe UI" panose="020B0502040204020203" pitchFamily="34" charset="0"/>
                <a:cs typeface="Segoe UI" panose="020B0502040204020203" pitchFamily="34" charset="0"/>
              </a:defRPr>
            </a:lvl1pPr>
            <a:lvl2pPr>
              <a:lnSpc>
                <a:spcPct val="100000"/>
              </a:lnSpc>
              <a:defRPr sz="1600">
                <a:solidFill>
                  <a:schemeClr val="bg1"/>
                </a:solidFill>
                <a:latin typeface="Segoe UI" panose="020B0502040204020203" pitchFamily="34" charset="0"/>
                <a:cs typeface="Segoe UI" panose="020B0502040204020203" pitchFamily="34" charset="0"/>
              </a:defRPr>
            </a:lvl2pPr>
            <a:lvl3pPr>
              <a:lnSpc>
                <a:spcPct val="100000"/>
              </a:lnSpc>
              <a:defRPr sz="1600">
                <a:solidFill>
                  <a:schemeClr val="bg1"/>
                </a:solidFill>
                <a:latin typeface="Segoe UI" panose="020B0502040204020203" pitchFamily="34" charset="0"/>
                <a:cs typeface="Segoe UI" panose="020B0502040204020203" pitchFamily="34" charset="0"/>
              </a:defRPr>
            </a:lvl3pPr>
            <a:lvl4pPr>
              <a:lnSpc>
                <a:spcPct val="100000"/>
              </a:lnSpc>
              <a:defRPr sz="1600">
                <a:solidFill>
                  <a:schemeClr val="bg1"/>
                </a:solidFill>
                <a:latin typeface="Segoe UI" panose="020B0502040204020203" pitchFamily="34" charset="0"/>
                <a:cs typeface="Segoe UI" panose="020B0502040204020203" pitchFamily="34" charset="0"/>
              </a:defRPr>
            </a:lvl4pPr>
            <a:lvl5pPr>
              <a:lnSpc>
                <a:spcPct val="100000"/>
              </a:lnSpc>
              <a:defRPr sz="1600">
                <a:solidFill>
                  <a:schemeClr val="bg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1" y="3429000"/>
            <a:ext cx="3048000" cy="2286000"/>
          </a:xfrm>
          <a:solidFill>
            <a:srgbClr val="0E715F"/>
          </a:solidFill>
        </p:spPr>
        <p:txBody>
          <a:bodyPr>
            <a:normAutofit/>
          </a:bodyPr>
          <a:lstStyle>
            <a:lvl1pPr>
              <a:lnSpc>
                <a:spcPct val="100000"/>
              </a:lnSpc>
              <a:defRPr sz="1600">
                <a:solidFill>
                  <a:schemeClr val="bg1"/>
                </a:solidFill>
                <a:latin typeface="Segoe UI" panose="020B0502040204020203" pitchFamily="34" charset="0"/>
                <a:cs typeface="Segoe UI" panose="020B0502040204020203" pitchFamily="34" charset="0"/>
              </a:defRPr>
            </a:lvl1pPr>
            <a:lvl2pPr>
              <a:lnSpc>
                <a:spcPct val="100000"/>
              </a:lnSpc>
              <a:defRPr sz="1600">
                <a:solidFill>
                  <a:schemeClr val="bg1"/>
                </a:solidFill>
                <a:latin typeface="Segoe UI" panose="020B0502040204020203" pitchFamily="34" charset="0"/>
                <a:cs typeface="Segoe UI" panose="020B0502040204020203" pitchFamily="34" charset="0"/>
              </a:defRPr>
            </a:lvl2pPr>
            <a:lvl3pPr>
              <a:lnSpc>
                <a:spcPct val="100000"/>
              </a:lnSpc>
              <a:defRPr sz="1600">
                <a:solidFill>
                  <a:schemeClr val="bg1"/>
                </a:solidFill>
                <a:latin typeface="Segoe UI" panose="020B0502040204020203" pitchFamily="34" charset="0"/>
                <a:cs typeface="Segoe UI" panose="020B0502040204020203" pitchFamily="34" charset="0"/>
              </a:defRPr>
            </a:lvl3pPr>
            <a:lvl4pPr>
              <a:lnSpc>
                <a:spcPct val="100000"/>
              </a:lnSpc>
              <a:defRPr sz="1600">
                <a:solidFill>
                  <a:schemeClr val="bg1"/>
                </a:solidFill>
                <a:latin typeface="Segoe UI" panose="020B0502040204020203" pitchFamily="34" charset="0"/>
                <a:cs typeface="Segoe UI" panose="020B0502040204020203" pitchFamily="34" charset="0"/>
              </a:defRPr>
            </a:lvl4pPr>
            <a:lvl5pPr>
              <a:lnSpc>
                <a:spcPct val="100000"/>
              </a:lnSpc>
              <a:defRPr sz="1600">
                <a:solidFill>
                  <a:schemeClr val="bg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rgbClr val="129038"/>
          </a:solidFill>
        </p:spPr>
        <p:txBody>
          <a:bodyPr>
            <a:normAutofit/>
          </a:bodyPr>
          <a:lstStyle>
            <a:lvl1pPr>
              <a:lnSpc>
                <a:spcPct val="100000"/>
              </a:lnSpc>
              <a:defRPr sz="1600">
                <a:solidFill>
                  <a:schemeClr val="tx1"/>
                </a:solidFill>
                <a:latin typeface="Segoe UI" panose="020B0502040204020203" pitchFamily="34" charset="0"/>
                <a:cs typeface="Segoe UI" panose="020B0502040204020203" pitchFamily="34" charset="0"/>
              </a:defRPr>
            </a:lvl1pPr>
            <a:lvl2pPr>
              <a:lnSpc>
                <a:spcPct val="100000"/>
              </a:lnSpc>
              <a:defRPr sz="1600">
                <a:solidFill>
                  <a:schemeClr val="tx1"/>
                </a:solidFill>
                <a:latin typeface="Segoe UI" panose="020B0502040204020203" pitchFamily="34" charset="0"/>
                <a:cs typeface="Segoe UI" panose="020B0502040204020203" pitchFamily="34" charset="0"/>
              </a:defRPr>
            </a:lvl2pPr>
            <a:lvl3pPr>
              <a:lnSpc>
                <a:spcPct val="100000"/>
              </a:lnSpc>
              <a:defRPr sz="1600">
                <a:solidFill>
                  <a:schemeClr val="tx1"/>
                </a:solidFill>
                <a:latin typeface="Segoe UI" panose="020B0502040204020203" pitchFamily="34" charset="0"/>
                <a:cs typeface="Segoe UI" panose="020B0502040204020203" pitchFamily="34" charset="0"/>
              </a:defRPr>
            </a:lvl3pPr>
            <a:lvl4pPr>
              <a:lnSpc>
                <a:spcPct val="100000"/>
              </a:lnSpc>
              <a:defRPr sz="1600">
                <a:solidFill>
                  <a:schemeClr val="tx1"/>
                </a:solidFill>
                <a:latin typeface="Segoe UI" panose="020B0502040204020203" pitchFamily="34" charset="0"/>
                <a:cs typeface="Segoe UI" panose="020B0502040204020203" pitchFamily="34" charset="0"/>
              </a:defRPr>
            </a:lvl4pPr>
            <a:lvl5pPr>
              <a:lnSpc>
                <a:spcPct val="100000"/>
              </a:lnSpc>
              <a:defRPr sz="1600">
                <a:solidFill>
                  <a:schemeClr val="tx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4"/>
          <p:cNvSpPr>
            <a:spLocks noGrp="1"/>
          </p:cNvSpPr>
          <p:nvPr>
            <p:ph type="body" sz="quarter" idx="15"/>
          </p:nvPr>
        </p:nvSpPr>
        <p:spPr>
          <a:xfrm>
            <a:off x="9144000" y="3429000"/>
            <a:ext cx="3048000" cy="2286000"/>
          </a:xfrm>
          <a:solidFill>
            <a:srgbClr val="0C6126"/>
          </a:solidFill>
        </p:spPr>
        <p:txBody>
          <a:bodyPr>
            <a:normAutofit/>
          </a:bodyPr>
          <a:lstStyle>
            <a:lvl1pPr>
              <a:lnSpc>
                <a:spcPct val="100000"/>
              </a:lnSpc>
              <a:defRPr sz="1600">
                <a:solidFill>
                  <a:schemeClr val="bg1"/>
                </a:solidFill>
                <a:latin typeface="Segoe UI" panose="020B0502040204020203" pitchFamily="34" charset="0"/>
                <a:cs typeface="Segoe UI" panose="020B0502040204020203" pitchFamily="34" charset="0"/>
              </a:defRPr>
            </a:lvl1pPr>
            <a:lvl2pPr>
              <a:lnSpc>
                <a:spcPct val="100000"/>
              </a:lnSpc>
              <a:defRPr sz="1600">
                <a:solidFill>
                  <a:schemeClr val="bg1"/>
                </a:solidFill>
                <a:latin typeface="Segoe UI" panose="020B0502040204020203" pitchFamily="34" charset="0"/>
                <a:cs typeface="Segoe UI" panose="020B0502040204020203" pitchFamily="34" charset="0"/>
              </a:defRPr>
            </a:lvl2pPr>
            <a:lvl3pPr>
              <a:lnSpc>
                <a:spcPct val="100000"/>
              </a:lnSpc>
              <a:defRPr sz="1600">
                <a:solidFill>
                  <a:schemeClr val="bg1"/>
                </a:solidFill>
                <a:latin typeface="Segoe UI" panose="020B0502040204020203" pitchFamily="34" charset="0"/>
                <a:cs typeface="Segoe UI" panose="020B0502040204020203" pitchFamily="34" charset="0"/>
              </a:defRPr>
            </a:lvl3pPr>
            <a:lvl4pPr>
              <a:lnSpc>
                <a:spcPct val="100000"/>
              </a:lnSpc>
              <a:defRPr sz="1600">
                <a:solidFill>
                  <a:schemeClr val="bg1"/>
                </a:solidFill>
                <a:latin typeface="Segoe UI" panose="020B0502040204020203" pitchFamily="34" charset="0"/>
                <a:cs typeface="Segoe UI" panose="020B0502040204020203" pitchFamily="34" charset="0"/>
              </a:defRPr>
            </a:lvl4pPr>
            <a:lvl5pPr>
              <a:lnSpc>
                <a:spcPct val="100000"/>
              </a:lnSpc>
              <a:defRPr sz="1600">
                <a:solidFill>
                  <a:schemeClr val="bg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Date Placeholder 2"/>
          <p:cNvSpPr>
            <a:spLocks noGrp="1"/>
          </p:cNvSpPr>
          <p:nvPr>
            <p:ph type="dt" sz="half" idx="10"/>
          </p:nvPr>
        </p:nvSpPr>
        <p:spPr>
          <a:xfrm>
            <a:off x="0" y="6492877"/>
            <a:ext cx="2844800" cy="365125"/>
          </a:xfrm>
          <a:prstGeom prst="rect">
            <a:avLst/>
          </a:prstGeom>
        </p:spPr>
        <p:txBody>
          <a:bodyPr/>
          <a:lstStyle>
            <a:lvl1pPr>
              <a:defRPr>
                <a:solidFill>
                  <a:srgbClr val="3F3F3F"/>
                </a:solidFill>
                <a:latin typeface="+mn-lt"/>
              </a:defRPr>
            </a:lvl1pPr>
          </a:lstStyle>
          <a:p>
            <a:endParaRPr lang="en-US" dirty="0"/>
          </a:p>
        </p:txBody>
      </p:sp>
      <p:sp>
        <p:nvSpPr>
          <p:cNvPr id="14" name="Slide Number Placeholder 4"/>
          <p:cNvSpPr>
            <a:spLocks noGrp="1"/>
          </p:cNvSpPr>
          <p:nvPr>
            <p:ph type="sldNum" sz="quarter" idx="18"/>
          </p:nvPr>
        </p:nvSpPr>
        <p:spPr>
          <a:xfrm>
            <a:off x="8850631" y="6356351"/>
            <a:ext cx="2743200" cy="365125"/>
          </a:xfrm>
          <a:prstGeom prst="rect">
            <a:avLst/>
          </a:prstGeom>
        </p:spPr>
        <p:txBody>
          <a:bodyPr/>
          <a:lstStyle/>
          <a:p>
            <a:fld id="{AFFF257A-30C5-4AFB-911B-BE4CEEA1EA82}" type="slidenum">
              <a:rPr lang="en-US" smtClean="0"/>
              <a:t>‹#›</a:t>
            </a:fld>
            <a:endParaRPr lang="en-US"/>
          </a:p>
        </p:txBody>
      </p:sp>
    </p:spTree>
    <p:extLst>
      <p:ext uri="{BB962C8B-B14F-4D97-AF65-F5344CB8AC3E}">
        <p14:creationId xmlns:p14="http://schemas.microsoft.com/office/powerpoint/2010/main" val="4279369699"/>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Image and text">
    <p:bg>
      <p:bgPr>
        <a:solidFill>
          <a:schemeClr val="bg1"/>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838201" y="6356351"/>
            <a:ext cx="2743200" cy="365125"/>
          </a:xfrm>
          <a:prstGeom prst="rect">
            <a:avLst/>
          </a:prstGeom>
        </p:spPr>
        <p:txBody>
          <a:bodyPr/>
          <a:lstStyle>
            <a:lvl1pPr>
              <a:defRPr>
                <a:solidFill>
                  <a:srgbClr val="3F3F3F"/>
                </a:solidFill>
              </a:defRPr>
            </a:lvl1pPr>
          </a:lstStyle>
          <a:p>
            <a:endParaRPr lang="en-US"/>
          </a:p>
        </p:txBody>
      </p:sp>
      <p:sp>
        <p:nvSpPr>
          <p:cNvPr id="4" name="Slide Number Placeholder 3"/>
          <p:cNvSpPr>
            <a:spLocks noGrp="1"/>
          </p:cNvSpPr>
          <p:nvPr>
            <p:ph type="sldNum" sz="quarter" idx="11"/>
          </p:nvPr>
        </p:nvSpPr>
        <p:spPr>
          <a:xfrm>
            <a:off x="8610600" y="6356351"/>
            <a:ext cx="2743200" cy="365125"/>
          </a:xfrm>
          <a:prstGeom prst="rect">
            <a:avLst/>
          </a:prstGeom>
        </p:spPr>
        <p:txBody>
          <a:bodyPr/>
          <a:lstStyle>
            <a:lvl1pPr>
              <a:defRPr>
                <a:solidFill>
                  <a:srgbClr val="3F3F3F"/>
                </a:solidFill>
              </a:defRPr>
            </a:lvl1pPr>
          </a:lstStyle>
          <a:p>
            <a:fld id="{74A398B2-5A34-1A4A-811E-F4027282568C}" type="slidenum">
              <a:rPr lang="en-US" smtClean="0"/>
              <a:pPr/>
              <a:t>‹#›</a:t>
            </a:fld>
            <a:endParaRPr lang="en-US"/>
          </a:p>
        </p:txBody>
      </p:sp>
      <p:sp>
        <p:nvSpPr>
          <p:cNvPr id="19" name="Content Placeholder 18"/>
          <p:cNvSpPr>
            <a:spLocks noGrp="1"/>
          </p:cNvSpPr>
          <p:nvPr>
            <p:ph sz="quarter" idx="15"/>
          </p:nvPr>
        </p:nvSpPr>
        <p:spPr>
          <a:xfrm>
            <a:off x="3048000" y="1143000"/>
            <a:ext cx="6096000" cy="4572000"/>
          </a:xfrm>
        </p:spPr>
        <p:txBody>
          <a:bodyPr>
            <a:normAutofit/>
          </a:bodyPr>
          <a:lstStyle>
            <a:lvl1pPr>
              <a:defRPr sz="1800">
                <a:solidFill>
                  <a:srgbClr val="3F3F3F"/>
                </a:solidFill>
              </a:defRPr>
            </a:lvl1pPr>
            <a:lvl2pPr>
              <a:defRPr sz="1600">
                <a:solidFill>
                  <a:srgbClr val="3F3F3F"/>
                </a:solidFill>
              </a:defRPr>
            </a:lvl2pPr>
            <a:lvl3pPr>
              <a:defRPr sz="1400">
                <a:solidFill>
                  <a:srgbClr val="3F3F3F"/>
                </a:solidFill>
              </a:defRPr>
            </a:lvl3pPr>
            <a:lvl4pPr>
              <a:defRPr sz="1400">
                <a:solidFill>
                  <a:srgbClr val="3F3F3F"/>
                </a:solidFill>
              </a:defRPr>
            </a:lvl4pPr>
            <a:lvl5pPr>
              <a:defRPr sz="1400">
                <a:solidFill>
                  <a:srgbClr val="3F3F3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hasCustomPrompt="1"/>
          </p:nvPr>
        </p:nvSpPr>
        <p:spPr>
          <a:xfrm>
            <a:off x="1" y="1143000"/>
            <a:ext cx="3048000" cy="2286000"/>
          </a:xfrm>
          <a:solidFill>
            <a:srgbClr val="0A5BBA"/>
          </a:solidFill>
        </p:spPr>
        <p:txBody>
          <a:bodyPr lIns="182880" tIns="137160" anchor="t" anchorCtr="0">
            <a:normAutofit/>
          </a:bodyPr>
          <a:lstStyle>
            <a:lvl1pPr>
              <a:defRPr sz="2400">
                <a:solidFill>
                  <a:schemeClr val="bg1"/>
                </a:solidFill>
                <a:latin typeface="Segoe UI" panose="020B0502040204020203" pitchFamily="34" charset="0"/>
                <a:cs typeface="Segoe UI" panose="020B0502040204020203" pitchFamily="34" charset="0"/>
              </a:defRPr>
            </a:lvl1pPr>
          </a:lstStyle>
          <a:p>
            <a:r>
              <a:rPr lang="en-US" dirty="0"/>
              <a:t>Click to edit slide title</a:t>
            </a:r>
          </a:p>
        </p:txBody>
      </p:sp>
      <p:sp>
        <p:nvSpPr>
          <p:cNvPr id="9" name="Text Placeholder 14"/>
          <p:cNvSpPr>
            <a:spLocks noGrp="1"/>
          </p:cNvSpPr>
          <p:nvPr>
            <p:ph type="body" sz="quarter" idx="12"/>
          </p:nvPr>
        </p:nvSpPr>
        <p:spPr>
          <a:xfrm>
            <a:off x="9144000" y="1143000"/>
            <a:ext cx="3048000" cy="2286000"/>
          </a:xfrm>
          <a:solidFill>
            <a:srgbClr val="002050"/>
          </a:solidFill>
        </p:spPr>
        <p:txBody>
          <a:bodyPr>
            <a:normAutofit/>
          </a:bodyPr>
          <a:lstStyle>
            <a:lvl1pPr>
              <a:lnSpc>
                <a:spcPct val="100000"/>
              </a:lnSpc>
              <a:defRPr sz="1600">
                <a:solidFill>
                  <a:schemeClr val="bg1"/>
                </a:solidFill>
                <a:latin typeface="+mn-lt"/>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4"/>
          <p:cNvSpPr>
            <a:spLocks noGrp="1"/>
          </p:cNvSpPr>
          <p:nvPr>
            <p:ph type="body" sz="quarter" idx="16"/>
          </p:nvPr>
        </p:nvSpPr>
        <p:spPr>
          <a:xfrm>
            <a:off x="9144000" y="3429000"/>
            <a:ext cx="3048000" cy="2286000"/>
          </a:xfrm>
          <a:solidFill>
            <a:srgbClr val="15AEEF"/>
          </a:solidFill>
        </p:spPr>
        <p:txBody>
          <a:bodyPr>
            <a:normAutofit/>
          </a:bodyPr>
          <a:lstStyle>
            <a:lvl1pPr>
              <a:lnSpc>
                <a:spcPct val="100000"/>
              </a:lnSpc>
              <a:defRPr sz="1600">
                <a:solidFill>
                  <a:srgbClr val="000000"/>
                </a:solidFill>
                <a:latin typeface="+mn-lt"/>
              </a:defRPr>
            </a:lvl1pPr>
            <a:lvl2pPr>
              <a:lnSpc>
                <a:spcPct val="100000"/>
              </a:lnSpc>
              <a:defRPr sz="1600">
                <a:solidFill>
                  <a:srgbClr val="000000"/>
                </a:solidFill>
                <a:latin typeface="+mn-lt"/>
              </a:defRPr>
            </a:lvl2pPr>
            <a:lvl3pPr>
              <a:lnSpc>
                <a:spcPct val="100000"/>
              </a:lnSpc>
              <a:defRPr sz="1600">
                <a:solidFill>
                  <a:srgbClr val="000000"/>
                </a:solidFill>
                <a:latin typeface="+mn-lt"/>
              </a:defRPr>
            </a:lvl3pPr>
            <a:lvl4pPr>
              <a:lnSpc>
                <a:spcPct val="100000"/>
              </a:lnSpc>
              <a:defRPr sz="1600">
                <a:solidFill>
                  <a:srgbClr val="000000"/>
                </a:solidFill>
                <a:latin typeface="+mn-lt"/>
              </a:defRPr>
            </a:lvl4pPr>
            <a:lvl5pPr>
              <a:lnSpc>
                <a:spcPct val="100000"/>
              </a:lnSpc>
              <a:defRPr sz="1600">
                <a:solidFill>
                  <a:srgbClr val="000000"/>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55612954"/>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flowing text sections">
    <p:bg>
      <p:bgPr>
        <a:solidFill>
          <a:schemeClr val="bg1"/>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2"/>
          </p:nvPr>
        </p:nvSpPr>
        <p:spPr>
          <a:xfrm>
            <a:off x="3048000" y="1143000"/>
            <a:ext cx="4572000" cy="4572000"/>
          </a:xfrm>
          <a:solidFill>
            <a:srgbClr val="002050"/>
          </a:solidFill>
        </p:spPr>
        <p:txBody>
          <a:bodyPr>
            <a:noAutofit/>
          </a:bodyPr>
          <a:lstStyle>
            <a:lvl1pPr>
              <a:lnSpc>
                <a:spcPct val="100000"/>
              </a:lnSpc>
              <a:defRPr sz="1800">
                <a:solidFill>
                  <a:schemeClr val="bg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9" name="Title 1"/>
          <p:cNvSpPr>
            <a:spLocks noGrp="1"/>
          </p:cNvSpPr>
          <p:nvPr>
            <p:ph type="title" hasCustomPrompt="1"/>
          </p:nvPr>
        </p:nvSpPr>
        <p:spPr>
          <a:xfrm>
            <a:off x="1" y="1143000"/>
            <a:ext cx="3048000" cy="2286000"/>
          </a:xfrm>
          <a:solidFill>
            <a:schemeClr val="accent1"/>
          </a:solidFill>
        </p:spPr>
        <p:txBody>
          <a:bodyPr lIns="182880" tIns="137160" anchor="t" anchorCtr="0">
            <a:normAutofit/>
          </a:bodyPr>
          <a:lstStyle>
            <a:lvl1pPr>
              <a:defRPr sz="2400">
                <a:solidFill>
                  <a:schemeClr val="bg1"/>
                </a:solidFill>
                <a:latin typeface="Segoe UI" panose="020B0502040204020203" pitchFamily="34" charset="0"/>
                <a:cs typeface="Segoe UI" panose="020B0502040204020203" pitchFamily="34" charset="0"/>
              </a:defRPr>
            </a:lvl1pPr>
          </a:lstStyle>
          <a:p>
            <a:r>
              <a:rPr lang="en-US" dirty="0"/>
              <a:t>Click to edit slide title</a:t>
            </a:r>
          </a:p>
        </p:txBody>
      </p:sp>
      <p:sp>
        <p:nvSpPr>
          <p:cNvPr id="16" name="Text Placeholder 11"/>
          <p:cNvSpPr>
            <a:spLocks noGrp="1"/>
          </p:cNvSpPr>
          <p:nvPr>
            <p:ph type="body" sz="quarter" idx="14"/>
          </p:nvPr>
        </p:nvSpPr>
        <p:spPr>
          <a:xfrm>
            <a:off x="7620000" y="1143000"/>
            <a:ext cx="4572000" cy="4572000"/>
          </a:xfrm>
          <a:solidFill>
            <a:srgbClr val="0A5BBA"/>
          </a:solidFill>
        </p:spPr>
        <p:txBody>
          <a:bodyPr>
            <a:noAutofit/>
          </a:bodyPr>
          <a:lstStyle>
            <a:lvl1pPr>
              <a:lnSpc>
                <a:spcPct val="100000"/>
              </a:lnSpc>
              <a:defRPr sz="1800">
                <a:solidFill>
                  <a:schemeClr val="bg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7" name="Date Placeholder 2"/>
          <p:cNvSpPr>
            <a:spLocks noGrp="1"/>
          </p:cNvSpPr>
          <p:nvPr>
            <p:ph type="dt" sz="half" idx="10"/>
          </p:nvPr>
        </p:nvSpPr>
        <p:spPr>
          <a:xfrm>
            <a:off x="0" y="6492877"/>
            <a:ext cx="2844800" cy="365125"/>
          </a:xfrm>
          <a:prstGeom prst="rect">
            <a:avLst/>
          </a:prstGeom>
        </p:spPr>
        <p:txBody>
          <a:bodyPr/>
          <a:lstStyle>
            <a:lvl1pPr>
              <a:defRPr>
                <a:solidFill>
                  <a:srgbClr val="3F3F3F"/>
                </a:solidFill>
                <a:latin typeface="+mn-lt"/>
              </a:defRPr>
            </a:lvl1pPr>
          </a:lstStyle>
          <a:p>
            <a:endParaRPr lang="en-US" dirty="0"/>
          </a:p>
        </p:txBody>
      </p:sp>
      <p:sp>
        <p:nvSpPr>
          <p:cNvPr id="11" name="Slide Number Placeholder 4"/>
          <p:cNvSpPr>
            <a:spLocks noGrp="1"/>
          </p:cNvSpPr>
          <p:nvPr>
            <p:ph type="sldNum" sz="quarter" idx="15"/>
          </p:nvPr>
        </p:nvSpPr>
        <p:spPr>
          <a:xfrm>
            <a:off x="8850631" y="6356351"/>
            <a:ext cx="2743200" cy="365125"/>
          </a:xfrm>
          <a:prstGeom prst="rect">
            <a:avLst/>
          </a:prstGeom>
        </p:spPr>
        <p:txBody>
          <a:bodyPr/>
          <a:lstStyle/>
          <a:p>
            <a:fld id="{AFFF257A-30C5-4AFB-911B-BE4CEEA1EA82}" type="slidenum">
              <a:rPr lang="en-US" smtClean="0"/>
              <a:t>‹#›</a:t>
            </a:fld>
            <a:endParaRPr lang="en-US"/>
          </a:p>
        </p:txBody>
      </p:sp>
    </p:spTree>
    <p:extLst>
      <p:ext uri="{BB962C8B-B14F-4D97-AF65-F5344CB8AC3E}">
        <p14:creationId xmlns:p14="http://schemas.microsoft.com/office/powerpoint/2010/main" val="673119156"/>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Title Slide light right aligned">
    <p:bg>
      <p:bgPr>
        <a:solidFill>
          <a:schemeClr val="bg1"/>
        </a:solidFill>
        <a:effectLst/>
      </p:bgPr>
    </p:bg>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192000" cy="378565"/>
          </a:xfrm>
          <a:prstGeom prst="rect">
            <a:avLst/>
          </a:prstGeom>
        </p:spPr>
        <p:txBody>
          <a:bodyPr vert="horz"/>
          <a:lstStyle>
            <a:lvl1pPr>
              <a:buFontTx/>
              <a:buNone/>
              <a:defRPr sz="1400">
                <a:solidFill>
                  <a:srgbClr val="000000"/>
                </a:solidFill>
                <a:latin typeface="+mn-lt"/>
              </a:defRPr>
            </a:lvl1pPr>
          </a:lstStyle>
          <a:p>
            <a:r>
              <a:rPr lang="en-US"/>
              <a:t>Click icon to add picture</a:t>
            </a:r>
            <a:endParaRPr lang="en-US" dirty="0"/>
          </a:p>
        </p:txBody>
      </p:sp>
      <p:sp>
        <p:nvSpPr>
          <p:cNvPr id="13" name="TextBox 12"/>
          <p:cNvSpPr txBox="1"/>
          <p:nvPr userDrawn="1"/>
        </p:nvSpPr>
        <p:spPr>
          <a:xfrm>
            <a:off x="0" y="1143000"/>
            <a:ext cx="6096000" cy="374846"/>
          </a:xfrm>
          <a:prstGeom prst="rect">
            <a:avLst/>
          </a:prstGeom>
          <a:noFill/>
        </p:spPr>
        <p:txBody>
          <a:bodyPr wrap="square" rtlCol="0">
            <a:spAutoFit/>
          </a:bodyPr>
          <a:lstStyle/>
          <a:p>
            <a:endParaRPr lang="en-US" sz="1800" dirty="0"/>
          </a:p>
        </p:txBody>
      </p:sp>
      <p:sp>
        <p:nvSpPr>
          <p:cNvPr id="16" name="Text Placeholder 9"/>
          <p:cNvSpPr>
            <a:spLocks noGrp="1"/>
          </p:cNvSpPr>
          <p:nvPr>
            <p:ph type="body" sz="quarter" idx="13"/>
          </p:nvPr>
        </p:nvSpPr>
        <p:spPr>
          <a:xfrm>
            <a:off x="0" y="1143000"/>
            <a:ext cx="6096000" cy="2286000"/>
          </a:xfrm>
          <a:solidFill>
            <a:srgbClr val="0A5BBA">
              <a:alpha val="90000"/>
            </a:srgbClr>
          </a:solidFill>
        </p:spPr>
        <p:txBody>
          <a:bodyPr lIns="182880" tIns="137160">
            <a:noAutofit/>
          </a:bodyPr>
          <a:lstStyle>
            <a:lvl1pPr marL="0" indent="0">
              <a:lnSpc>
                <a:spcPct val="100000"/>
              </a:lnSpc>
              <a:buNone/>
              <a:defRPr sz="320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Tree>
    <p:extLst>
      <p:ext uri="{BB962C8B-B14F-4D97-AF65-F5344CB8AC3E}">
        <p14:creationId xmlns:p14="http://schemas.microsoft.com/office/powerpoint/2010/main" val="315161188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_Title Slide light right aligned">
    <p:bg>
      <p:bgPr>
        <a:solidFill>
          <a:srgbClr val="002050"/>
        </a:solidFill>
        <a:effectLst/>
      </p:bgPr>
    </p:bg>
    <p:spTree>
      <p:nvGrpSpPr>
        <p:cNvPr id="1" name=""/>
        <p:cNvGrpSpPr/>
        <p:nvPr/>
      </p:nvGrpSpPr>
      <p:grpSpPr>
        <a:xfrm>
          <a:off x="0" y="0"/>
          <a:ext cx="0" cy="0"/>
          <a:chOff x="0" y="0"/>
          <a:chExt cx="0" cy="0"/>
        </a:xfrm>
      </p:grpSpPr>
      <p:sp>
        <p:nvSpPr>
          <p:cNvPr id="13" name="TextBox 12"/>
          <p:cNvSpPr txBox="1"/>
          <p:nvPr userDrawn="1"/>
        </p:nvSpPr>
        <p:spPr>
          <a:xfrm>
            <a:off x="0" y="1143000"/>
            <a:ext cx="6096000" cy="374846"/>
          </a:xfrm>
          <a:prstGeom prst="rect">
            <a:avLst/>
          </a:prstGeom>
          <a:noFill/>
        </p:spPr>
        <p:txBody>
          <a:bodyPr wrap="square" rtlCol="0">
            <a:spAutoFit/>
          </a:bodyPr>
          <a:lstStyle/>
          <a:p>
            <a:endParaRPr lang="en-US" sz="1800" dirty="0"/>
          </a:p>
        </p:txBody>
      </p:sp>
      <p:sp>
        <p:nvSpPr>
          <p:cNvPr id="16" name="Text Placeholder 9"/>
          <p:cNvSpPr>
            <a:spLocks noGrp="1"/>
          </p:cNvSpPr>
          <p:nvPr>
            <p:ph type="body" sz="quarter" idx="13"/>
          </p:nvPr>
        </p:nvSpPr>
        <p:spPr>
          <a:xfrm>
            <a:off x="0" y="1143000"/>
            <a:ext cx="6096000" cy="2286000"/>
          </a:xfrm>
          <a:solidFill>
            <a:srgbClr val="0A5BBA"/>
          </a:solidFill>
        </p:spPr>
        <p:txBody>
          <a:bodyPr lIns="182880" tIns="137160">
            <a:noAutofit/>
          </a:bodyPr>
          <a:lstStyle>
            <a:lvl1pPr marL="0" indent="0">
              <a:lnSpc>
                <a:spcPct val="100000"/>
              </a:lnSpc>
              <a:buNone/>
              <a:defRPr sz="320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Tree>
    <p:extLst>
      <p:ext uri="{BB962C8B-B14F-4D97-AF65-F5344CB8AC3E}">
        <p14:creationId xmlns:p14="http://schemas.microsoft.com/office/powerpoint/2010/main" val="1888444103"/>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able of Contents light">
    <p:bg>
      <p:bgPr>
        <a:solidFill>
          <a:schemeClr val="bg1"/>
        </a:solidFill>
        <a:effectLst/>
      </p:bgPr>
    </p:bg>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4572000" y="1143000"/>
            <a:ext cx="7620000" cy="5029200"/>
          </a:xfrm>
          <a:prstGeom prst="rect">
            <a:avLst/>
          </a:prstGeom>
        </p:spPr>
        <p:txBody>
          <a:bodyPr vert="horz" lIns="91440" tIns="45720">
            <a:normAutofit/>
          </a:bodyPr>
          <a:lstStyle>
            <a:lvl1pPr marL="0" indent="0">
              <a:spcBef>
                <a:spcPts val="600"/>
              </a:spcBef>
              <a:buFontTx/>
              <a:buNone/>
              <a:tabLst>
                <a:tab pos="630117" algn="l"/>
              </a:tabLst>
              <a:defRPr sz="2400" baseline="0">
                <a:solidFill>
                  <a:srgbClr val="3F3F3F"/>
                </a:solidFill>
                <a:latin typeface="+mn-lt"/>
                <a:cs typeface="Segoe Pro Light"/>
              </a:defRPr>
            </a:lvl1pPr>
            <a:lvl2pPr marL="0" indent="0">
              <a:spcBef>
                <a:spcPts val="600"/>
              </a:spcBef>
              <a:buFontTx/>
              <a:buNone/>
              <a:defRPr sz="3000">
                <a:latin typeface="Segoe Pro Light"/>
                <a:cs typeface="Segoe Pro Light"/>
              </a:defRPr>
            </a:lvl2pPr>
            <a:lvl3pPr marL="0" indent="0">
              <a:spcBef>
                <a:spcPts val="600"/>
              </a:spcBef>
              <a:buFontTx/>
              <a:buNone/>
              <a:defRPr sz="3000">
                <a:latin typeface="Segoe Pro Light"/>
                <a:cs typeface="Segoe Pro Light"/>
              </a:defRPr>
            </a:lvl3pPr>
            <a:lvl4pPr marL="0" indent="0">
              <a:spcBef>
                <a:spcPts val="600"/>
              </a:spcBef>
              <a:buFontTx/>
              <a:buNone/>
              <a:defRPr sz="3000">
                <a:latin typeface="Segoe Pro Light"/>
                <a:cs typeface="Segoe Pro Light"/>
              </a:defRPr>
            </a:lvl4pPr>
            <a:lvl5pPr marL="0" indent="0">
              <a:spcBef>
                <a:spcPts val="600"/>
              </a:spcBef>
              <a:buFontTx/>
              <a:buNone/>
              <a:defRPr sz="3000">
                <a:latin typeface="Segoe Pro Light"/>
                <a:cs typeface="Segoe Pro Light"/>
              </a:defRPr>
            </a:lvl5pPr>
          </a:lstStyle>
          <a:p>
            <a:pPr lvl="0"/>
            <a:r>
              <a:rPr lang="en-US" dirty="0"/>
              <a:t>4	Section Title</a:t>
            </a:r>
          </a:p>
        </p:txBody>
      </p:sp>
      <p:sp>
        <p:nvSpPr>
          <p:cNvPr id="7" name="Text Placeholder 12"/>
          <p:cNvSpPr>
            <a:spLocks noGrp="1"/>
          </p:cNvSpPr>
          <p:nvPr>
            <p:ph type="body" sz="quarter" idx="14" hasCustomPrompt="1"/>
          </p:nvPr>
        </p:nvSpPr>
        <p:spPr>
          <a:xfrm>
            <a:off x="1" y="1152525"/>
            <a:ext cx="3048000" cy="4237038"/>
          </a:xfrm>
          <a:prstGeom prst="rect">
            <a:avLst/>
          </a:prstGeom>
        </p:spPr>
        <p:txBody>
          <a:bodyPr vert="horz">
            <a:noAutofit/>
          </a:bodyPr>
          <a:lstStyle>
            <a:lvl1pPr marL="0" indent="0">
              <a:spcBef>
                <a:spcPts val="600"/>
              </a:spcBef>
              <a:buFontTx/>
              <a:buNone/>
              <a:defRPr sz="1600" baseline="0">
                <a:solidFill>
                  <a:srgbClr val="3F3F3F"/>
                </a:solidFill>
                <a:latin typeface="+mn-lt"/>
                <a:cs typeface="Segoe Pro Semibold"/>
              </a:defRPr>
            </a:lvl1pPr>
          </a:lstStyle>
          <a:p>
            <a:pPr lvl="0"/>
            <a:r>
              <a:rPr lang="en-US" dirty="0"/>
              <a:t>Enter header here.</a:t>
            </a:r>
          </a:p>
        </p:txBody>
      </p:sp>
      <p:sp>
        <p:nvSpPr>
          <p:cNvPr id="4" name="Date Placeholder 3"/>
          <p:cNvSpPr>
            <a:spLocks noGrp="1"/>
          </p:cNvSpPr>
          <p:nvPr>
            <p:ph type="dt" sz="half" idx="2"/>
          </p:nvPr>
        </p:nvSpPr>
        <p:spPr>
          <a:xfrm>
            <a:off x="0" y="6356352"/>
            <a:ext cx="2844800" cy="365125"/>
          </a:xfrm>
          <a:prstGeom prst="rect">
            <a:avLst/>
          </a:prstGeom>
        </p:spPr>
        <p:txBody>
          <a:bodyPr vert="horz" lIns="182880" tIns="45720" rIns="182880" bIns="45720" rtlCol="0" anchor="ctr"/>
          <a:lstStyle>
            <a:lvl1pPr algn="l">
              <a:defRPr sz="800">
                <a:solidFill>
                  <a:schemeClr val="bg1"/>
                </a:solidFill>
                <a:latin typeface="+mn-lt"/>
                <a:cs typeface="Segoe Pro Light"/>
              </a:defRPr>
            </a:lvl1pPr>
          </a:lstStyle>
          <a:p>
            <a:endParaRPr lang="en-US" dirty="0"/>
          </a:p>
        </p:txBody>
      </p:sp>
      <p:sp>
        <p:nvSpPr>
          <p:cNvPr id="8" name="Slide Number Placeholder 4"/>
          <p:cNvSpPr>
            <a:spLocks noGrp="1"/>
          </p:cNvSpPr>
          <p:nvPr>
            <p:ph type="sldNum" sz="quarter" idx="12"/>
          </p:nvPr>
        </p:nvSpPr>
        <p:spPr>
          <a:xfrm>
            <a:off x="8850631" y="6356351"/>
            <a:ext cx="2743200" cy="365125"/>
          </a:xfrm>
          <a:prstGeom prst="rect">
            <a:avLst/>
          </a:prstGeom>
        </p:spPr>
        <p:txBody>
          <a:bodyPr/>
          <a:lstStyle/>
          <a:p>
            <a:fld id="{AFFF257A-30C5-4AFB-911B-BE4CEEA1EA82}" type="slidenum">
              <a:rPr lang="en-US" smtClean="0"/>
              <a:t>‹#›</a:t>
            </a:fld>
            <a:endParaRPr lang="en-US"/>
          </a:p>
        </p:txBody>
      </p:sp>
    </p:spTree>
    <p:extLst>
      <p:ext uri="{BB962C8B-B14F-4D97-AF65-F5344CB8AC3E}">
        <p14:creationId xmlns:p14="http://schemas.microsoft.com/office/powerpoint/2010/main" val="282174519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Table of Contents light">
    <p:bg>
      <p:bgPr>
        <a:solidFill>
          <a:schemeClr val="bg1"/>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6"/>
          </p:nvPr>
        </p:nvSpPr>
        <p:spPr>
          <a:xfrm>
            <a:off x="0" y="0"/>
            <a:ext cx="12192000" cy="727443"/>
          </a:xfrm>
        </p:spPr>
        <p:txBody>
          <a:bodyPr/>
          <a:lstStyle/>
          <a:p>
            <a:r>
              <a:rPr lang="en-US"/>
              <a:t>Click icon to add picture</a:t>
            </a:r>
          </a:p>
        </p:txBody>
      </p:sp>
      <p:sp>
        <p:nvSpPr>
          <p:cNvPr id="6" name="Text Placeholder 9"/>
          <p:cNvSpPr>
            <a:spLocks noGrp="1"/>
          </p:cNvSpPr>
          <p:nvPr>
            <p:ph type="body" sz="quarter" idx="13" hasCustomPrompt="1"/>
          </p:nvPr>
        </p:nvSpPr>
        <p:spPr>
          <a:xfrm>
            <a:off x="4572000" y="1143000"/>
            <a:ext cx="7620000" cy="5029200"/>
          </a:xfrm>
          <a:prstGeom prst="rect">
            <a:avLst/>
          </a:prstGeom>
        </p:spPr>
        <p:txBody>
          <a:bodyPr vert="horz" lIns="91440" tIns="45720">
            <a:normAutofit/>
          </a:bodyPr>
          <a:lstStyle>
            <a:lvl1pPr marL="0" indent="0">
              <a:spcBef>
                <a:spcPts val="600"/>
              </a:spcBef>
              <a:buFontTx/>
              <a:buNone/>
              <a:tabLst>
                <a:tab pos="630117" algn="l"/>
              </a:tabLst>
              <a:defRPr sz="2400" baseline="0">
                <a:solidFill>
                  <a:srgbClr val="3F3F3F"/>
                </a:solidFill>
                <a:latin typeface="+mn-lt"/>
                <a:cs typeface="Segoe Pro Light"/>
              </a:defRPr>
            </a:lvl1pPr>
            <a:lvl2pPr marL="0" indent="0">
              <a:spcBef>
                <a:spcPts val="600"/>
              </a:spcBef>
              <a:buFontTx/>
              <a:buNone/>
              <a:defRPr sz="3000">
                <a:latin typeface="Segoe Pro Light"/>
                <a:cs typeface="Segoe Pro Light"/>
              </a:defRPr>
            </a:lvl2pPr>
            <a:lvl3pPr marL="0" indent="0">
              <a:spcBef>
                <a:spcPts val="600"/>
              </a:spcBef>
              <a:buFontTx/>
              <a:buNone/>
              <a:defRPr sz="3000">
                <a:latin typeface="Segoe Pro Light"/>
                <a:cs typeface="Segoe Pro Light"/>
              </a:defRPr>
            </a:lvl3pPr>
            <a:lvl4pPr marL="0" indent="0">
              <a:spcBef>
                <a:spcPts val="600"/>
              </a:spcBef>
              <a:buFontTx/>
              <a:buNone/>
              <a:defRPr sz="3000">
                <a:latin typeface="Segoe Pro Light"/>
                <a:cs typeface="Segoe Pro Light"/>
              </a:defRPr>
            </a:lvl4pPr>
            <a:lvl5pPr marL="0" indent="0">
              <a:spcBef>
                <a:spcPts val="600"/>
              </a:spcBef>
              <a:buFontTx/>
              <a:buNone/>
              <a:defRPr sz="3000">
                <a:latin typeface="Segoe Pro Light"/>
                <a:cs typeface="Segoe Pro Light"/>
              </a:defRPr>
            </a:lvl5pPr>
          </a:lstStyle>
          <a:p>
            <a:pPr lvl="0"/>
            <a:r>
              <a:rPr lang="en-US" dirty="0"/>
              <a:t>4	Section Title</a:t>
            </a:r>
          </a:p>
        </p:txBody>
      </p:sp>
      <p:sp>
        <p:nvSpPr>
          <p:cNvPr id="7" name="Text Placeholder 12"/>
          <p:cNvSpPr>
            <a:spLocks noGrp="1"/>
          </p:cNvSpPr>
          <p:nvPr>
            <p:ph type="body" sz="quarter" idx="14" hasCustomPrompt="1"/>
          </p:nvPr>
        </p:nvSpPr>
        <p:spPr>
          <a:xfrm>
            <a:off x="1" y="1152525"/>
            <a:ext cx="3048000" cy="4237038"/>
          </a:xfrm>
          <a:prstGeom prst="rect">
            <a:avLst/>
          </a:prstGeom>
        </p:spPr>
        <p:txBody>
          <a:bodyPr vert="horz">
            <a:noAutofit/>
          </a:bodyPr>
          <a:lstStyle>
            <a:lvl1pPr marL="0" indent="0">
              <a:spcBef>
                <a:spcPts val="600"/>
              </a:spcBef>
              <a:buFontTx/>
              <a:buNone/>
              <a:defRPr sz="1600" baseline="0">
                <a:solidFill>
                  <a:srgbClr val="3F3F3F"/>
                </a:solidFill>
                <a:latin typeface="+mn-lt"/>
                <a:cs typeface="Segoe Pro Semibold"/>
              </a:defRPr>
            </a:lvl1pPr>
          </a:lstStyle>
          <a:p>
            <a:pPr lvl="0"/>
            <a:r>
              <a:rPr lang="en-US" dirty="0"/>
              <a:t>Enter header here.</a:t>
            </a:r>
          </a:p>
        </p:txBody>
      </p:sp>
      <p:sp>
        <p:nvSpPr>
          <p:cNvPr id="5" name="Date Placeholder 3"/>
          <p:cNvSpPr>
            <a:spLocks noGrp="1"/>
          </p:cNvSpPr>
          <p:nvPr>
            <p:ph type="dt" sz="half" idx="2"/>
          </p:nvPr>
        </p:nvSpPr>
        <p:spPr>
          <a:xfrm>
            <a:off x="0" y="6356352"/>
            <a:ext cx="2844800" cy="365125"/>
          </a:xfrm>
          <a:prstGeom prst="rect">
            <a:avLst/>
          </a:prstGeom>
        </p:spPr>
        <p:txBody>
          <a:bodyPr vert="horz" lIns="182880" tIns="45720" rIns="182880" bIns="45720" rtlCol="0" anchor="ctr"/>
          <a:lstStyle>
            <a:lvl1pPr algn="l">
              <a:defRPr sz="800">
                <a:solidFill>
                  <a:schemeClr val="bg1"/>
                </a:solidFill>
                <a:latin typeface="+mn-lt"/>
                <a:cs typeface="Segoe Pro Light"/>
              </a:defRPr>
            </a:lvl1pPr>
          </a:lstStyle>
          <a:p>
            <a:endParaRPr lang="en-US" dirty="0"/>
          </a:p>
        </p:txBody>
      </p:sp>
      <p:sp>
        <p:nvSpPr>
          <p:cNvPr id="9" name="Slide Number Placeholder 4"/>
          <p:cNvSpPr>
            <a:spLocks noGrp="1"/>
          </p:cNvSpPr>
          <p:nvPr>
            <p:ph type="sldNum" sz="quarter" idx="12"/>
          </p:nvPr>
        </p:nvSpPr>
        <p:spPr>
          <a:xfrm>
            <a:off x="8850631" y="6356351"/>
            <a:ext cx="2743200" cy="365125"/>
          </a:xfrm>
          <a:prstGeom prst="rect">
            <a:avLst/>
          </a:prstGeom>
        </p:spPr>
        <p:txBody>
          <a:bodyPr/>
          <a:lstStyle/>
          <a:p>
            <a:fld id="{AFFF257A-30C5-4AFB-911B-BE4CEEA1EA82}" type="slidenum">
              <a:rPr lang="en-US" smtClean="0"/>
              <a:t>‹#›</a:t>
            </a:fld>
            <a:endParaRPr lang="en-US"/>
          </a:p>
        </p:txBody>
      </p:sp>
    </p:spTree>
    <p:extLst>
      <p:ext uri="{BB962C8B-B14F-4D97-AF65-F5344CB8AC3E}">
        <p14:creationId xmlns:p14="http://schemas.microsoft.com/office/powerpoint/2010/main" val="207689932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Contact Page">
    <p:bg>
      <p:bgPr>
        <a:solidFill>
          <a:schemeClr val="bg1"/>
        </a:solidFill>
        <a:effectLst/>
      </p:bgPr>
    </p:bg>
    <p:spTree>
      <p:nvGrpSpPr>
        <p:cNvPr id="1" name=""/>
        <p:cNvGrpSpPr/>
        <p:nvPr/>
      </p:nvGrpSpPr>
      <p:grpSpPr>
        <a:xfrm>
          <a:off x="0" y="0"/>
          <a:ext cx="0" cy="0"/>
          <a:chOff x="0" y="0"/>
          <a:chExt cx="0" cy="0"/>
        </a:xfrm>
      </p:grpSpPr>
      <p:sp>
        <p:nvSpPr>
          <p:cNvPr id="8" name="Picture Placeholder 9"/>
          <p:cNvSpPr>
            <a:spLocks noGrp="1"/>
          </p:cNvSpPr>
          <p:nvPr>
            <p:ph type="pic" sz="quarter" idx="14"/>
          </p:nvPr>
        </p:nvSpPr>
        <p:spPr>
          <a:xfrm>
            <a:off x="0" y="0"/>
            <a:ext cx="12192000" cy="378565"/>
          </a:xfrm>
          <a:prstGeom prst="rect">
            <a:avLst/>
          </a:prstGeom>
        </p:spPr>
        <p:txBody>
          <a:bodyPr vert="horz"/>
          <a:lstStyle>
            <a:lvl1pPr>
              <a:buFontTx/>
              <a:buNone/>
              <a:defRPr sz="1400">
                <a:solidFill>
                  <a:srgbClr val="000000"/>
                </a:solidFill>
                <a:latin typeface="+mn-lt"/>
              </a:defRPr>
            </a:lvl1pPr>
          </a:lstStyle>
          <a:p>
            <a:r>
              <a:rPr lang="en-US"/>
              <a:t>Click icon to add picture</a:t>
            </a:r>
            <a:endParaRPr lang="en-US" dirty="0"/>
          </a:p>
        </p:txBody>
      </p:sp>
      <p:sp>
        <p:nvSpPr>
          <p:cNvPr id="10" name="Text Placeholder 9"/>
          <p:cNvSpPr>
            <a:spLocks noGrp="1"/>
          </p:cNvSpPr>
          <p:nvPr>
            <p:ph type="body" sz="quarter" idx="12"/>
          </p:nvPr>
        </p:nvSpPr>
        <p:spPr>
          <a:xfrm>
            <a:off x="0" y="1143000"/>
            <a:ext cx="6096000" cy="2286000"/>
          </a:xfrm>
          <a:solidFill>
            <a:srgbClr val="0A5BBA">
              <a:alpha val="90000"/>
            </a:srgb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Box 8"/>
          <p:cNvSpPr txBox="1"/>
          <p:nvPr userDrawn="1"/>
        </p:nvSpPr>
        <p:spPr>
          <a:xfrm>
            <a:off x="101601" y="6019801"/>
            <a:ext cx="11754657" cy="544380"/>
          </a:xfrm>
          <a:prstGeom prst="rect">
            <a:avLst/>
          </a:prstGeom>
          <a:noFill/>
        </p:spPr>
        <p:txBody>
          <a:bodyPr wrap="square" rtlCol="0">
            <a:spAutoFit/>
          </a:bodyPr>
          <a:lstStyle/>
          <a:p>
            <a:pPr>
              <a:lnSpc>
                <a:spcPct val="120000"/>
              </a:lnSpc>
            </a:pPr>
            <a:r>
              <a:rPr lang="en-US" sz="800" kern="1200" dirty="0">
                <a:solidFill>
                  <a:schemeClr val="tx1"/>
                </a:solidFill>
                <a:latin typeface="+mn-lt"/>
                <a:ea typeface="+mn-ea"/>
                <a:cs typeface="+mn-cs"/>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800" dirty="0">
              <a:solidFill>
                <a:schemeClr val="tx1"/>
              </a:solidFill>
            </a:endParaRPr>
          </a:p>
        </p:txBody>
      </p:sp>
    </p:spTree>
    <p:extLst>
      <p:ext uri="{BB962C8B-B14F-4D97-AF65-F5344CB8AC3E}">
        <p14:creationId xmlns:p14="http://schemas.microsoft.com/office/powerpoint/2010/main" val="139717471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264364"/>
            <a:ext cx="11653522" cy="440459"/>
          </a:xfrm>
          <a:prstGeom prst="rect">
            <a:avLst/>
          </a:prstGeom>
          <a:noFill/>
          <a:ln w="12700">
            <a:noFill/>
            <a:miter lim="800000"/>
            <a:headEnd type="none" w="sm" len="sm"/>
            <a:tailEnd type="none" w="sm" len="sm"/>
          </a:ln>
          <a:effectLst/>
        </p:spPr>
        <p:txBody>
          <a:bodyPr vert="horz" wrap="square" lIns="179208" tIns="143366" rIns="179208" bIns="143366" numCol="1" anchor="t" anchorCtr="0" compatLnSpc="1">
            <a:prstTxWarp prst="textNoShape">
              <a:avLst/>
            </a:prstTxWarp>
            <a:spAutoFit/>
          </a:bodyPr>
          <a:lstStyle/>
          <a:p>
            <a:pPr defTabSz="913397" eaLnBrk="0" hangingPunct="0">
              <a:defRPr/>
            </a:pPr>
            <a:r>
              <a:rPr lang="en-US" sz="980">
                <a:gradFill>
                  <a:gsLst>
                    <a:gs pos="0">
                      <a:srgbClr val="FFFFFF"/>
                    </a:gs>
                    <a:gs pos="100000">
                      <a:srgbClr val="FFFFFF"/>
                    </a:gs>
                  </a:gsLst>
                  <a:lin ang="5400000" scaled="0"/>
                </a:gradFill>
                <a:cs typeface="Segoe UI" pitchFamily="34" charset="0"/>
              </a:rPr>
              <a:t>© 2017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6"/>
            <a:ext cx="3223861" cy="690695"/>
          </a:xfrm>
          <a:prstGeom prst="rect">
            <a:avLst/>
          </a:prstGeom>
        </p:spPr>
      </p:pic>
    </p:spTree>
    <p:extLst>
      <p:ext uri="{BB962C8B-B14F-4D97-AF65-F5344CB8AC3E}">
        <p14:creationId xmlns:p14="http://schemas.microsoft.com/office/powerpoint/2010/main" val="1031190082"/>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Contact Page">
    <p:bg>
      <p:bgPr>
        <a:solidFill>
          <a:schemeClr val="bg1"/>
        </a:solidFill>
        <a:effectLst/>
      </p:bgPr>
    </p:bg>
    <p:spTree>
      <p:nvGrpSpPr>
        <p:cNvPr id="1" name=""/>
        <p:cNvGrpSpPr/>
        <p:nvPr/>
      </p:nvGrpSpPr>
      <p:grpSpPr>
        <a:xfrm>
          <a:off x="0" y="0"/>
          <a:ext cx="0" cy="0"/>
          <a:chOff x="0" y="0"/>
          <a:chExt cx="0" cy="0"/>
        </a:xfrm>
      </p:grpSpPr>
      <p:sp>
        <p:nvSpPr>
          <p:cNvPr id="8" name="Picture Placeholder 9"/>
          <p:cNvSpPr>
            <a:spLocks noGrp="1"/>
          </p:cNvSpPr>
          <p:nvPr>
            <p:ph type="pic" sz="quarter" idx="14"/>
          </p:nvPr>
        </p:nvSpPr>
        <p:spPr>
          <a:xfrm>
            <a:off x="0" y="0"/>
            <a:ext cx="12192000" cy="378565"/>
          </a:xfrm>
          <a:prstGeom prst="rect">
            <a:avLst/>
          </a:prstGeom>
        </p:spPr>
        <p:txBody>
          <a:bodyPr vert="horz"/>
          <a:lstStyle>
            <a:lvl1pPr>
              <a:buFontTx/>
              <a:buNone/>
              <a:defRPr sz="1400">
                <a:solidFill>
                  <a:srgbClr val="000000"/>
                </a:solidFill>
                <a:latin typeface="+mn-lt"/>
              </a:defRPr>
            </a:lvl1pPr>
          </a:lstStyle>
          <a:p>
            <a:r>
              <a:rPr lang="en-US" dirty="0"/>
              <a:t>Click icon to add picture</a:t>
            </a:r>
          </a:p>
        </p:txBody>
      </p:sp>
      <p:sp>
        <p:nvSpPr>
          <p:cNvPr id="7" name="Picture Placeholder 4"/>
          <p:cNvSpPr>
            <a:spLocks noGrp="1"/>
          </p:cNvSpPr>
          <p:nvPr>
            <p:ph type="pic" sz="quarter" idx="17"/>
          </p:nvPr>
        </p:nvSpPr>
        <p:spPr>
          <a:xfrm>
            <a:off x="10363201" y="3218"/>
            <a:ext cx="1828800" cy="3441327"/>
          </a:xfrm>
        </p:spPr>
        <p:txBody>
          <a:bodyPr/>
          <a:lstStyle>
            <a:lvl1pPr>
              <a:defRPr>
                <a:solidFill>
                  <a:srgbClr val="000000"/>
                </a:solidFill>
              </a:defRPr>
            </a:lvl1pPr>
          </a:lstStyle>
          <a:p>
            <a:r>
              <a:rPr lang="en-US"/>
              <a:t>Click icon to add picture</a:t>
            </a:r>
            <a:endParaRPr lang="en-US" dirty="0"/>
          </a:p>
        </p:txBody>
      </p:sp>
      <p:sp>
        <p:nvSpPr>
          <p:cNvPr id="9" name="Text Placeholder 9"/>
          <p:cNvSpPr>
            <a:spLocks noGrp="1"/>
          </p:cNvSpPr>
          <p:nvPr>
            <p:ph type="body" sz="quarter" idx="12"/>
          </p:nvPr>
        </p:nvSpPr>
        <p:spPr>
          <a:xfrm>
            <a:off x="6096000" y="1143000"/>
            <a:ext cx="6096000" cy="2286000"/>
          </a:xfrm>
          <a:solidFill>
            <a:srgbClr val="0A5BBA">
              <a:alpha val="90000"/>
            </a:srgb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p:cNvSpPr txBox="1"/>
          <p:nvPr userDrawn="1"/>
        </p:nvSpPr>
        <p:spPr>
          <a:xfrm>
            <a:off x="101601" y="6019801"/>
            <a:ext cx="11754657" cy="544380"/>
          </a:xfrm>
          <a:prstGeom prst="rect">
            <a:avLst/>
          </a:prstGeom>
          <a:noFill/>
        </p:spPr>
        <p:txBody>
          <a:bodyPr wrap="square" rtlCol="0">
            <a:spAutoFit/>
          </a:bodyPr>
          <a:lstStyle/>
          <a:p>
            <a:pPr>
              <a:lnSpc>
                <a:spcPct val="120000"/>
              </a:lnSpc>
            </a:pPr>
            <a:r>
              <a:rPr lang="en-US" sz="800" kern="1200" dirty="0">
                <a:solidFill>
                  <a:schemeClr val="tx1"/>
                </a:solidFill>
                <a:latin typeface="+mn-lt"/>
                <a:ea typeface="+mn-ea"/>
                <a:cs typeface="+mn-cs"/>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800" dirty="0">
              <a:solidFill>
                <a:schemeClr val="tx1"/>
              </a:solidFill>
            </a:endParaRPr>
          </a:p>
        </p:txBody>
      </p:sp>
    </p:spTree>
    <p:extLst>
      <p:ext uri="{BB962C8B-B14F-4D97-AF65-F5344CB8AC3E}">
        <p14:creationId xmlns:p14="http://schemas.microsoft.com/office/powerpoint/2010/main" val="731957838"/>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5_Contact Page">
    <p:bg>
      <p:bgPr>
        <a:solidFill>
          <a:schemeClr val="bg1"/>
        </a:solidFill>
        <a:effectLst/>
      </p:bgPr>
    </p:bg>
    <p:spTree>
      <p:nvGrpSpPr>
        <p:cNvPr id="1" name=""/>
        <p:cNvGrpSpPr/>
        <p:nvPr/>
      </p:nvGrpSpPr>
      <p:grpSpPr>
        <a:xfrm>
          <a:off x="0" y="0"/>
          <a:ext cx="0" cy="0"/>
          <a:chOff x="0" y="0"/>
          <a:chExt cx="0" cy="0"/>
        </a:xfrm>
      </p:grpSpPr>
      <p:sp>
        <p:nvSpPr>
          <p:cNvPr id="8" name="Picture Placeholder 9"/>
          <p:cNvSpPr>
            <a:spLocks noGrp="1"/>
          </p:cNvSpPr>
          <p:nvPr>
            <p:ph type="pic" sz="quarter" idx="14"/>
          </p:nvPr>
        </p:nvSpPr>
        <p:spPr>
          <a:xfrm>
            <a:off x="0" y="0"/>
            <a:ext cx="12192000" cy="378565"/>
          </a:xfrm>
          <a:prstGeom prst="rect">
            <a:avLst/>
          </a:prstGeom>
        </p:spPr>
        <p:txBody>
          <a:bodyPr vert="horz"/>
          <a:lstStyle>
            <a:lvl1pPr>
              <a:buFontTx/>
              <a:buNone/>
              <a:defRPr sz="1400">
                <a:solidFill>
                  <a:srgbClr val="000000"/>
                </a:solidFill>
                <a:latin typeface="+mn-lt"/>
              </a:defRPr>
            </a:lvl1pPr>
          </a:lstStyle>
          <a:p>
            <a:r>
              <a:rPr lang="en-US" dirty="0"/>
              <a:t>Click icon to add picture</a:t>
            </a:r>
          </a:p>
        </p:txBody>
      </p:sp>
      <p:sp>
        <p:nvSpPr>
          <p:cNvPr id="10" name="Text Placeholder 9"/>
          <p:cNvSpPr>
            <a:spLocks noGrp="1"/>
          </p:cNvSpPr>
          <p:nvPr>
            <p:ph type="body" sz="quarter" idx="12"/>
          </p:nvPr>
        </p:nvSpPr>
        <p:spPr>
          <a:xfrm>
            <a:off x="0" y="1143000"/>
            <a:ext cx="6096000" cy="2286000"/>
          </a:xfrm>
          <a:solidFill>
            <a:srgbClr val="0A5BBA">
              <a:alpha val="90000"/>
            </a:srgbClr>
          </a:solidFill>
        </p:spPr>
        <p:txBody>
          <a:bodyPr lIns="91440" tIns="91440">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Box 11"/>
          <p:cNvSpPr txBox="1"/>
          <p:nvPr userDrawn="1"/>
        </p:nvSpPr>
        <p:spPr>
          <a:xfrm>
            <a:off x="101601" y="6019801"/>
            <a:ext cx="11754657" cy="544380"/>
          </a:xfrm>
          <a:prstGeom prst="rect">
            <a:avLst/>
          </a:prstGeom>
          <a:noFill/>
        </p:spPr>
        <p:txBody>
          <a:bodyPr wrap="square" rtlCol="0">
            <a:spAutoFit/>
          </a:bodyPr>
          <a:lstStyle/>
          <a:p>
            <a:pPr>
              <a:lnSpc>
                <a:spcPct val="120000"/>
              </a:lnSpc>
            </a:pPr>
            <a:r>
              <a:rPr lang="en-US" sz="800" kern="1200" dirty="0">
                <a:solidFill>
                  <a:schemeClr val="tx1"/>
                </a:solidFill>
                <a:latin typeface="+mn-lt"/>
                <a:ea typeface="+mn-ea"/>
                <a:cs typeface="+mn-cs"/>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800" dirty="0">
              <a:solidFill>
                <a:schemeClr val="tx1"/>
              </a:solidFill>
            </a:endParaRPr>
          </a:p>
        </p:txBody>
      </p:sp>
    </p:spTree>
    <p:extLst>
      <p:ext uri="{BB962C8B-B14F-4D97-AF65-F5344CB8AC3E}">
        <p14:creationId xmlns:p14="http://schemas.microsoft.com/office/powerpoint/2010/main" val="1881774863"/>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7_Contact Page">
    <p:bg>
      <p:bgPr>
        <a:solidFill>
          <a:schemeClr val="bg1"/>
        </a:solidFill>
        <a:effectLst/>
      </p:bgPr>
    </p:bg>
    <p:spTree>
      <p:nvGrpSpPr>
        <p:cNvPr id="1" name=""/>
        <p:cNvGrpSpPr/>
        <p:nvPr/>
      </p:nvGrpSpPr>
      <p:grpSpPr>
        <a:xfrm>
          <a:off x="0" y="0"/>
          <a:ext cx="0" cy="0"/>
          <a:chOff x="0" y="0"/>
          <a:chExt cx="0" cy="0"/>
        </a:xfrm>
      </p:grpSpPr>
      <p:sp>
        <p:nvSpPr>
          <p:cNvPr id="8" name="Picture Placeholder 9"/>
          <p:cNvSpPr>
            <a:spLocks noGrp="1"/>
          </p:cNvSpPr>
          <p:nvPr>
            <p:ph type="pic" sz="quarter" idx="14"/>
          </p:nvPr>
        </p:nvSpPr>
        <p:spPr>
          <a:xfrm>
            <a:off x="0" y="0"/>
            <a:ext cx="12192000" cy="378565"/>
          </a:xfrm>
          <a:prstGeom prst="rect">
            <a:avLst/>
          </a:prstGeom>
          <a:solidFill>
            <a:schemeClr val="bg1"/>
          </a:solidFill>
        </p:spPr>
        <p:txBody>
          <a:bodyPr vert="horz"/>
          <a:lstStyle>
            <a:lvl1pPr>
              <a:buFontTx/>
              <a:buNone/>
              <a:defRPr sz="1400">
                <a:solidFill>
                  <a:srgbClr val="000000"/>
                </a:solidFill>
                <a:latin typeface="+mn-lt"/>
              </a:defRPr>
            </a:lvl1pPr>
          </a:lstStyle>
          <a:p>
            <a:r>
              <a:rPr lang="en-US"/>
              <a:t>Click icon to add picture</a:t>
            </a:r>
            <a:endParaRPr lang="en-US" dirty="0"/>
          </a:p>
        </p:txBody>
      </p:sp>
      <p:sp>
        <p:nvSpPr>
          <p:cNvPr id="9" name="Text Placeholder 9"/>
          <p:cNvSpPr>
            <a:spLocks noGrp="1"/>
          </p:cNvSpPr>
          <p:nvPr>
            <p:ph type="body" sz="quarter" idx="12"/>
          </p:nvPr>
        </p:nvSpPr>
        <p:spPr>
          <a:xfrm>
            <a:off x="6096000" y="1143000"/>
            <a:ext cx="6096000" cy="2286000"/>
          </a:xfrm>
          <a:solidFill>
            <a:srgbClr val="0A5BBA">
              <a:alpha val="90000"/>
            </a:srgbClr>
          </a:solidFill>
        </p:spPr>
        <p:txBody>
          <a:bodyPr>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Box 11"/>
          <p:cNvSpPr txBox="1"/>
          <p:nvPr userDrawn="1"/>
        </p:nvSpPr>
        <p:spPr>
          <a:xfrm>
            <a:off x="101601" y="6019801"/>
            <a:ext cx="11754657" cy="544380"/>
          </a:xfrm>
          <a:prstGeom prst="rect">
            <a:avLst/>
          </a:prstGeom>
          <a:noFill/>
        </p:spPr>
        <p:txBody>
          <a:bodyPr wrap="square" rtlCol="0">
            <a:spAutoFit/>
          </a:bodyPr>
          <a:lstStyle/>
          <a:p>
            <a:pPr>
              <a:lnSpc>
                <a:spcPct val="120000"/>
              </a:lnSpc>
            </a:pPr>
            <a:r>
              <a:rPr lang="en-US" sz="800" kern="1200" dirty="0">
                <a:solidFill>
                  <a:schemeClr val="tx1"/>
                </a:solidFill>
                <a:latin typeface="+mn-lt"/>
                <a:ea typeface="+mn-ea"/>
                <a:cs typeface="+mn-cs"/>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800" dirty="0">
              <a:solidFill>
                <a:schemeClr val="tx1"/>
              </a:solidFill>
            </a:endParaRPr>
          </a:p>
        </p:txBody>
      </p:sp>
    </p:spTree>
    <p:extLst>
      <p:ext uri="{BB962C8B-B14F-4D97-AF65-F5344CB8AC3E}">
        <p14:creationId xmlns:p14="http://schemas.microsoft.com/office/powerpoint/2010/main" val="139261900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able of Contents dark or with image">
    <p:bg>
      <p:bgPr>
        <a:solidFill>
          <a:schemeClr val="bg1">
            <a:lumMod val="75000"/>
            <a:lumOff val="25000"/>
          </a:schemeClr>
        </a:solidFill>
        <a:effectLst/>
      </p:bgPr>
    </p:bg>
    <p:spTree>
      <p:nvGrpSpPr>
        <p:cNvPr id="1" name=""/>
        <p:cNvGrpSpPr/>
        <p:nvPr/>
      </p:nvGrpSpPr>
      <p:grpSpPr>
        <a:xfrm>
          <a:off x="0" y="0"/>
          <a:ext cx="0" cy="0"/>
          <a:chOff x="0" y="0"/>
          <a:chExt cx="0" cy="0"/>
        </a:xfrm>
      </p:grpSpPr>
      <p:sp>
        <p:nvSpPr>
          <p:cNvPr id="8" name="Text Placeholder 9"/>
          <p:cNvSpPr>
            <a:spLocks noGrp="1"/>
          </p:cNvSpPr>
          <p:nvPr>
            <p:ph type="body" sz="quarter" idx="13" hasCustomPrompt="1"/>
          </p:nvPr>
        </p:nvSpPr>
        <p:spPr>
          <a:xfrm>
            <a:off x="4572000" y="1143002"/>
            <a:ext cx="7620000" cy="4246563"/>
          </a:xfrm>
          <a:prstGeom prst="rect">
            <a:avLst/>
          </a:prstGeom>
        </p:spPr>
        <p:txBody>
          <a:bodyPr vert="horz" lIns="91440" tIns="45720">
            <a:normAutofit/>
          </a:bodyPr>
          <a:lstStyle>
            <a:lvl1pPr marL="0" indent="0">
              <a:spcBef>
                <a:spcPts val="600"/>
              </a:spcBef>
              <a:buFontTx/>
              <a:buNone/>
              <a:tabLst>
                <a:tab pos="630117" algn="l"/>
              </a:tabLst>
              <a:defRPr sz="1800" baseline="0">
                <a:solidFill>
                  <a:schemeClr val="tx1"/>
                </a:solidFill>
                <a:latin typeface="Segoe UI" panose="020B0502040204020203" pitchFamily="34" charset="0"/>
                <a:cs typeface="Segoe UI" panose="020B0502040204020203" pitchFamily="34" charset="0"/>
              </a:defRPr>
            </a:lvl1pPr>
            <a:lvl2pPr marL="0" indent="0">
              <a:spcBef>
                <a:spcPts val="600"/>
              </a:spcBef>
              <a:buFontTx/>
              <a:buNone/>
              <a:defRPr sz="3000">
                <a:latin typeface="Segoe Pro Light"/>
                <a:cs typeface="Segoe Pro Light"/>
              </a:defRPr>
            </a:lvl2pPr>
            <a:lvl3pPr marL="0" indent="0">
              <a:spcBef>
                <a:spcPts val="600"/>
              </a:spcBef>
              <a:buFontTx/>
              <a:buNone/>
              <a:defRPr sz="3000">
                <a:latin typeface="Segoe Pro Light"/>
                <a:cs typeface="Segoe Pro Light"/>
              </a:defRPr>
            </a:lvl3pPr>
            <a:lvl4pPr marL="0" indent="0">
              <a:spcBef>
                <a:spcPts val="600"/>
              </a:spcBef>
              <a:buFontTx/>
              <a:buNone/>
              <a:defRPr sz="3000">
                <a:latin typeface="Segoe Pro Light"/>
                <a:cs typeface="Segoe Pro Light"/>
              </a:defRPr>
            </a:lvl4pPr>
            <a:lvl5pPr marL="0" indent="0">
              <a:spcBef>
                <a:spcPts val="600"/>
              </a:spcBef>
              <a:buFontTx/>
              <a:buNone/>
              <a:defRPr sz="3000">
                <a:latin typeface="Segoe Pro Light"/>
                <a:cs typeface="Segoe Pro Light"/>
              </a:defRPr>
            </a:lvl5pPr>
          </a:lstStyle>
          <a:p>
            <a:pPr lvl="0"/>
            <a:r>
              <a:rPr lang="en-US" dirty="0"/>
              <a:t>Section Title</a:t>
            </a:r>
          </a:p>
        </p:txBody>
      </p:sp>
      <p:sp>
        <p:nvSpPr>
          <p:cNvPr id="9" name="Text Placeholder 12"/>
          <p:cNvSpPr>
            <a:spLocks noGrp="1"/>
          </p:cNvSpPr>
          <p:nvPr>
            <p:ph type="body" sz="quarter" idx="14" hasCustomPrompt="1"/>
          </p:nvPr>
        </p:nvSpPr>
        <p:spPr>
          <a:xfrm>
            <a:off x="1" y="1152525"/>
            <a:ext cx="3048000" cy="4237038"/>
          </a:xfrm>
          <a:prstGeom prst="rect">
            <a:avLst/>
          </a:prstGeom>
        </p:spPr>
        <p:txBody>
          <a:bodyPr vert="horz">
            <a:noAutofit/>
          </a:bodyPr>
          <a:lstStyle>
            <a:lvl1pPr marL="0" indent="0">
              <a:spcBef>
                <a:spcPts val="600"/>
              </a:spcBef>
              <a:buFontTx/>
              <a:buNone/>
              <a:defRPr sz="1600" baseline="0">
                <a:solidFill>
                  <a:srgbClr val="FFFFFF"/>
                </a:solidFill>
                <a:latin typeface="+mn-lt"/>
                <a:cs typeface="Segoe Pro Semibold"/>
              </a:defRPr>
            </a:lvl1pPr>
          </a:lstStyle>
          <a:p>
            <a:pPr lvl="0"/>
            <a:r>
              <a:rPr lang="en-US" dirty="0"/>
              <a:t>Enter header here.</a:t>
            </a:r>
          </a:p>
        </p:txBody>
      </p:sp>
    </p:spTree>
    <p:extLst>
      <p:ext uri="{BB962C8B-B14F-4D97-AF65-F5344CB8AC3E}">
        <p14:creationId xmlns:p14="http://schemas.microsoft.com/office/powerpoint/2010/main" val="410599335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Graphics_without_descri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341" y="1219200"/>
            <a:ext cx="2438400" cy="2438400"/>
          </a:xfrm>
          <a:solidFill>
            <a:srgbClr val="0072C6"/>
          </a:solidFill>
        </p:spPr>
        <p:txBody>
          <a:bodyPr rIns="121917">
            <a:normAutofit/>
          </a:bodyPr>
          <a:lstStyle>
            <a:lvl1pPr>
              <a:defRPr sz="2700" baseline="0">
                <a:solidFill>
                  <a:srgbClr val="FFFFFF"/>
                </a:solidFill>
                <a:latin typeface="+mn-lt"/>
              </a:defRPr>
            </a:lvl1pPr>
          </a:lstStyle>
          <a:p>
            <a:pPr lvl="0"/>
            <a:r>
              <a:rPr lang="en-US" dirty="0"/>
              <a:t>Click to edit slide content</a:t>
            </a:r>
          </a:p>
        </p:txBody>
      </p:sp>
      <p:sp>
        <p:nvSpPr>
          <p:cNvPr id="4" name="Slide Number Placeholder 3"/>
          <p:cNvSpPr>
            <a:spLocks noGrp="1"/>
          </p:cNvSpPr>
          <p:nvPr>
            <p:ph type="sldNum" sz="quarter" idx="11"/>
          </p:nvPr>
        </p:nvSpPr>
        <p:spPr>
          <a:xfrm>
            <a:off x="8610600" y="6356351"/>
            <a:ext cx="2743200" cy="365125"/>
          </a:xfrm>
          <a:prstGeom prst="rect">
            <a:avLst/>
          </a:prstGeom>
        </p:spPr>
        <p:txBody>
          <a:bodyPr/>
          <a:lstStyle>
            <a:lvl1pPr>
              <a:defRPr>
                <a:solidFill>
                  <a:schemeClr val="tx1"/>
                </a:solidFill>
                <a:latin typeface="+mn-lt"/>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2688586645"/>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wo-tile text with graphi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a:normAutofit/>
          </a:bodyPr>
          <a:lstStyle>
            <a:lvl1pPr>
              <a:lnSpc>
                <a:spcPct val="100000"/>
              </a:lnSpc>
              <a:defRPr sz="2700">
                <a:solidFill>
                  <a:srgbClr val="FFFFFF"/>
                </a:solidFill>
              </a:defRPr>
            </a:lvl1pPr>
          </a:lstStyle>
          <a:p>
            <a:pPr lvl="0"/>
            <a:r>
              <a:rPr lang="en-US" dirty="0"/>
              <a:t>Click to edit slide content</a:t>
            </a:r>
          </a:p>
        </p:txBody>
      </p:sp>
      <p:sp>
        <p:nvSpPr>
          <p:cNvPr id="4" name="Slide Number Placeholder 3"/>
          <p:cNvSpPr>
            <a:spLocks noGrp="1"/>
          </p:cNvSpPr>
          <p:nvPr>
            <p:ph type="sldNum" sz="quarter" idx="11"/>
          </p:nvPr>
        </p:nvSpPr>
        <p:spPr>
          <a:xfrm>
            <a:off x="8610600" y="6356351"/>
            <a:ext cx="2743200" cy="365125"/>
          </a:xfrm>
          <a:prstGeom prst="rect">
            <a:avLst/>
          </a:prstGeom>
        </p:spPr>
        <p:txBody>
          <a:bodyPr/>
          <a:lstStyle>
            <a:lvl1pPr>
              <a:lnSpc>
                <a:spcPct val="120000"/>
              </a:lnSpc>
              <a:defRPr>
                <a:solidFill>
                  <a:srgbClr val="FFFFFF"/>
                </a:solidFill>
              </a:defRPr>
            </a:lvl1pPr>
          </a:lstStyle>
          <a:p>
            <a:fld id="{74A398B2-5A34-1A4A-811E-F4027282568C}" type="slidenum">
              <a:rPr lang="en-US" smtClean="0"/>
              <a:pPr/>
              <a:t>‹#›</a:t>
            </a:fld>
            <a:endParaRPr lang="en-US"/>
          </a:p>
        </p:txBody>
      </p:sp>
      <p:sp>
        <p:nvSpPr>
          <p:cNvPr id="12" name="Text Placeholder 11"/>
          <p:cNvSpPr>
            <a:spLocks noGrp="1"/>
          </p:cNvSpPr>
          <p:nvPr>
            <p:ph type="body" sz="quarter" idx="12" hasCustomPrompt="1"/>
          </p:nvPr>
        </p:nvSpPr>
        <p:spPr>
          <a:xfrm>
            <a:off x="2438400" y="1219201"/>
            <a:ext cx="4876800" cy="4875781"/>
          </a:xfrm>
          <a:solidFill>
            <a:schemeClr val="accent6"/>
          </a:solidFill>
        </p:spPr>
        <p:txBody>
          <a:bodyPr>
            <a:noAutofit/>
          </a:bodyPr>
          <a:lstStyle>
            <a:lvl1pPr>
              <a:lnSpc>
                <a:spcPct val="120000"/>
              </a:lnSpc>
              <a:defRPr sz="1900">
                <a:solidFill>
                  <a:schemeClr val="bg1"/>
                </a:solidFill>
              </a:defRPr>
            </a:lvl1pPr>
            <a:lvl2pPr>
              <a:lnSpc>
                <a:spcPct val="120000"/>
              </a:lnSpc>
              <a:defRPr sz="1900">
                <a:solidFill>
                  <a:schemeClr val="bg1"/>
                </a:solidFill>
              </a:defRPr>
            </a:lvl2pPr>
            <a:lvl3pPr>
              <a:lnSpc>
                <a:spcPct val="120000"/>
              </a:lnSpc>
              <a:defRPr sz="1900">
                <a:solidFill>
                  <a:schemeClr val="bg1"/>
                </a:solidFill>
              </a:defRPr>
            </a:lvl3pPr>
            <a:lvl4pPr>
              <a:lnSpc>
                <a:spcPct val="120000"/>
              </a:lnSpc>
              <a:defRPr sz="1900">
                <a:solidFill>
                  <a:schemeClr val="bg1"/>
                </a:solidFill>
              </a:defRPr>
            </a:lvl4pPr>
            <a:lvl5pPr>
              <a:lnSpc>
                <a:spcPct val="120000"/>
              </a:lnSpc>
              <a:defRPr sz="1900">
                <a:solidFill>
                  <a:schemeClr val="bg1"/>
                </a:solidFill>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Rectangle 4"/>
          <p:cNvSpPr/>
          <p:nvPr userDrawn="1"/>
        </p:nvSpPr>
        <p:spPr>
          <a:xfrm>
            <a:off x="7325032" y="1219200"/>
            <a:ext cx="4876800" cy="4876800"/>
          </a:xfrm>
          <a:prstGeom prst="rect">
            <a:avLst/>
          </a:prstGeom>
          <a:solidFill>
            <a:schemeClr val="bg1"/>
          </a:solidFill>
        </p:spPr>
        <p:style>
          <a:lnRef idx="1">
            <a:schemeClr val="accent1"/>
          </a:lnRef>
          <a:fillRef idx="3">
            <a:schemeClr val="accent1"/>
          </a:fillRef>
          <a:effectRef idx="2">
            <a:schemeClr val="accent1"/>
          </a:effectRef>
          <a:fontRef idx="minor">
            <a:schemeClr val="lt1"/>
          </a:fontRef>
        </p:style>
        <p:txBody>
          <a:bodyPr lIns="121900" tIns="60950" rIns="121900" bIns="60950" rtlCol="0" anchor="ctr"/>
          <a:lstStyle/>
          <a:p>
            <a:pPr algn="ctr"/>
            <a:endParaRPr lang="en-US" sz="1800"/>
          </a:p>
        </p:txBody>
      </p:sp>
    </p:spTree>
    <p:extLst>
      <p:ext uri="{BB962C8B-B14F-4D97-AF65-F5344CB8AC3E}">
        <p14:creationId xmlns:p14="http://schemas.microsoft.com/office/powerpoint/2010/main" val="241543890"/>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Large Graphic or Demo Layout">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a:xfrm>
            <a:off x="8610600" y="6356351"/>
            <a:ext cx="2743200" cy="365125"/>
          </a:xfrm>
          <a:prstGeom prst="rect">
            <a:avLst/>
          </a:prstGeom>
        </p:spPr>
        <p:txBody>
          <a:bodyPr/>
          <a:lstStyle>
            <a:lvl1pPr>
              <a:defRPr>
                <a:solidFill>
                  <a:srgbClr val="000000"/>
                </a:solidFill>
                <a:latin typeface="+mn-lt"/>
              </a:defRPr>
            </a:lvl1pPr>
          </a:lstStyle>
          <a:p>
            <a:fld id="{74A398B2-5A34-1A4A-811E-F4027282568C}" type="slidenum">
              <a:rPr lang="en-US" smtClean="0"/>
              <a:pPr/>
              <a:t>‹#›</a:t>
            </a:fld>
            <a:endParaRPr lang="en-US"/>
          </a:p>
        </p:txBody>
      </p:sp>
      <p:sp>
        <p:nvSpPr>
          <p:cNvPr id="14" name="Content Placeholder 13"/>
          <p:cNvSpPr>
            <a:spLocks noGrp="1"/>
          </p:cNvSpPr>
          <p:nvPr>
            <p:ph sz="quarter" idx="13" hasCustomPrompt="1"/>
          </p:nvPr>
        </p:nvSpPr>
        <p:spPr>
          <a:xfrm>
            <a:off x="304800" y="482600"/>
            <a:ext cx="11582400" cy="5791200"/>
          </a:xfrm>
          <a:prstGeom prst="rect">
            <a:avLst/>
          </a:prstGeom>
        </p:spPr>
        <p:txBody>
          <a:bodyPr vert="horz" lIns="243834" tIns="182875">
            <a:normAutofit/>
          </a:bodyPr>
          <a:lstStyle>
            <a:lvl1pPr marL="0" indent="0">
              <a:spcBef>
                <a:spcPts val="400"/>
              </a:spcBef>
              <a:buFontTx/>
              <a:buNone/>
              <a:defRPr sz="1900" baseline="0">
                <a:solidFill>
                  <a:srgbClr val="000000"/>
                </a:solidFill>
                <a:latin typeface="+mn-lt"/>
              </a:defRPr>
            </a:lvl1pPr>
          </a:lstStyle>
          <a:p>
            <a:pPr lvl="0"/>
            <a:r>
              <a:rPr lang="en-US" dirty="0"/>
              <a:t>Click to edit slide content</a:t>
            </a:r>
          </a:p>
        </p:txBody>
      </p:sp>
    </p:spTree>
    <p:extLst>
      <p:ext uri="{BB962C8B-B14F-4D97-AF65-F5344CB8AC3E}">
        <p14:creationId xmlns:p14="http://schemas.microsoft.com/office/powerpoint/2010/main" val="2922351432"/>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Graphics_with_descri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341" y="1219200"/>
            <a:ext cx="2438400" cy="2438400"/>
          </a:xfrm>
          <a:solidFill>
            <a:srgbClr val="0072C6"/>
          </a:solidFill>
        </p:spPr>
        <p:txBody>
          <a:bodyPr rIns="121917">
            <a:normAutofit/>
          </a:bodyPr>
          <a:lstStyle>
            <a:lvl1pPr>
              <a:defRPr sz="2700" baseline="0">
                <a:solidFill>
                  <a:srgbClr val="FFFFFF"/>
                </a:solidFill>
                <a:latin typeface="+mn-lt"/>
              </a:defRPr>
            </a:lvl1pPr>
          </a:lstStyle>
          <a:p>
            <a:pPr lvl="0"/>
            <a:r>
              <a:rPr lang="en-US" dirty="0"/>
              <a:t>Click to edit slide content</a:t>
            </a:r>
          </a:p>
        </p:txBody>
      </p:sp>
      <p:sp>
        <p:nvSpPr>
          <p:cNvPr id="4" name="Slide Number Placeholder 3"/>
          <p:cNvSpPr>
            <a:spLocks noGrp="1"/>
          </p:cNvSpPr>
          <p:nvPr>
            <p:ph type="sldNum" sz="quarter" idx="11"/>
          </p:nvPr>
        </p:nvSpPr>
        <p:spPr>
          <a:xfrm>
            <a:off x="8610600" y="6356351"/>
            <a:ext cx="2743200" cy="365125"/>
          </a:xfrm>
          <a:prstGeom prst="rect">
            <a:avLst/>
          </a:prstGeom>
        </p:spPr>
        <p:txBody>
          <a:bodyPr/>
          <a:lstStyle>
            <a:lvl1pPr>
              <a:defRPr>
                <a:solidFill>
                  <a:schemeClr val="tx1"/>
                </a:solidFill>
                <a:latin typeface="+mn-lt"/>
              </a:defRPr>
            </a:lvl1pPr>
          </a:lstStyle>
          <a:p>
            <a:fld id="{74A398B2-5A34-1A4A-811E-F4027282568C}" type="slidenum">
              <a:rPr lang="en-US" smtClean="0"/>
              <a:pPr/>
              <a:t>‹#›</a:t>
            </a:fld>
            <a:endParaRPr lang="en-US"/>
          </a:p>
        </p:txBody>
      </p:sp>
      <p:sp>
        <p:nvSpPr>
          <p:cNvPr id="7" name="Text Placeholder 6"/>
          <p:cNvSpPr>
            <a:spLocks noGrp="1"/>
          </p:cNvSpPr>
          <p:nvPr>
            <p:ph type="body" sz="quarter" idx="12"/>
          </p:nvPr>
        </p:nvSpPr>
        <p:spPr>
          <a:xfrm>
            <a:off x="9341" y="3657600"/>
            <a:ext cx="3657600" cy="3140603"/>
          </a:xfrm>
          <a:solidFill>
            <a:srgbClr val="00D8D6"/>
          </a:solidFill>
        </p:spPr>
        <p:txBody>
          <a:bodyPr/>
          <a:lstStyle>
            <a:lvl1pPr marL="0" indent="0">
              <a:buNone/>
              <a:defRPr>
                <a:solidFill>
                  <a:schemeClr val="bg1"/>
                </a:solidFill>
              </a:defRPr>
            </a:lvl1pPr>
            <a:lvl2pPr marL="302618" indent="-160832">
              <a:tabLst>
                <a:tab pos="302618" algn="l"/>
              </a:tabLst>
              <a:defRPr>
                <a:solidFill>
                  <a:schemeClr val="bg1"/>
                </a:solidFill>
              </a:defRPr>
            </a:lvl2pPr>
            <a:lvl3pPr marL="613700" indent="-201040">
              <a:defRPr>
                <a:solidFill>
                  <a:schemeClr val="bg1"/>
                </a:solidFill>
              </a:defRPr>
            </a:lvl3pPr>
            <a:lvl4pPr marL="916318" indent="-201040">
              <a:defRPr>
                <a:solidFill>
                  <a:schemeClr val="bg1"/>
                </a:solidFill>
              </a:defRPr>
            </a:lvl4pPr>
            <a:lvl5pPr marL="1218935" indent="-205273">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1157446"/>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0361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146033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900401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Insert Photo">
    <p:bg>
      <p:bgPr>
        <a:solidFill>
          <a:schemeClr val="tx1"/>
        </a:solidFill>
        <a:effectLst/>
      </p:bgPr>
    </p:bg>
    <p:spTree>
      <p:nvGrpSpPr>
        <p:cNvPr id="1" name=""/>
        <p:cNvGrpSpPr/>
        <p:nvPr/>
      </p:nvGrpSpPr>
      <p:grpSpPr>
        <a:xfrm>
          <a:off x="0" y="0"/>
          <a:ext cx="0" cy="0"/>
          <a:chOff x="0" y="0"/>
          <a:chExt cx="0" cy="0"/>
        </a:xfrm>
      </p:grpSpPr>
      <p:sp>
        <p:nvSpPr>
          <p:cNvPr id="20" name="Picture Placeholder 144"/>
          <p:cNvSpPr>
            <a:spLocks noGrp="1"/>
          </p:cNvSpPr>
          <p:nvPr>
            <p:ph type="pic" sz="quarter" idx="20" hasCustomPrompt="1"/>
          </p:nvPr>
        </p:nvSpPr>
        <p:spPr>
          <a:xfrm>
            <a:off x="0" y="1"/>
            <a:ext cx="12192000" cy="2990334"/>
          </a:xfrm>
          <a:prstGeom prst="rect">
            <a:avLst/>
          </a:prstGeom>
        </p:spPr>
        <p:txBody>
          <a:bodyPr anchor="ctr" anchorCtr="0">
            <a:noAutofit/>
          </a:bodyPr>
          <a:lstStyle>
            <a:lvl1pPr marL="0" indent="0" algn="ctr">
              <a:buNone/>
              <a:defRPr>
                <a:solidFill>
                  <a:schemeClr val="bg1"/>
                </a:solidFill>
              </a:defRPr>
            </a:lvl1pPr>
          </a:lstStyle>
          <a:p>
            <a:r>
              <a:rPr lang="en-US"/>
              <a:t>Drag picture here</a:t>
            </a:r>
          </a:p>
        </p:txBody>
      </p:sp>
      <p:sp>
        <p:nvSpPr>
          <p:cNvPr id="14" name="Rectangle 13"/>
          <p:cNvSpPr/>
          <p:nvPr userDrawn="1"/>
        </p:nvSpPr>
        <p:spPr>
          <a:xfrm>
            <a:off x="0" y="5689600"/>
            <a:ext cx="12192000" cy="1168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21" name="Title 1"/>
          <p:cNvSpPr>
            <a:spLocks noGrp="1"/>
          </p:cNvSpPr>
          <p:nvPr>
            <p:ph type="ctrTitle"/>
          </p:nvPr>
        </p:nvSpPr>
        <p:spPr>
          <a:xfrm>
            <a:off x="266529" y="3279575"/>
            <a:ext cx="3709102" cy="2190597"/>
          </a:xfrm>
          <a:prstGeom prst="rect">
            <a:avLst/>
          </a:prstGeom>
        </p:spPr>
        <p:txBody>
          <a:bodyPr lIns="0" tIns="0" rIns="0" bIns="0" anchor="t" anchorCtr="0">
            <a:noAutofit/>
          </a:bodyPr>
          <a:lstStyle>
            <a:lvl1pPr algn="l">
              <a:defRPr sz="4117" b="0">
                <a:solidFill>
                  <a:schemeClr val="bg2"/>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4341091" y="3404879"/>
            <a:ext cx="7234611" cy="2065292"/>
          </a:xfrm>
          <a:prstGeom prst="rect">
            <a:avLst/>
          </a:prstGeom>
        </p:spPr>
        <p:txBody>
          <a:bodyPr lIns="0" tIns="0" rIns="0" bIns="0">
            <a:noAutofit/>
          </a:bodyPr>
          <a:lstStyle>
            <a:lvl1pPr marL="0" indent="0">
              <a:lnSpc>
                <a:spcPts val="1800"/>
              </a:lnSpc>
              <a:buNone/>
              <a:defRPr sz="1176">
                <a:solidFill>
                  <a:schemeClr val="bg1"/>
                </a:solidFill>
                <a:latin typeface="+mn-lt"/>
              </a:defRPr>
            </a:lvl1pPr>
          </a:lstStyle>
          <a:p>
            <a:pPr lvl="0"/>
            <a:r>
              <a:rPr lang="en-US"/>
              <a:t>Click to edit Master text styles</a:t>
            </a:r>
          </a:p>
        </p:txBody>
      </p:sp>
      <p:sp>
        <p:nvSpPr>
          <p:cNvPr id="30"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049"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cxnSp>
        <p:nvCxnSpPr>
          <p:cNvPr id="31" name="Straight Connector 30"/>
          <p:cNvCxnSpPr/>
          <p:nvPr userDrawn="1"/>
        </p:nvCxnSpPr>
        <p:spPr>
          <a:xfrm>
            <a:off x="10523449" y="5914231"/>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0" name="Picture Placeholder 144"/>
          <p:cNvSpPr>
            <a:spLocks noGrp="1"/>
          </p:cNvSpPr>
          <p:nvPr>
            <p:ph type="pic" sz="quarter" idx="36" hasCustomPrompt="1"/>
          </p:nvPr>
        </p:nvSpPr>
        <p:spPr>
          <a:xfrm>
            <a:off x="202500"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a:t>Drag logo here</a:t>
            </a:r>
          </a:p>
        </p:txBody>
      </p:sp>
      <p:sp>
        <p:nvSpPr>
          <p:cNvPr id="36" name="Text Placeholder 136"/>
          <p:cNvSpPr>
            <a:spLocks noGrp="1"/>
          </p:cNvSpPr>
          <p:nvPr>
            <p:ph type="body" sz="quarter" idx="29"/>
          </p:nvPr>
        </p:nvSpPr>
        <p:spPr>
          <a:xfrm>
            <a:off x="9156939" y="6181250"/>
            <a:ext cx="988642"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lumMod val="50000"/>
                  </a:schemeClr>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37" name="Text Placeholder 136"/>
          <p:cNvSpPr>
            <a:spLocks noGrp="1"/>
          </p:cNvSpPr>
          <p:nvPr>
            <p:ph type="body" sz="quarter" idx="31"/>
          </p:nvPr>
        </p:nvSpPr>
        <p:spPr>
          <a:xfrm>
            <a:off x="6986395" y="6181251"/>
            <a:ext cx="805425"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lumMod val="50000"/>
                  </a:schemeClr>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38" name="Text Placeholder 136"/>
          <p:cNvSpPr>
            <a:spLocks noGrp="1"/>
          </p:cNvSpPr>
          <p:nvPr>
            <p:ph type="body" sz="quarter" idx="32"/>
          </p:nvPr>
        </p:nvSpPr>
        <p:spPr>
          <a:xfrm>
            <a:off x="5846351" y="6177833"/>
            <a:ext cx="879812"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lumMod val="50000"/>
                  </a:schemeClr>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42" name="Text Placeholder 136"/>
          <p:cNvSpPr>
            <a:spLocks noGrp="1"/>
          </p:cNvSpPr>
          <p:nvPr>
            <p:ph type="body" sz="quarter" idx="33"/>
          </p:nvPr>
        </p:nvSpPr>
        <p:spPr>
          <a:xfrm>
            <a:off x="4324979" y="6181251"/>
            <a:ext cx="988642"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lumMod val="50000"/>
                  </a:schemeClr>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43" name="Text Placeholder 136"/>
          <p:cNvSpPr>
            <a:spLocks noGrp="1"/>
          </p:cNvSpPr>
          <p:nvPr>
            <p:ph type="body" sz="quarter" idx="34"/>
          </p:nvPr>
        </p:nvSpPr>
        <p:spPr>
          <a:xfrm>
            <a:off x="2508043" y="6181251"/>
            <a:ext cx="1498693"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lumMod val="50000"/>
                  </a:schemeClr>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45" name="TextBox 44"/>
          <p:cNvSpPr txBox="1"/>
          <p:nvPr userDrawn="1"/>
        </p:nvSpPr>
        <p:spPr>
          <a:xfrm>
            <a:off x="2508041" y="5916409"/>
            <a:ext cx="1487548" cy="150884"/>
          </a:xfrm>
          <a:prstGeom prst="rect">
            <a:avLst/>
          </a:prstGeom>
          <a:noFill/>
        </p:spPr>
        <p:txBody>
          <a:bodyPr wrap="square" lIns="0" tIns="0" rIns="0" bIns="0" rtlCol="0">
            <a:spAutoFit/>
          </a:bodyPr>
          <a:lstStyle/>
          <a:p>
            <a:pPr defTabSz="914049">
              <a:defRPr/>
            </a:pPr>
            <a:r>
              <a:rPr lang="en-US" sz="980" b="1">
                <a:solidFill>
                  <a:schemeClr val="bg1"/>
                </a:solidFill>
              </a:rPr>
              <a:t>Products and Services</a:t>
            </a:r>
          </a:p>
        </p:txBody>
      </p:sp>
      <p:sp>
        <p:nvSpPr>
          <p:cNvPr id="46" name="TextBox 45"/>
          <p:cNvSpPr txBox="1"/>
          <p:nvPr userDrawn="1"/>
        </p:nvSpPr>
        <p:spPr>
          <a:xfrm>
            <a:off x="4320164" y="5922948"/>
            <a:ext cx="1247049" cy="150884"/>
          </a:xfrm>
          <a:prstGeom prst="rect">
            <a:avLst/>
          </a:prstGeom>
          <a:noFill/>
        </p:spPr>
        <p:txBody>
          <a:bodyPr wrap="square" lIns="0" tIns="0" rIns="0" bIns="0" rtlCol="0">
            <a:spAutoFit/>
          </a:bodyPr>
          <a:lstStyle/>
          <a:p>
            <a:pPr defTabSz="914049">
              <a:defRPr/>
            </a:pPr>
            <a:r>
              <a:rPr lang="en-US" sz="980" b="1">
                <a:solidFill>
                  <a:schemeClr val="bg1"/>
                </a:solidFill>
              </a:rPr>
              <a:t>Organization Size</a:t>
            </a:r>
          </a:p>
        </p:txBody>
      </p:sp>
      <p:sp>
        <p:nvSpPr>
          <p:cNvPr id="47" name="TextBox 46"/>
          <p:cNvSpPr txBox="1"/>
          <p:nvPr userDrawn="1"/>
        </p:nvSpPr>
        <p:spPr>
          <a:xfrm>
            <a:off x="5846351" y="5914231"/>
            <a:ext cx="988642" cy="150884"/>
          </a:xfrm>
          <a:prstGeom prst="rect">
            <a:avLst/>
          </a:prstGeom>
          <a:noFill/>
        </p:spPr>
        <p:txBody>
          <a:bodyPr wrap="square" lIns="0" tIns="0" rIns="0" bIns="0" rtlCol="0">
            <a:spAutoFit/>
          </a:bodyPr>
          <a:lstStyle/>
          <a:p>
            <a:pPr defTabSz="914049">
              <a:defRPr/>
            </a:pPr>
            <a:r>
              <a:rPr lang="en-US" sz="980" b="1">
                <a:solidFill>
                  <a:schemeClr val="bg1"/>
                </a:solidFill>
              </a:rPr>
              <a:t>Industry</a:t>
            </a:r>
          </a:p>
        </p:txBody>
      </p:sp>
      <p:sp>
        <p:nvSpPr>
          <p:cNvPr id="48" name="TextBox 47"/>
          <p:cNvSpPr txBox="1"/>
          <p:nvPr userDrawn="1"/>
        </p:nvSpPr>
        <p:spPr>
          <a:xfrm>
            <a:off x="6970278" y="5914998"/>
            <a:ext cx="988642" cy="150884"/>
          </a:xfrm>
          <a:prstGeom prst="rect">
            <a:avLst/>
          </a:prstGeom>
          <a:noFill/>
        </p:spPr>
        <p:txBody>
          <a:bodyPr wrap="square" lIns="0" tIns="0" rIns="0" bIns="0" rtlCol="0">
            <a:spAutoFit/>
          </a:bodyPr>
          <a:lstStyle/>
          <a:p>
            <a:pPr defTabSz="914049">
              <a:defRPr/>
            </a:pPr>
            <a:r>
              <a:rPr lang="en-US" sz="980" b="1">
                <a:solidFill>
                  <a:schemeClr val="bg1"/>
                </a:solidFill>
              </a:rPr>
              <a:t>Country</a:t>
            </a:r>
          </a:p>
        </p:txBody>
      </p:sp>
      <p:sp>
        <p:nvSpPr>
          <p:cNvPr id="49" name="TextBox 48"/>
          <p:cNvSpPr txBox="1"/>
          <p:nvPr userDrawn="1"/>
        </p:nvSpPr>
        <p:spPr>
          <a:xfrm>
            <a:off x="9156939" y="5924360"/>
            <a:ext cx="988642" cy="150884"/>
          </a:xfrm>
          <a:prstGeom prst="rect">
            <a:avLst/>
          </a:prstGeom>
          <a:noFill/>
        </p:spPr>
        <p:txBody>
          <a:bodyPr wrap="square" lIns="0" tIns="0" rIns="0" bIns="0" rtlCol="0">
            <a:spAutoFit/>
          </a:bodyPr>
          <a:lstStyle/>
          <a:p>
            <a:pPr defTabSz="914049">
              <a:defRPr/>
            </a:pPr>
            <a:r>
              <a:rPr lang="en-US" sz="980" b="1">
                <a:solidFill>
                  <a:schemeClr val="bg1"/>
                </a:solidFill>
              </a:rPr>
              <a:t>Business Need</a:t>
            </a:r>
          </a:p>
        </p:txBody>
      </p:sp>
      <p:sp>
        <p:nvSpPr>
          <p:cNvPr id="50" name="Text Placeholder 136"/>
          <p:cNvSpPr>
            <a:spLocks noGrp="1"/>
          </p:cNvSpPr>
          <p:nvPr>
            <p:ph type="body" sz="quarter" idx="37"/>
          </p:nvPr>
        </p:nvSpPr>
        <p:spPr>
          <a:xfrm>
            <a:off x="8109289" y="6184047"/>
            <a:ext cx="805425"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lumMod val="50000"/>
                  </a:schemeClr>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51" name="TextBox 50"/>
          <p:cNvSpPr txBox="1"/>
          <p:nvPr userDrawn="1"/>
        </p:nvSpPr>
        <p:spPr>
          <a:xfrm>
            <a:off x="8093172" y="5917794"/>
            <a:ext cx="988642" cy="150884"/>
          </a:xfrm>
          <a:prstGeom prst="rect">
            <a:avLst/>
          </a:prstGeom>
          <a:noFill/>
        </p:spPr>
        <p:txBody>
          <a:bodyPr wrap="square" lIns="0" tIns="0" rIns="0" bIns="0" rtlCol="0">
            <a:spAutoFit/>
          </a:bodyPr>
          <a:lstStyle/>
          <a:p>
            <a:pPr defTabSz="914049">
              <a:defRPr/>
            </a:pPr>
            <a:r>
              <a:rPr lang="en-US" sz="980" b="1">
                <a:solidFill>
                  <a:schemeClr val="bg1"/>
                </a:solidFill>
              </a:rPr>
              <a:t>Partner</a:t>
            </a:r>
          </a:p>
        </p:txBody>
      </p:sp>
    </p:spTree>
    <p:extLst>
      <p:ext uri="{BB962C8B-B14F-4D97-AF65-F5344CB8AC3E}">
        <p14:creationId xmlns:p14="http://schemas.microsoft.com/office/powerpoint/2010/main" val="26857101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Insert Photo">
    <p:bg>
      <p:bgPr>
        <a:solidFill>
          <a:schemeClr val="tx1"/>
        </a:solidFill>
        <a:effectLst/>
      </p:bgPr>
    </p:bg>
    <p:spTree>
      <p:nvGrpSpPr>
        <p:cNvPr id="1" name=""/>
        <p:cNvGrpSpPr/>
        <p:nvPr/>
      </p:nvGrpSpPr>
      <p:grpSpPr>
        <a:xfrm>
          <a:off x="0" y="0"/>
          <a:ext cx="0" cy="0"/>
          <a:chOff x="0" y="0"/>
          <a:chExt cx="0" cy="0"/>
        </a:xfrm>
      </p:grpSpPr>
      <p:sp>
        <p:nvSpPr>
          <p:cNvPr id="20" name="Picture Placeholder 144"/>
          <p:cNvSpPr>
            <a:spLocks noGrp="1"/>
          </p:cNvSpPr>
          <p:nvPr>
            <p:ph type="pic" sz="quarter" idx="20" hasCustomPrompt="1"/>
          </p:nvPr>
        </p:nvSpPr>
        <p:spPr>
          <a:xfrm>
            <a:off x="5918075" y="2"/>
            <a:ext cx="6273925" cy="5684621"/>
          </a:xfrm>
          <a:prstGeom prst="rect">
            <a:avLst/>
          </a:prstGeom>
        </p:spPr>
        <p:txBody>
          <a:bodyPr anchor="ctr" anchorCtr="0">
            <a:noAutofit/>
          </a:bodyPr>
          <a:lstStyle>
            <a:lvl1pPr marL="0" indent="0" algn="ctr">
              <a:buNone/>
              <a:defRPr baseline="0">
                <a:solidFill>
                  <a:schemeClr val="bg1"/>
                </a:solidFill>
              </a:defRPr>
            </a:lvl1pPr>
          </a:lstStyle>
          <a:p>
            <a:r>
              <a:rPr lang="en-US"/>
              <a:t>Drag picture here</a:t>
            </a:r>
          </a:p>
        </p:txBody>
      </p:sp>
      <p:cxnSp>
        <p:nvCxnSpPr>
          <p:cNvPr id="31" name="Straight Connector 30"/>
          <p:cNvCxnSpPr/>
          <p:nvPr userDrawn="1"/>
        </p:nvCxnSpPr>
        <p:spPr>
          <a:xfrm>
            <a:off x="13962495" y="10026652"/>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p:cNvSpPr/>
          <p:nvPr userDrawn="1"/>
        </p:nvSpPr>
        <p:spPr>
          <a:xfrm>
            <a:off x="0" y="5689600"/>
            <a:ext cx="12192000" cy="1168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26"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049"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solidFill>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cxnSp>
        <p:nvCxnSpPr>
          <p:cNvPr id="27" name="Straight Connector 26"/>
          <p:cNvCxnSpPr/>
          <p:nvPr userDrawn="1"/>
        </p:nvCxnSpPr>
        <p:spPr>
          <a:xfrm>
            <a:off x="10523604" y="5930902"/>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Picture Placeholder 144"/>
          <p:cNvSpPr>
            <a:spLocks noGrp="1"/>
          </p:cNvSpPr>
          <p:nvPr>
            <p:ph type="pic" sz="quarter" idx="36" hasCustomPrompt="1"/>
          </p:nvPr>
        </p:nvSpPr>
        <p:spPr>
          <a:xfrm>
            <a:off x="202500"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a:t>Drag logo here</a:t>
            </a:r>
          </a:p>
        </p:txBody>
      </p:sp>
      <p:sp>
        <p:nvSpPr>
          <p:cNvPr id="54" name="Text Placeholder 136"/>
          <p:cNvSpPr>
            <a:spLocks noGrp="1"/>
          </p:cNvSpPr>
          <p:nvPr>
            <p:ph type="body" sz="quarter" idx="29"/>
          </p:nvPr>
        </p:nvSpPr>
        <p:spPr>
          <a:xfrm>
            <a:off x="9156939" y="6181250"/>
            <a:ext cx="988642"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55" name="Text Placeholder 136"/>
          <p:cNvSpPr>
            <a:spLocks noGrp="1"/>
          </p:cNvSpPr>
          <p:nvPr>
            <p:ph type="body" sz="quarter" idx="31"/>
          </p:nvPr>
        </p:nvSpPr>
        <p:spPr>
          <a:xfrm>
            <a:off x="6986395" y="6181251"/>
            <a:ext cx="805425"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56" name="Text Placeholder 136"/>
          <p:cNvSpPr>
            <a:spLocks noGrp="1"/>
          </p:cNvSpPr>
          <p:nvPr>
            <p:ph type="body" sz="quarter" idx="32"/>
          </p:nvPr>
        </p:nvSpPr>
        <p:spPr>
          <a:xfrm>
            <a:off x="5846351" y="6177833"/>
            <a:ext cx="879812"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57" name="Text Placeholder 136"/>
          <p:cNvSpPr>
            <a:spLocks noGrp="1"/>
          </p:cNvSpPr>
          <p:nvPr>
            <p:ph type="body" sz="quarter" idx="33"/>
          </p:nvPr>
        </p:nvSpPr>
        <p:spPr>
          <a:xfrm>
            <a:off x="4324979" y="6181251"/>
            <a:ext cx="988642"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58" name="Text Placeholder 136"/>
          <p:cNvSpPr>
            <a:spLocks noGrp="1"/>
          </p:cNvSpPr>
          <p:nvPr>
            <p:ph type="body" sz="quarter" idx="34"/>
          </p:nvPr>
        </p:nvSpPr>
        <p:spPr>
          <a:xfrm>
            <a:off x="2508043" y="6181251"/>
            <a:ext cx="1498693"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60" name="TextBox 59"/>
          <p:cNvSpPr txBox="1"/>
          <p:nvPr userDrawn="1"/>
        </p:nvSpPr>
        <p:spPr>
          <a:xfrm>
            <a:off x="2508041" y="5916409"/>
            <a:ext cx="1487548" cy="150884"/>
          </a:xfrm>
          <a:prstGeom prst="rect">
            <a:avLst/>
          </a:prstGeom>
          <a:noFill/>
        </p:spPr>
        <p:txBody>
          <a:bodyPr wrap="square" lIns="0" tIns="0" rIns="0" bIns="0" rtlCol="0">
            <a:spAutoFit/>
          </a:bodyPr>
          <a:lstStyle/>
          <a:p>
            <a:pPr defTabSz="914049">
              <a:defRPr/>
            </a:pPr>
            <a:r>
              <a:rPr lang="en-US" sz="980" b="1">
                <a:solidFill>
                  <a:schemeClr val="bg1"/>
                </a:solidFill>
              </a:rPr>
              <a:t>Products and Services</a:t>
            </a:r>
          </a:p>
        </p:txBody>
      </p:sp>
      <p:sp>
        <p:nvSpPr>
          <p:cNvPr id="61" name="TextBox 60"/>
          <p:cNvSpPr txBox="1"/>
          <p:nvPr userDrawn="1"/>
        </p:nvSpPr>
        <p:spPr>
          <a:xfrm>
            <a:off x="4320164" y="5922948"/>
            <a:ext cx="1247049" cy="150884"/>
          </a:xfrm>
          <a:prstGeom prst="rect">
            <a:avLst/>
          </a:prstGeom>
          <a:noFill/>
        </p:spPr>
        <p:txBody>
          <a:bodyPr wrap="square" lIns="0" tIns="0" rIns="0" bIns="0" rtlCol="0">
            <a:spAutoFit/>
          </a:bodyPr>
          <a:lstStyle/>
          <a:p>
            <a:pPr defTabSz="914049">
              <a:defRPr/>
            </a:pPr>
            <a:r>
              <a:rPr lang="en-US" sz="980" b="1">
                <a:solidFill>
                  <a:schemeClr val="bg1"/>
                </a:solidFill>
              </a:rPr>
              <a:t>Organization Size</a:t>
            </a:r>
          </a:p>
        </p:txBody>
      </p:sp>
      <p:sp>
        <p:nvSpPr>
          <p:cNvPr id="62" name="TextBox 61"/>
          <p:cNvSpPr txBox="1"/>
          <p:nvPr userDrawn="1"/>
        </p:nvSpPr>
        <p:spPr>
          <a:xfrm>
            <a:off x="5846351" y="5914231"/>
            <a:ext cx="988642" cy="150884"/>
          </a:xfrm>
          <a:prstGeom prst="rect">
            <a:avLst/>
          </a:prstGeom>
          <a:noFill/>
        </p:spPr>
        <p:txBody>
          <a:bodyPr wrap="square" lIns="0" tIns="0" rIns="0" bIns="0" rtlCol="0">
            <a:spAutoFit/>
          </a:bodyPr>
          <a:lstStyle/>
          <a:p>
            <a:pPr defTabSz="914049">
              <a:defRPr/>
            </a:pPr>
            <a:r>
              <a:rPr lang="en-US" sz="980" b="1">
                <a:solidFill>
                  <a:schemeClr val="bg1"/>
                </a:solidFill>
              </a:rPr>
              <a:t>Industry</a:t>
            </a:r>
          </a:p>
        </p:txBody>
      </p:sp>
      <p:sp>
        <p:nvSpPr>
          <p:cNvPr id="63" name="TextBox 62"/>
          <p:cNvSpPr txBox="1"/>
          <p:nvPr userDrawn="1"/>
        </p:nvSpPr>
        <p:spPr>
          <a:xfrm>
            <a:off x="6970278" y="5914998"/>
            <a:ext cx="988642" cy="150884"/>
          </a:xfrm>
          <a:prstGeom prst="rect">
            <a:avLst/>
          </a:prstGeom>
          <a:noFill/>
        </p:spPr>
        <p:txBody>
          <a:bodyPr wrap="square" lIns="0" tIns="0" rIns="0" bIns="0" rtlCol="0">
            <a:spAutoFit/>
          </a:bodyPr>
          <a:lstStyle/>
          <a:p>
            <a:pPr defTabSz="914049">
              <a:defRPr/>
            </a:pPr>
            <a:r>
              <a:rPr lang="en-US" sz="980" b="1">
                <a:solidFill>
                  <a:schemeClr val="bg1"/>
                </a:solidFill>
              </a:rPr>
              <a:t>Country</a:t>
            </a:r>
          </a:p>
        </p:txBody>
      </p:sp>
      <p:sp>
        <p:nvSpPr>
          <p:cNvPr id="64" name="TextBox 63"/>
          <p:cNvSpPr txBox="1"/>
          <p:nvPr userDrawn="1"/>
        </p:nvSpPr>
        <p:spPr>
          <a:xfrm>
            <a:off x="9156939" y="5924360"/>
            <a:ext cx="988642" cy="150884"/>
          </a:xfrm>
          <a:prstGeom prst="rect">
            <a:avLst/>
          </a:prstGeom>
          <a:noFill/>
        </p:spPr>
        <p:txBody>
          <a:bodyPr wrap="square" lIns="0" tIns="0" rIns="0" bIns="0" rtlCol="0">
            <a:spAutoFit/>
          </a:bodyPr>
          <a:lstStyle/>
          <a:p>
            <a:pPr defTabSz="914049">
              <a:defRPr/>
            </a:pPr>
            <a:r>
              <a:rPr lang="en-US" sz="980" b="1">
                <a:solidFill>
                  <a:schemeClr val="bg1"/>
                </a:solidFill>
              </a:rPr>
              <a:t>Business Need</a:t>
            </a:r>
          </a:p>
        </p:txBody>
      </p:sp>
      <p:sp>
        <p:nvSpPr>
          <p:cNvPr id="65" name="Text Placeholder 136"/>
          <p:cNvSpPr>
            <a:spLocks noGrp="1"/>
          </p:cNvSpPr>
          <p:nvPr>
            <p:ph type="body" sz="quarter" idx="37"/>
          </p:nvPr>
        </p:nvSpPr>
        <p:spPr>
          <a:xfrm>
            <a:off x="8109289" y="6184047"/>
            <a:ext cx="805425"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66" name="TextBox 65"/>
          <p:cNvSpPr txBox="1"/>
          <p:nvPr userDrawn="1"/>
        </p:nvSpPr>
        <p:spPr>
          <a:xfrm>
            <a:off x="8093172" y="5917794"/>
            <a:ext cx="988642" cy="150884"/>
          </a:xfrm>
          <a:prstGeom prst="rect">
            <a:avLst/>
          </a:prstGeom>
          <a:noFill/>
        </p:spPr>
        <p:txBody>
          <a:bodyPr wrap="square" lIns="0" tIns="0" rIns="0" bIns="0" rtlCol="0">
            <a:spAutoFit/>
          </a:bodyPr>
          <a:lstStyle/>
          <a:p>
            <a:pPr defTabSz="914049">
              <a:defRPr/>
            </a:pPr>
            <a:r>
              <a:rPr lang="en-US" sz="980" b="1">
                <a:solidFill>
                  <a:schemeClr val="bg1"/>
                </a:solidFill>
              </a:rPr>
              <a:t>Partner</a:t>
            </a:r>
          </a:p>
        </p:txBody>
      </p:sp>
      <p:sp>
        <p:nvSpPr>
          <p:cNvPr id="23" name="Title 1">
            <a:extLst>
              <a:ext uri="{FF2B5EF4-FFF2-40B4-BE49-F238E27FC236}">
                <a16:creationId xmlns:a16="http://schemas.microsoft.com/office/drawing/2014/main" id="{406CEFA2-D75A-4CE6-BA46-E53CCEDA9F9B}"/>
              </a:ext>
            </a:extLst>
          </p:cNvPr>
          <p:cNvSpPr>
            <a:spLocks noGrp="1"/>
          </p:cNvSpPr>
          <p:nvPr>
            <p:ph type="title"/>
          </p:nvPr>
        </p:nvSpPr>
        <p:spPr>
          <a:xfrm>
            <a:off x="269239" y="179310"/>
            <a:ext cx="9539915" cy="756465"/>
          </a:xfrm>
        </p:spPr>
        <p:txBody>
          <a:bodyPr lIns="0" tIns="91440" rIns="0" bIns="0"/>
          <a:lstStyle>
            <a:lvl1pPr>
              <a:lnSpc>
                <a:spcPct val="100000"/>
              </a:lnSpc>
              <a:spcBef>
                <a:spcPts val="588"/>
              </a:spcBef>
              <a:spcAft>
                <a:spcPts val="588"/>
              </a:spcAft>
              <a:defRPr sz="4117">
                <a:solidFill>
                  <a:schemeClr val="bg2"/>
                </a:solidFill>
                <a:latin typeface="+mj-lt"/>
              </a:defRPr>
            </a:lvl1pPr>
          </a:lstStyle>
          <a:p>
            <a:r>
              <a:rPr lang="en-US"/>
              <a:t>Click to edit Master title style</a:t>
            </a:r>
          </a:p>
        </p:txBody>
      </p:sp>
      <p:sp>
        <p:nvSpPr>
          <p:cNvPr id="25" name="Text Placeholder 3">
            <a:extLst>
              <a:ext uri="{FF2B5EF4-FFF2-40B4-BE49-F238E27FC236}">
                <a16:creationId xmlns:a16="http://schemas.microsoft.com/office/drawing/2014/main" id="{A57ED63D-AA42-47CA-955E-2EC48430EA4F}"/>
              </a:ext>
            </a:extLst>
          </p:cNvPr>
          <p:cNvSpPr>
            <a:spLocks noGrp="1"/>
          </p:cNvSpPr>
          <p:nvPr>
            <p:ph type="body" sz="quarter" idx="10"/>
          </p:nvPr>
        </p:nvSpPr>
        <p:spPr>
          <a:xfrm>
            <a:off x="269240" y="1189178"/>
            <a:ext cx="11653523" cy="2356691"/>
          </a:xfrm>
        </p:spPr>
        <p:txBody>
          <a:bodyPr>
            <a:spAutoFit/>
          </a:bodyPr>
          <a:lstStyle>
            <a:lvl1pPr>
              <a:lnSpc>
                <a:spcPct val="95000"/>
              </a:lnSpc>
              <a:spcBef>
                <a:spcPts val="588"/>
              </a:spcBef>
              <a:spcAft>
                <a:spcPts val="588"/>
              </a:spcAft>
              <a:defRPr sz="3528">
                <a:solidFill>
                  <a:schemeClr val="bg1"/>
                </a:solidFill>
              </a:defRPr>
            </a:lvl1pPr>
            <a:lvl2pPr>
              <a:lnSpc>
                <a:spcPct val="95000"/>
              </a:lnSpc>
              <a:spcBef>
                <a:spcPts val="588"/>
              </a:spcBef>
              <a:spcAft>
                <a:spcPts val="588"/>
              </a:spcAft>
              <a:defRPr>
                <a:solidFill>
                  <a:schemeClr val="bg1"/>
                </a:solidFill>
              </a:defRPr>
            </a:lvl2pPr>
            <a:lvl3pPr>
              <a:lnSpc>
                <a:spcPct val="95000"/>
              </a:lnSpc>
              <a:spcBef>
                <a:spcPts val="588"/>
              </a:spcBef>
              <a:spcAft>
                <a:spcPts val="588"/>
              </a:spcAft>
              <a:defRPr>
                <a:solidFill>
                  <a:schemeClr val="bg1"/>
                </a:solidFill>
              </a:defRPr>
            </a:lvl3pPr>
            <a:lvl4pPr>
              <a:lnSpc>
                <a:spcPct val="95000"/>
              </a:lnSpc>
              <a:spcBef>
                <a:spcPts val="588"/>
              </a:spcBef>
              <a:spcAft>
                <a:spcPts val="588"/>
              </a:spcAft>
              <a:defRPr>
                <a:solidFill>
                  <a:schemeClr val="bg1"/>
                </a:solidFill>
              </a:defRPr>
            </a:lvl4pPr>
            <a:lvl5pPr marL="0" indent="0">
              <a:lnSpc>
                <a:spcPct val="95000"/>
              </a:lnSpc>
              <a:spcBef>
                <a:spcPts val="588"/>
              </a:spcBef>
              <a:spcAft>
                <a:spcPts val="588"/>
              </a:spcAft>
              <a:buNone/>
              <a:defRPr sz="117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49683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143285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solidFill>
                  <a:schemeClr val="tx1"/>
                </a:solidFill>
              </a:defRPr>
            </a:lvl1pPr>
          </a:lstStyle>
          <a:p>
            <a:r>
              <a:rPr lang="en-US"/>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solidFill>
                  <a:schemeClr val="tx1"/>
                </a:solidFill>
                <a:latin typeface="+mj-lt"/>
              </a:defRPr>
            </a:lvl1pPr>
          </a:lstStyle>
          <a:p>
            <a:pPr lvl="0"/>
            <a:r>
              <a:rPr lang="en-US"/>
              <a:t>Speaker Name</a:t>
            </a:r>
          </a:p>
        </p:txBody>
      </p:sp>
      <p:pic>
        <p:nvPicPr>
          <p:cNvPr id="7" name="Picture 6">
            <a:extLst>
              <a:ext uri="{FF2B5EF4-FFF2-40B4-BE49-F238E27FC236}">
                <a16:creationId xmlns:a16="http://schemas.microsoft.com/office/drawing/2014/main" id="{150AB176-51D8-4F62-99AE-0733A8959B7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950182"/>
            <a:ext cx="2025444" cy="907818"/>
          </a:xfrm>
          <a:prstGeom prst="rect">
            <a:avLst/>
          </a:prstGeom>
        </p:spPr>
      </p:pic>
    </p:spTree>
    <p:extLst>
      <p:ext uri="{BB962C8B-B14F-4D97-AF65-F5344CB8AC3E}">
        <p14:creationId xmlns:p14="http://schemas.microsoft.com/office/powerpoint/2010/main" val="1570843953"/>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89648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451929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89648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6123775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1962717"/>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097724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89648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1502610"/>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1962717"/>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824177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787797"/>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787797"/>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25259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787797"/>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787797"/>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636436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8"/>
            <a:ext cx="5378548" cy="1854162"/>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8"/>
            <a:ext cx="5378548" cy="1854162"/>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021964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8"/>
            <a:ext cx="5378548" cy="1854162"/>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8"/>
            <a:ext cx="5378548" cy="1854162"/>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264591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4760710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270220"/>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779334361"/>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270220"/>
          </a:xfrm>
          <a:noFill/>
        </p:spPr>
        <p:txBody>
          <a:bodyPr tIns="91440" bIns="91440" anchor="t" anchorCtr="0">
            <a:spAutoFit/>
          </a:bodyPr>
          <a:lstStyle>
            <a:lvl1pPr>
              <a:defRPr lang="en-US" sz="7054"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335742773"/>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270220"/>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910484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408853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08536"/>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2351149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25292904"/>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751"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867691"/>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053073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alkin (event name)">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11" y="-312"/>
            <a:ext cx="12191377" cy="6858623"/>
          </a:xfrm>
          <a:prstGeom prst="rect">
            <a:avLst/>
          </a:prstGeom>
        </p:spPr>
      </p:pic>
      <p:pic>
        <p:nvPicPr>
          <p:cNvPr id="6" name="MS logo white - EMF"/>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bwMode="white">
          <a:xfrm>
            <a:off x="451632" y="470067"/>
            <a:ext cx="1423303" cy="304828"/>
          </a:xfrm>
          <a:prstGeom prst="rect">
            <a:avLst/>
          </a:prstGeom>
        </p:spPr>
      </p:pic>
      <p:pic>
        <p:nvPicPr>
          <p:cNvPr id="7" name="Picture 6"/>
          <p:cNvPicPr>
            <a:picLocks noChangeAspect="1"/>
          </p:cNvPicPr>
          <p:nvPr userDrawn="1"/>
        </p:nvPicPr>
        <p:blipFill>
          <a:blip r:embed="rId4"/>
          <a:stretch>
            <a:fillRect/>
          </a:stretch>
        </p:blipFill>
        <p:spPr>
          <a:xfrm>
            <a:off x="409135" y="4234751"/>
            <a:ext cx="4552746" cy="1793084"/>
          </a:xfrm>
          <a:prstGeom prst="rect">
            <a:avLst/>
          </a:prstGeom>
        </p:spPr>
      </p:pic>
    </p:spTree>
    <p:extLst>
      <p:ext uri="{BB962C8B-B14F-4D97-AF65-F5344CB8AC3E}">
        <p14:creationId xmlns:p14="http://schemas.microsoft.com/office/powerpoint/2010/main" val="31779276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
        <p:nvSpPr>
          <p:cNvPr id="3" name="Text Placeholder 2"/>
          <p:cNvSpPr>
            <a:spLocks noGrp="1"/>
          </p:cNvSpPr>
          <p:nvPr>
            <p:ph type="body" sz="quarter" idx="13" hasCustomPrompt="1"/>
          </p:nvPr>
        </p:nvSpPr>
        <p:spPr>
          <a:xfrm>
            <a:off x="7440638" y="291069"/>
            <a:ext cx="4482124" cy="506972"/>
          </a:xfrm>
        </p:spPr>
        <p:txBody>
          <a:bodyPr/>
          <a:lstStyle>
            <a:lvl1pPr marL="0" indent="0" algn="r">
              <a:buNone/>
              <a:defRPr sz="2353">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ession code</a:t>
            </a:r>
          </a:p>
        </p:txBody>
      </p:sp>
    </p:spTree>
    <p:extLst>
      <p:ext uri="{BB962C8B-B14F-4D97-AF65-F5344CB8AC3E}">
        <p14:creationId xmlns:p14="http://schemas.microsoft.com/office/powerpoint/2010/main" val="22805657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0040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9585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1999186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896825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59975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659545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509B-61B4-40F9-875D-A93F57416A85}"/>
              </a:ext>
            </a:extLst>
          </p:cNvPr>
          <p:cNvSpPr>
            <a:spLocks noGrp="1"/>
          </p:cNvSpPr>
          <p:nvPr>
            <p:ph type="title"/>
          </p:nvPr>
        </p:nvSpPr>
        <p:spPr>
          <a:xfrm>
            <a:off x="1" y="1"/>
            <a:ext cx="11925080" cy="756465"/>
          </a:xfrm>
        </p:spPr>
        <p:txBody>
          <a:bodyPr lIns="91440" tIns="91440" rIns="0"/>
          <a:lstStyle>
            <a:lvl1pPr>
              <a:defRPr sz="2157">
                <a:solidFill>
                  <a:schemeClr val="bg2"/>
                </a:solidFill>
                <a:latin typeface="+mn-lt"/>
              </a:defRPr>
            </a:lvl1pPr>
          </a:lstStyle>
          <a:p>
            <a:r>
              <a:rPr lang="en-US"/>
              <a:t>Click to edit Master title style</a:t>
            </a:r>
          </a:p>
        </p:txBody>
      </p:sp>
      <p:sp>
        <p:nvSpPr>
          <p:cNvPr id="4" name="Rectangle 3">
            <a:extLst>
              <a:ext uri="{FF2B5EF4-FFF2-40B4-BE49-F238E27FC236}">
                <a16:creationId xmlns:a16="http://schemas.microsoft.com/office/drawing/2014/main" id="{FF57A33A-3D8F-4CA0-9CBC-4D552F0603A6}"/>
              </a:ext>
            </a:extLst>
          </p:cNvPr>
          <p:cNvSpPr/>
          <p:nvPr userDrawn="1"/>
        </p:nvSpPr>
        <p:spPr>
          <a:xfrm>
            <a:off x="10665090" y="6597848"/>
            <a:ext cx="1353368" cy="233871"/>
          </a:xfrm>
          <a:prstGeom prst="rect">
            <a:avLst/>
          </a:prstGeom>
        </p:spPr>
        <p:txBody>
          <a:bodyPr wrap="none">
            <a:spAutoFit/>
          </a:bodyPr>
          <a:lstStyle/>
          <a:p>
            <a:pPr algn="r"/>
            <a:r>
              <a:rPr lang="en-US" sz="931">
                <a:solidFill>
                  <a:schemeClr val="bg1"/>
                </a:solidFill>
                <a:effectLst/>
                <a:latin typeface="Segoe UI" panose="020B0502040204020203" pitchFamily="34" charset="0"/>
                <a:ea typeface="PMingLiU" panose="02020500000000000000" pitchFamily="18" charset="-120"/>
                <a:cs typeface="Segoe UI" panose="020B0502040204020203" pitchFamily="34" charset="0"/>
              </a:rPr>
              <a:t>Microsoft Confidential</a:t>
            </a:r>
            <a:endParaRPr lang="en-US" sz="931">
              <a:solidFill>
                <a:schemeClr val="bg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89090331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8256905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90020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656672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62631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artner outcome layout 1">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377" y="0"/>
            <a:ext cx="12191623" cy="6858000"/>
          </a:xfrm>
          <a:prstGeom prst="rect">
            <a:avLst/>
          </a:prstGeom>
        </p:spPr>
      </p:pic>
      <p:sp>
        <p:nvSpPr>
          <p:cNvPr id="3" name="Rectangle 2"/>
          <p:cNvSpPr/>
          <p:nvPr userDrawn="1"/>
        </p:nvSpPr>
        <p:spPr bwMode="auto">
          <a:xfrm>
            <a:off x="269303" y="1815225"/>
            <a:ext cx="6277778" cy="3317242"/>
          </a:xfrm>
          <a:prstGeom prst="rect">
            <a:avLst/>
          </a:prstGeom>
          <a:solidFill>
            <a:schemeClr val="accent3">
              <a:alpha val="92000"/>
            </a:schemeClr>
          </a:solidFill>
          <a:ln w="9525" cap="flat" cmpd="sng" algn="ctr">
            <a:noFill/>
            <a:prstDash val="solid"/>
            <a:headEnd type="none" w="med" len="med"/>
            <a:tailEnd type="none" w="med" len="med"/>
          </a:ln>
          <a:effectLst/>
        </p:spPr>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3921" b="0" i="0" u="none" strike="noStrike" kern="1200" cap="none" spc="-98" normalizeH="0" baseline="0" noProof="0" dirty="0">
              <a:ln w="3175">
                <a:noFill/>
              </a:ln>
              <a:gradFill>
                <a:gsLst>
                  <a:gs pos="5833">
                    <a:srgbClr val="FFFFFF"/>
                  </a:gs>
                  <a:gs pos="100000">
                    <a:srgbClr val="FFFFFF"/>
                  </a:gs>
                </a:gsLst>
                <a:lin ang="5400000" scaled="0"/>
              </a:gradFill>
              <a:effectLst/>
              <a:uLnTx/>
              <a:uFillTx/>
              <a:latin typeface="Segoe UI Light"/>
              <a:ea typeface="+mn-ea"/>
              <a:cs typeface="Segoe UI" pitchFamily="34" charset="0"/>
            </a:endParaRPr>
          </a:p>
        </p:txBody>
      </p:sp>
      <p:sp>
        <p:nvSpPr>
          <p:cNvPr id="5" name="Text Placeholder 4"/>
          <p:cNvSpPr>
            <a:spLocks noGrp="1"/>
          </p:cNvSpPr>
          <p:nvPr>
            <p:ph type="body" sz="quarter" idx="10"/>
          </p:nvPr>
        </p:nvSpPr>
        <p:spPr>
          <a:xfrm>
            <a:off x="269240" y="1814895"/>
            <a:ext cx="6278086" cy="3317572"/>
          </a:xfrm>
        </p:spPr>
        <p:txBody>
          <a:bodyPr lIns="182880" tIns="146304" rIns="182880" bIns="146304">
            <a:noAutofit/>
          </a:bodyPr>
          <a:lstStyle>
            <a:lvl1pPr marL="0" indent="0">
              <a:buNone/>
              <a:defRPr sz="3921"/>
            </a:lvl1pPr>
          </a:lstStyle>
          <a:p>
            <a:pPr lvl="0"/>
            <a:r>
              <a:rPr lang="en-US"/>
              <a:t>Edit Master text styles</a:t>
            </a:r>
          </a:p>
        </p:txBody>
      </p:sp>
    </p:spTree>
    <p:extLst>
      <p:ext uri="{BB962C8B-B14F-4D97-AF65-F5344CB8AC3E}">
        <p14:creationId xmlns:p14="http://schemas.microsoft.com/office/powerpoint/2010/main" val="9244164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artner outcome layout 2">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Rectangle 2"/>
          <p:cNvSpPr/>
          <p:nvPr userDrawn="1"/>
        </p:nvSpPr>
        <p:spPr bwMode="auto">
          <a:xfrm>
            <a:off x="5647787" y="291069"/>
            <a:ext cx="6274974" cy="3317242"/>
          </a:xfrm>
          <a:prstGeom prst="rect">
            <a:avLst/>
          </a:prstGeom>
          <a:solidFill>
            <a:schemeClr val="accent3">
              <a:alpha val="92000"/>
            </a:schemeClr>
          </a:solidFill>
          <a:ln w="9525" cap="flat" cmpd="sng" algn="ctr">
            <a:noFill/>
            <a:prstDash val="solid"/>
            <a:headEnd type="none" w="med" len="med"/>
            <a:tailEnd type="none" w="med" len="med"/>
          </a:ln>
          <a:effectLst/>
        </p:spPr>
        <p:txBody>
          <a:bodyPr rot="0" spcFirstLastPara="0" vertOverflow="overflow" horzOverflow="overflow" vert="horz" wrap="square" lIns="45722" tIns="45722" rIns="45722" bIns="45722" numCol="1" spcCol="0" rtlCol="0" fromWordArt="0" anchor="b"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078" b="0" i="0" u="none" strike="noStrike" kern="0" cap="none" spc="-7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 name="Text Placeholder 4"/>
          <p:cNvSpPr>
            <a:spLocks noGrp="1"/>
          </p:cNvSpPr>
          <p:nvPr>
            <p:ph type="body" sz="quarter" idx="10"/>
          </p:nvPr>
        </p:nvSpPr>
        <p:spPr>
          <a:xfrm>
            <a:off x="5644675" y="291068"/>
            <a:ext cx="6278086" cy="3317572"/>
          </a:xfrm>
        </p:spPr>
        <p:txBody>
          <a:bodyPr lIns="182880" tIns="146304" rIns="182880" bIns="146304">
            <a:noAutofit/>
          </a:bodyPr>
          <a:lstStyle>
            <a:lvl1pPr marL="0" indent="0">
              <a:buNone/>
              <a:defRPr sz="3921"/>
            </a:lvl1pPr>
          </a:lstStyle>
          <a:p>
            <a:pPr lvl="0"/>
            <a:r>
              <a:rPr lang="en-US"/>
              <a:t>Edit Master text styles</a:t>
            </a:r>
          </a:p>
        </p:txBody>
      </p:sp>
    </p:spTree>
    <p:extLst>
      <p:ext uri="{BB962C8B-B14F-4D97-AF65-F5344CB8AC3E}">
        <p14:creationId xmlns:p14="http://schemas.microsoft.com/office/powerpoint/2010/main" val="5139434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artner outcome layout 3">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 y="0"/>
            <a:ext cx="12706836" cy="6858000"/>
          </a:xfrm>
          <a:prstGeom prst="rect">
            <a:avLst/>
          </a:prstGeom>
        </p:spPr>
      </p:pic>
      <p:sp>
        <p:nvSpPr>
          <p:cNvPr id="3" name="Rectangle 2"/>
          <p:cNvSpPr/>
          <p:nvPr userDrawn="1"/>
        </p:nvSpPr>
        <p:spPr bwMode="auto">
          <a:xfrm>
            <a:off x="269239" y="291069"/>
            <a:ext cx="6274974" cy="3317242"/>
          </a:xfrm>
          <a:prstGeom prst="rect">
            <a:avLst/>
          </a:prstGeom>
          <a:solidFill>
            <a:schemeClr val="accent3">
              <a:alpha val="92000"/>
            </a:schemeClr>
          </a:solidFill>
          <a:ln w="9525" cap="flat" cmpd="sng" algn="ctr">
            <a:noFill/>
            <a:prstDash val="solid"/>
            <a:headEnd type="none" w="med" len="med"/>
            <a:tailEnd type="none" w="med" len="med"/>
          </a:ln>
          <a:effectLst/>
        </p:spPr>
        <p:txBody>
          <a:bodyPr rot="0" spcFirstLastPara="0" vertOverflow="overflow" horzOverflow="overflow" vert="horz" wrap="square" lIns="45722" tIns="45722" rIns="45722" bIns="45722" numCol="1" spcCol="0" rtlCol="0" fromWordArt="0" anchor="b"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078" b="0" i="0" u="none" strike="noStrike" kern="0" cap="none" spc="-7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 name="Text Placeholder 4"/>
          <p:cNvSpPr>
            <a:spLocks noGrp="1"/>
          </p:cNvSpPr>
          <p:nvPr>
            <p:ph type="body" sz="quarter" idx="10"/>
          </p:nvPr>
        </p:nvSpPr>
        <p:spPr>
          <a:xfrm>
            <a:off x="269240" y="291068"/>
            <a:ext cx="6278086" cy="3317572"/>
          </a:xfrm>
        </p:spPr>
        <p:txBody>
          <a:bodyPr lIns="182880" tIns="146304" rIns="182880" bIns="146304">
            <a:noAutofit/>
          </a:bodyPr>
          <a:lstStyle>
            <a:lvl1pPr marL="0" indent="0">
              <a:buNone/>
              <a:defRPr sz="3921"/>
            </a:lvl1pPr>
          </a:lstStyle>
          <a:p>
            <a:pPr lvl="0"/>
            <a:r>
              <a:rPr lang="en-US"/>
              <a:t>Edit Master text styles</a:t>
            </a:r>
          </a:p>
        </p:txBody>
      </p:sp>
    </p:spTree>
    <p:extLst>
      <p:ext uri="{BB962C8B-B14F-4D97-AF65-F5344CB8AC3E}">
        <p14:creationId xmlns:p14="http://schemas.microsoft.com/office/powerpoint/2010/main" val="12227947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Inal outcome layout 1">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5065110" cy="899665"/>
          </a:xfrm>
        </p:spPr>
        <p:txBody>
          <a:bodyPr/>
          <a:lstStyle/>
          <a:p>
            <a:r>
              <a:rPr lang="en-US"/>
              <a:t>Click to edit Master title style</a:t>
            </a:r>
            <a:endParaRPr lang="en-US" dirty="0"/>
          </a:p>
        </p:txBody>
      </p:sp>
      <p:pic>
        <p:nvPicPr>
          <p:cNvPr id="3" name="Picture Placeholder 14"/>
          <p:cNvPicPr>
            <a:picLocks noChangeAspect="1"/>
          </p:cNvPicPr>
          <p:nvPr userDrawn="1"/>
        </p:nvPicPr>
        <p:blipFill>
          <a:blip r:embed="rId2" cstate="hqprint">
            <a:extLst>
              <a:ext uri="{28A0092B-C50C-407E-A947-70E740481C1C}">
                <a14:useLocalDpi xmlns:a14="http://schemas.microsoft.com/office/drawing/2010/main"/>
              </a:ext>
            </a:extLst>
          </a:blip>
          <a:srcRect l="16685" r="16685"/>
          <a:stretch>
            <a:fillRect/>
          </a:stretch>
        </p:blipFill>
        <p:spPr>
          <a:xfrm>
            <a:off x="5334350" y="0"/>
            <a:ext cx="6857650" cy="6856100"/>
          </a:xfrm>
          <a:prstGeom prst="rect">
            <a:avLst/>
          </a:prstGeom>
        </p:spPr>
      </p:pic>
      <p:sp>
        <p:nvSpPr>
          <p:cNvPr id="5" name="Text Placeholder 4"/>
          <p:cNvSpPr>
            <a:spLocks noGrp="1"/>
          </p:cNvSpPr>
          <p:nvPr>
            <p:ph type="body" sz="quarter" idx="10"/>
          </p:nvPr>
        </p:nvSpPr>
        <p:spPr>
          <a:xfrm>
            <a:off x="269239" y="2084172"/>
            <a:ext cx="5065733" cy="4482760"/>
          </a:xfrm>
        </p:spPr>
        <p:txBody>
          <a:bodyPr lIns="182880" tIns="146304" rIns="182880" bIns="146304">
            <a:noAutofit/>
          </a:bodyPr>
          <a:lstStyle>
            <a:lvl1pPr marL="0" indent="0">
              <a:buNone/>
              <a:defRPr sz="2353" b="0" i="1">
                <a:latin typeface="+mn-lt"/>
              </a:defRPr>
            </a:lvl1pPr>
          </a:lstStyle>
          <a:p>
            <a:pPr lvl="0"/>
            <a:r>
              <a:rPr lang="en-US"/>
              <a:t>Edit Master text styles</a:t>
            </a:r>
          </a:p>
        </p:txBody>
      </p:sp>
    </p:spTree>
    <p:extLst>
      <p:ext uri="{BB962C8B-B14F-4D97-AF65-F5344CB8AC3E}">
        <p14:creationId xmlns:p14="http://schemas.microsoft.com/office/powerpoint/2010/main" val="3913809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Inal outcome layout 2">
    <p:spTree>
      <p:nvGrpSpPr>
        <p:cNvPr id="1" name=""/>
        <p:cNvGrpSpPr/>
        <p:nvPr/>
      </p:nvGrpSpPr>
      <p:grpSpPr>
        <a:xfrm>
          <a:off x="0" y="0"/>
          <a:ext cx="0" cy="0"/>
          <a:chOff x="0" y="0"/>
          <a:chExt cx="0" cy="0"/>
        </a:xfrm>
      </p:grpSpPr>
      <p:pic>
        <p:nvPicPr>
          <p:cNvPr id="2" name="Picture Placeholder 6"/>
          <p:cNvPicPr>
            <a:picLocks noChangeAspect="1"/>
          </p:cNvPicPr>
          <p:nvPr userDrawn="1"/>
        </p:nvPicPr>
        <p:blipFill>
          <a:blip r:embed="rId2" cstate="hqprint">
            <a:extLst>
              <a:ext uri="{28A0092B-C50C-407E-A947-70E740481C1C}">
                <a14:useLocalDpi xmlns:a14="http://schemas.microsoft.com/office/drawing/2010/main"/>
              </a:ext>
            </a:extLst>
          </a:blip>
          <a:srcRect/>
          <a:stretch>
            <a:fillRect/>
          </a:stretch>
        </p:blipFill>
        <p:spPr>
          <a:xfrm>
            <a:off x="5334350" y="0"/>
            <a:ext cx="6857650" cy="6856100"/>
          </a:xfrm>
          <a:prstGeom prst="rect">
            <a:avLst/>
          </a:prstGeom>
        </p:spPr>
      </p:pic>
      <p:sp>
        <p:nvSpPr>
          <p:cNvPr id="3" name="Title 2"/>
          <p:cNvSpPr>
            <a:spLocks noGrp="1"/>
          </p:cNvSpPr>
          <p:nvPr>
            <p:ph type="title"/>
          </p:nvPr>
        </p:nvSpPr>
        <p:spPr>
          <a:xfrm>
            <a:off x="269240" y="289511"/>
            <a:ext cx="5065110" cy="899665"/>
          </a:xfrm>
        </p:spPr>
        <p:txBody>
          <a:bodyPr/>
          <a:lstStyle/>
          <a:p>
            <a:r>
              <a:rPr lang="en-US"/>
              <a:t>Click to edit Master title style</a:t>
            </a:r>
            <a:endParaRPr lang="en-US" dirty="0"/>
          </a:p>
        </p:txBody>
      </p:sp>
      <p:sp>
        <p:nvSpPr>
          <p:cNvPr id="4" name="Text Placeholder 4"/>
          <p:cNvSpPr>
            <a:spLocks noGrp="1"/>
          </p:cNvSpPr>
          <p:nvPr>
            <p:ph type="body" sz="quarter" idx="10"/>
          </p:nvPr>
        </p:nvSpPr>
        <p:spPr>
          <a:xfrm>
            <a:off x="269239" y="2084172"/>
            <a:ext cx="5065733" cy="4482760"/>
          </a:xfrm>
        </p:spPr>
        <p:txBody>
          <a:bodyPr lIns="182880" tIns="146304" rIns="182880" bIns="146304">
            <a:noAutofit/>
          </a:bodyPr>
          <a:lstStyle>
            <a:lvl1pPr marL="0" indent="0">
              <a:buNone/>
              <a:defRPr sz="2353" b="0" i="1">
                <a:latin typeface="+mn-lt"/>
              </a:defRPr>
            </a:lvl1pPr>
          </a:lstStyle>
          <a:p>
            <a:pPr lvl="0"/>
            <a:r>
              <a:rPr lang="en-US"/>
              <a:t>Edit Master text styles</a:t>
            </a:r>
          </a:p>
        </p:txBody>
      </p:sp>
    </p:spTree>
    <p:extLst>
      <p:ext uri="{BB962C8B-B14F-4D97-AF65-F5344CB8AC3E}">
        <p14:creationId xmlns:p14="http://schemas.microsoft.com/office/powerpoint/2010/main" val="3102261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FInal outcome layout 3">
    <p:spTree>
      <p:nvGrpSpPr>
        <p:cNvPr id="1" name=""/>
        <p:cNvGrpSpPr/>
        <p:nvPr/>
      </p:nvGrpSpPr>
      <p:grpSpPr>
        <a:xfrm>
          <a:off x="0" y="0"/>
          <a:ext cx="0" cy="0"/>
          <a:chOff x="0" y="0"/>
          <a:chExt cx="0" cy="0"/>
        </a:xfrm>
      </p:grpSpPr>
      <p:pic>
        <p:nvPicPr>
          <p:cNvPr id="2" name="Picture Placeholder 15"/>
          <p:cNvPicPr>
            <a:picLocks noChangeAspect="1"/>
          </p:cNvPicPr>
          <p:nvPr userDrawn="1"/>
        </p:nvPicPr>
        <p:blipFill>
          <a:blip r:embed="rId2" cstate="hqprint">
            <a:extLst>
              <a:ext uri="{28A0092B-C50C-407E-A947-70E740481C1C}">
                <a14:useLocalDpi xmlns:a14="http://schemas.microsoft.com/office/drawing/2010/main"/>
              </a:ext>
            </a:extLst>
          </a:blip>
          <a:srcRect/>
          <a:stretch>
            <a:fillRect/>
          </a:stretch>
        </p:blipFill>
        <p:spPr>
          <a:xfrm>
            <a:off x="5334350" y="0"/>
            <a:ext cx="6857650" cy="6856100"/>
          </a:xfrm>
          <a:prstGeom prst="rect">
            <a:avLst/>
          </a:prstGeom>
        </p:spPr>
      </p:pic>
      <p:sp>
        <p:nvSpPr>
          <p:cNvPr id="3" name="Title 2"/>
          <p:cNvSpPr>
            <a:spLocks noGrp="1"/>
          </p:cNvSpPr>
          <p:nvPr>
            <p:ph type="title"/>
          </p:nvPr>
        </p:nvSpPr>
        <p:spPr>
          <a:xfrm>
            <a:off x="269240" y="289511"/>
            <a:ext cx="5065110" cy="899665"/>
          </a:xfrm>
        </p:spPr>
        <p:txBody>
          <a:bodyPr/>
          <a:lstStyle/>
          <a:p>
            <a:r>
              <a:rPr lang="en-US"/>
              <a:t>Click to edit Master title style</a:t>
            </a:r>
            <a:endParaRPr lang="en-US" dirty="0"/>
          </a:p>
        </p:txBody>
      </p:sp>
      <p:sp>
        <p:nvSpPr>
          <p:cNvPr id="4" name="Text Placeholder 4"/>
          <p:cNvSpPr>
            <a:spLocks noGrp="1"/>
          </p:cNvSpPr>
          <p:nvPr>
            <p:ph type="body" sz="quarter" idx="10"/>
          </p:nvPr>
        </p:nvSpPr>
        <p:spPr>
          <a:xfrm>
            <a:off x="269239" y="2084172"/>
            <a:ext cx="5065733" cy="4482760"/>
          </a:xfrm>
        </p:spPr>
        <p:txBody>
          <a:bodyPr lIns="182880" tIns="146304" rIns="182880" bIns="146304">
            <a:noAutofit/>
          </a:bodyPr>
          <a:lstStyle>
            <a:lvl1pPr marL="0" indent="0">
              <a:buNone/>
              <a:defRPr sz="2353" b="0" i="1">
                <a:latin typeface="+mn-lt"/>
              </a:defRPr>
            </a:lvl1pPr>
          </a:lstStyle>
          <a:p>
            <a:pPr lvl="0"/>
            <a:r>
              <a:rPr lang="en-US"/>
              <a:t>Edit Master text styles</a:t>
            </a:r>
          </a:p>
        </p:txBody>
      </p:sp>
    </p:spTree>
    <p:extLst>
      <p:ext uri="{BB962C8B-B14F-4D97-AF65-F5344CB8AC3E}">
        <p14:creationId xmlns:p14="http://schemas.microsoft.com/office/powerpoint/2010/main" val="3740359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509B-61B4-40F9-875D-A93F57416A85}"/>
              </a:ext>
            </a:extLst>
          </p:cNvPr>
          <p:cNvSpPr>
            <a:spLocks noGrp="1"/>
          </p:cNvSpPr>
          <p:nvPr>
            <p:ph type="title"/>
          </p:nvPr>
        </p:nvSpPr>
        <p:spPr>
          <a:xfrm>
            <a:off x="269240" y="179310"/>
            <a:ext cx="5737837" cy="756465"/>
          </a:xfrm>
        </p:spPr>
        <p:txBody>
          <a:bodyPr lIns="0" tIns="91440" rIns="0" bIns="0"/>
          <a:lstStyle>
            <a:lvl1pPr>
              <a:lnSpc>
                <a:spcPct val="110000"/>
              </a:lnSpc>
              <a:spcBef>
                <a:spcPts val="1176"/>
              </a:spcBef>
              <a:spcAft>
                <a:spcPts val="1176"/>
              </a:spcAft>
              <a:defRPr sz="2157">
                <a:solidFill>
                  <a:schemeClr val="bg2"/>
                </a:solidFill>
                <a:latin typeface="+mn-lt"/>
              </a:defRPr>
            </a:lvl1pPr>
          </a:lstStyle>
          <a:p>
            <a:r>
              <a:rPr lang="en-US"/>
              <a:t>Click to edit Master title style</a:t>
            </a:r>
          </a:p>
        </p:txBody>
      </p:sp>
      <p:sp>
        <p:nvSpPr>
          <p:cNvPr id="4" name="Rectangle 3">
            <a:extLst>
              <a:ext uri="{FF2B5EF4-FFF2-40B4-BE49-F238E27FC236}">
                <a16:creationId xmlns:a16="http://schemas.microsoft.com/office/drawing/2014/main" id="{FF57A33A-3D8F-4CA0-9CBC-4D552F0603A6}"/>
              </a:ext>
            </a:extLst>
          </p:cNvPr>
          <p:cNvSpPr/>
          <p:nvPr userDrawn="1"/>
        </p:nvSpPr>
        <p:spPr>
          <a:xfrm>
            <a:off x="10665090" y="6597848"/>
            <a:ext cx="1353368" cy="233871"/>
          </a:xfrm>
          <a:prstGeom prst="rect">
            <a:avLst/>
          </a:prstGeom>
        </p:spPr>
        <p:txBody>
          <a:bodyPr wrap="none">
            <a:spAutoFit/>
          </a:bodyPr>
          <a:lstStyle/>
          <a:p>
            <a:pPr algn="r"/>
            <a:r>
              <a:rPr lang="en-US" sz="931">
                <a:solidFill>
                  <a:schemeClr val="bg1"/>
                </a:solidFill>
                <a:effectLst/>
                <a:latin typeface="Segoe UI" panose="020B0502040204020203" pitchFamily="34" charset="0"/>
                <a:ea typeface="PMingLiU" panose="02020500000000000000" pitchFamily="18" charset="-120"/>
                <a:cs typeface="Segoe UI" panose="020B0502040204020203" pitchFamily="34" charset="0"/>
              </a:rPr>
              <a:t>Microsoft Confidential</a:t>
            </a:r>
            <a:endParaRPr lang="en-US" sz="931">
              <a:solidFill>
                <a:schemeClr val="bg1"/>
              </a:solidFill>
              <a:latin typeface="Segoe UI" panose="020B0502040204020203" pitchFamily="34" charset="0"/>
              <a:cs typeface="Segoe UI" panose="020B0502040204020203" pitchFamily="34" charset="0"/>
            </a:endParaRPr>
          </a:p>
        </p:txBody>
      </p:sp>
      <p:sp>
        <p:nvSpPr>
          <p:cNvPr id="5" name="Text Placeholder 4">
            <a:extLst>
              <a:ext uri="{FF2B5EF4-FFF2-40B4-BE49-F238E27FC236}">
                <a16:creationId xmlns:a16="http://schemas.microsoft.com/office/drawing/2014/main" id="{01F61F92-46EF-4AD5-B4FC-1EFA03DD2C5D}"/>
              </a:ext>
            </a:extLst>
          </p:cNvPr>
          <p:cNvSpPr>
            <a:spLocks noGrp="1"/>
          </p:cNvSpPr>
          <p:nvPr>
            <p:ph type="body" sz="quarter" idx="10"/>
          </p:nvPr>
        </p:nvSpPr>
        <p:spPr>
          <a:xfrm>
            <a:off x="6096001" y="179310"/>
            <a:ext cx="5826761" cy="546203"/>
          </a:xfrm>
        </p:spPr>
        <p:txBody>
          <a:bodyPr tIns="91440"/>
          <a:lstStyle>
            <a:lvl1pPr marL="0" indent="0">
              <a:lnSpc>
                <a:spcPct val="110000"/>
              </a:lnSpc>
              <a:spcBef>
                <a:spcPts val="1176"/>
              </a:spcBef>
              <a:spcAft>
                <a:spcPts val="1176"/>
              </a:spcAft>
              <a:buNone/>
              <a:defRPr sz="2157">
                <a:solidFill>
                  <a:schemeClr val="bg2"/>
                </a:solidFill>
                <a:latin typeface="+mn-lt"/>
              </a:defRPr>
            </a:lvl1pPr>
          </a:lstStyle>
          <a:p>
            <a:pPr lvl="0"/>
            <a:endParaRPr lang="en-US"/>
          </a:p>
        </p:txBody>
      </p:sp>
    </p:spTree>
    <p:extLst>
      <p:ext uri="{BB962C8B-B14F-4D97-AF65-F5344CB8AC3E}">
        <p14:creationId xmlns:p14="http://schemas.microsoft.com/office/powerpoint/2010/main" val="687224270"/>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6733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5898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06857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17339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481783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3"/>
          <p:cNvSpPr txBox="1"/>
          <p:nvPr userDrawn="1"/>
        </p:nvSpPr>
        <p:spPr>
          <a:xfrm>
            <a:off x="7729077" y="6356690"/>
            <a:ext cx="4023333" cy="256504"/>
          </a:xfrm>
          <a:prstGeom prst="rect">
            <a:avLst/>
          </a:prstGeom>
          <a:noFill/>
        </p:spPr>
        <p:txBody>
          <a:bodyPr wrap="none" lIns="0" tIns="0" rIns="0" bIns="0" rtlCol="0">
            <a:spAutoFit/>
          </a:bodyPr>
          <a:lstStyle/>
          <a:p>
            <a:pPr algn="r"/>
            <a:r>
              <a:rPr lang="en-CA" sz="1667" dirty="0">
                <a:solidFill>
                  <a:srgbClr val="000000">
                    <a:alpha val="60000"/>
                  </a:srgbClr>
                </a:solidFill>
                <a:latin typeface="Segoe UI" panose="020B0502040204020203" pitchFamily="34" charset="0"/>
                <a:ea typeface="Segoe UI" panose="020B0502040204020203" pitchFamily="34" charset="0"/>
                <a:cs typeface="Segoe UI" panose="020B0502040204020203" pitchFamily="34" charset="0"/>
              </a:rPr>
              <a:t>2017 Microsoft Cloud and Hosting Summit</a:t>
            </a:r>
          </a:p>
        </p:txBody>
      </p:sp>
    </p:spTree>
    <p:extLst>
      <p:ext uri="{BB962C8B-B14F-4D97-AF65-F5344CB8AC3E}">
        <p14:creationId xmlns:p14="http://schemas.microsoft.com/office/powerpoint/2010/main" val="287170168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82791209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409762209"/>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417024779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598689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509B-61B4-40F9-875D-A93F57416A85}"/>
              </a:ext>
            </a:extLst>
          </p:cNvPr>
          <p:cNvSpPr>
            <a:spLocks noGrp="1"/>
          </p:cNvSpPr>
          <p:nvPr>
            <p:ph type="title"/>
          </p:nvPr>
        </p:nvSpPr>
        <p:spPr>
          <a:xfrm>
            <a:off x="269239" y="179310"/>
            <a:ext cx="9539915" cy="756465"/>
          </a:xfrm>
        </p:spPr>
        <p:txBody>
          <a:bodyPr lIns="0" tIns="91440" rIns="0" bIns="0"/>
          <a:lstStyle>
            <a:lvl1pPr>
              <a:lnSpc>
                <a:spcPct val="100000"/>
              </a:lnSpc>
              <a:spcBef>
                <a:spcPts val="588"/>
              </a:spcBef>
              <a:spcAft>
                <a:spcPts val="588"/>
              </a:spcAft>
              <a:defRPr sz="4705">
                <a:solidFill>
                  <a:schemeClr val="bg2"/>
                </a:solidFill>
                <a:latin typeface="+mj-lt"/>
              </a:defRPr>
            </a:lvl1pPr>
          </a:lstStyle>
          <a:p>
            <a:r>
              <a:rPr lang="en-US"/>
              <a:t>Click to edit Master title style</a:t>
            </a:r>
          </a:p>
        </p:txBody>
      </p:sp>
    </p:spTree>
    <p:extLst>
      <p:ext uri="{BB962C8B-B14F-4D97-AF65-F5344CB8AC3E}">
        <p14:creationId xmlns:p14="http://schemas.microsoft.com/office/powerpoint/2010/main" val="18097549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867200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686712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198528894"/>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50728245"/>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61008868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46379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890433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04755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0647197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42"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884620227"/>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509B-61B4-40F9-875D-A93F57416A85}"/>
              </a:ext>
            </a:extLst>
          </p:cNvPr>
          <p:cNvSpPr>
            <a:spLocks noGrp="1"/>
          </p:cNvSpPr>
          <p:nvPr>
            <p:ph type="title"/>
          </p:nvPr>
        </p:nvSpPr>
        <p:spPr>
          <a:xfrm>
            <a:off x="269239" y="179310"/>
            <a:ext cx="9539915" cy="756465"/>
          </a:xfrm>
        </p:spPr>
        <p:txBody>
          <a:bodyPr lIns="0" tIns="91440" rIns="0" bIns="0"/>
          <a:lstStyle>
            <a:lvl1pPr>
              <a:lnSpc>
                <a:spcPct val="100000"/>
              </a:lnSpc>
              <a:spcBef>
                <a:spcPts val="588"/>
              </a:spcBef>
              <a:spcAft>
                <a:spcPts val="588"/>
              </a:spcAft>
              <a:defRPr sz="4705">
                <a:solidFill>
                  <a:schemeClr val="bg2"/>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A2348ECF-26C5-46F7-AB4A-94957FAB561F}"/>
              </a:ext>
            </a:extLst>
          </p:cNvPr>
          <p:cNvSpPr>
            <a:spLocks noGrp="1"/>
          </p:cNvSpPr>
          <p:nvPr>
            <p:ph type="body" sz="quarter" idx="10"/>
          </p:nvPr>
        </p:nvSpPr>
        <p:spPr>
          <a:xfrm>
            <a:off x="269240" y="1189178"/>
            <a:ext cx="11653523" cy="2356691"/>
          </a:xfrm>
        </p:spPr>
        <p:txBody>
          <a:bodyPr>
            <a:spAutoFit/>
          </a:bodyPr>
          <a:lstStyle>
            <a:lvl1pPr>
              <a:lnSpc>
                <a:spcPct val="95000"/>
              </a:lnSpc>
              <a:spcBef>
                <a:spcPts val="588"/>
              </a:spcBef>
              <a:spcAft>
                <a:spcPts val="588"/>
              </a:spcAft>
              <a:defRPr sz="3528">
                <a:solidFill>
                  <a:schemeClr val="bg1"/>
                </a:solidFill>
              </a:defRPr>
            </a:lvl1pPr>
            <a:lvl2pPr>
              <a:lnSpc>
                <a:spcPct val="95000"/>
              </a:lnSpc>
              <a:spcBef>
                <a:spcPts val="588"/>
              </a:spcBef>
              <a:spcAft>
                <a:spcPts val="588"/>
              </a:spcAft>
              <a:defRPr>
                <a:solidFill>
                  <a:schemeClr val="bg1"/>
                </a:solidFill>
              </a:defRPr>
            </a:lvl2pPr>
            <a:lvl3pPr>
              <a:lnSpc>
                <a:spcPct val="95000"/>
              </a:lnSpc>
              <a:spcBef>
                <a:spcPts val="588"/>
              </a:spcBef>
              <a:spcAft>
                <a:spcPts val="588"/>
              </a:spcAft>
              <a:defRPr>
                <a:solidFill>
                  <a:schemeClr val="bg1"/>
                </a:solidFill>
              </a:defRPr>
            </a:lvl3pPr>
            <a:lvl4pPr>
              <a:lnSpc>
                <a:spcPct val="95000"/>
              </a:lnSpc>
              <a:spcBef>
                <a:spcPts val="588"/>
              </a:spcBef>
              <a:spcAft>
                <a:spcPts val="588"/>
              </a:spcAft>
              <a:defRPr>
                <a:solidFill>
                  <a:schemeClr val="bg1"/>
                </a:solidFill>
              </a:defRPr>
            </a:lvl4pPr>
            <a:lvl5pPr>
              <a:lnSpc>
                <a:spcPct val="95000"/>
              </a:lnSpc>
              <a:spcBef>
                <a:spcPts val="588"/>
              </a:spcBef>
              <a:spcAft>
                <a:spcPts val="588"/>
              </a:spcAf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810913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180451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653912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dirty="0"/>
              <a:t>Click to edit Master title style</a:t>
            </a:r>
          </a:p>
        </p:txBody>
      </p:sp>
    </p:spTree>
    <p:extLst>
      <p:ext uri="{BB962C8B-B14F-4D97-AF65-F5344CB8AC3E}">
        <p14:creationId xmlns:p14="http://schemas.microsoft.com/office/powerpoint/2010/main" val="2868657852"/>
      </p:ext>
    </p:extLst>
  </p:cSld>
  <p:clrMapOvr>
    <a:masterClrMapping/>
  </p:clrMapOvr>
  <p:transition advClick="0">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7" y="2816940"/>
            <a:ext cx="11034445" cy="2387600"/>
          </a:xfrm>
        </p:spPr>
        <p:txBody>
          <a:bodyPr anchor="b">
            <a:noAutofit/>
          </a:bodyPr>
          <a:lstStyle>
            <a:lvl1pPr algn="l">
              <a:defRPr sz="23888">
                <a:solidFill>
                  <a:schemeClr val="bg1"/>
                </a:solidFill>
              </a:defRPr>
            </a:lvl1pPr>
          </a:lstStyle>
          <a:p>
            <a:r>
              <a:rPr lang="en-US" dirty="0"/>
              <a:t>web</a:t>
            </a:r>
          </a:p>
        </p:txBody>
      </p:sp>
    </p:spTree>
    <p:extLst>
      <p:ext uri="{BB962C8B-B14F-4D97-AF65-F5344CB8AC3E}">
        <p14:creationId xmlns:p14="http://schemas.microsoft.com/office/powerpoint/2010/main" val="137526656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187715"/>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174481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96743"/>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91130"/>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9654348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4"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4">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269239" y="6558796"/>
            <a:ext cx="3859607" cy="134483"/>
          </a:xfrm>
          <a:prstGeom prst="rect">
            <a:avLst/>
          </a:prstGeom>
        </p:spPr>
        <p:txBody>
          <a:bodyPr/>
          <a:lstStyle>
            <a:lvl1pPr fontAlgn="base">
              <a:spcBef>
                <a:spcPct val="0"/>
              </a:spcBef>
              <a:spcAft>
                <a:spcPct val="0"/>
              </a:spcAft>
              <a:defRPr dirty="0" smtClean="0">
                <a:solidFill>
                  <a:srgbClr val="505050"/>
                </a:solidFill>
              </a:defRPr>
            </a:lvl1pPr>
          </a:lstStyle>
          <a:p>
            <a:pPr defTabSz="914049">
              <a:defRPr/>
            </a:pPr>
            <a:r>
              <a:rPr lang="en-US"/>
              <a:t>Microsoft Confidential</a:t>
            </a:r>
          </a:p>
        </p:txBody>
      </p:sp>
      <p:sp>
        <p:nvSpPr>
          <p:cNvPr id="5" name="Slide Number Placeholder 3"/>
          <p:cNvSpPr>
            <a:spLocks noGrp="1"/>
          </p:cNvSpPr>
          <p:nvPr>
            <p:ph type="sldNum" sz="quarter" idx="15"/>
          </p:nvPr>
        </p:nvSpPr>
        <p:spPr>
          <a:xfrm>
            <a:off x="11367166" y="6558796"/>
            <a:ext cx="555596" cy="134483"/>
          </a:xfrm>
          <a:prstGeom prst="rect">
            <a:avLst/>
          </a:prstGeom>
        </p:spPr>
        <p:txBody>
          <a:bodyPr/>
          <a:lstStyle>
            <a:lvl1pPr defTabSz="912803"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275868481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2055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2055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defTabSz="914225">
              <a:defRPr/>
            </a:pPr>
            <a:fld id="{E35FFCD0-55DC-4FA1-A75B-CAC7F2FFA607}" type="datetimeFigureOut">
              <a:rPr lang="en-US" sz="1765" kern="0" smtClean="0">
                <a:solidFill>
                  <a:prstClr val="black">
                    <a:tint val="75000"/>
                  </a:prstClr>
                </a:solidFill>
              </a:rPr>
              <a:pPr defTabSz="914225">
                <a:defRPr/>
              </a:pPr>
              <a:t>9/5/2018</a:t>
            </a:fld>
            <a:endParaRPr lang="en-US" sz="1765" kern="0">
              <a:solidFill>
                <a:prstClr val="black">
                  <a:tint val="75000"/>
                </a:prstClr>
              </a:solidFill>
            </a:endParaRPr>
          </a:p>
        </p:txBody>
      </p:sp>
      <p:sp>
        <p:nvSpPr>
          <p:cNvPr id="6" name="Footer Placeholder 5"/>
          <p:cNvSpPr>
            <a:spLocks noGrp="1"/>
          </p:cNvSpPr>
          <p:nvPr>
            <p:ph type="ftr" sz="quarter" idx="11"/>
          </p:nvPr>
        </p:nvSpPr>
        <p:spPr/>
        <p:txBody>
          <a:bodyPr/>
          <a:lstStyle/>
          <a:p>
            <a:pPr defTabSz="914225">
              <a:defRPr/>
            </a:pPr>
            <a:endParaRPr lang="en-US" sz="1765" kern="0">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225">
              <a:defRPr/>
            </a:pPr>
            <a:fld id="{6A59D5AF-717C-4F63-B565-3835D17431FA}" type="slidenum">
              <a:rPr lang="en-US" sz="1765" kern="0" smtClean="0">
                <a:solidFill>
                  <a:prstClr val="black">
                    <a:tint val="75000"/>
                  </a:prstClr>
                </a:solidFill>
              </a:rPr>
              <a:pPr defTabSz="914225">
                <a:defRPr/>
              </a:pPr>
              <a:t>‹#›</a:t>
            </a:fld>
            <a:endParaRPr lang="en-US" sz="1765" kern="0">
              <a:solidFill>
                <a:prstClr val="black">
                  <a:tint val="75000"/>
                </a:prstClr>
              </a:solidFill>
            </a:endParaRPr>
          </a:p>
        </p:txBody>
      </p:sp>
    </p:spTree>
    <p:extLst>
      <p:ext uri="{BB962C8B-B14F-4D97-AF65-F5344CB8AC3E}">
        <p14:creationId xmlns:p14="http://schemas.microsoft.com/office/powerpoint/2010/main" val="145730008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userDrawn="1">
  <p:cSld name="11_Title Only white backgroun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938558495"/>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Dark Band single">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7783334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509B-61B4-40F9-875D-A93F57416A85}"/>
              </a:ext>
            </a:extLst>
          </p:cNvPr>
          <p:cNvSpPr>
            <a:spLocks noGrp="1"/>
          </p:cNvSpPr>
          <p:nvPr>
            <p:ph type="title"/>
          </p:nvPr>
        </p:nvSpPr>
        <p:spPr>
          <a:xfrm>
            <a:off x="2418479" y="175188"/>
            <a:ext cx="9506601" cy="581277"/>
          </a:xfrm>
        </p:spPr>
        <p:txBody>
          <a:bodyPr lIns="91440" tIns="91440" rIns="0"/>
          <a:lstStyle>
            <a:lvl1pPr>
              <a:lnSpc>
                <a:spcPct val="110000"/>
              </a:lnSpc>
              <a:spcBef>
                <a:spcPts val="1176"/>
              </a:spcBef>
              <a:spcAft>
                <a:spcPts val="1176"/>
              </a:spcAft>
              <a:defRPr sz="2157">
                <a:solidFill>
                  <a:schemeClr val="bg2"/>
                </a:solidFill>
                <a:latin typeface="+mn-lt"/>
              </a:defRPr>
            </a:lvl1pPr>
          </a:lstStyle>
          <a:p>
            <a:r>
              <a:rPr lang="en-US"/>
              <a:t>Click to edit Master title style</a:t>
            </a:r>
          </a:p>
        </p:txBody>
      </p:sp>
      <p:sp>
        <p:nvSpPr>
          <p:cNvPr id="3" name="Rectangle 2">
            <a:extLst>
              <a:ext uri="{FF2B5EF4-FFF2-40B4-BE49-F238E27FC236}">
                <a16:creationId xmlns:a16="http://schemas.microsoft.com/office/drawing/2014/main" id="{4F243B09-5841-4563-9530-811E07832996}"/>
              </a:ext>
            </a:extLst>
          </p:cNvPr>
          <p:cNvSpPr/>
          <p:nvPr userDrawn="1"/>
        </p:nvSpPr>
        <p:spPr bwMode="auto">
          <a:xfrm>
            <a:off x="0" y="0"/>
            <a:ext cx="2241062" cy="685800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33475275"/>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7522"/>
          </a:xfrm>
        </p:spPr>
        <p:txBody>
          <a:bodyPr>
            <a:spAutoFit/>
          </a:bodyPr>
          <a:lstStyle>
            <a:lvl3pPr>
              <a:defRPr sz="2352"/>
            </a:lvl3pPr>
            <a:lvl4pPr>
              <a:defRPr sz="1960"/>
            </a:lvl4pPr>
            <a:lvl5pPr>
              <a:defRPr sz="196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21816868"/>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647"/>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5009362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3"/>
            <a:ext cx="11274552" cy="685800"/>
          </a:xfrm>
        </p:spPr>
        <p:txBody>
          <a:bodyPr>
            <a:normAutofit/>
          </a:bodyPr>
          <a:lstStyle>
            <a:lvl1pPr>
              <a:defRPr sz="3200"/>
            </a:lvl1pPr>
          </a:lstStyle>
          <a:p>
            <a:r>
              <a:rPr lang="en-US" dirty="0"/>
              <a:t>Click to edit Master title style</a:t>
            </a:r>
          </a:p>
        </p:txBody>
      </p:sp>
      <p:sp>
        <p:nvSpPr>
          <p:cNvPr id="3" name="Date Placeholder 2"/>
          <p:cNvSpPr>
            <a:spLocks noGrp="1"/>
          </p:cNvSpPr>
          <p:nvPr>
            <p:ph type="dt" sz="half" idx="10"/>
          </p:nvPr>
        </p:nvSpPr>
        <p:spPr/>
        <p:txBody>
          <a:bodyPr/>
          <a:lstStyle/>
          <a:p>
            <a:endParaRPr lang="en-US"/>
          </a:p>
        </p:txBody>
      </p:sp>
      <p:sp>
        <p:nvSpPr>
          <p:cNvPr id="5" name="Slide Number Placeholder 4"/>
          <p:cNvSpPr>
            <a:spLocks noGrp="1"/>
          </p:cNvSpPr>
          <p:nvPr>
            <p:ph type="sldNum" sz="quarter" idx="12"/>
          </p:nvPr>
        </p:nvSpPr>
        <p:spPr>
          <a:xfrm>
            <a:off x="8850631" y="6356351"/>
            <a:ext cx="2743200" cy="365125"/>
          </a:xfrm>
        </p:spPr>
        <p:txBody>
          <a:bodyPr/>
          <a:lstStyle/>
          <a:p>
            <a:fld id="{AFFF257A-30C5-4AFB-911B-BE4CEEA1EA82}" type="slidenum">
              <a:rPr lang="en-US" smtClean="0"/>
              <a:t>‹#›</a:t>
            </a:fld>
            <a:endParaRPr lang="en-US"/>
          </a:p>
        </p:txBody>
      </p:sp>
      <p:sp>
        <p:nvSpPr>
          <p:cNvPr id="7" name="Text Placeholder 6"/>
          <p:cNvSpPr>
            <a:spLocks noGrp="1"/>
          </p:cNvSpPr>
          <p:nvPr>
            <p:ph type="body" sz="quarter" idx="13"/>
          </p:nvPr>
        </p:nvSpPr>
        <p:spPr>
          <a:xfrm>
            <a:off x="402337" y="1143000"/>
            <a:ext cx="11173968" cy="2055050"/>
          </a:xfrm>
        </p:spPr>
        <p:txBody>
          <a:bodyPr/>
          <a:lstStyle>
            <a:lvl2pPr>
              <a:buSzPct val="90000"/>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4986843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9" y="1447800"/>
            <a:ext cx="11151917" cy="2055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4989927"/>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Demo">
    <p:bg>
      <p:bgPr>
        <a:solidFill>
          <a:schemeClr val="bg1"/>
        </a:solidFill>
        <a:effectLst/>
      </p:bgPr>
    </p:bg>
    <p:spTree>
      <p:nvGrpSpPr>
        <p:cNvPr id="1" name=""/>
        <p:cNvGrpSpPr/>
        <p:nvPr/>
      </p:nvGrpSpPr>
      <p:grpSpPr>
        <a:xfrm>
          <a:off x="0" y="0"/>
          <a:ext cx="0" cy="0"/>
          <a:chOff x="0" y="0"/>
          <a:chExt cx="0" cy="0"/>
        </a:xfrm>
      </p:grpSpPr>
      <p:sp>
        <p:nvSpPr>
          <p:cNvPr id="13" name="TextBox 12"/>
          <p:cNvSpPr txBox="1"/>
          <p:nvPr userDrawn="1"/>
        </p:nvSpPr>
        <p:spPr>
          <a:xfrm>
            <a:off x="0" y="1143000"/>
            <a:ext cx="6096000" cy="374846"/>
          </a:xfrm>
          <a:prstGeom prst="rect">
            <a:avLst/>
          </a:prstGeom>
          <a:noFill/>
        </p:spPr>
        <p:txBody>
          <a:bodyPr wrap="square" rtlCol="0">
            <a:spAutoFit/>
          </a:bodyPr>
          <a:lstStyle/>
          <a:p>
            <a:endParaRPr lang="en-US" sz="1800" dirty="0"/>
          </a:p>
        </p:txBody>
      </p:sp>
      <p:sp>
        <p:nvSpPr>
          <p:cNvPr id="16" name="Text Placeholder 9"/>
          <p:cNvSpPr>
            <a:spLocks noGrp="1"/>
          </p:cNvSpPr>
          <p:nvPr>
            <p:ph type="body" sz="quarter" idx="13" hasCustomPrompt="1"/>
          </p:nvPr>
        </p:nvSpPr>
        <p:spPr>
          <a:xfrm>
            <a:off x="0" y="1143000"/>
            <a:ext cx="6035040" cy="2286000"/>
          </a:xfrm>
          <a:solidFill>
            <a:srgbClr val="0A5BBA">
              <a:alpha val="90000"/>
            </a:srgbClr>
          </a:solidFill>
        </p:spPr>
        <p:txBody>
          <a:bodyPr lIns="182880" tIns="137160">
            <a:noAutofit/>
          </a:bodyPr>
          <a:lstStyle>
            <a:lvl1pPr marL="57139" indent="0">
              <a:lnSpc>
                <a:spcPct val="100000"/>
              </a:lnSpc>
              <a:buNone/>
              <a:defRPr sz="3600" baseline="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Demonstration: Title of Demo</a:t>
            </a:r>
          </a:p>
        </p:txBody>
      </p:sp>
    </p:spTree>
    <p:extLst>
      <p:ext uri="{BB962C8B-B14F-4D97-AF65-F5344CB8AC3E}">
        <p14:creationId xmlns:p14="http://schemas.microsoft.com/office/powerpoint/2010/main" val="113353056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Section_Lesson Overview">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371601"/>
            <a:ext cx="4572000" cy="1828800"/>
          </a:xfrm>
          <a:solidFill>
            <a:srgbClr val="0A5BBA"/>
          </a:solidFill>
        </p:spPr>
        <p:txBody>
          <a:bodyPr lIns="182880" tIns="137160" anchor="t" anchorCtr="0">
            <a:normAutofit/>
          </a:bodyPr>
          <a:lstStyle>
            <a:lvl1pPr>
              <a:defRPr sz="2400">
                <a:solidFill>
                  <a:schemeClr val="bg1"/>
                </a:solidFill>
                <a:latin typeface="Segoe UI Light" panose="020B0502040204020203" pitchFamily="34" charset="0"/>
              </a:defRPr>
            </a:lvl1pPr>
          </a:lstStyle>
          <a:p>
            <a:r>
              <a:rPr lang="en-US" dirty="0"/>
              <a:t>Module #: Module Title</a:t>
            </a:r>
          </a:p>
        </p:txBody>
      </p:sp>
      <p:sp>
        <p:nvSpPr>
          <p:cNvPr id="16" name="Text Placeholder 14"/>
          <p:cNvSpPr>
            <a:spLocks noGrp="1"/>
          </p:cNvSpPr>
          <p:nvPr>
            <p:ph type="body" sz="quarter" idx="12" hasCustomPrompt="1"/>
          </p:nvPr>
        </p:nvSpPr>
        <p:spPr>
          <a:xfrm>
            <a:off x="0" y="3200401"/>
            <a:ext cx="4572000" cy="1828800"/>
          </a:xfrm>
          <a:solidFill>
            <a:srgbClr val="002050"/>
          </a:solidFill>
        </p:spPr>
        <p:txBody>
          <a:bodyPr lIns="182880" tIns="137160">
            <a:normAutofit/>
          </a:bodyPr>
          <a:lstStyle>
            <a:lvl1pPr marL="0" indent="0">
              <a:lnSpc>
                <a:spcPct val="100000"/>
              </a:lnSpc>
              <a:buNone/>
              <a:defRPr sz="2400" baseline="0">
                <a:solidFill>
                  <a:schemeClr val="bg1"/>
                </a:solidFill>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dirty="0"/>
              <a:t>Section #: Section Title</a:t>
            </a:r>
          </a:p>
        </p:txBody>
      </p:sp>
      <p:sp>
        <p:nvSpPr>
          <p:cNvPr id="18" name="Text Placeholder 14"/>
          <p:cNvSpPr>
            <a:spLocks noGrp="1"/>
          </p:cNvSpPr>
          <p:nvPr>
            <p:ph type="body" sz="quarter" idx="14" hasCustomPrompt="1"/>
          </p:nvPr>
        </p:nvSpPr>
        <p:spPr>
          <a:xfrm>
            <a:off x="4572000" y="3200401"/>
            <a:ext cx="4572000" cy="1828800"/>
          </a:xfrm>
          <a:solidFill>
            <a:srgbClr val="129038"/>
          </a:solidFill>
        </p:spPr>
        <p:txBody>
          <a:bodyPr lIns="182880" tIns="137160">
            <a:normAutofit/>
          </a:bodyPr>
          <a:lstStyle>
            <a:lvl1pPr marL="0" indent="0">
              <a:lnSpc>
                <a:spcPct val="100000"/>
              </a:lnSpc>
              <a:buNone/>
              <a:defRPr sz="2400" baseline="0">
                <a:solidFill>
                  <a:schemeClr val="bg1"/>
                </a:solidFill>
                <a:latin typeface="Segoe UI Light" panose="020B0502040204020203" pitchFamily="34" charset="0"/>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a:t>Lesson: Lesson Title</a:t>
            </a:r>
          </a:p>
        </p:txBody>
      </p:sp>
    </p:spTree>
    <p:extLst>
      <p:ext uri="{BB962C8B-B14F-4D97-AF65-F5344CB8AC3E}">
        <p14:creationId xmlns:p14="http://schemas.microsoft.com/office/powerpoint/2010/main" val="340172446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2343192678"/>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055050"/>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9227521"/>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6367078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Blue ba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6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rgbClr val="FFFFFF"/>
                </a:solidFill>
              </a:defRPr>
            </a:lvl1pPr>
          </a:lstStyle>
          <a:p>
            <a:r>
              <a:rPr lang="en-US"/>
              <a:t>Click to edit Master title style</a:t>
            </a:r>
          </a:p>
        </p:txBody>
      </p:sp>
    </p:spTree>
    <p:extLst>
      <p:ext uri="{BB962C8B-B14F-4D97-AF65-F5344CB8AC3E}">
        <p14:creationId xmlns:p14="http://schemas.microsoft.com/office/powerpoint/2010/main" val="39031507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2521552"/>
            <a:ext cx="9423291" cy="3595546"/>
          </a:xfrm>
          <a:noFill/>
        </p:spPr>
        <p:txBody>
          <a:bodyPr lIns="146304" tIns="0" rIns="0" bIns="91440" anchor="t" anchorCtr="0"/>
          <a:lstStyle>
            <a:lvl1pPr>
              <a:defRPr sz="5293" spc="-98" baseline="0">
                <a:solidFill>
                  <a:schemeClr val="tx1"/>
                </a:solidFill>
              </a:defRPr>
            </a:lvl1pPr>
          </a:lstStyle>
          <a:p>
            <a:r>
              <a:rPr lang="en-US"/>
              <a:t>Lorem ipsum</a:t>
            </a:r>
          </a:p>
        </p:txBody>
      </p:sp>
    </p:spTree>
    <p:extLst>
      <p:ext uri="{BB962C8B-B14F-4D97-AF65-F5344CB8AC3E}">
        <p14:creationId xmlns:p14="http://schemas.microsoft.com/office/powerpoint/2010/main" val="2877692836"/>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a:t>Click to edit Master title style</a:t>
            </a:r>
          </a:p>
        </p:txBody>
      </p:sp>
      <p:sp>
        <p:nvSpPr>
          <p:cNvPr id="6" name="Text Placeholder 5"/>
          <p:cNvSpPr>
            <a:spLocks noGrp="1"/>
          </p:cNvSpPr>
          <p:nvPr>
            <p:ph type="body" sz="quarter" idx="10"/>
          </p:nvPr>
        </p:nvSpPr>
        <p:spPr>
          <a:xfrm>
            <a:off x="358570" y="1344828"/>
            <a:ext cx="11474238" cy="1904560"/>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7800830"/>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492798"/>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92798"/>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11059892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urse Title">
    <p:spTree>
      <p:nvGrpSpPr>
        <p:cNvPr id="1" name=""/>
        <p:cNvGrpSpPr/>
        <p:nvPr/>
      </p:nvGrpSpPr>
      <p:grpSpPr>
        <a:xfrm>
          <a:off x="0" y="0"/>
          <a:ext cx="0" cy="0"/>
          <a:chOff x="0" y="0"/>
          <a:chExt cx="0" cy="0"/>
        </a:xfrm>
      </p:grpSpPr>
      <p:sp>
        <p:nvSpPr>
          <p:cNvPr id="13" name="TextBox 12"/>
          <p:cNvSpPr txBox="1"/>
          <p:nvPr userDrawn="1"/>
        </p:nvSpPr>
        <p:spPr>
          <a:xfrm>
            <a:off x="0" y="1143000"/>
            <a:ext cx="6096000" cy="374846"/>
          </a:xfrm>
          <a:prstGeom prst="rect">
            <a:avLst/>
          </a:prstGeom>
          <a:noFill/>
        </p:spPr>
        <p:txBody>
          <a:bodyPr wrap="square" rtlCol="0">
            <a:spAutoFit/>
          </a:bodyPr>
          <a:lstStyle/>
          <a:p>
            <a:endParaRPr lang="en-US" sz="1800" dirty="0"/>
          </a:p>
        </p:txBody>
      </p:sp>
      <p:sp>
        <p:nvSpPr>
          <p:cNvPr id="16" name="Text Placeholder 9"/>
          <p:cNvSpPr>
            <a:spLocks noGrp="1"/>
          </p:cNvSpPr>
          <p:nvPr>
            <p:ph type="body" sz="quarter" idx="13" hasCustomPrompt="1"/>
          </p:nvPr>
        </p:nvSpPr>
        <p:spPr>
          <a:xfrm>
            <a:off x="1" y="1143000"/>
            <a:ext cx="6949440" cy="2286000"/>
          </a:xfrm>
          <a:solidFill>
            <a:srgbClr val="0A5BBA">
              <a:alpha val="90000"/>
            </a:srgbClr>
          </a:solidFill>
        </p:spPr>
        <p:txBody>
          <a:bodyPr lIns="91440" tIns="91440">
            <a:noAutofit/>
          </a:bodyPr>
          <a:lstStyle>
            <a:lvl1pPr marL="0" indent="0">
              <a:lnSpc>
                <a:spcPct val="100000"/>
              </a:lnSpc>
              <a:buNone/>
              <a:defRPr sz="360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ourse Title</a:t>
            </a:r>
          </a:p>
        </p:txBody>
      </p:sp>
    </p:spTree>
    <p:extLst>
      <p:ext uri="{BB962C8B-B14F-4D97-AF65-F5344CB8AC3E}">
        <p14:creationId xmlns:p14="http://schemas.microsoft.com/office/powerpoint/2010/main" val="2503570923"/>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extBox 5"/>
          <p:cNvSpPr txBox="1"/>
          <p:nvPr userDrawn="1"/>
        </p:nvSpPr>
        <p:spPr>
          <a:xfrm>
            <a:off x="304801" y="3376961"/>
            <a:ext cx="11684000" cy="2235200"/>
          </a:xfrm>
          <a:prstGeom prst="rect">
            <a:avLst/>
          </a:prstGeom>
          <a:noFill/>
          <a:ln>
            <a:noFill/>
          </a:ln>
        </p:spPr>
        <p:txBody>
          <a:bodyPr vert="horz" wrap="square" lIns="243805" tIns="182854" rIns="121903" bIns="60952" rtlCol="0" anchor="t" anchorCtr="0">
            <a:noAutofit/>
          </a:bodyPr>
          <a:lstStyle/>
          <a:p>
            <a:pPr defTabSz="609468">
              <a:lnSpc>
                <a:spcPct val="90000"/>
              </a:lnSpc>
              <a:spcAft>
                <a:spcPts val="800"/>
              </a:spcAft>
            </a:pPr>
            <a:r>
              <a:rPr lang="en-US" sz="1333" dirty="0">
                <a:solidFill>
                  <a:srgbClr val="000000">
                    <a:alpha val="87000"/>
                  </a:srgbClr>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609468">
              <a:lnSpc>
                <a:spcPct val="90000"/>
              </a:lnSpc>
              <a:spcAft>
                <a:spcPts val="800"/>
              </a:spcAft>
            </a:pPr>
            <a:r>
              <a:rPr lang="en-US" sz="1333" dirty="0">
                <a:solidFill>
                  <a:srgbClr val="000000">
                    <a:alpha val="87000"/>
                  </a:srgbClr>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609468">
              <a:lnSpc>
                <a:spcPct val="90000"/>
              </a:lnSpc>
              <a:spcAft>
                <a:spcPts val="800"/>
              </a:spcAft>
            </a:pPr>
            <a:r>
              <a:rPr lang="en-US" sz="1333" dirty="0">
                <a:solidFill>
                  <a:srgbClr val="000000">
                    <a:alpha val="87000"/>
                  </a:srgbClr>
                </a:solidFill>
              </a:rPr>
              <a:t>For more information, see Use of Microsoft Copyrighted Content at</a:t>
            </a:r>
          </a:p>
          <a:p>
            <a:pPr algn="ctr" defTabSz="609468">
              <a:lnSpc>
                <a:spcPct val="90000"/>
              </a:lnSpc>
              <a:spcAft>
                <a:spcPts val="800"/>
              </a:spcAft>
            </a:pPr>
            <a:r>
              <a:rPr lang="en-US" sz="1333" dirty="0">
                <a:solidFill>
                  <a:srgbClr val="000000">
                    <a:alpha val="87000"/>
                  </a:srgbClr>
                </a:solidFill>
                <a:hlinkClick r:id="rId2"/>
              </a:rPr>
              <a:t>http://www.microsoft.com/about/legal/permissions/</a:t>
            </a:r>
            <a:endParaRPr lang="en-US" sz="1333" dirty="0">
              <a:solidFill>
                <a:srgbClr val="000000">
                  <a:alpha val="87000"/>
                </a:srgbClr>
              </a:solidFill>
            </a:endParaRPr>
          </a:p>
        </p:txBody>
      </p:sp>
      <p:sp>
        <p:nvSpPr>
          <p:cNvPr id="7" name="TextBox 6"/>
          <p:cNvSpPr txBox="1"/>
          <p:nvPr userDrawn="1"/>
        </p:nvSpPr>
        <p:spPr>
          <a:xfrm>
            <a:off x="310777" y="103985"/>
            <a:ext cx="3149600" cy="406400"/>
          </a:xfrm>
          <a:prstGeom prst="rect">
            <a:avLst/>
          </a:prstGeom>
          <a:noFill/>
          <a:ln>
            <a:noFill/>
          </a:ln>
        </p:spPr>
        <p:txBody>
          <a:bodyPr vert="horz" wrap="none" lIns="243805" tIns="182854" rIns="121903" bIns="60952" rtlCol="0" anchor="ctr" anchorCtr="0">
            <a:noAutofit/>
          </a:bodyPr>
          <a:lstStyle/>
          <a:p>
            <a:pPr defTabSz="609468"/>
            <a:r>
              <a:rPr lang="en-US" sz="1467" b="1" dirty="0">
                <a:solidFill>
                  <a:srgbClr val="000000"/>
                </a:solidFill>
              </a:rPr>
              <a:t>Conditions and Terms of Use</a:t>
            </a:r>
            <a:endParaRPr lang="en-US" sz="1467" dirty="0">
              <a:solidFill>
                <a:srgbClr val="000000"/>
              </a:solidFill>
            </a:endParaRPr>
          </a:p>
        </p:txBody>
      </p:sp>
      <p:sp>
        <p:nvSpPr>
          <p:cNvPr id="8" name="TextBox 7"/>
          <p:cNvSpPr txBox="1"/>
          <p:nvPr userDrawn="1"/>
        </p:nvSpPr>
        <p:spPr>
          <a:xfrm>
            <a:off x="307789" y="2868962"/>
            <a:ext cx="3149600" cy="370545"/>
          </a:xfrm>
          <a:prstGeom prst="rect">
            <a:avLst/>
          </a:prstGeom>
          <a:noFill/>
          <a:ln>
            <a:noFill/>
          </a:ln>
        </p:spPr>
        <p:txBody>
          <a:bodyPr vert="horz" wrap="none" lIns="243805" tIns="182854" rIns="121903" bIns="60952" rtlCol="0" anchor="ctr" anchorCtr="0">
            <a:noAutofit/>
          </a:bodyPr>
          <a:lstStyle/>
          <a:p>
            <a:pPr defTabSz="609468"/>
            <a:r>
              <a:rPr lang="en-US" sz="1467" b="1" dirty="0">
                <a:solidFill>
                  <a:srgbClr val="000000"/>
                </a:solidFill>
              </a:rPr>
              <a:t>Copyright and Trademarks</a:t>
            </a:r>
          </a:p>
        </p:txBody>
      </p:sp>
      <p:sp>
        <p:nvSpPr>
          <p:cNvPr id="9" name="TextBox 8"/>
          <p:cNvSpPr txBox="1"/>
          <p:nvPr userDrawn="1"/>
        </p:nvSpPr>
        <p:spPr>
          <a:xfrm>
            <a:off x="304800" y="378527"/>
            <a:ext cx="3149600" cy="406400"/>
          </a:xfrm>
          <a:prstGeom prst="rect">
            <a:avLst/>
          </a:prstGeom>
          <a:noFill/>
          <a:ln>
            <a:noFill/>
          </a:ln>
        </p:spPr>
        <p:txBody>
          <a:bodyPr vert="horz" wrap="none" lIns="243805" tIns="182854" rIns="121903" bIns="60952" rtlCol="0" anchor="ctr" anchorCtr="0">
            <a:noAutofit/>
          </a:bodyPr>
          <a:lstStyle/>
          <a:p>
            <a:pPr defTabSz="609468"/>
            <a:r>
              <a:rPr lang="en-US" sz="1067" dirty="0">
                <a:solidFill>
                  <a:srgbClr val="277EB5"/>
                </a:solidFill>
              </a:rPr>
              <a:t>Microsoft Confidential</a:t>
            </a:r>
          </a:p>
        </p:txBody>
      </p:sp>
      <p:sp>
        <p:nvSpPr>
          <p:cNvPr id="10" name="TextBox 9"/>
          <p:cNvSpPr txBox="1"/>
          <p:nvPr userDrawn="1"/>
        </p:nvSpPr>
        <p:spPr>
          <a:xfrm>
            <a:off x="304800" y="3114288"/>
            <a:ext cx="3149600" cy="406400"/>
          </a:xfrm>
          <a:prstGeom prst="rect">
            <a:avLst/>
          </a:prstGeom>
          <a:noFill/>
          <a:ln>
            <a:noFill/>
          </a:ln>
        </p:spPr>
        <p:txBody>
          <a:bodyPr vert="horz" wrap="none" lIns="243805" tIns="182854" rIns="121903" bIns="60952" rtlCol="0" anchor="ctr" anchorCtr="0">
            <a:noAutofit/>
          </a:bodyPr>
          <a:lstStyle/>
          <a:p>
            <a:pPr defTabSz="609468"/>
            <a:r>
              <a:rPr lang="en-US" sz="1067" dirty="0">
                <a:solidFill>
                  <a:srgbClr val="277EB5"/>
                </a:solidFill>
              </a:rPr>
              <a:t>© 2013 Microsoft Corporation. All rights reserved.</a:t>
            </a:r>
          </a:p>
        </p:txBody>
      </p:sp>
      <p:sp>
        <p:nvSpPr>
          <p:cNvPr id="11" name="TextBox 10"/>
          <p:cNvSpPr txBox="1"/>
          <p:nvPr userDrawn="1"/>
        </p:nvSpPr>
        <p:spPr>
          <a:xfrm>
            <a:off x="304801" y="613936"/>
            <a:ext cx="11684000" cy="2438400"/>
          </a:xfrm>
          <a:prstGeom prst="rect">
            <a:avLst/>
          </a:prstGeom>
          <a:noFill/>
          <a:ln>
            <a:noFill/>
          </a:ln>
        </p:spPr>
        <p:txBody>
          <a:bodyPr vert="horz" wrap="square" lIns="243805" tIns="182854" rIns="121903" bIns="60952" rtlCol="0" anchor="t" anchorCtr="0">
            <a:normAutofit lnSpcReduction="10000"/>
          </a:bodyPr>
          <a:lstStyle/>
          <a:p>
            <a:pPr defTabSz="609468">
              <a:spcAft>
                <a:spcPts val="800"/>
              </a:spcAft>
            </a:pPr>
            <a:r>
              <a:rPr lang="en-US" sz="1333" dirty="0">
                <a:solidFill>
                  <a:srgbClr val="000000">
                    <a:alpha val="87000"/>
                  </a:srgbClr>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609468">
              <a:spcAft>
                <a:spcPts val="800"/>
              </a:spcAft>
            </a:pPr>
            <a:r>
              <a:rPr lang="en-US" sz="1333" dirty="0">
                <a:solidFill>
                  <a:srgbClr val="000000">
                    <a:alpha val="87000"/>
                  </a:srgbClr>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609468">
              <a:spcAft>
                <a:spcPts val="800"/>
              </a:spcAft>
            </a:pPr>
            <a:r>
              <a:rPr lang="en-US" sz="1333" dirty="0">
                <a:solidFill>
                  <a:srgbClr val="000000">
                    <a:alpha val="87000"/>
                  </a:srgbClr>
                </a:solidFill>
              </a:rPr>
              <a:t>Training package content, including URLs and other Internet Web 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609468">
              <a:spcAft>
                <a:spcPts val="800"/>
              </a:spcAft>
            </a:pPr>
            <a:endParaRPr lang="en-US" sz="1333" dirty="0">
              <a:solidFill>
                <a:srgbClr val="000000">
                  <a:alpha val="87000"/>
                </a:srgbClr>
              </a:solidFill>
            </a:endParaRPr>
          </a:p>
        </p:txBody>
      </p:sp>
    </p:spTree>
    <p:extLst>
      <p:ext uri="{BB962C8B-B14F-4D97-AF65-F5344CB8AC3E}">
        <p14:creationId xmlns:p14="http://schemas.microsoft.com/office/powerpoint/2010/main" val="119938018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Notes Continue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304801"/>
            <a:ext cx="11277600" cy="685800"/>
          </a:xfrm>
          <a:noFill/>
        </p:spPr>
        <p:txBody>
          <a:bodyPr rIns="91440">
            <a:noAutofit/>
          </a:bodyPr>
          <a:lstStyle>
            <a:lvl1pPr>
              <a:defRPr sz="3600" baseline="0">
                <a:solidFill>
                  <a:srgbClr val="0A5BBA"/>
                </a:solidFill>
                <a:latin typeface="Segoe UI Light" panose="020B0502040204020203" pitchFamily="34" charset="0"/>
                <a:cs typeface="Segoe UI Light" panose="020B0502040204020203" pitchFamily="34" charset="0"/>
              </a:defRPr>
            </a:lvl1pPr>
          </a:lstStyle>
          <a:p>
            <a:r>
              <a:rPr lang="en-US" dirty="0"/>
              <a:t>Notes Continued</a:t>
            </a:r>
          </a:p>
        </p:txBody>
      </p:sp>
      <p:sp>
        <p:nvSpPr>
          <p:cNvPr id="5" name="Slide Number Placeholder 4"/>
          <p:cNvSpPr>
            <a:spLocks noGrp="1"/>
          </p:cNvSpPr>
          <p:nvPr>
            <p:ph type="sldNum" sz="quarter" idx="12"/>
          </p:nvPr>
        </p:nvSpPr>
        <p:spPr>
          <a:xfrm>
            <a:off x="8850631" y="6356351"/>
            <a:ext cx="2743200" cy="365125"/>
          </a:xfrm>
          <a:prstGeom prst="rect">
            <a:avLst/>
          </a:prstGeom>
        </p:spPr>
        <p:txBody>
          <a:bodyPr/>
          <a:lstStyle/>
          <a:p>
            <a:fld id="{AFFF257A-30C5-4AFB-911B-BE4CEEA1EA82}" type="slidenum">
              <a:rPr lang="en-US" smtClean="0"/>
              <a:t>‹#›</a:t>
            </a:fld>
            <a:endParaRPr lang="en-US"/>
          </a:p>
        </p:txBody>
      </p:sp>
    </p:spTree>
    <p:extLst>
      <p:ext uri="{BB962C8B-B14F-4D97-AF65-F5344CB8AC3E}">
        <p14:creationId xmlns:p14="http://schemas.microsoft.com/office/powerpoint/2010/main" val="381616957"/>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Module Overview">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371601"/>
            <a:ext cx="4572000" cy="1828800"/>
          </a:xfrm>
          <a:solidFill>
            <a:srgbClr val="0A5BBA"/>
          </a:solidFill>
        </p:spPr>
        <p:txBody>
          <a:bodyPr lIns="182880" tIns="137160" rIns="91440" anchor="t" anchorCtr="0">
            <a:normAutofit/>
          </a:bodyPr>
          <a:lstStyle>
            <a:lvl1pPr>
              <a:defRPr sz="2800" baseline="0">
                <a:solidFill>
                  <a:schemeClr val="bg1"/>
                </a:solidFill>
                <a:latin typeface="Segoe UI Light" panose="020B0502040204020203" pitchFamily="34" charset="0"/>
              </a:defRPr>
            </a:lvl1pPr>
          </a:lstStyle>
          <a:p>
            <a:r>
              <a:rPr lang="en-US" dirty="0"/>
              <a:t>Module #: Module Title</a:t>
            </a:r>
          </a:p>
        </p:txBody>
      </p:sp>
      <p:sp>
        <p:nvSpPr>
          <p:cNvPr id="9" name="Text Placeholder 18"/>
          <p:cNvSpPr>
            <a:spLocks noGrp="1"/>
          </p:cNvSpPr>
          <p:nvPr>
            <p:ph type="body" sz="quarter" idx="16" hasCustomPrompt="1"/>
          </p:nvPr>
        </p:nvSpPr>
        <p:spPr>
          <a:xfrm>
            <a:off x="0" y="3200400"/>
            <a:ext cx="4572000" cy="704088"/>
          </a:xfrm>
          <a:prstGeom prst="rect">
            <a:avLst/>
          </a:prstGeom>
          <a:solidFill>
            <a:srgbClr val="002050">
              <a:alpha val="89804"/>
            </a:srgbClr>
          </a:solidFill>
        </p:spPr>
        <p:txBody>
          <a:bodyPr vert="horz" lIns="91440" tIns="91440">
            <a:normAutofit/>
          </a:bodyPr>
          <a:lstStyle>
            <a:lvl1pPr marL="0" indent="0">
              <a:lnSpc>
                <a:spcPct val="100000"/>
              </a:lnSpc>
              <a:buFontTx/>
              <a:buNone/>
              <a:defRPr sz="2000" baseline="0">
                <a:solidFill>
                  <a:schemeClr val="bg1"/>
                </a:solidFill>
                <a:latin typeface="Segoe UI" panose="020B0502040204020203" pitchFamily="34" charset="0"/>
                <a:cs typeface="Segoe UI" panose="020B0502040204020203" pitchFamily="34" charset="0"/>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dirty="0"/>
              <a:t>Module Overview</a:t>
            </a:r>
          </a:p>
        </p:txBody>
      </p:sp>
    </p:spTree>
    <p:extLst>
      <p:ext uri="{BB962C8B-B14F-4D97-AF65-F5344CB8AC3E}">
        <p14:creationId xmlns:p14="http://schemas.microsoft.com/office/powerpoint/2010/main" val="415194556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ingle Point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2819401"/>
            <a:ext cx="11277600" cy="685800"/>
          </a:xfrm>
          <a:noFill/>
        </p:spPr>
        <p:txBody>
          <a:bodyPr rIns="91440">
            <a:noAutofit/>
          </a:bodyPr>
          <a:lstStyle>
            <a:lvl1pPr algn="ctr">
              <a:defRPr sz="3600" baseline="0">
                <a:solidFill>
                  <a:srgbClr val="3F3F3F"/>
                </a:solidFill>
                <a:latin typeface="Segoe UI Light" panose="020B0502040204020203" pitchFamily="34" charset="0"/>
                <a:cs typeface="Segoe UI Light" panose="020B0502040204020203" pitchFamily="34" charset="0"/>
              </a:defRPr>
            </a:lvl1pPr>
          </a:lstStyle>
          <a:p>
            <a:r>
              <a:rPr lang="en-US" dirty="0"/>
              <a:t>Add single point here</a:t>
            </a:r>
          </a:p>
        </p:txBody>
      </p:sp>
      <p:sp>
        <p:nvSpPr>
          <p:cNvPr id="5" name="Slide Number Placeholder 4"/>
          <p:cNvSpPr>
            <a:spLocks noGrp="1"/>
          </p:cNvSpPr>
          <p:nvPr>
            <p:ph type="sldNum" sz="quarter" idx="12"/>
          </p:nvPr>
        </p:nvSpPr>
        <p:spPr>
          <a:xfrm>
            <a:off x="8850631" y="6356351"/>
            <a:ext cx="2743200" cy="365125"/>
          </a:xfrm>
          <a:prstGeom prst="rect">
            <a:avLst/>
          </a:prstGeom>
        </p:spPr>
        <p:txBody>
          <a:bodyPr/>
          <a:lstStyle/>
          <a:p>
            <a:fld id="{AFFF257A-30C5-4AFB-911B-BE4CEEA1EA82}" type="slidenum">
              <a:rPr lang="en-US" smtClean="0"/>
              <a:t>‹#›</a:t>
            </a:fld>
            <a:endParaRPr lang="en-US"/>
          </a:p>
        </p:txBody>
      </p:sp>
    </p:spTree>
    <p:extLst>
      <p:ext uri="{BB962C8B-B14F-4D97-AF65-F5344CB8AC3E}">
        <p14:creationId xmlns:p14="http://schemas.microsoft.com/office/powerpoint/2010/main" val="3381806782"/>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bg1"/>
        </a:solidFill>
        <a:effectLst/>
      </p:bgPr>
    </p:bg>
    <p:spTree>
      <p:nvGrpSpPr>
        <p:cNvPr id="1" name=""/>
        <p:cNvGrpSpPr/>
        <p:nvPr/>
      </p:nvGrpSpPr>
      <p:grpSpPr>
        <a:xfrm>
          <a:off x="0" y="0"/>
          <a:ext cx="0" cy="0"/>
          <a:chOff x="0" y="0"/>
          <a:chExt cx="0" cy="0"/>
        </a:xfrm>
      </p:grpSpPr>
      <p:sp>
        <p:nvSpPr>
          <p:cNvPr id="13" name="TextBox 12"/>
          <p:cNvSpPr txBox="1"/>
          <p:nvPr userDrawn="1"/>
        </p:nvSpPr>
        <p:spPr>
          <a:xfrm>
            <a:off x="0" y="1143000"/>
            <a:ext cx="6096000" cy="374846"/>
          </a:xfrm>
          <a:prstGeom prst="rect">
            <a:avLst/>
          </a:prstGeom>
          <a:noFill/>
        </p:spPr>
        <p:txBody>
          <a:bodyPr wrap="square" rtlCol="0">
            <a:spAutoFit/>
          </a:bodyPr>
          <a:lstStyle/>
          <a:p>
            <a:endParaRPr lang="en-US" sz="1800" dirty="0"/>
          </a:p>
        </p:txBody>
      </p:sp>
      <p:sp>
        <p:nvSpPr>
          <p:cNvPr id="16" name="Text Placeholder 9"/>
          <p:cNvSpPr>
            <a:spLocks noGrp="1"/>
          </p:cNvSpPr>
          <p:nvPr>
            <p:ph type="body" sz="quarter" idx="13" hasCustomPrompt="1"/>
          </p:nvPr>
        </p:nvSpPr>
        <p:spPr>
          <a:xfrm>
            <a:off x="0" y="1143000"/>
            <a:ext cx="6035040" cy="2286000"/>
          </a:xfrm>
          <a:solidFill>
            <a:srgbClr val="0A5BBA">
              <a:alpha val="90000"/>
            </a:srgbClr>
          </a:solidFill>
        </p:spPr>
        <p:txBody>
          <a:bodyPr lIns="182880" tIns="137160">
            <a:noAutofit/>
          </a:bodyPr>
          <a:lstStyle>
            <a:lvl1pPr marL="57139" indent="0">
              <a:lnSpc>
                <a:spcPct val="100000"/>
              </a:lnSpc>
              <a:buNone/>
              <a:defRPr sz="3600" baseline="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Lab: Title of Lab</a:t>
            </a:r>
          </a:p>
        </p:txBody>
      </p:sp>
    </p:spTree>
    <p:extLst>
      <p:ext uri="{BB962C8B-B14F-4D97-AF65-F5344CB8AC3E}">
        <p14:creationId xmlns:p14="http://schemas.microsoft.com/office/powerpoint/2010/main" val="3937759373"/>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4_Title Slide light right aligned">
    <p:bg>
      <p:bgPr>
        <a:solidFill>
          <a:schemeClr val="bg1"/>
        </a:solidFill>
        <a:effectLst/>
      </p:bgPr>
    </p:bg>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192000" cy="378565"/>
          </a:xfrm>
          <a:prstGeom prst="rect">
            <a:avLst/>
          </a:prstGeom>
        </p:spPr>
        <p:txBody>
          <a:bodyPr vert="horz"/>
          <a:lstStyle>
            <a:lvl1pPr>
              <a:buFontTx/>
              <a:buNone/>
              <a:defRPr sz="1400">
                <a:solidFill>
                  <a:srgbClr val="000000"/>
                </a:solidFill>
                <a:latin typeface="+mn-lt"/>
              </a:defRPr>
            </a:lvl1pPr>
          </a:lstStyle>
          <a:p>
            <a:r>
              <a:rPr lang="en-US" dirty="0"/>
              <a:t>Click icon to add picture</a:t>
            </a:r>
          </a:p>
        </p:txBody>
      </p:sp>
      <p:sp>
        <p:nvSpPr>
          <p:cNvPr id="9" name="Text Placeholder 18"/>
          <p:cNvSpPr>
            <a:spLocks noGrp="1"/>
          </p:cNvSpPr>
          <p:nvPr>
            <p:ph type="body" sz="quarter" idx="16" hasCustomPrompt="1"/>
          </p:nvPr>
        </p:nvSpPr>
        <p:spPr>
          <a:xfrm>
            <a:off x="1" y="3429000"/>
            <a:ext cx="3048000" cy="1143000"/>
          </a:xfrm>
          <a:prstGeom prst="rect">
            <a:avLst/>
          </a:prstGeom>
          <a:solidFill>
            <a:srgbClr val="002050">
              <a:alpha val="90000"/>
            </a:srgbClr>
          </a:solidFill>
        </p:spPr>
        <p:txBody>
          <a:bodyPr vert="horz" lIns="91440" tIns="91440">
            <a:normAutofit/>
          </a:bodyPr>
          <a:lstStyle>
            <a:lvl1pPr marL="0" indent="0">
              <a:lnSpc>
                <a:spcPct val="100000"/>
              </a:lnSpc>
              <a:buFontTx/>
              <a:buNone/>
              <a:defRPr sz="1600" baseline="0">
                <a:solidFill>
                  <a:schemeClr val="bg1"/>
                </a:solidFill>
                <a:latin typeface="Segoe UI" panose="020B0502040204020203" pitchFamily="34" charset="0"/>
                <a:cs typeface="Segoe UI" panose="020B0502040204020203" pitchFamily="34" charset="0"/>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dirty="0"/>
              <a:t>Click to edit slide content</a:t>
            </a:r>
          </a:p>
        </p:txBody>
      </p:sp>
      <p:sp>
        <p:nvSpPr>
          <p:cNvPr id="13" name="TextBox 12"/>
          <p:cNvSpPr txBox="1"/>
          <p:nvPr userDrawn="1"/>
        </p:nvSpPr>
        <p:spPr>
          <a:xfrm>
            <a:off x="0" y="1143000"/>
            <a:ext cx="6096000" cy="374846"/>
          </a:xfrm>
          <a:prstGeom prst="rect">
            <a:avLst/>
          </a:prstGeom>
          <a:noFill/>
        </p:spPr>
        <p:txBody>
          <a:bodyPr wrap="square" rtlCol="0">
            <a:spAutoFit/>
          </a:bodyPr>
          <a:lstStyle/>
          <a:p>
            <a:endParaRPr lang="en-US" sz="1800" dirty="0"/>
          </a:p>
        </p:txBody>
      </p:sp>
      <p:sp>
        <p:nvSpPr>
          <p:cNvPr id="16" name="Text Placeholder 9"/>
          <p:cNvSpPr>
            <a:spLocks noGrp="1"/>
          </p:cNvSpPr>
          <p:nvPr>
            <p:ph type="body" sz="quarter" idx="13"/>
          </p:nvPr>
        </p:nvSpPr>
        <p:spPr>
          <a:xfrm>
            <a:off x="0" y="1143000"/>
            <a:ext cx="6096000" cy="2286000"/>
          </a:xfrm>
          <a:solidFill>
            <a:srgbClr val="0A5BBA">
              <a:alpha val="90000"/>
            </a:srgbClr>
          </a:solidFill>
        </p:spPr>
        <p:txBody>
          <a:bodyPr lIns="91440" tIns="91440">
            <a:noAutofit/>
          </a:bodyPr>
          <a:lstStyle>
            <a:lvl1pPr marL="0" indent="0">
              <a:lnSpc>
                <a:spcPct val="100000"/>
              </a:lnSpc>
              <a:buNone/>
              <a:defRPr sz="320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Tree>
    <p:extLst>
      <p:ext uri="{BB962C8B-B14F-4D97-AF65-F5344CB8AC3E}">
        <p14:creationId xmlns:p14="http://schemas.microsoft.com/office/powerpoint/2010/main" val="1366037475"/>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le Slide dark/image, left aligned">
    <p:bg>
      <p:bgPr>
        <a:solidFill>
          <a:srgbClr val="002050"/>
        </a:solidFill>
        <a:effectLst/>
      </p:bgPr>
    </p:bg>
    <p:spTree>
      <p:nvGrpSpPr>
        <p:cNvPr id="1" name=""/>
        <p:cNvGrpSpPr/>
        <p:nvPr/>
      </p:nvGrpSpPr>
      <p:grpSpPr>
        <a:xfrm>
          <a:off x="0" y="0"/>
          <a:ext cx="0" cy="0"/>
          <a:chOff x="0" y="0"/>
          <a:chExt cx="0" cy="0"/>
        </a:xfrm>
      </p:grpSpPr>
      <p:sp>
        <p:nvSpPr>
          <p:cNvPr id="7" name="Text Placeholder 18"/>
          <p:cNvSpPr>
            <a:spLocks noGrp="1"/>
          </p:cNvSpPr>
          <p:nvPr>
            <p:ph type="body" sz="quarter" idx="16" hasCustomPrompt="1"/>
          </p:nvPr>
        </p:nvSpPr>
        <p:spPr>
          <a:xfrm>
            <a:off x="1" y="3429000"/>
            <a:ext cx="3048000" cy="1143000"/>
          </a:xfrm>
          <a:prstGeom prst="rect">
            <a:avLst/>
          </a:prstGeom>
          <a:solidFill>
            <a:srgbClr val="15AEEF">
              <a:alpha val="89804"/>
            </a:srgbClr>
          </a:solidFill>
        </p:spPr>
        <p:txBody>
          <a:bodyPr vert="horz" lIns="91440" tIns="91440">
            <a:normAutofit/>
          </a:bodyPr>
          <a:lstStyle>
            <a:lvl1pPr marL="0" indent="0">
              <a:lnSpc>
                <a:spcPct val="100000"/>
              </a:lnSpc>
              <a:buFontTx/>
              <a:buNone/>
              <a:defRPr sz="1600" baseline="0">
                <a:solidFill>
                  <a:schemeClr val="tx1"/>
                </a:solidFill>
                <a:latin typeface="Segoe UI" panose="020B0502040204020203" pitchFamily="34" charset="0"/>
                <a:cs typeface="Segoe UI" panose="020B0502040204020203" pitchFamily="34" charset="0"/>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dirty="0"/>
              <a:t>Click to edit slide content</a:t>
            </a:r>
          </a:p>
        </p:txBody>
      </p:sp>
      <p:sp>
        <p:nvSpPr>
          <p:cNvPr id="11" name="Text Placeholder 9"/>
          <p:cNvSpPr>
            <a:spLocks noGrp="1"/>
          </p:cNvSpPr>
          <p:nvPr>
            <p:ph type="body" sz="quarter" idx="13"/>
          </p:nvPr>
        </p:nvSpPr>
        <p:spPr>
          <a:xfrm>
            <a:off x="0" y="1143000"/>
            <a:ext cx="6096000" cy="2286000"/>
          </a:xfrm>
          <a:solidFill>
            <a:srgbClr val="0A5BBA">
              <a:alpha val="90000"/>
            </a:srgbClr>
          </a:solidFill>
        </p:spPr>
        <p:txBody>
          <a:bodyPr lIns="91440" tIns="91440">
            <a:noAutofit/>
          </a:bodyPr>
          <a:lstStyle>
            <a:lvl1pPr marL="0" indent="0">
              <a:lnSpc>
                <a:spcPct val="100000"/>
              </a:lnSpc>
              <a:buNone/>
              <a:defRPr sz="320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Tree>
    <p:extLst>
      <p:ext uri="{BB962C8B-B14F-4D97-AF65-F5344CB8AC3E}">
        <p14:creationId xmlns:p14="http://schemas.microsoft.com/office/powerpoint/2010/main" val="47409348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theme" Target="../theme/theme2.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81.xml"/><Relationship Id="rId21" Type="http://schemas.openxmlformats.org/officeDocument/2006/relationships/slideLayout" Target="../slideLayouts/slideLayout76.xml"/><Relationship Id="rId34" Type="http://schemas.openxmlformats.org/officeDocument/2006/relationships/slideLayout" Target="../slideLayouts/slideLayout89.xml"/><Relationship Id="rId42" Type="http://schemas.openxmlformats.org/officeDocument/2006/relationships/slideLayout" Target="../slideLayouts/slideLayout97.xml"/><Relationship Id="rId47" Type="http://schemas.openxmlformats.org/officeDocument/2006/relationships/slideLayout" Target="../slideLayouts/slideLayout102.xml"/><Relationship Id="rId50" Type="http://schemas.openxmlformats.org/officeDocument/2006/relationships/slideLayout" Target="../slideLayouts/slideLayout105.xml"/><Relationship Id="rId55" Type="http://schemas.openxmlformats.org/officeDocument/2006/relationships/slideLayout" Target="../slideLayouts/slideLayout110.xml"/><Relationship Id="rId63" Type="http://schemas.openxmlformats.org/officeDocument/2006/relationships/slideLayout" Target="../slideLayouts/slideLayout118.xml"/><Relationship Id="rId7" Type="http://schemas.openxmlformats.org/officeDocument/2006/relationships/slideLayout" Target="../slideLayouts/slideLayout62.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9" Type="http://schemas.openxmlformats.org/officeDocument/2006/relationships/slideLayout" Target="../slideLayouts/slideLayout84.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32" Type="http://schemas.openxmlformats.org/officeDocument/2006/relationships/slideLayout" Target="../slideLayouts/slideLayout87.xml"/><Relationship Id="rId37" Type="http://schemas.openxmlformats.org/officeDocument/2006/relationships/slideLayout" Target="../slideLayouts/slideLayout92.xml"/><Relationship Id="rId40" Type="http://schemas.openxmlformats.org/officeDocument/2006/relationships/slideLayout" Target="../slideLayouts/slideLayout95.xml"/><Relationship Id="rId45" Type="http://schemas.openxmlformats.org/officeDocument/2006/relationships/slideLayout" Target="../slideLayouts/slideLayout100.xml"/><Relationship Id="rId53" Type="http://schemas.openxmlformats.org/officeDocument/2006/relationships/slideLayout" Target="../slideLayouts/slideLayout108.xml"/><Relationship Id="rId58" Type="http://schemas.openxmlformats.org/officeDocument/2006/relationships/slideLayout" Target="../slideLayouts/slideLayout113.xml"/><Relationship Id="rId5" Type="http://schemas.openxmlformats.org/officeDocument/2006/relationships/slideLayout" Target="../slideLayouts/slideLayout60.xml"/><Relationship Id="rId61" Type="http://schemas.openxmlformats.org/officeDocument/2006/relationships/slideLayout" Target="../slideLayouts/slideLayout116.xml"/><Relationship Id="rId19" Type="http://schemas.openxmlformats.org/officeDocument/2006/relationships/slideLayout" Target="../slideLayouts/slideLayout7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slideLayout" Target="../slideLayouts/slideLayout82.xml"/><Relationship Id="rId30" Type="http://schemas.openxmlformats.org/officeDocument/2006/relationships/slideLayout" Target="../slideLayouts/slideLayout85.xml"/><Relationship Id="rId35" Type="http://schemas.openxmlformats.org/officeDocument/2006/relationships/slideLayout" Target="../slideLayouts/slideLayout90.xml"/><Relationship Id="rId43" Type="http://schemas.openxmlformats.org/officeDocument/2006/relationships/slideLayout" Target="../slideLayouts/slideLayout98.xml"/><Relationship Id="rId48" Type="http://schemas.openxmlformats.org/officeDocument/2006/relationships/slideLayout" Target="../slideLayouts/slideLayout103.xml"/><Relationship Id="rId56" Type="http://schemas.openxmlformats.org/officeDocument/2006/relationships/slideLayout" Target="../slideLayouts/slideLayout111.xml"/><Relationship Id="rId64" Type="http://schemas.openxmlformats.org/officeDocument/2006/relationships/slideLayout" Target="../slideLayouts/slideLayout119.xml"/><Relationship Id="rId8" Type="http://schemas.openxmlformats.org/officeDocument/2006/relationships/slideLayout" Target="../slideLayouts/slideLayout63.xml"/><Relationship Id="rId51" Type="http://schemas.openxmlformats.org/officeDocument/2006/relationships/slideLayout" Target="../slideLayouts/slideLayout106.xml"/><Relationship Id="rId3" Type="http://schemas.openxmlformats.org/officeDocument/2006/relationships/slideLayout" Target="../slideLayouts/slideLayout58.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33" Type="http://schemas.openxmlformats.org/officeDocument/2006/relationships/slideLayout" Target="../slideLayouts/slideLayout88.xml"/><Relationship Id="rId38" Type="http://schemas.openxmlformats.org/officeDocument/2006/relationships/slideLayout" Target="../slideLayouts/slideLayout93.xml"/><Relationship Id="rId46" Type="http://schemas.openxmlformats.org/officeDocument/2006/relationships/slideLayout" Target="../slideLayouts/slideLayout101.xml"/><Relationship Id="rId59" Type="http://schemas.openxmlformats.org/officeDocument/2006/relationships/slideLayout" Target="../slideLayouts/slideLayout114.xml"/><Relationship Id="rId20" Type="http://schemas.openxmlformats.org/officeDocument/2006/relationships/slideLayout" Target="../slideLayouts/slideLayout75.xml"/><Relationship Id="rId41" Type="http://schemas.openxmlformats.org/officeDocument/2006/relationships/slideLayout" Target="../slideLayouts/slideLayout96.xml"/><Relationship Id="rId54" Type="http://schemas.openxmlformats.org/officeDocument/2006/relationships/slideLayout" Target="../slideLayouts/slideLayout109.xml"/><Relationship Id="rId62" Type="http://schemas.openxmlformats.org/officeDocument/2006/relationships/slideLayout" Target="../slideLayouts/slideLayout11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slideLayout" Target="../slideLayouts/slideLayout83.xml"/><Relationship Id="rId36" Type="http://schemas.openxmlformats.org/officeDocument/2006/relationships/slideLayout" Target="../slideLayouts/slideLayout91.xml"/><Relationship Id="rId49" Type="http://schemas.openxmlformats.org/officeDocument/2006/relationships/slideLayout" Target="../slideLayouts/slideLayout104.xml"/><Relationship Id="rId57" Type="http://schemas.openxmlformats.org/officeDocument/2006/relationships/slideLayout" Target="../slideLayouts/slideLayout112.xml"/><Relationship Id="rId10" Type="http://schemas.openxmlformats.org/officeDocument/2006/relationships/slideLayout" Target="../slideLayouts/slideLayout65.xml"/><Relationship Id="rId31" Type="http://schemas.openxmlformats.org/officeDocument/2006/relationships/slideLayout" Target="../slideLayouts/slideLayout86.xml"/><Relationship Id="rId44" Type="http://schemas.openxmlformats.org/officeDocument/2006/relationships/slideLayout" Target="../slideLayouts/slideLayout99.xml"/><Relationship Id="rId52" Type="http://schemas.openxmlformats.org/officeDocument/2006/relationships/slideLayout" Target="../slideLayouts/slideLayout107.xml"/><Relationship Id="rId60" Type="http://schemas.openxmlformats.org/officeDocument/2006/relationships/slideLayout" Target="../slideLayouts/slideLayout115.xml"/><Relationship Id="rId65" Type="http://schemas.openxmlformats.org/officeDocument/2006/relationships/theme" Target="../theme/theme3.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39" Type="http://schemas.openxmlformats.org/officeDocument/2006/relationships/slideLayout" Target="../slideLayouts/slideLayout9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0" tIns="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1559" y="1486472"/>
            <a:ext cx="11653521" cy="1961373"/>
          </a:xfrm>
          <a:prstGeom prst="rect">
            <a:avLst/>
          </a:prstGeom>
        </p:spPr>
        <p:txBody>
          <a:bodyPr vert="horz" wrap="square" lIns="0" tIns="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0279621"/>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Lst>
  <p:transition>
    <p:fade/>
  </p:transition>
  <p:txStyles>
    <p:titleStyle>
      <a:lvl1pPr algn="l" defTabSz="914192" rtl="0" eaLnBrk="1" latinLnBrk="0" hangingPunct="1">
        <a:lnSpc>
          <a:spcPct val="100000"/>
        </a:lnSpc>
        <a:spcBef>
          <a:spcPts val="588"/>
        </a:spcBef>
        <a:spcAft>
          <a:spcPts val="588"/>
        </a:spcAft>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173">
          <p15:clr>
            <a:srgbClr val="C35EA4"/>
          </p15:clr>
        </p15:guide>
        <p15:guide id="17" pos="7661">
          <p15:clr>
            <a:srgbClr val="C35EA4"/>
          </p15:clr>
        </p15:guide>
        <p15:guide id="25" orient="horz" pos="187">
          <p15:clr>
            <a:srgbClr val="C35EA4"/>
          </p15:clr>
        </p15:guide>
        <p15:guide id="26" orient="horz" pos="4219">
          <p15:clr>
            <a:srgbClr val="C35EA4"/>
          </p15:clr>
        </p15:guide>
        <p15:guide id="27" pos="3917">
          <p15:clr>
            <a:srgbClr val="C35EA4"/>
          </p15:clr>
        </p15:guide>
        <p15:guide id="28" orient="horz" pos="955">
          <p15:clr>
            <a:srgbClr val="C35EA4"/>
          </p15:clr>
        </p15:guide>
        <p15:guide id="30" orient="horz" pos="283">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20358835"/>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 id="2147483710" r:id="rId18"/>
    <p:sldLayoutId id="2147483711" r:id="rId19"/>
    <p:sldLayoutId id="2147483712" r:id="rId20"/>
    <p:sldLayoutId id="2147483713" r:id="rId21"/>
    <p:sldLayoutId id="2147483714" r:id="rId22"/>
    <p:sldLayoutId id="2147483715" r:id="rId23"/>
    <p:sldLayoutId id="2147483716"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0137941"/>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36" r:id="rId19"/>
    <p:sldLayoutId id="2147483737" r:id="rId20"/>
    <p:sldLayoutId id="2147483738" r:id="rId21"/>
    <p:sldLayoutId id="2147483739" r:id="rId22"/>
    <p:sldLayoutId id="2147483740" r:id="rId23"/>
    <p:sldLayoutId id="2147483741" r:id="rId24"/>
    <p:sldLayoutId id="2147483742" r:id="rId25"/>
    <p:sldLayoutId id="2147483743" r:id="rId26"/>
    <p:sldLayoutId id="2147483744" r:id="rId27"/>
    <p:sldLayoutId id="2147483745" r:id="rId28"/>
    <p:sldLayoutId id="2147483746" r:id="rId29"/>
    <p:sldLayoutId id="2147483747" r:id="rId30"/>
    <p:sldLayoutId id="2147483748" r:id="rId31"/>
    <p:sldLayoutId id="2147483749" r:id="rId32"/>
    <p:sldLayoutId id="2147483750" r:id="rId33"/>
    <p:sldLayoutId id="2147483751" r:id="rId34"/>
    <p:sldLayoutId id="2147483752" r:id="rId35"/>
    <p:sldLayoutId id="2147483753" r:id="rId36"/>
    <p:sldLayoutId id="2147483755" r:id="rId37"/>
    <p:sldLayoutId id="2147483756" r:id="rId38"/>
    <p:sldLayoutId id="2147483757" r:id="rId39"/>
    <p:sldLayoutId id="2147483758" r:id="rId40"/>
    <p:sldLayoutId id="2147483759" r:id="rId41"/>
    <p:sldLayoutId id="2147483760" r:id="rId42"/>
    <p:sldLayoutId id="2147483761" r:id="rId43"/>
    <p:sldLayoutId id="2147483762" r:id="rId44"/>
    <p:sldLayoutId id="2147483763" r:id="rId45"/>
    <p:sldLayoutId id="2147483764" r:id="rId46"/>
    <p:sldLayoutId id="2147483765" r:id="rId47"/>
    <p:sldLayoutId id="2147483766" r:id="rId48"/>
    <p:sldLayoutId id="2147483767" r:id="rId49"/>
    <p:sldLayoutId id="2147483768" r:id="rId50"/>
    <p:sldLayoutId id="2147483769" r:id="rId51"/>
    <p:sldLayoutId id="2147483770" r:id="rId52"/>
    <p:sldLayoutId id="2147483771" r:id="rId53"/>
    <p:sldLayoutId id="2147483772" r:id="rId54"/>
    <p:sldLayoutId id="2147483773" r:id="rId55"/>
    <p:sldLayoutId id="2147483774" r:id="rId56"/>
    <p:sldLayoutId id="2147483775" r:id="rId57"/>
    <p:sldLayoutId id="2147483776" r:id="rId58"/>
    <p:sldLayoutId id="2147483777" r:id="rId59"/>
    <p:sldLayoutId id="2147483778" r:id="rId60"/>
    <p:sldLayoutId id="2147483779" r:id="rId61"/>
    <p:sldLayoutId id="2147483780" r:id="rId62"/>
    <p:sldLayoutId id="2147483783" r:id="rId63"/>
    <p:sldLayoutId id="2147483784" r:id="rId64"/>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6.xml"/></Relationships>
</file>

<file path=ppt/slides/_rels/slide1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svg"/><Relationship Id="rId2" Type="http://schemas.openxmlformats.org/officeDocument/2006/relationships/notesSlide" Target="../notesSlides/notesSlide11.xml"/><Relationship Id="rId1" Type="http://schemas.openxmlformats.org/officeDocument/2006/relationships/slideLayout" Target="../slideLayouts/slideLayout66.xml"/><Relationship Id="rId6" Type="http://schemas.openxmlformats.org/officeDocument/2006/relationships/image" Target="../media/image21.png"/><Relationship Id="rId11" Type="http://schemas.openxmlformats.org/officeDocument/2006/relationships/image" Target="../media/image26.svg"/><Relationship Id="rId5" Type="http://schemas.openxmlformats.org/officeDocument/2006/relationships/image" Target="../media/image20.sv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sv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6.xml"/></Relationships>
</file>

<file path=ppt/slides/_rels/slide13.xml.rels><?xml version="1.0" encoding="UTF-8" standalone="yes"?>
<Relationships xmlns="http://schemas.openxmlformats.org/package/2006/relationships"><Relationship Id="rId13" Type="http://schemas.openxmlformats.org/officeDocument/2006/relationships/image" Target="../media/image36.png"/><Relationship Id="rId18" Type="http://schemas.openxmlformats.org/officeDocument/2006/relationships/image" Target="../media/image40.png"/><Relationship Id="rId26" Type="http://schemas.openxmlformats.org/officeDocument/2006/relationships/image" Target="../media/image48.png"/><Relationship Id="rId39" Type="http://schemas.openxmlformats.org/officeDocument/2006/relationships/image" Target="../media/image61.png"/><Relationship Id="rId21" Type="http://schemas.openxmlformats.org/officeDocument/2006/relationships/image" Target="../media/image43.png"/><Relationship Id="rId34" Type="http://schemas.openxmlformats.org/officeDocument/2006/relationships/image" Target="../media/image56.png"/><Relationship Id="rId7" Type="http://schemas.openxmlformats.org/officeDocument/2006/relationships/image" Target="../media/image31.png"/><Relationship Id="rId12" Type="http://schemas.openxmlformats.org/officeDocument/2006/relationships/hyperlink" Target="http://www.asd.gov.au/infosec/irap/index.htm" TargetMode="External"/><Relationship Id="rId17" Type="http://schemas.openxmlformats.org/officeDocument/2006/relationships/image" Target="../media/image39.jpeg"/><Relationship Id="rId25" Type="http://schemas.openxmlformats.org/officeDocument/2006/relationships/image" Target="../media/image47.jpeg"/><Relationship Id="rId33" Type="http://schemas.openxmlformats.org/officeDocument/2006/relationships/image" Target="../media/image55.jpeg"/><Relationship Id="rId38" Type="http://schemas.openxmlformats.org/officeDocument/2006/relationships/image" Target="../media/image60.png"/><Relationship Id="rId2" Type="http://schemas.openxmlformats.org/officeDocument/2006/relationships/notesSlide" Target="../notesSlides/notesSlide13.xml"/><Relationship Id="rId16" Type="http://schemas.openxmlformats.org/officeDocument/2006/relationships/image" Target="../media/image38.jpeg"/><Relationship Id="rId20" Type="http://schemas.openxmlformats.org/officeDocument/2006/relationships/image" Target="../media/image42.png"/><Relationship Id="rId29" Type="http://schemas.openxmlformats.org/officeDocument/2006/relationships/image" Target="../media/image51.png"/><Relationship Id="rId1" Type="http://schemas.openxmlformats.org/officeDocument/2006/relationships/slideLayout" Target="../slideLayouts/slideLayout66.xml"/><Relationship Id="rId6" Type="http://schemas.openxmlformats.org/officeDocument/2006/relationships/image" Target="../media/image30.png"/><Relationship Id="rId11" Type="http://schemas.openxmlformats.org/officeDocument/2006/relationships/image" Target="../media/image35.png"/><Relationship Id="rId24" Type="http://schemas.openxmlformats.org/officeDocument/2006/relationships/image" Target="../media/image46.png"/><Relationship Id="rId32" Type="http://schemas.openxmlformats.org/officeDocument/2006/relationships/image" Target="../media/image54.png"/><Relationship Id="rId37" Type="http://schemas.openxmlformats.org/officeDocument/2006/relationships/image" Target="../media/image59.png"/><Relationship Id="rId40" Type="http://schemas.openxmlformats.org/officeDocument/2006/relationships/image" Target="../media/image62.png"/><Relationship Id="rId5" Type="http://schemas.openxmlformats.org/officeDocument/2006/relationships/image" Target="../media/image29.jpeg"/><Relationship Id="rId15" Type="http://schemas.openxmlformats.org/officeDocument/2006/relationships/image" Target="../media/image37.jpeg"/><Relationship Id="rId23" Type="http://schemas.openxmlformats.org/officeDocument/2006/relationships/image" Target="../media/image45.jpeg"/><Relationship Id="rId28" Type="http://schemas.openxmlformats.org/officeDocument/2006/relationships/image" Target="../media/image50.jpeg"/><Relationship Id="rId36" Type="http://schemas.openxmlformats.org/officeDocument/2006/relationships/image" Target="../media/image58.jpeg"/><Relationship Id="rId10" Type="http://schemas.openxmlformats.org/officeDocument/2006/relationships/image" Target="../media/image34.png"/><Relationship Id="rId19" Type="http://schemas.openxmlformats.org/officeDocument/2006/relationships/image" Target="../media/image41.png"/><Relationship Id="rId31" Type="http://schemas.openxmlformats.org/officeDocument/2006/relationships/image" Target="../media/image53.png"/><Relationship Id="rId4" Type="http://schemas.openxmlformats.org/officeDocument/2006/relationships/image" Target="../media/image28.jpeg"/><Relationship Id="rId9" Type="http://schemas.openxmlformats.org/officeDocument/2006/relationships/image" Target="../media/image33.png"/><Relationship Id="rId14" Type="http://schemas.openxmlformats.org/officeDocument/2006/relationships/hyperlink" Target="https://www.fisc.or.jp/" TargetMode="External"/><Relationship Id="rId22" Type="http://schemas.openxmlformats.org/officeDocument/2006/relationships/image" Target="../media/image44.png"/><Relationship Id="rId27" Type="http://schemas.openxmlformats.org/officeDocument/2006/relationships/image" Target="../media/image49.png"/><Relationship Id="rId30" Type="http://schemas.openxmlformats.org/officeDocument/2006/relationships/image" Target="../media/image52.png"/><Relationship Id="rId35" Type="http://schemas.openxmlformats.org/officeDocument/2006/relationships/image" Target="../media/image57.jpeg"/><Relationship Id="rId8" Type="http://schemas.openxmlformats.org/officeDocument/2006/relationships/image" Target="../media/image32.png"/><Relationship Id="rId3" Type="http://schemas.openxmlformats.org/officeDocument/2006/relationships/image" Target="../media/image27.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6.xml"/></Relationships>
</file>

<file path=ppt/slides/_rels/slide1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5.xml"/><Relationship Id="rId1" Type="http://schemas.openxmlformats.org/officeDocument/2006/relationships/slideLayout" Target="../slideLayouts/slideLayout66.xml"/><Relationship Id="rId4" Type="http://schemas.openxmlformats.org/officeDocument/2006/relationships/image" Target="../media/image64.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2.xml"/></Relationships>
</file>

<file path=ppt/slides/_rels/slide17.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notesSlide" Target="../notesSlides/notesSlide17.xml"/><Relationship Id="rId1" Type="http://schemas.openxmlformats.org/officeDocument/2006/relationships/slideLayout" Target="../slideLayouts/slideLayout6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image" Target="../media/image66.tmp"/><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image" Target="../media/image67.tmp"/></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0.xml"/><Relationship Id="rId1" Type="http://schemas.openxmlformats.org/officeDocument/2006/relationships/slideLayout" Target="../slideLayouts/slideLayout7.xml"/><Relationship Id="rId5" Type="http://schemas.openxmlformats.org/officeDocument/2006/relationships/image" Target="../media/image70.png"/><Relationship Id="rId4" Type="http://schemas.openxmlformats.org/officeDocument/2006/relationships/image" Target="../media/image69.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2.xml"/><Relationship Id="rId1" Type="http://schemas.openxmlformats.org/officeDocument/2006/relationships/slideLayout" Target="../slideLayouts/slideLayout7.xml"/><Relationship Id="rId4" Type="http://schemas.openxmlformats.org/officeDocument/2006/relationships/image" Target="../media/image72.tmp"/></Relationships>
</file>

<file path=ppt/slides/_rels/slide2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3.xml"/><Relationship Id="rId1" Type="http://schemas.openxmlformats.org/officeDocument/2006/relationships/slideLayout" Target="../slideLayouts/slideLayout66.xml"/><Relationship Id="rId4" Type="http://schemas.openxmlformats.org/officeDocument/2006/relationships/image" Target="../media/image74.png"/></Relationships>
</file>

<file path=ppt/slides/_rels/slide3.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3.xml"/><Relationship Id="rId1" Type="http://schemas.openxmlformats.org/officeDocument/2006/relationships/slideLayout" Target="../slideLayouts/slideLayout3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6.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6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26667E-3DAF-4B47-BD8C-50446FDD6DE4}"/>
              </a:ext>
            </a:extLst>
          </p:cNvPr>
          <p:cNvSpPr>
            <a:spLocks noGrp="1"/>
          </p:cNvSpPr>
          <p:nvPr>
            <p:ph type="title"/>
          </p:nvPr>
        </p:nvSpPr>
        <p:spPr>
          <a:xfrm>
            <a:off x="269301" y="1277634"/>
            <a:ext cx="7900477" cy="2173041"/>
          </a:xfrm>
        </p:spPr>
        <p:txBody>
          <a:bodyPr/>
          <a:lstStyle/>
          <a:p>
            <a:r>
              <a:rPr lang="en-US" sz="5882" dirty="0"/>
              <a:t>Datacenter</a:t>
            </a:r>
            <a:br>
              <a:rPr lang="en-US" sz="5882" dirty="0"/>
            </a:br>
            <a:r>
              <a:rPr lang="en-US" sz="5882" dirty="0"/>
              <a:t>Cloud Assessment </a:t>
            </a:r>
            <a:endParaRPr lang="en-US" sz="6470" dirty="0"/>
          </a:p>
        </p:txBody>
      </p:sp>
      <p:sp>
        <p:nvSpPr>
          <p:cNvPr id="8" name="Text Placeholder 7">
            <a:extLst>
              <a:ext uri="{FF2B5EF4-FFF2-40B4-BE49-F238E27FC236}">
                <a16:creationId xmlns:a16="http://schemas.microsoft.com/office/drawing/2014/main" id="{EB69F611-E7D9-41D7-9A23-E7D5698AFE9F}"/>
              </a:ext>
            </a:extLst>
          </p:cNvPr>
          <p:cNvSpPr>
            <a:spLocks noGrp="1"/>
          </p:cNvSpPr>
          <p:nvPr>
            <p:ph type="body" sz="quarter" idx="10"/>
          </p:nvPr>
        </p:nvSpPr>
        <p:spPr>
          <a:xfrm>
            <a:off x="269239" y="3576339"/>
            <a:ext cx="6200271" cy="1178400"/>
          </a:xfrm>
        </p:spPr>
        <p:txBody>
          <a:bodyPr/>
          <a:lstStyle/>
          <a:p>
            <a:r>
              <a:rPr lang="en-US" dirty="0"/>
              <a:t>Migrating Apps, Workloads, and Data to Azure</a:t>
            </a:r>
          </a:p>
        </p:txBody>
      </p:sp>
    </p:spTree>
    <p:extLst>
      <p:ext uri="{BB962C8B-B14F-4D97-AF65-F5344CB8AC3E}">
        <p14:creationId xmlns:p14="http://schemas.microsoft.com/office/powerpoint/2010/main" val="13924660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 name="Rectangle 19"/>
          <p:cNvSpPr/>
          <p:nvPr/>
        </p:nvSpPr>
        <p:spPr bwMode="auto">
          <a:xfrm>
            <a:off x="-1" y="-6350"/>
            <a:ext cx="12192001" cy="685800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solidFill>
                  <a:sysClr val="windowText" lastClr="000000"/>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56998038-252F-4A79-BEF3-C5734235F8A5}"/>
              </a:ext>
            </a:extLst>
          </p:cNvPr>
          <p:cNvSpPr>
            <a:spLocks noGrp="1"/>
          </p:cNvSpPr>
          <p:nvPr>
            <p:ph type="title" idx="4294967295"/>
          </p:nvPr>
        </p:nvSpPr>
        <p:spPr>
          <a:xfrm>
            <a:off x="2811468" y="1557338"/>
            <a:ext cx="8523287" cy="900112"/>
          </a:xfrm>
        </p:spPr>
        <p:txBody>
          <a:bodyPr/>
          <a:lstStyle/>
          <a:p>
            <a:pPr algn="ctr">
              <a:spcAft>
                <a:spcPts val="588"/>
              </a:spcAft>
              <a:defRPr/>
            </a:pPr>
            <a:r>
              <a:rPr lang="en-US" sz="4313" dirty="0">
                <a:gradFill>
                  <a:gsLst>
                    <a:gs pos="6952">
                      <a:srgbClr val="353535"/>
                    </a:gs>
                    <a:gs pos="18182">
                      <a:srgbClr val="353535"/>
                    </a:gs>
                  </a:gsLst>
                  <a:lin ang="0" scaled="0"/>
                </a:gradFill>
                <a:latin typeface="Segoe UI Light"/>
              </a:rPr>
              <a:t>Azure Stack: an extension of Azure</a:t>
            </a:r>
          </a:p>
        </p:txBody>
      </p:sp>
      <p:sp>
        <p:nvSpPr>
          <p:cNvPr id="3" name="Rectangle 2">
            <a:extLst>
              <a:ext uri="{FF2B5EF4-FFF2-40B4-BE49-F238E27FC236}">
                <a16:creationId xmlns:a16="http://schemas.microsoft.com/office/drawing/2014/main" id="{3878BACA-665C-43E8-B79F-5D1734674749}"/>
              </a:ext>
            </a:extLst>
          </p:cNvPr>
          <p:cNvSpPr/>
          <p:nvPr/>
        </p:nvSpPr>
        <p:spPr>
          <a:xfrm>
            <a:off x="2307162" y="4352784"/>
            <a:ext cx="2948228" cy="867562"/>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78D7"/>
                </a:solidFill>
                <a:effectLst/>
                <a:uLnTx/>
                <a:uFillTx/>
                <a:latin typeface="Segoe UI"/>
                <a:ea typeface="Segoe UI Light" charset="0"/>
                <a:cs typeface="Segoe UI Light" charset="0"/>
              </a:rPr>
              <a:t>At the edge and disconnected</a:t>
            </a:r>
          </a:p>
        </p:txBody>
      </p:sp>
      <p:sp>
        <p:nvSpPr>
          <p:cNvPr id="5" name="Rectangle 4">
            <a:extLst>
              <a:ext uri="{FF2B5EF4-FFF2-40B4-BE49-F238E27FC236}">
                <a16:creationId xmlns:a16="http://schemas.microsoft.com/office/drawing/2014/main" id="{BB850DE3-4FE1-48DD-AF58-DEC1AFF52AD2}"/>
              </a:ext>
            </a:extLst>
          </p:cNvPr>
          <p:cNvSpPr/>
          <p:nvPr/>
        </p:nvSpPr>
        <p:spPr>
          <a:xfrm>
            <a:off x="8725939" y="4352784"/>
            <a:ext cx="2948228" cy="867562"/>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78D7"/>
                </a:solidFill>
                <a:effectLst/>
                <a:uLnTx/>
                <a:uFillTx/>
                <a:latin typeface="Segoe UI"/>
                <a:ea typeface="Segoe UI Light" charset="0"/>
                <a:cs typeface="Segoe UI Light" charset="0"/>
              </a:rPr>
              <a:t>Cloud application </a:t>
            </a:r>
            <a:br>
              <a:rPr kumimoji="0" lang="en-US" sz="2000" b="1" i="0" u="none" strike="noStrike" kern="1200" cap="none" spc="0" normalizeH="0" baseline="0" noProof="0" dirty="0">
                <a:ln>
                  <a:noFill/>
                </a:ln>
                <a:solidFill>
                  <a:srgbClr val="0078D7"/>
                </a:solidFill>
                <a:effectLst/>
                <a:uLnTx/>
                <a:uFillTx/>
                <a:latin typeface="Segoe UI"/>
                <a:ea typeface="Segoe UI Light" charset="0"/>
                <a:cs typeface="Segoe UI Light" charset="0"/>
              </a:rPr>
            </a:br>
            <a:r>
              <a:rPr kumimoji="0" lang="en-US" sz="2000" b="1" i="0" u="none" strike="noStrike" kern="1200" cap="none" spc="0" normalizeH="0" baseline="0" noProof="0" dirty="0">
                <a:ln>
                  <a:noFill/>
                </a:ln>
                <a:solidFill>
                  <a:srgbClr val="0078D7"/>
                </a:solidFill>
                <a:effectLst/>
                <a:uLnTx/>
                <a:uFillTx/>
                <a:latin typeface="Segoe UI"/>
                <a:ea typeface="Segoe UI Light" charset="0"/>
                <a:cs typeface="Segoe UI Light" charset="0"/>
              </a:rPr>
              <a:t>model on-premises</a:t>
            </a:r>
          </a:p>
        </p:txBody>
      </p:sp>
      <p:sp>
        <p:nvSpPr>
          <p:cNvPr id="4" name="Rectangle 3">
            <a:extLst>
              <a:ext uri="{FF2B5EF4-FFF2-40B4-BE49-F238E27FC236}">
                <a16:creationId xmlns:a16="http://schemas.microsoft.com/office/drawing/2014/main" id="{61C07C58-0548-44EC-A326-ED3073E59F48}"/>
              </a:ext>
            </a:extLst>
          </p:cNvPr>
          <p:cNvSpPr/>
          <p:nvPr/>
        </p:nvSpPr>
        <p:spPr>
          <a:xfrm>
            <a:off x="5434828" y="4352784"/>
            <a:ext cx="2948228" cy="867562"/>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78D7"/>
                </a:solidFill>
                <a:effectLst/>
                <a:uLnTx/>
                <a:uFillTx/>
                <a:latin typeface="Segoe UI"/>
                <a:ea typeface="Segoe UI Light" charset="0"/>
                <a:cs typeface="Segoe UI Light" charset="0"/>
              </a:rPr>
              <a:t>Meet every regulatory requirement</a:t>
            </a:r>
          </a:p>
        </p:txBody>
      </p:sp>
      <p:sp>
        <p:nvSpPr>
          <p:cNvPr id="6" name="Manufacturing_E99C">
            <a:extLst>
              <a:ext uri="{FF2B5EF4-FFF2-40B4-BE49-F238E27FC236}">
                <a16:creationId xmlns:a16="http://schemas.microsoft.com/office/drawing/2014/main" id="{FF976AA6-6ADE-4E21-80F4-4F6241EF04E4}"/>
              </a:ext>
            </a:extLst>
          </p:cNvPr>
          <p:cNvSpPr>
            <a:spLocks noChangeAspect="1" noEditPoints="1"/>
          </p:cNvSpPr>
          <p:nvPr/>
        </p:nvSpPr>
        <p:spPr bwMode="auto">
          <a:xfrm>
            <a:off x="3366037" y="3224920"/>
            <a:ext cx="841314" cy="822424"/>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317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 name="building_4">
            <a:extLst>
              <a:ext uri="{FF2B5EF4-FFF2-40B4-BE49-F238E27FC236}">
                <a16:creationId xmlns:a16="http://schemas.microsoft.com/office/drawing/2014/main" id="{0E605066-4202-4501-930B-BC4E2D3C9F9D}"/>
              </a:ext>
            </a:extLst>
          </p:cNvPr>
          <p:cNvSpPr>
            <a:spLocks noChangeAspect="1" noEditPoints="1"/>
          </p:cNvSpPr>
          <p:nvPr/>
        </p:nvSpPr>
        <p:spPr bwMode="auto">
          <a:xfrm>
            <a:off x="9800638" y="3224920"/>
            <a:ext cx="809668" cy="822424"/>
          </a:xfrm>
          <a:custGeom>
            <a:avLst/>
            <a:gdLst>
              <a:gd name="T0" fmla="*/ 200 w 254"/>
              <a:gd name="T1" fmla="*/ 258 h 258"/>
              <a:gd name="T2" fmla="*/ 55 w 254"/>
              <a:gd name="T3" fmla="*/ 44 h 258"/>
              <a:gd name="T4" fmla="*/ 200 w 254"/>
              <a:gd name="T5" fmla="*/ 44 h 258"/>
              <a:gd name="T6" fmla="*/ 55 w 254"/>
              <a:gd name="T7" fmla="*/ 72 h 258"/>
              <a:gd name="T8" fmla="*/ 0 w 254"/>
              <a:gd name="T9" fmla="*/ 258 h 258"/>
              <a:gd name="T10" fmla="*/ 21 w 254"/>
              <a:gd name="T11" fmla="*/ 102 h 258"/>
              <a:gd name="T12" fmla="*/ 21 w 254"/>
              <a:gd name="T13" fmla="*/ 128 h 258"/>
              <a:gd name="T14" fmla="*/ 21 w 254"/>
              <a:gd name="T15" fmla="*/ 155 h 258"/>
              <a:gd name="T16" fmla="*/ 21 w 254"/>
              <a:gd name="T17" fmla="*/ 182 h 258"/>
              <a:gd name="T18" fmla="*/ 21 w 254"/>
              <a:gd name="T19" fmla="*/ 209 h 258"/>
              <a:gd name="T20" fmla="*/ 200 w 254"/>
              <a:gd name="T21" fmla="*/ 258 h 258"/>
              <a:gd name="T22" fmla="*/ 254 w 254"/>
              <a:gd name="T23" fmla="*/ 72 h 258"/>
              <a:gd name="T24" fmla="*/ 234 w 254"/>
              <a:gd name="T25" fmla="*/ 102 h 258"/>
              <a:gd name="T26" fmla="*/ 234 w 254"/>
              <a:gd name="T27" fmla="*/ 128 h 258"/>
              <a:gd name="T28" fmla="*/ 234 w 254"/>
              <a:gd name="T29" fmla="*/ 155 h 258"/>
              <a:gd name="T30" fmla="*/ 234 w 254"/>
              <a:gd name="T31" fmla="*/ 182 h 258"/>
              <a:gd name="T32" fmla="*/ 234 w 254"/>
              <a:gd name="T33" fmla="*/ 209 h 258"/>
              <a:gd name="T34" fmla="*/ 96 w 254"/>
              <a:gd name="T35" fmla="*/ 71 h 258"/>
              <a:gd name="T36" fmla="*/ 87 w 254"/>
              <a:gd name="T37" fmla="*/ 66 h 258"/>
              <a:gd name="T38" fmla="*/ 96 w 254"/>
              <a:gd name="T39" fmla="*/ 76 h 258"/>
              <a:gd name="T40" fmla="*/ 132 w 254"/>
              <a:gd name="T41" fmla="*/ 71 h 258"/>
              <a:gd name="T42" fmla="*/ 122 w 254"/>
              <a:gd name="T43" fmla="*/ 66 h 258"/>
              <a:gd name="T44" fmla="*/ 132 w 254"/>
              <a:gd name="T45" fmla="*/ 76 h 258"/>
              <a:gd name="T46" fmla="*/ 168 w 254"/>
              <a:gd name="T47" fmla="*/ 71 h 258"/>
              <a:gd name="T48" fmla="*/ 158 w 254"/>
              <a:gd name="T49" fmla="*/ 66 h 258"/>
              <a:gd name="T50" fmla="*/ 168 w 254"/>
              <a:gd name="T51" fmla="*/ 76 h 258"/>
              <a:gd name="T52" fmla="*/ 96 w 254"/>
              <a:gd name="T53" fmla="*/ 109 h 258"/>
              <a:gd name="T54" fmla="*/ 87 w 254"/>
              <a:gd name="T55" fmla="*/ 104 h 258"/>
              <a:gd name="T56" fmla="*/ 96 w 254"/>
              <a:gd name="T57" fmla="*/ 114 h 258"/>
              <a:gd name="T58" fmla="*/ 132 w 254"/>
              <a:gd name="T59" fmla="*/ 109 h 258"/>
              <a:gd name="T60" fmla="*/ 122 w 254"/>
              <a:gd name="T61" fmla="*/ 104 h 258"/>
              <a:gd name="T62" fmla="*/ 132 w 254"/>
              <a:gd name="T63" fmla="*/ 114 h 258"/>
              <a:gd name="T64" fmla="*/ 168 w 254"/>
              <a:gd name="T65" fmla="*/ 109 h 258"/>
              <a:gd name="T66" fmla="*/ 158 w 254"/>
              <a:gd name="T67" fmla="*/ 104 h 258"/>
              <a:gd name="T68" fmla="*/ 168 w 254"/>
              <a:gd name="T69" fmla="*/ 114 h 258"/>
              <a:gd name="T70" fmla="*/ 96 w 254"/>
              <a:gd name="T71" fmla="*/ 147 h 258"/>
              <a:gd name="T72" fmla="*/ 87 w 254"/>
              <a:gd name="T73" fmla="*/ 142 h 258"/>
              <a:gd name="T74" fmla="*/ 96 w 254"/>
              <a:gd name="T75" fmla="*/ 152 h 258"/>
              <a:gd name="T76" fmla="*/ 132 w 254"/>
              <a:gd name="T77" fmla="*/ 147 h 258"/>
              <a:gd name="T78" fmla="*/ 122 w 254"/>
              <a:gd name="T79" fmla="*/ 142 h 258"/>
              <a:gd name="T80" fmla="*/ 132 w 254"/>
              <a:gd name="T81" fmla="*/ 152 h 258"/>
              <a:gd name="T82" fmla="*/ 168 w 254"/>
              <a:gd name="T83" fmla="*/ 147 h 258"/>
              <a:gd name="T84" fmla="*/ 158 w 254"/>
              <a:gd name="T85" fmla="*/ 142 h 258"/>
              <a:gd name="T86" fmla="*/ 168 w 254"/>
              <a:gd name="T87" fmla="*/ 152 h 258"/>
              <a:gd name="T88" fmla="*/ 96 w 254"/>
              <a:gd name="T89" fmla="*/ 185 h 258"/>
              <a:gd name="T90" fmla="*/ 87 w 254"/>
              <a:gd name="T91" fmla="*/ 180 h 258"/>
              <a:gd name="T92" fmla="*/ 96 w 254"/>
              <a:gd name="T93" fmla="*/ 190 h 258"/>
              <a:gd name="T94" fmla="*/ 132 w 254"/>
              <a:gd name="T95" fmla="*/ 186 h 258"/>
              <a:gd name="T96" fmla="*/ 122 w 254"/>
              <a:gd name="T97" fmla="*/ 180 h 258"/>
              <a:gd name="T98" fmla="*/ 132 w 254"/>
              <a:gd name="T99" fmla="*/ 190 h 258"/>
              <a:gd name="T100" fmla="*/ 168 w 254"/>
              <a:gd name="T101" fmla="*/ 184 h 258"/>
              <a:gd name="T102" fmla="*/ 158 w 254"/>
              <a:gd name="T103" fmla="*/ 180 h 258"/>
              <a:gd name="T104" fmla="*/ 168 w 254"/>
              <a:gd name="T105" fmla="*/ 190 h 258"/>
              <a:gd name="T106" fmla="*/ 163 w 254"/>
              <a:gd name="T107" fmla="*/ 258 h 258"/>
              <a:gd name="T108" fmla="*/ 92 w 254"/>
              <a:gd name="T109" fmla="*/ 217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258">
                <a:moveTo>
                  <a:pt x="200" y="146"/>
                </a:moveTo>
                <a:lnTo>
                  <a:pt x="200" y="258"/>
                </a:lnTo>
                <a:lnTo>
                  <a:pt x="55" y="258"/>
                </a:lnTo>
                <a:lnTo>
                  <a:pt x="55" y="44"/>
                </a:lnTo>
                <a:lnTo>
                  <a:pt x="127" y="0"/>
                </a:lnTo>
                <a:lnTo>
                  <a:pt x="200" y="44"/>
                </a:lnTo>
                <a:lnTo>
                  <a:pt x="200" y="146"/>
                </a:lnTo>
                <a:moveTo>
                  <a:pt x="55" y="72"/>
                </a:moveTo>
                <a:lnTo>
                  <a:pt x="0" y="72"/>
                </a:lnTo>
                <a:lnTo>
                  <a:pt x="0" y="258"/>
                </a:lnTo>
                <a:lnTo>
                  <a:pt x="55" y="258"/>
                </a:lnTo>
                <a:moveTo>
                  <a:pt x="21" y="102"/>
                </a:moveTo>
                <a:lnTo>
                  <a:pt x="55" y="102"/>
                </a:lnTo>
                <a:moveTo>
                  <a:pt x="21" y="128"/>
                </a:moveTo>
                <a:lnTo>
                  <a:pt x="55" y="128"/>
                </a:lnTo>
                <a:moveTo>
                  <a:pt x="21" y="155"/>
                </a:moveTo>
                <a:lnTo>
                  <a:pt x="55" y="155"/>
                </a:lnTo>
                <a:moveTo>
                  <a:pt x="21" y="182"/>
                </a:moveTo>
                <a:lnTo>
                  <a:pt x="55" y="182"/>
                </a:lnTo>
                <a:moveTo>
                  <a:pt x="21" y="209"/>
                </a:moveTo>
                <a:lnTo>
                  <a:pt x="55" y="209"/>
                </a:lnTo>
                <a:moveTo>
                  <a:pt x="200" y="258"/>
                </a:moveTo>
                <a:lnTo>
                  <a:pt x="254" y="258"/>
                </a:lnTo>
                <a:lnTo>
                  <a:pt x="254" y="72"/>
                </a:lnTo>
                <a:lnTo>
                  <a:pt x="200" y="72"/>
                </a:lnTo>
                <a:moveTo>
                  <a:pt x="234" y="102"/>
                </a:moveTo>
                <a:lnTo>
                  <a:pt x="200" y="102"/>
                </a:lnTo>
                <a:moveTo>
                  <a:pt x="234" y="128"/>
                </a:moveTo>
                <a:lnTo>
                  <a:pt x="200" y="128"/>
                </a:lnTo>
                <a:moveTo>
                  <a:pt x="234" y="155"/>
                </a:moveTo>
                <a:lnTo>
                  <a:pt x="200" y="155"/>
                </a:lnTo>
                <a:moveTo>
                  <a:pt x="234" y="182"/>
                </a:moveTo>
                <a:lnTo>
                  <a:pt x="200" y="182"/>
                </a:lnTo>
                <a:moveTo>
                  <a:pt x="234" y="209"/>
                </a:moveTo>
                <a:lnTo>
                  <a:pt x="200" y="209"/>
                </a:lnTo>
                <a:moveTo>
                  <a:pt x="96" y="71"/>
                </a:moveTo>
                <a:lnTo>
                  <a:pt x="96" y="66"/>
                </a:lnTo>
                <a:lnTo>
                  <a:pt x="87" y="66"/>
                </a:lnTo>
                <a:lnTo>
                  <a:pt x="87" y="76"/>
                </a:lnTo>
                <a:lnTo>
                  <a:pt x="96" y="76"/>
                </a:lnTo>
                <a:lnTo>
                  <a:pt x="96" y="71"/>
                </a:lnTo>
                <a:moveTo>
                  <a:pt x="132" y="71"/>
                </a:moveTo>
                <a:lnTo>
                  <a:pt x="132" y="66"/>
                </a:lnTo>
                <a:lnTo>
                  <a:pt x="122" y="66"/>
                </a:lnTo>
                <a:lnTo>
                  <a:pt x="122" y="76"/>
                </a:lnTo>
                <a:lnTo>
                  <a:pt x="132" y="76"/>
                </a:lnTo>
                <a:lnTo>
                  <a:pt x="132" y="71"/>
                </a:lnTo>
                <a:moveTo>
                  <a:pt x="168" y="71"/>
                </a:moveTo>
                <a:lnTo>
                  <a:pt x="168" y="66"/>
                </a:lnTo>
                <a:lnTo>
                  <a:pt x="158" y="66"/>
                </a:lnTo>
                <a:lnTo>
                  <a:pt x="158" y="76"/>
                </a:lnTo>
                <a:lnTo>
                  <a:pt x="168" y="76"/>
                </a:lnTo>
                <a:lnTo>
                  <a:pt x="168" y="71"/>
                </a:lnTo>
                <a:moveTo>
                  <a:pt x="96" y="109"/>
                </a:moveTo>
                <a:lnTo>
                  <a:pt x="96" y="104"/>
                </a:lnTo>
                <a:lnTo>
                  <a:pt x="87" y="104"/>
                </a:lnTo>
                <a:lnTo>
                  <a:pt x="87" y="114"/>
                </a:lnTo>
                <a:lnTo>
                  <a:pt x="96" y="114"/>
                </a:lnTo>
                <a:lnTo>
                  <a:pt x="96" y="109"/>
                </a:lnTo>
                <a:moveTo>
                  <a:pt x="132" y="109"/>
                </a:moveTo>
                <a:lnTo>
                  <a:pt x="132" y="104"/>
                </a:lnTo>
                <a:lnTo>
                  <a:pt x="122" y="104"/>
                </a:lnTo>
                <a:lnTo>
                  <a:pt x="122" y="114"/>
                </a:lnTo>
                <a:lnTo>
                  <a:pt x="132" y="114"/>
                </a:lnTo>
                <a:lnTo>
                  <a:pt x="132" y="109"/>
                </a:lnTo>
                <a:moveTo>
                  <a:pt x="168" y="109"/>
                </a:moveTo>
                <a:lnTo>
                  <a:pt x="168" y="104"/>
                </a:lnTo>
                <a:lnTo>
                  <a:pt x="158" y="104"/>
                </a:lnTo>
                <a:lnTo>
                  <a:pt x="158" y="114"/>
                </a:lnTo>
                <a:lnTo>
                  <a:pt x="168" y="114"/>
                </a:lnTo>
                <a:lnTo>
                  <a:pt x="168" y="109"/>
                </a:lnTo>
                <a:moveTo>
                  <a:pt x="96" y="147"/>
                </a:moveTo>
                <a:lnTo>
                  <a:pt x="96" y="142"/>
                </a:lnTo>
                <a:lnTo>
                  <a:pt x="87" y="142"/>
                </a:lnTo>
                <a:lnTo>
                  <a:pt x="87" y="152"/>
                </a:lnTo>
                <a:lnTo>
                  <a:pt x="96" y="152"/>
                </a:lnTo>
                <a:lnTo>
                  <a:pt x="96" y="147"/>
                </a:lnTo>
                <a:moveTo>
                  <a:pt x="132" y="147"/>
                </a:moveTo>
                <a:lnTo>
                  <a:pt x="132" y="142"/>
                </a:lnTo>
                <a:lnTo>
                  <a:pt x="122" y="142"/>
                </a:lnTo>
                <a:lnTo>
                  <a:pt x="122" y="152"/>
                </a:lnTo>
                <a:lnTo>
                  <a:pt x="132" y="152"/>
                </a:lnTo>
                <a:lnTo>
                  <a:pt x="132" y="147"/>
                </a:lnTo>
                <a:moveTo>
                  <a:pt x="168" y="147"/>
                </a:moveTo>
                <a:lnTo>
                  <a:pt x="168" y="142"/>
                </a:lnTo>
                <a:lnTo>
                  <a:pt x="158" y="142"/>
                </a:lnTo>
                <a:lnTo>
                  <a:pt x="158" y="152"/>
                </a:lnTo>
                <a:lnTo>
                  <a:pt x="168" y="152"/>
                </a:lnTo>
                <a:lnTo>
                  <a:pt x="168" y="147"/>
                </a:lnTo>
                <a:moveTo>
                  <a:pt x="96" y="185"/>
                </a:moveTo>
                <a:lnTo>
                  <a:pt x="96" y="180"/>
                </a:lnTo>
                <a:lnTo>
                  <a:pt x="87" y="180"/>
                </a:lnTo>
                <a:lnTo>
                  <a:pt x="87" y="190"/>
                </a:lnTo>
                <a:lnTo>
                  <a:pt x="96" y="190"/>
                </a:lnTo>
                <a:lnTo>
                  <a:pt x="96" y="185"/>
                </a:lnTo>
                <a:moveTo>
                  <a:pt x="132" y="186"/>
                </a:moveTo>
                <a:lnTo>
                  <a:pt x="132" y="180"/>
                </a:lnTo>
                <a:lnTo>
                  <a:pt x="122" y="180"/>
                </a:lnTo>
                <a:lnTo>
                  <a:pt x="122" y="190"/>
                </a:lnTo>
                <a:lnTo>
                  <a:pt x="132" y="190"/>
                </a:lnTo>
                <a:lnTo>
                  <a:pt x="132" y="186"/>
                </a:lnTo>
                <a:moveTo>
                  <a:pt x="168" y="184"/>
                </a:moveTo>
                <a:lnTo>
                  <a:pt x="168" y="180"/>
                </a:lnTo>
                <a:lnTo>
                  <a:pt x="158" y="180"/>
                </a:lnTo>
                <a:lnTo>
                  <a:pt x="158" y="190"/>
                </a:lnTo>
                <a:lnTo>
                  <a:pt x="168" y="190"/>
                </a:lnTo>
                <a:lnTo>
                  <a:pt x="168" y="184"/>
                </a:lnTo>
                <a:moveTo>
                  <a:pt x="163" y="258"/>
                </a:moveTo>
                <a:lnTo>
                  <a:pt x="163" y="217"/>
                </a:lnTo>
                <a:lnTo>
                  <a:pt x="92" y="217"/>
                </a:lnTo>
                <a:lnTo>
                  <a:pt x="92" y="258"/>
                </a:lnTo>
              </a:path>
            </a:pathLst>
          </a:custGeom>
          <a:noFill/>
          <a:ln w="317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9" name="building_9">
            <a:extLst>
              <a:ext uri="{FF2B5EF4-FFF2-40B4-BE49-F238E27FC236}">
                <a16:creationId xmlns:a16="http://schemas.microsoft.com/office/drawing/2014/main" id="{EA01BE84-4B88-4C31-AA17-A7CFCFA05859}"/>
              </a:ext>
            </a:extLst>
          </p:cNvPr>
          <p:cNvSpPr>
            <a:spLocks noChangeAspect="1" noEditPoints="1"/>
          </p:cNvSpPr>
          <p:nvPr/>
        </p:nvSpPr>
        <p:spPr bwMode="auto">
          <a:xfrm>
            <a:off x="6511008" y="3224920"/>
            <a:ext cx="806706" cy="822424"/>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317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cxnSp>
        <p:nvCxnSpPr>
          <p:cNvPr id="33" name="Straight Connector 32">
            <a:extLst>
              <a:ext uri="{FF2B5EF4-FFF2-40B4-BE49-F238E27FC236}">
                <a16:creationId xmlns:a16="http://schemas.microsoft.com/office/drawing/2014/main" id="{88BB89F7-22BE-402F-8BF9-F1355B22F3C5}"/>
              </a:ext>
            </a:extLst>
          </p:cNvPr>
          <p:cNvCxnSpPr>
            <a:cxnSpLocks/>
          </p:cNvCxnSpPr>
          <p:nvPr/>
        </p:nvCxnSpPr>
        <p:spPr>
          <a:xfrm>
            <a:off x="1954222" y="487"/>
            <a:ext cx="0" cy="6888317"/>
          </a:xfrm>
          <a:prstGeom prst="line">
            <a:avLst/>
          </a:prstGeom>
          <a:noFill/>
          <a:ln w="19050" cap="flat">
            <a:solidFill>
              <a:srgbClr val="FFFFFF">
                <a:lumMod val="75000"/>
                <a:alpha val="70000"/>
              </a:srgb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6" name="Rectangle 45">
            <a:extLst>
              <a:ext uri="{FF2B5EF4-FFF2-40B4-BE49-F238E27FC236}">
                <a16:creationId xmlns:a16="http://schemas.microsoft.com/office/drawing/2014/main" id="{7ADE3359-4163-41CA-A790-7E240C4BFC36}"/>
              </a:ext>
            </a:extLst>
          </p:cNvPr>
          <p:cNvSpPr/>
          <p:nvPr/>
        </p:nvSpPr>
        <p:spPr>
          <a:xfrm>
            <a:off x="551627" y="5744961"/>
            <a:ext cx="889779" cy="331899"/>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Trusted</a:t>
            </a:r>
          </a:p>
        </p:txBody>
      </p:sp>
      <p:sp>
        <p:nvSpPr>
          <p:cNvPr id="47" name="Rectangle 46">
            <a:extLst>
              <a:ext uri="{FF2B5EF4-FFF2-40B4-BE49-F238E27FC236}">
                <a16:creationId xmlns:a16="http://schemas.microsoft.com/office/drawing/2014/main" id="{1529E82A-B810-4BF4-92EA-AF1FBD134144}"/>
              </a:ext>
            </a:extLst>
          </p:cNvPr>
          <p:cNvSpPr/>
          <p:nvPr/>
        </p:nvSpPr>
        <p:spPr>
          <a:xfrm>
            <a:off x="426693" y="4423914"/>
            <a:ext cx="1139646" cy="331899"/>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Intelligent</a:t>
            </a:r>
          </a:p>
        </p:txBody>
      </p:sp>
      <p:sp>
        <p:nvSpPr>
          <p:cNvPr id="48" name="light">
            <a:extLst>
              <a:ext uri="{FF2B5EF4-FFF2-40B4-BE49-F238E27FC236}">
                <a16:creationId xmlns:a16="http://schemas.microsoft.com/office/drawing/2014/main" id="{044A82CB-9D94-42B0-9FD1-A35B6C069A82}"/>
              </a:ext>
            </a:extLst>
          </p:cNvPr>
          <p:cNvSpPr>
            <a:spLocks noChangeAspect="1" noEditPoints="1"/>
          </p:cNvSpPr>
          <p:nvPr/>
        </p:nvSpPr>
        <p:spPr bwMode="auto">
          <a:xfrm>
            <a:off x="853641" y="3796742"/>
            <a:ext cx="285750" cy="424238"/>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9" name="Freeform 60">
            <a:extLst>
              <a:ext uri="{FF2B5EF4-FFF2-40B4-BE49-F238E27FC236}">
                <a16:creationId xmlns:a16="http://schemas.microsoft.com/office/drawing/2014/main" id="{78B296D4-5840-478A-A148-6A1EF79F17D7}"/>
              </a:ext>
            </a:extLst>
          </p:cNvPr>
          <p:cNvSpPr>
            <a:spLocks noChangeArrowheads="1"/>
          </p:cNvSpPr>
          <p:nvPr/>
        </p:nvSpPr>
        <p:spPr bwMode="auto">
          <a:xfrm>
            <a:off x="760880" y="5091515"/>
            <a:ext cx="471273" cy="466323"/>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 name="Rectangle 20">
            <a:extLst>
              <a:ext uri="{FF2B5EF4-FFF2-40B4-BE49-F238E27FC236}">
                <a16:creationId xmlns:a16="http://schemas.microsoft.com/office/drawing/2014/main" id="{6ACC106D-0B3A-451A-97C3-CBECB9DA5404}"/>
              </a:ext>
            </a:extLst>
          </p:cNvPr>
          <p:cNvSpPr/>
          <p:nvPr/>
        </p:nvSpPr>
        <p:spPr>
          <a:xfrm>
            <a:off x="412719" y="1791255"/>
            <a:ext cx="1193275" cy="333617"/>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Productive</a:t>
            </a:r>
          </a:p>
        </p:txBody>
      </p:sp>
      <p:sp>
        <p:nvSpPr>
          <p:cNvPr id="22"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00949" y="1160459"/>
            <a:ext cx="431098" cy="43109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3" name="Rectangle 22">
            <a:extLst>
              <a:ext uri="{FF2B5EF4-FFF2-40B4-BE49-F238E27FC236}">
                <a16:creationId xmlns:a16="http://schemas.microsoft.com/office/drawing/2014/main" id="{363C846E-432E-4E96-8B4E-9BF8EB00F050}"/>
              </a:ext>
            </a:extLst>
          </p:cNvPr>
          <p:cNvSpPr/>
          <p:nvPr/>
        </p:nvSpPr>
        <p:spPr>
          <a:xfrm>
            <a:off x="445682" y="3136899"/>
            <a:ext cx="1112930" cy="452590"/>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2353" b="0" i="0" u="none" strike="noStrike" kern="0" cap="none" spc="49"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Hybrid</a:t>
            </a:r>
          </a:p>
        </p:txBody>
      </p:sp>
      <p:grpSp>
        <p:nvGrpSpPr>
          <p:cNvPr id="24" name="Group 23">
            <a:extLst>
              <a:ext uri="{FF2B5EF4-FFF2-40B4-BE49-F238E27FC236}">
                <a16:creationId xmlns:a16="http://schemas.microsoft.com/office/drawing/2014/main" id="{77AD9DD7-EB86-45CE-9B27-089347C7D079}"/>
              </a:ext>
            </a:extLst>
          </p:cNvPr>
          <p:cNvGrpSpPr/>
          <p:nvPr/>
        </p:nvGrpSpPr>
        <p:grpSpPr>
          <a:xfrm>
            <a:off x="719246" y="2353156"/>
            <a:ext cx="579531" cy="566046"/>
            <a:chOff x="2088630" y="3287843"/>
            <a:chExt cx="429718" cy="419725"/>
          </a:xfrm>
          <a:noFill/>
        </p:grpSpPr>
        <p:sp>
          <p:nvSpPr>
            <p:cNvPr id="25" name="Rectangle 24">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6" name="Rectangle 25">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Tree>
    <p:extLst>
      <p:ext uri="{BB962C8B-B14F-4D97-AF65-F5344CB8AC3E}">
        <p14:creationId xmlns:p14="http://schemas.microsoft.com/office/powerpoint/2010/main" val="1842869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16667E-7 -2.59259E-6 L -4.16667E-7 0.04584 " pathEditMode="relative" rAng="0" ptsTypes="AA">
                                      <p:cBhvr>
                                        <p:cTn id="9" dur="500" spd="-100000" fill="hold"/>
                                        <p:tgtEl>
                                          <p:spTgt spid="2"/>
                                        </p:tgtEl>
                                        <p:attrNameLst>
                                          <p:attrName>ppt_x</p:attrName>
                                          <p:attrName>ppt_y</p:attrName>
                                        </p:attrNameLst>
                                      </p:cBhvr>
                                      <p:rCtr x="0" y="2292"/>
                                    </p:animMotion>
                                  </p:childTnLst>
                                </p:cTn>
                              </p:par>
                            </p:childTnLst>
                          </p:cTn>
                        </p:par>
                        <p:par>
                          <p:cTn id="10" fill="hold">
                            <p:stCondLst>
                              <p:cond delay="500"/>
                            </p:stCondLst>
                            <p:childTnLst>
                              <p:par>
                                <p:cTn id="11" presetID="10" presetClass="entr" presetSubtype="0" fill="hold" grpId="0" nodeType="afterEffect">
                                  <p:stCondLst>
                                    <p:cond delay="2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40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300"/>
                                        <p:tgtEl>
                                          <p:spTgt spid="3"/>
                                        </p:tgtEl>
                                      </p:cBhvr>
                                    </p:animEffect>
                                  </p:childTnLst>
                                </p:cTn>
                              </p:par>
                              <p:par>
                                <p:cTn id="17" presetID="42" presetClass="path" presetSubtype="0" decel="100000" fill="hold" grpId="1" nodeType="withEffect">
                                  <p:stCondLst>
                                    <p:cond delay="0"/>
                                  </p:stCondLst>
                                  <p:childTnLst>
                                    <p:animMotion origin="layout" path="M 3.95833E-6 3.33333E-6 L 3.95833E-6 0.13379 " pathEditMode="relative" rAng="0" ptsTypes="AA">
                                      <p:cBhvr>
                                        <p:cTn id="18" dur="700" spd="-100000" fill="hold"/>
                                        <p:tgtEl>
                                          <p:spTgt spid="3"/>
                                        </p:tgtEl>
                                        <p:attrNameLst>
                                          <p:attrName>ppt_x</p:attrName>
                                          <p:attrName>ppt_y</p:attrName>
                                        </p:attrNameLst>
                                      </p:cBhvr>
                                      <p:rCtr x="0" y="6690"/>
                                    </p:animMotion>
                                  </p:childTnLst>
                                </p:cTn>
                              </p:par>
                              <p:par>
                                <p:cTn id="19" presetID="10" presetClass="entr" presetSubtype="0" fill="hold" grpId="0" nodeType="withEffect">
                                  <p:stCondLst>
                                    <p:cond delay="50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10" presetClass="entr" presetSubtype="0" fill="hold" grpId="0" nodeType="withEffect">
                                  <p:stCondLst>
                                    <p:cond delay="650"/>
                                  </p:stCondLst>
                                  <p:childTnLst>
                                    <p:set>
                                      <p:cBhvr>
                                        <p:cTn id="23" dur="1" fill="hold">
                                          <p:stCondLst>
                                            <p:cond delay="0"/>
                                          </p:stCondLst>
                                        </p:cTn>
                                        <p:tgtEl>
                                          <p:spTgt spid="4"/>
                                        </p:tgtEl>
                                        <p:attrNameLst>
                                          <p:attrName>style.visibility</p:attrName>
                                        </p:attrNameLst>
                                      </p:cBhvr>
                                      <p:to>
                                        <p:strVal val="visible"/>
                                      </p:to>
                                    </p:set>
                                    <p:animEffect transition="in" filter="fade">
                                      <p:cBhvr>
                                        <p:cTn id="24" dur="300"/>
                                        <p:tgtEl>
                                          <p:spTgt spid="4"/>
                                        </p:tgtEl>
                                      </p:cBhvr>
                                    </p:animEffect>
                                  </p:childTnLst>
                                </p:cTn>
                              </p:par>
                              <p:par>
                                <p:cTn id="25" presetID="42" presetClass="path" presetSubtype="0" decel="100000" fill="hold" grpId="1" nodeType="withEffect">
                                  <p:stCondLst>
                                    <p:cond delay="250"/>
                                  </p:stCondLst>
                                  <p:childTnLst>
                                    <p:animMotion origin="layout" path="M 3.33333E-6 3.33333E-6 L 3.33333E-6 0.13379 " pathEditMode="relative" rAng="0" ptsTypes="AA">
                                      <p:cBhvr>
                                        <p:cTn id="26" dur="700" spd="-100000" fill="hold"/>
                                        <p:tgtEl>
                                          <p:spTgt spid="4"/>
                                        </p:tgtEl>
                                        <p:attrNameLst>
                                          <p:attrName>ppt_x</p:attrName>
                                          <p:attrName>ppt_y</p:attrName>
                                        </p:attrNameLst>
                                      </p:cBhvr>
                                      <p:rCtr x="0" y="6690"/>
                                    </p:animMotion>
                                  </p:childTnLst>
                                </p:cTn>
                              </p:par>
                              <p:par>
                                <p:cTn id="27" presetID="10" presetClass="entr" presetSubtype="0" fill="hold" grpId="0" nodeType="withEffect">
                                  <p:stCondLst>
                                    <p:cond delay="750"/>
                                  </p:stCondLst>
                                  <p:childTnLst>
                                    <p:set>
                                      <p:cBhvr>
                                        <p:cTn id="28" dur="1" fill="hold">
                                          <p:stCondLst>
                                            <p:cond delay="0"/>
                                          </p:stCondLst>
                                        </p:cTn>
                                        <p:tgtEl>
                                          <p:spTgt spid="8"/>
                                        </p:tgtEl>
                                        <p:attrNameLst>
                                          <p:attrName>style.visibility</p:attrName>
                                        </p:attrNameLst>
                                      </p:cBhvr>
                                      <p:to>
                                        <p:strVal val="visible"/>
                                      </p:to>
                                    </p:set>
                                    <p:animEffect transition="in" filter="fade">
                                      <p:cBhvr>
                                        <p:cTn id="29" dur="500"/>
                                        <p:tgtEl>
                                          <p:spTgt spid="8"/>
                                        </p:tgtEl>
                                      </p:cBhvr>
                                    </p:animEffect>
                                  </p:childTnLst>
                                </p:cTn>
                              </p:par>
                              <p:par>
                                <p:cTn id="30" presetID="10" presetClass="entr" presetSubtype="0" fill="hold" grpId="0" nodeType="withEffect">
                                  <p:stCondLst>
                                    <p:cond delay="90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300"/>
                                        <p:tgtEl>
                                          <p:spTgt spid="5"/>
                                        </p:tgtEl>
                                      </p:cBhvr>
                                    </p:animEffect>
                                  </p:childTnLst>
                                </p:cTn>
                              </p:par>
                              <p:par>
                                <p:cTn id="33" presetID="42" presetClass="path" presetSubtype="0" decel="100000" fill="hold" grpId="1" nodeType="withEffect">
                                  <p:stCondLst>
                                    <p:cond delay="500"/>
                                  </p:stCondLst>
                                  <p:childTnLst>
                                    <p:animMotion origin="layout" path="M 1.45833E-6 3.33333E-6 L 1.45833E-6 0.13379 " pathEditMode="relative" rAng="0" ptsTypes="AA">
                                      <p:cBhvr>
                                        <p:cTn id="34" dur="700" spd="-100000" fill="hold"/>
                                        <p:tgtEl>
                                          <p:spTgt spid="5"/>
                                        </p:tgtEl>
                                        <p:attrNameLst>
                                          <p:attrName>ppt_x</p:attrName>
                                          <p:attrName>ppt_y</p:attrName>
                                        </p:attrNameLst>
                                      </p:cBhvr>
                                      <p:rCtr x="0" y="66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P spid="5" grpId="0"/>
      <p:bldP spid="5" grpId="1"/>
      <p:bldP spid="4" grpId="0"/>
      <p:bldP spid="4" grpId="1"/>
      <p:bldP spid="6" grpId="0" animBg="1"/>
      <p:bldP spid="8" grpId="0" animBg="1"/>
      <p:bldP spid="9" grpId="0" animBg="1"/>
    </p:bldLst>
  </p:timing>
</p:sld>
</file>

<file path=ppt/slides/slide11.xml><?xml version="1.0" encoding="utf-8"?>
<p:sld xmlns:a="http://schemas.openxmlformats.org/drawingml/2006/main" xmlns:r="http://schemas.openxmlformats.org/officeDocument/2006/relationships" xmlns:p="http://schemas.openxmlformats.org/presentationml/2006/main" show="0">
  <p:cSld>
    <p:bg>
      <p:bgPr>
        <a:solidFill>
          <a:srgbClr val="F2F2F2"/>
        </a:solidFill>
        <a:effectLst/>
      </p:bgPr>
    </p:bg>
    <p:spTree>
      <p:nvGrpSpPr>
        <p:cNvPr id="1" name=""/>
        <p:cNvGrpSpPr/>
        <p:nvPr/>
      </p:nvGrpSpPr>
      <p:grpSpPr>
        <a:xfrm>
          <a:off x="0" y="0"/>
          <a:ext cx="0" cy="0"/>
          <a:chOff x="0" y="0"/>
          <a:chExt cx="0" cy="0"/>
        </a:xfrm>
      </p:grpSpPr>
      <p:grpSp>
        <p:nvGrpSpPr>
          <p:cNvPr id="96" name="Group 95"/>
          <p:cNvGrpSpPr/>
          <p:nvPr/>
        </p:nvGrpSpPr>
        <p:grpSpPr>
          <a:xfrm>
            <a:off x="3765784" y="3800783"/>
            <a:ext cx="403925" cy="415978"/>
            <a:chOff x="5029200" y="949325"/>
            <a:chExt cx="3030538" cy="3232150"/>
          </a:xfrm>
          <a:noFill/>
        </p:grpSpPr>
        <p:sp>
          <p:nvSpPr>
            <p:cNvPr id="97" name="Freeform 1"/>
            <p:cNvSpPr>
              <a:spLocks noChangeArrowheads="1"/>
            </p:cNvSpPr>
            <p:nvPr/>
          </p:nvSpPr>
          <p:spPr bwMode="auto">
            <a:xfrm>
              <a:off x="5029200" y="949325"/>
              <a:ext cx="3030538" cy="3232150"/>
            </a:xfrm>
            <a:custGeom>
              <a:avLst/>
              <a:gdLst>
                <a:gd name="T0" fmla="*/ 111 w 8416"/>
                <a:gd name="T1" fmla="*/ 7718 h 8980"/>
                <a:gd name="T2" fmla="*/ 333 w 8416"/>
                <a:gd name="T3" fmla="*/ 8804 h 8980"/>
                <a:gd name="T4" fmla="*/ 8074 w 8416"/>
                <a:gd name="T5" fmla="*/ 8804 h 8980"/>
                <a:gd name="T6" fmla="*/ 8304 w 8416"/>
                <a:gd name="T7" fmla="*/ 7718 h 8980"/>
                <a:gd name="T8" fmla="*/ 7526 w 8416"/>
                <a:gd name="T9" fmla="*/ 7986 h 8980"/>
                <a:gd name="T10" fmla="*/ 7693 w 8416"/>
                <a:gd name="T11" fmla="*/ 8463 h 8980"/>
                <a:gd name="T12" fmla="*/ 7375 w 8416"/>
                <a:gd name="T13" fmla="*/ 8487 h 8980"/>
                <a:gd name="T14" fmla="*/ 8002 w 8416"/>
                <a:gd name="T15" fmla="*/ 8074 h 8980"/>
                <a:gd name="T16" fmla="*/ 7820 w 8416"/>
                <a:gd name="T17" fmla="*/ 8455 h 8980"/>
                <a:gd name="T18" fmla="*/ 7526 w 8416"/>
                <a:gd name="T19" fmla="*/ 7876 h 8980"/>
                <a:gd name="T20" fmla="*/ 7248 w 8416"/>
                <a:gd name="T21" fmla="*/ 8495 h 8980"/>
                <a:gd name="T22" fmla="*/ 6470 w 8416"/>
                <a:gd name="T23" fmla="*/ 8408 h 8980"/>
                <a:gd name="T24" fmla="*/ 6121 w 8416"/>
                <a:gd name="T25" fmla="*/ 7876 h 8980"/>
                <a:gd name="T26" fmla="*/ 5930 w 8416"/>
                <a:gd name="T27" fmla="*/ 8535 h 8980"/>
                <a:gd name="T28" fmla="*/ 5136 w 8416"/>
                <a:gd name="T29" fmla="*/ 8161 h 8980"/>
                <a:gd name="T30" fmla="*/ 4723 w 8416"/>
                <a:gd name="T31" fmla="*/ 7892 h 8980"/>
                <a:gd name="T32" fmla="*/ 4596 w 8416"/>
                <a:gd name="T33" fmla="*/ 8566 h 8980"/>
                <a:gd name="T34" fmla="*/ 3714 w 8416"/>
                <a:gd name="T35" fmla="*/ 8161 h 8980"/>
                <a:gd name="T36" fmla="*/ 3596 w 8416"/>
                <a:gd name="T37" fmla="*/ 6868 h 8980"/>
                <a:gd name="T38" fmla="*/ 4549 w 8416"/>
                <a:gd name="T39" fmla="*/ 6074 h 8980"/>
                <a:gd name="T40" fmla="*/ 5001 w 8416"/>
                <a:gd name="T41" fmla="*/ 6312 h 8980"/>
                <a:gd name="T42" fmla="*/ 5898 w 8416"/>
                <a:gd name="T43" fmla="*/ 6074 h 8980"/>
                <a:gd name="T44" fmla="*/ 6287 w 8416"/>
                <a:gd name="T45" fmla="*/ 6336 h 8980"/>
                <a:gd name="T46" fmla="*/ 563 w 8416"/>
                <a:gd name="T47" fmla="*/ 8439 h 8980"/>
                <a:gd name="T48" fmla="*/ 738 w 8416"/>
                <a:gd name="T49" fmla="*/ 7986 h 8980"/>
                <a:gd name="T50" fmla="*/ 881 w 8416"/>
                <a:gd name="T51" fmla="*/ 8502 h 8980"/>
                <a:gd name="T52" fmla="*/ 570 w 8416"/>
                <a:gd name="T53" fmla="*/ 7923 h 8980"/>
                <a:gd name="T54" fmla="*/ 412 w 8416"/>
                <a:gd name="T55" fmla="*/ 8058 h 8980"/>
                <a:gd name="T56" fmla="*/ 1793 w 8416"/>
                <a:gd name="T57" fmla="*/ 5836 h 8980"/>
                <a:gd name="T58" fmla="*/ 2127 w 8416"/>
                <a:gd name="T59" fmla="*/ 6352 h 8980"/>
                <a:gd name="T60" fmla="*/ 2810 w 8416"/>
                <a:gd name="T61" fmla="*/ 5836 h 8980"/>
                <a:gd name="T62" fmla="*/ 3191 w 8416"/>
                <a:gd name="T63" fmla="*/ 6812 h 8980"/>
                <a:gd name="T64" fmla="*/ 2715 w 8416"/>
                <a:gd name="T65" fmla="*/ 6900 h 8980"/>
                <a:gd name="T66" fmla="*/ 2985 w 8416"/>
                <a:gd name="T67" fmla="*/ 7551 h 8980"/>
                <a:gd name="T68" fmla="*/ 2365 w 8416"/>
                <a:gd name="T69" fmla="*/ 8408 h 8980"/>
                <a:gd name="T70" fmla="*/ 2015 w 8416"/>
                <a:gd name="T71" fmla="*/ 7876 h 8980"/>
                <a:gd name="T72" fmla="*/ 1826 w 8416"/>
                <a:gd name="T73" fmla="*/ 8535 h 8980"/>
                <a:gd name="T74" fmla="*/ 1031 w 8416"/>
                <a:gd name="T75" fmla="*/ 8161 h 8980"/>
                <a:gd name="T76" fmla="*/ 6351 w 8416"/>
                <a:gd name="T77" fmla="*/ 6074 h 8980"/>
                <a:gd name="T78" fmla="*/ 6113 w 8416"/>
                <a:gd name="T79" fmla="*/ 6233 h 8980"/>
                <a:gd name="T80" fmla="*/ 5009 w 8416"/>
                <a:gd name="T81" fmla="*/ 6106 h 8980"/>
                <a:gd name="T82" fmla="*/ 4715 w 8416"/>
                <a:gd name="T83" fmla="*/ 6193 h 8980"/>
                <a:gd name="T84" fmla="*/ 3246 w 8416"/>
                <a:gd name="T85" fmla="*/ 5836 h 8980"/>
                <a:gd name="T86" fmla="*/ 2142 w 8416"/>
                <a:gd name="T87" fmla="*/ 6233 h 8980"/>
                <a:gd name="T88" fmla="*/ 1913 w 8416"/>
                <a:gd name="T89" fmla="*/ 5836 h 8980"/>
                <a:gd name="T90" fmla="*/ 3326 w 8416"/>
                <a:gd name="T91" fmla="*/ 8550 h 8980"/>
                <a:gd name="T92" fmla="*/ 3326 w 8416"/>
                <a:gd name="T93" fmla="*/ 8018 h 8980"/>
                <a:gd name="T94" fmla="*/ 3596 w 8416"/>
                <a:gd name="T95" fmla="*/ 8161 h 8980"/>
                <a:gd name="T96" fmla="*/ 2945 w 8416"/>
                <a:gd name="T97" fmla="*/ 7424 h 8980"/>
                <a:gd name="T98" fmla="*/ 2833 w 8416"/>
                <a:gd name="T99" fmla="*/ 6916 h 8980"/>
                <a:gd name="T100" fmla="*/ 1913 w 8416"/>
                <a:gd name="T101" fmla="*/ 8408 h 8980"/>
                <a:gd name="T102" fmla="*/ 2111 w 8416"/>
                <a:gd name="T103" fmla="*/ 7995 h 8980"/>
                <a:gd name="T104" fmla="*/ 2231 w 8416"/>
                <a:gd name="T105" fmla="*/ 8487 h 8980"/>
                <a:gd name="T106" fmla="*/ 4659 w 8416"/>
                <a:gd name="T107" fmla="*/ 8408 h 8980"/>
                <a:gd name="T108" fmla="*/ 4874 w 8416"/>
                <a:gd name="T109" fmla="*/ 7995 h 8980"/>
                <a:gd name="T110" fmla="*/ 4993 w 8416"/>
                <a:gd name="T111" fmla="*/ 8487 h 8980"/>
                <a:gd name="T112" fmla="*/ 4667 w 8416"/>
                <a:gd name="T113" fmla="*/ 8431 h 8980"/>
                <a:gd name="T114" fmla="*/ 6177 w 8416"/>
                <a:gd name="T115" fmla="*/ 7986 h 8980"/>
                <a:gd name="T116" fmla="*/ 6351 w 8416"/>
                <a:gd name="T117" fmla="*/ 8431 h 8980"/>
                <a:gd name="T118" fmla="*/ 6017 w 8416"/>
                <a:gd name="T119" fmla="*/ 8431 h 8980"/>
                <a:gd name="T120" fmla="*/ 2476 w 8416"/>
                <a:gd name="T121" fmla="*/ 1136 h 8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16" h="8980">
                  <a:moveTo>
                    <a:pt x="8304" y="7718"/>
                  </a:moveTo>
                  <a:lnTo>
                    <a:pt x="5811" y="3248"/>
                  </a:lnTo>
                  <a:lnTo>
                    <a:pt x="5811" y="1541"/>
                  </a:lnTo>
                  <a:lnTo>
                    <a:pt x="6343" y="1541"/>
                  </a:lnTo>
                  <a:lnTo>
                    <a:pt x="6343" y="0"/>
                  </a:lnTo>
                  <a:lnTo>
                    <a:pt x="2071" y="0"/>
                  </a:lnTo>
                  <a:lnTo>
                    <a:pt x="2071" y="1541"/>
                  </a:lnTo>
                  <a:lnTo>
                    <a:pt x="2603" y="1541"/>
                  </a:lnTo>
                  <a:lnTo>
                    <a:pt x="2603" y="3248"/>
                  </a:lnTo>
                  <a:lnTo>
                    <a:pt x="1293" y="5590"/>
                  </a:lnTo>
                  <a:lnTo>
                    <a:pt x="111" y="7718"/>
                  </a:lnTo>
                  <a:lnTo>
                    <a:pt x="111" y="7718"/>
                  </a:lnTo>
                  <a:lnTo>
                    <a:pt x="64" y="7821"/>
                  </a:lnTo>
                  <a:lnTo>
                    <a:pt x="24" y="7923"/>
                  </a:lnTo>
                  <a:lnTo>
                    <a:pt x="8" y="8026"/>
                  </a:lnTo>
                  <a:lnTo>
                    <a:pt x="0" y="8138"/>
                  </a:lnTo>
                  <a:lnTo>
                    <a:pt x="8" y="8248"/>
                  </a:lnTo>
                  <a:lnTo>
                    <a:pt x="31" y="8352"/>
                  </a:lnTo>
                  <a:lnTo>
                    <a:pt x="64" y="8455"/>
                  </a:lnTo>
                  <a:lnTo>
                    <a:pt x="119" y="8558"/>
                  </a:lnTo>
                  <a:lnTo>
                    <a:pt x="119" y="8558"/>
                  </a:lnTo>
                  <a:lnTo>
                    <a:pt x="181" y="8653"/>
                  </a:lnTo>
                  <a:lnTo>
                    <a:pt x="253" y="8733"/>
                  </a:lnTo>
                  <a:lnTo>
                    <a:pt x="333" y="8804"/>
                  </a:lnTo>
                  <a:lnTo>
                    <a:pt x="428" y="8867"/>
                  </a:lnTo>
                  <a:lnTo>
                    <a:pt x="523" y="8915"/>
                  </a:lnTo>
                  <a:lnTo>
                    <a:pt x="626" y="8948"/>
                  </a:lnTo>
                  <a:lnTo>
                    <a:pt x="738" y="8971"/>
                  </a:lnTo>
                  <a:lnTo>
                    <a:pt x="848" y="8979"/>
                  </a:lnTo>
                  <a:lnTo>
                    <a:pt x="7566" y="8979"/>
                  </a:lnTo>
                  <a:lnTo>
                    <a:pt x="7566" y="8979"/>
                  </a:lnTo>
                  <a:lnTo>
                    <a:pt x="7677" y="8971"/>
                  </a:lnTo>
                  <a:lnTo>
                    <a:pt x="7788" y="8948"/>
                  </a:lnTo>
                  <a:lnTo>
                    <a:pt x="7892" y="8915"/>
                  </a:lnTo>
                  <a:lnTo>
                    <a:pt x="7986" y="8867"/>
                  </a:lnTo>
                  <a:lnTo>
                    <a:pt x="8074" y="8804"/>
                  </a:lnTo>
                  <a:lnTo>
                    <a:pt x="8162" y="8733"/>
                  </a:lnTo>
                  <a:lnTo>
                    <a:pt x="8233" y="8653"/>
                  </a:lnTo>
                  <a:lnTo>
                    <a:pt x="8297" y="8558"/>
                  </a:lnTo>
                  <a:lnTo>
                    <a:pt x="8297" y="8558"/>
                  </a:lnTo>
                  <a:lnTo>
                    <a:pt x="8343" y="8455"/>
                  </a:lnTo>
                  <a:lnTo>
                    <a:pt x="8384" y="8352"/>
                  </a:lnTo>
                  <a:lnTo>
                    <a:pt x="8407" y="8248"/>
                  </a:lnTo>
                  <a:lnTo>
                    <a:pt x="8415" y="8138"/>
                  </a:lnTo>
                  <a:lnTo>
                    <a:pt x="8407" y="8026"/>
                  </a:lnTo>
                  <a:lnTo>
                    <a:pt x="8384" y="7923"/>
                  </a:lnTo>
                  <a:lnTo>
                    <a:pt x="8352" y="7821"/>
                  </a:lnTo>
                  <a:lnTo>
                    <a:pt x="8304" y="7718"/>
                  </a:lnTo>
                  <a:close/>
                  <a:moveTo>
                    <a:pt x="7352" y="8408"/>
                  </a:moveTo>
                  <a:lnTo>
                    <a:pt x="7352" y="8161"/>
                  </a:lnTo>
                  <a:lnTo>
                    <a:pt x="7352" y="8161"/>
                  </a:lnTo>
                  <a:lnTo>
                    <a:pt x="7352" y="8121"/>
                  </a:lnTo>
                  <a:lnTo>
                    <a:pt x="7367" y="8090"/>
                  </a:lnTo>
                  <a:lnTo>
                    <a:pt x="7383" y="8066"/>
                  </a:lnTo>
                  <a:lnTo>
                    <a:pt x="7399" y="8042"/>
                  </a:lnTo>
                  <a:lnTo>
                    <a:pt x="7431" y="8018"/>
                  </a:lnTo>
                  <a:lnTo>
                    <a:pt x="7454" y="8003"/>
                  </a:lnTo>
                  <a:lnTo>
                    <a:pt x="7494" y="7995"/>
                  </a:lnTo>
                  <a:lnTo>
                    <a:pt x="7526" y="7986"/>
                  </a:lnTo>
                  <a:lnTo>
                    <a:pt x="7526" y="7986"/>
                  </a:lnTo>
                  <a:lnTo>
                    <a:pt x="7558" y="7995"/>
                  </a:lnTo>
                  <a:lnTo>
                    <a:pt x="7589" y="8003"/>
                  </a:lnTo>
                  <a:lnTo>
                    <a:pt x="7622" y="8018"/>
                  </a:lnTo>
                  <a:lnTo>
                    <a:pt x="7645" y="8042"/>
                  </a:lnTo>
                  <a:lnTo>
                    <a:pt x="7669" y="8066"/>
                  </a:lnTo>
                  <a:lnTo>
                    <a:pt x="7685" y="8090"/>
                  </a:lnTo>
                  <a:lnTo>
                    <a:pt x="7701" y="8121"/>
                  </a:lnTo>
                  <a:lnTo>
                    <a:pt x="7701" y="8161"/>
                  </a:lnTo>
                  <a:lnTo>
                    <a:pt x="7701" y="8408"/>
                  </a:lnTo>
                  <a:lnTo>
                    <a:pt x="7701" y="8408"/>
                  </a:lnTo>
                  <a:lnTo>
                    <a:pt x="7701" y="8431"/>
                  </a:lnTo>
                  <a:lnTo>
                    <a:pt x="7693" y="8463"/>
                  </a:lnTo>
                  <a:lnTo>
                    <a:pt x="7677" y="8487"/>
                  </a:lnTo>
                  <a:lnTo>
                    <a:pt x="7661" y="8510"/>
                  </a:lnTo>
                  <a:lnTo>
                    <a:pt x="7622" y="8550"/>
                  </a:lnTo>
                  <a:lnTo>
                    <a:pt x="7566" y="8566"/>
                  </a:lnTo>
                  <a:lnTo>
                    <a:pt x="7566" y="8566"/>
                  </a:lnTo>
                  <a:lnTo>
                    <a:pt x="7566" y="8566"/>
                  </a:lnTo>
                  <a:lnTo>
                    <a:pt x="7487" y="8566"/>
                  </a:lnTo>
                  <a:lnTo>
                    <a:pt x="7487" y="8566"/>
                  </a:lnTo>
                  <a:lnTo>
                    <a:pt x="7454" y="8558"/>
                  </a:lnTo>
                  <a:lnTo>
                    <a:pt x="7431" y="8550"/>
                  </a:lnTo>
                  <a:lnTo>
                    <a:pt x="7391" y="8510"/>
                  </a:lnTo>
                  <a:lnTo>
                    <a:pt x="7375" y="8487"/>
                  </a:lnTo>
                  <a:lnTo>
                    <a:pt x="7359" y="8463"/>
                  </a:lnTo>
                  <a:lnTo>
                    <a:pt x="7352" y="8431"/>
                  </a:lnTo>
                  <a:lnTo>
                    <a:pt x="7352" y="8408"/>
                  </a:lnTo>
                  <a:close/>
                  <a:moveTo>
                    <a:pt x="6796" y="5844"/>
                  </a:moveTo>
                  <a:lnTo>
                    <a:pt x="6796" y="6288"/>
                  </a:lnTo>
                  <a:lnTo>
                    <a:pt x="6906" y="6288"/>
                  </a:lnTo>
                  <a:lnTo>
                    <a:pt x="6906" y="6058"/>
                  </a:lnTo>
                  <a:lnTo>
                    <a:pt x="7947" y="7916"/>
                  </a:lnTo>
                  <a:lnTo>
                    <a:pt x="7947" y="7916"/>
                  </a:lnTo>
                  <a:lnTo>
                    <a:pt x="7971" y="7970"/>
                  </a:lnTo>
                  <a:lnTo>
                    <a:pt x="7994" y="8018"/>
                  </a:lnTo>
                  <a:lnTo>
                    <a:pt x="8002" y="8074"/>
                  </a:lnTo>
                  <a:lnTo>
                    <a:pt x="8002" y="8138"/>
                  </a:lnTo>
                  <a:lnTo>
                    <a:pt x="8002" y="8193"/>
                  </a:lnTo>
                  <a:lnTo>
                    <a:pt x="7986" y="8248"/>
                  </a:lnTo>
                  <a:lnTo>
                    <a:pt x="7971" y="8296"/>
                  </a:lnTo>
                  <a:lnTo>
                    <a:pt x="7947" y="8352"/>
                  </a:lnTo>
                  <a:lnTo>
                    <a:pt x="7947" y="8352"/>
                  </a:lnTo>
                  <a:lnTo>
                    <a:pt x="7915" y="8391"/>
                  </a:lnTo>
                  <a:lnTo>
                    <a:pt x="7884" y="8431"/>
                  </a:lnTo>
                  <a:lnTo>
                    <a:pt x="7844" y="8471"/>
                  </a:lnTo>
                  <a:lnTo>
                    <a:pt x="7804" y="8495"/>
                  </a:lnTo>
                  <a:lnTo>
                    <a:pt x="7804" y="8495"/>
                  </a:lnTo>
                  <a:lnTo>
                    <a:pt x="7820" y="8455"/>
                  </a:lnTo>
                  <a:lnTo>
                    <a:pt x="7820" y="8408"/>
                  </a:lnTo>
                  <a:lnTo>
                    <a:pt x="7820" y="8161"/>
                  </a:lnTo>
                  <a:lnTo>
                    <a:pt x="7820" y="8161"/>
                  </a:lnTo>
                  <a:lnTo>
                    <a:pt x="7812" y="8105"/>
                  </a:lnTo>
                  <a:lnTo>
                    <a:pt x="7796" y="8050"/>
                  </a:lnTo>
                  <a:lnTo>
                    <a:pt x="7772" y="8003"/>
                  </a:lnTo>
                  <a:lnTo>
                    <a:pt x="7732" y="7963"/>
                  </a:lnTo>
                  <a:lnTo>
                    <a:pt x="7693" y="7923"/>
                  </a:lnTo>
                  <a:lnTo>
                    <a:pt x="7637" y="7900"/>
                  </a:lnTo>
                  <a:lnTo>
                    <a:pt x="7581" y="7876"/>
                  </a:lnTo>
                  <a:lnTo>
                    <a:pt x="7526" y="7876"/>
                  </a:lnTo>
                  <a:lnTo>
                    <a:pt x="7526" y="7876"/>
                  </a:lnTo>
                  <a:lnTo>
                    <a:pt x="7471" y="7876"/>
                  </a:lnTo>
                  <a:lnTo>
                    <a:pt x="7415" y="7892"/>
                  </a:lnTo>
                  <a:lnTo>
                    <a:pt x="7359" y="7923"/>
                  </a:lnTo>
                  <a:lnTo>
                    <a:pt x="7319" y="7955"/>
                  </a:lnTo>
                  <a:lnTo>
                    <a:pt x="7280" y="8003"/>
                  </a:lnTo>
                  <a:lnTo>
                    <a:pt x="7256" y="8050"/>
                  </a:lnTo>
                  <a:lnTo>
                    <a:pt x="7240" y="8105"/>
                  </a:lnTo>
                  <a:lnTo>
                    <a:pt x="7232" y="8161"/>
                  </a:lnTo>
                  <a:lnTo>
                    <a:pt x="7232" y="8408"/>
                  </a:lnTo>
                  <a:lnTo>
                    <a:pt x="7232" y="8408"/>
                  </a:lnTo>
                  <a:lnTo>
                    <a:pt x="7240" y="8447"/>
                  </a:lnTo>
                  <a:lnTo>
                    <a:pt x="7248" y="8495"/>
                  </a:lnTo>
                  <a:lnTo>
                    <a:pt x="7265" y="8535"/>
                  </a:lnTo>
                  <a:lnTo>
                    <a:pt x="7288" y="8566"/>
                  </a:lnTo>
                  <a:lnTo>
                    <a:pt x="6906" y="8566"/>
                  </a:lnTo>
                  <a:lnTo>
                    <a:pt x="6906" y="7931"/>
                  </a:lnTo>
                  <a:lnTo>
                    <a:pt x="6796" y="7931"/>
                  </a:lnTo>
                  <a:lnTo>
                    <a:pt x="6796" y="8566"/>
                  </a:lnTo>
                  <a:lnTo>
                    <a:pt x="6414" y="8566"/>
                  </a:lnTo>
                  <a:lnTo>
                    <a:pt x="6414" y="8566"/>
                  </a:lnTo>
                  <a:lnTo>
                    <a:pt x="6438" y="8535"/>
                  </a:lnTo>
                  <a:lnTo>
                    <a:pt x="6455" y="8495"/>
                  </a:lnTo>
                  <a:lnTo>
                    <a:pt x="6470" y="8447"/>
                  </a:lnTo>
                  <a:lnTo>
                    <a:pt x="6470" y="8408"/>
                  </a:lnTo>
                  <a:lnTo>
                    <a:pt x="6470" y="8161"/>
                  </a:lnTo>
                  <a:lnTo>
                    <a:pt x="6470" y="8161"/>
                  </a:lnTo>
                  <a:lnTo>
                    <a:pt x="6462" y="8105"/>
                  </a:lnTo>
                  <a:lnTo>
                    <a:pt x="6447" y="8050"/>
                  </a:lnTo>
                  <a:lnTo>
                    <a:pt x="6422" y="8003"/>
                  </a:lnTo>
                  <a:lnTo>
                    <a:pt x="6383" y="7955"/>
                  </a:lnTo>
                  <a:lnTo>
                    <a:pt x="6343" y="7923"/>
                  </a:lnTo>
                  <a:lnTo>
                    <a:pt x="6295" y="7892"/>
                  </a:lnTo>
                  <a:lnTo>
                    <a:pt x="6240" y="7876"/>
                  </a:lnTo>
                  <a:lnTo>
                    <a:pt x="6177" y="7876"/>
                  </a:lnTo>
                  <a:lnTo>
                    <a:pt x="6177" y="7876"/>
                  </a:lnTo>
                  <a:lnTo>
                    <a:pt x="6121" y="7876"/>
                  </a:lnTo>
                  <a:lnTo>
                    <a:pt x="6065" y="7900"/>
                  </a:lnTo>
                  <a:lnTo>
                    <a:pt x="6017" y="7923"/>
                  </a:lnTo>
                  <a:lnTo>
                    <a:pt x="5978" y="7955"/>
                  </a:lnTo>
                  <a:lnTo>
                    <a:pt x="5946" y="8003"/>
                  </a:lnTo>
                  <a:lnTo>
                    <a:pt x="5922" y="8050"/>
                  </a:lnTo>
                  <a:lnTo>
                    <a:pt x="5907" y="8105"/>
                  </a:lnTo>
                  <a:lnTo>
                    <a:pt x="5898" y="8161"/>
                  </a:lnTo>
                  <a:lnTo>
                    <a:pt x="5898" y="8408"/>
                  </a:lnTo>
                  <a:lnTo>
                    <a:pt x="5898" y="8408"/>
                  </a:lnTo>
                  <a:lnTo>
                    <a:pt x="5898" y="8447"/>
                  </a:lnTo>
                  <a:lnTo>
                    <a:pt x="5915" y="8495"/>
                  </a:lnTo>
                  <a:lnTo>
                    <a:pt x="5930" y="8535"/>
                  </a:lnTo>
                  <a:lnTo>
                    <a:pt x="5946" y="8566"/>
                  </a:lnTo>
                  <a:lnTo>
                    <a:pt x="5573" y="8566"/>
                  </a:lnTo>
                  <a:lnTo>
                    <a:pt x="5573" y="7931"/>
                  </a:lnTo>
                  <a:lnTo>
                    <a:pt x="5454" y="7931"/>
                  </a:lnTo>
                  <a:lnTo>
                    <a:pt x="5454" y="8566"/>
                  </a:lnTo>
                  <a:lnTo>
                    <a:pt x="5080" y="8566"/>
                  </a:lnTo>
                  <a:lnTo>
                    <a:pt x="5080" y="8566"/>
                  </a:lnTo>
                  <a:lnTo>
                    <a:pt x="5105" y="8535"/>
                  </a:lnTo>
                  <a:lnTo>
                    <a:pt x="5120" y="8495"/>
                  </a:lnTo>
                  <a:lnTo>
                    <a:pt x="5128" y="8447"/>
                  </a:lnTo>
                  <a:lnTo>
                    <a:pt x="5136" y="8408"/>
                  </a:lnTo>
                  <a:lnTo>
                    <a:pt x="5136" y="8161"/>
                  </a:lnTo>
                  <a:lnTo>
                    <a:pt x="5136" y="8161"/>
                  </a:lnTo>
                  <a:lnTo>
                    <a:pt x="5128" y="8105"/>
                  </a:lnTo>
                  <a:lnTo>
                    <a:pt x="5112" y="8050"/>
                  </a:lnTo>
                  <a:lnTo>
                    <a:pt x="5080" y="8003"/>
                  </a:lnTo>
                  <a:lnTo>
                    <a:pt x="5049" y="7955"/>
                  </a:lnTo>
                  <a:lnTo>
                    <a:pt x="5001" y="7923"/>
                  </a:lnTo>
                  <a:lnTo>
                    <a:pt x="4954" y="7892"/>
                  </a:lnTo>
                  <a:lnTo>
                    <a:pt x="4898" y="7876"/>
                  </a:lnTo>
                  <a:lnTo>
                    <a:pt x="4842" y="7876"/>
                  </a:lnTo>
                  <a:lnTo>
                    <a:pt x="4842" y="7876"/>
                  </a:lnTo>
                  <a:lnTo>
                    <a:pt x="4779" y="7876"/>
                  </a:lnTo>
                  <a:lnTo>
                    <a:pt x="4723" y="7892"/>
                  </a:lnTo>
                  <a:lnTo>
                    <a:pt x="4676" y="7923"/>
                  </a:lnTo>
                  <a:lnTo>
                    <a:pt x="4628" y="7955"/>
                  </a:lnTo>
                  <a:lnTo>
                    <a:pt x="4596" y="8003"/>
                  </a:lnTo>
                  <a:lnTo>
                    <a:pt x="4565" y="8050"/>
                  </a:lnTo>
                  <a:lnTo>
                    <a:pt x="4549" y="8105"/>
                  </a:lnTo>
                  <a:lnTo>
                    <a:pt x="4549" y="8161"/>
                  </a:lnTo>
                  <a:lnTo>
                    <a:pt x="4549" y="8408"/>
                  </a:lnTo>
                  <a:lnTo>
                    <a:pt x="4549" y="8408"/>
                  </a:lnTo>
                  <a:lnTo>
                    <a:pt x="4549" y="8447"/>
                  </a:lnTo>
                  <a:lnTo>
                    <a:pt x="4557" y="8495"/>
                  </a:lnTo>
                  <a:lnTo>
                    <a:pt x="4572" y="8535"/>
                  </a:lnTo>
                  <a:lnTo>
                    <a:pt x="4596" y="8566"/>
                  </a:lnTo>
                  <a:lnTo>
                    <a:pt x="4223" y="8566"/>
                  </a:lnTo>
                  <a:lnTo>
                    <a:pt x="4223" y="7931"/>
                  </a:lnTo>
                  <a:lnTo>
                    <a:pt x="4104" y="7931"/>
                  </a:lnTo>
                  <a:lnTo>
                    <a:pt x="4104" y="8566"/>
                  </a:lnTo>
                  <a:lnTo>
                    <a:pt x="3660" y="8566"/>
                  </a:lnTo>
                  <a:lnTo>
                    <a:pt x="3660" y="8566"/>
                  </a:lnTo>
                  <a:lnTo>
                    <a:pt x="3683" y="8535"/>
                  </a:lnTo>
                  <a:lnTo>
                    <a:pt x="3699" y="8487"/>
                  </a:lnTo>
                  <a:lnTo>
                    <a:pt x="3714" y="8447"/>
                  </a:lnTo>
                  <a:lnTo>
                    <a:pt x="3714" y="8408"/>
                  </a:lnTo>
                  <a:lnTo>
                    <a:pt x="3714" y="8161"/>
                  </a:lnTo>
                  <a:lnTo>
                    <a:pt x="3714" y="8161"/>
                  </a:lnTo>
                  <a:lnTo>
                    <a:pt x="3707" y="8105"/>
                  </a:lnTo>
                  <a:lnTo>
                    <a:pt x="3691" y="8050"/>
                  </a:lnTo>
                  <a:lnTo>
                    <a:pt x="3668" y="8003"/>
                  </a:lnTo>
                  <a:lnTo>
                    <a:pt x="3627" y="7963"/>
                  </a:lnTo>
                  <a:lnTo>
                    <a:pt x="3588" y="7923"/>
                  </a:lnTo>
                  <a:lnTo>
                    <a:pt x="3533" y="7900"/>
                  </a:lnTo>
                  <a:lnTo>
                    <a:pt x="3477" y="7876"/>
                  </a:lnTo>
                  <a:lnTo>
                    <a:pt x="3421" y="7876"/>
                  </a:lnTo>
                  <a:lnTo>
                    <a:pt x="3421" y="7876"/>
                  </a:lnTo>
                  <a:lnTo>
                    <a:pt x="3365" y="7876"/>
                  </a:lnTo>
                  <a:lnTo>
                    <a:pt x="3309" y="7892"/>
                  </a:lnTo>
                  <a:lnTo>
                    <a:pt x="3596" y="6868"/>
                  </a:lnTo>
                  <a:lnTo>
                    <a:pt x="3596" y="7472"/>
                  </a:lnTo>
                  <a:lnTo>
                    <a:pt x="3714" y="7472"/>
                  </a:lnTo>
                  <a:lnTo>
                    <a:pt x="3714" y="6789"/>
                  </a:lnTo>
                  <a:lnTo>
                    <a:pt x="3620" y="6789"/>
                  </a:lnTo>
                  <a:lnTo>
                    <a:pt x="3890" y="5836"/>
                  </a:lnTo>
                  <a:lnTo>
                    <a:pt x="4104" y="5836"/>
                  </a:lnTo>
                  <a:lnTo>
                    <a:pt x="4104" y="6288"/>
                  </a:lnTo>
                  <a:lnTo>
                    <a:pt x="4223" y="6288"/>
                  </a:lnTo>
                  <a:lnTo>
                    <a:pt x="4223" y="5836"/>
                  </a:lnTo>
                  <a:lnTo>
                    <a:pt x="4549" y="5836"/>
                  </a:lnTo>
                  <a:lnTo>
                    <a:pt x="4549" y="6074"/>
                  </a:lnTo>
                  <a:lnTo>
                    <a:pt x="4549" y="6074"/>
                  </a:lnTo>
                  <a:lnTo>
                    <a:pt x="4549" y="6129"/>
                  </a:lnTo>
                  <a:lnTo>
                    <a:pt x="4572" y="6185"/>
                  </a:lnTo>
                  <a:lnTo>
                    <a:pt x="4596" y="6233"/>
                  </a:lnTo>
                  <a:lnTo>
                    <a:pt x="4636" y="6272"/>
                  </a:lnTo>
                  <a:lnTo>
                    <a:pt x="4676" y="6312"/>
                  </a:lnTo>
                  <a:lnTo>
                    <a:pt x="4731" y="6336"/>
                  </a:lnTo>
                  <a:lnTo>
                    <a:pt x="4779" y="6352"/>
                  </a:lnTo>
                  <a:lnTo>
                    <a:pt x="4842" y="6360"/>
                  </a:lnTo>
                  <a:lnTo>
                    <a:pt x="4842" y="6360"/>
                  </a:lnTo>
                  <a:lnTo>
                    <a:pt x="4898" y="6352"/>
                  </a:lnTo>
                  <a:lnTo>
                    <a:pt x="4954" y="6336"/>
                  </a:lnTo>
                  <a:lnTo>
                    <a:pt x="5001" y="6312"/>
                  </a:lnTo>
                  <a:lnTo>
                    <a:pt x="5049" y="6272"/>
                  </a:lnTo>
                  <a:lnTo>
                    <a:pt x="5080" y="6233"/>
                  </a:lnTo>
                  <a:lnTo>
                    <a:pt x="5112" y="6185"/>
                  </a:lnTo>
                  <a:lnTo>
                    <a:pt x="5128" y="6129"/>
                  </a:lnTo>
                  <a:lnTo>
                    <a:pt x="5136" y="6074"/>
                  </a:lnTo>
                  <a:lnTo>
                    <a:pt x="5136" y="5836"/>
                  </a:lnTo>
                  <a:lnTo>
                    <a:pt x="5454" y="5836"/>
                  </a:lnTo>
                  <a:lnTo>
                    <a:pt x="5454" y="6288"/>
                  </a:lnTo>
                  <a:lnTo>
                    <a:pt x="5573" y="6288"/>
                  </a:lnTo>
                  <a:lnTo>
                    <a:pt x="5573" y="5836"/>
                  </a:lnTo>
                  <a:lnTo>
                    <a:pt x="5898" y="5836"/>
                  </a:lnTo>
                  <a:lnTo>
                    <a:pt x="5898" y="6074"/>
                  </a:lnTo>
                  <a:lnTo>
                    <a:pt x="5898" y="6074"/>
                  </a:lnTo>
                  <a:lnTo>
                    <a:pt x="5907" y="6129"/>
                  </a:lnTo>
                  <a:lnTo>
                    <a:pt x="5922" y="6185"/>
                  </a:lnTo>
                  <a:lnTo>
                    <a:pt x="5946" y="6233"/>
                  </a:lnTo>
                  <a:lnTo>
                    <a:pt x="5986" y="6272"/>
                  </a:lnTo>
                  <a:lnTo>
                    <a:pt x="6025" y="6312"/>
                  </a:lnTo>
                  <a:lnTo>
                    <a:pt x="6073" y="6336"/>
                  </a:lnTo>
                  <a:lnTo>
                    <a:pt x="6121" y="6352"/>
                  </a:lnTo>
                  <a:lnTo>
                    <a:pt x="6177" y="6360"/>
                  </a:lnTo>
                  <a:lnTo>
                    <a:pt x="6177" y="6360"/>
                  </a:lnTo>
                  <a:lnTo>
                    <a:pt x="6231" y="6352"/>
                  </a:lnTo>
                  <a:lnTo>
                    <a:pt x="6287" y="6336"/>
                  </a:lnTo>
                  <a:lnTo>
                    <a:pt x="6335" y="6312"/>
                  </a:lnTo>
                  <a:lnTo>
                    <a:pt x="6383" y="6272"/>
                  </a:lnTo>
                  <a:lnTo>
                    <a:pt x="6414" y="6233"/>
                  </a:lnTo>
                  <a:lnTo>
                    <a:pt x="6447" y="6185"/>
                  </a:lnTo>
                  <a:lnTo>
                    <a:pt x="6462" y="6129"/>
                  </a:lnTo>
                  <a:lnTo>
                    <a:pt x="6470" y="6074"/>
                  </a:lnTo>
                  <a:lnTo>
                    <a:pt x="6470" y="5836"/>
                  </a:lnTo>
                  <a:lnTo>
                    <a:pt x="6788" y="5836"/>
                  </a:lnTo>
                  <a:lnTo>
                    <a:pt x="6796" y="5844"/>
                  </a:lnTo>
                  <a:close/>
                  <a:moveTo>
                    <a:pt x="570" y="8471"/>
                  </a:moveTo>
                  <a:lnTo>
                    <a:pt x="570" y="8471"/>
                  </a:lnTo>
                  <a:lnTo>
                    <a:pt x="563" y="8439"/>
                  </a:lnTo>
                  <a:lnTo>
                    <a:pt x="555" y="8408"/>
                  </a:lnTo>
                  <a:lnTo>
                    <a:pt x="555" y="8161"/>
                  </a:lnTo>
                  <a:lnTo>
                    <a:pt x="555" y="8161"/>
                  </a:lnTo>
                  <a:lnTo>
                    <a:pt x="563" y="8121"/>
                  </a:lnTo>
                  <a:lnTo>
                    <a:pt x="570" y="8090"/>
                  </a:lnTo>
                  <a:lnTo>
                    <a:pt x="586" y="8066"/>
                  </a:lnTo>
                  <a:lnTo>
                    <a:pt x="611" y="8042"/>
                  </a:lnTo>
                  <a:lnTo>
                    <a:pt x="634" y="8018"/>
                  </a:lnTo>
                  <a:lnTo>
                    <a:pt x="666" y="8003"/>
                  </a:lnTo>
                  <a:lnTo>
                    <a:pt x="698" y="7995"/>
                  </a:lnTo>
                  <a:lnTo>
                    <a:pt x="738" y="7986"/>
                  </a:lnTo>
                  <a:lnTo>
                    <a:pt x="738" y="7986"/>
                  </a:lnTo>
                  <a:lnTo>
                    <a:pt x="769" y="7995"/>
                  </a:lnTo>
                  <a:lnTo>
                    <a:pt x="801" y="8003"/>
                  </a:lnTo>
                  <a:lnTo>
                    <a:pt x="833" y="8018"/>
                  </a:lnTo>
                  <a:lnTo>
                    <a:pt x="864" y="8042"/>
                  </a:lnTo>
                  <a:lnTo>
                    <a:pt x="881" y="8066"/>
                  </a:lnTo>
                  <a:lnTo>
                    <a:pt x="896" y="8090"/>
                  </a:lnTo>
                  <a:lnTo>
                    <a:pt x="904" y="8121"/>
                  </a:lnTo>
                  <a:lnTo>
                    <a:pt x="912" y="8161"/>
                  </a:lnTo>
                  <a:lnTo>
                    <a:pt x="912" y="8408"/>
                  </a:lnTo>
                  <a:lnTo>
                    <a:pt x="912" y="8408"/>
                  </a:lnTo>
                  <a:lnTo>
                    <a:pt x="904" y="8455"/>
                  </a:lnTo>
                  <a:lnTo>
                    <a:pt x="881" y="8502"/>
                  </a:lnTo>
                  <a:lnTo>
                    <a:pt x="840" y="8543"/>
                  </a:lnTo>
                  <a:lnTo>
                    <a:pt x="792" y="8566"/>
                  </a:lnTo>
                  <a:lnTo>
                    <a:pt x="792" y="8566"/>
                  </a:lnTo>
                  <a:lnTo>
                    <a:pt x="729" y="8550"/>
                  </a:lnTo>
                  <a:lnTo>
                    <a:pt x="674" y="8535"/>
                  </a:lnTo>
                  <a:lnTo>
                    <a:pt x="618" y="8502"/>
                  </a:lnTo>
                  <a:lnTo>
                    <a:pt x="570" y="8471"/>
                  </a:lnTo>
                  <a:close/>
                  <a:moveTo>
                    <a:pt x="738" y="7876"/>
                  </a:moveTo>
                  <a:lnTo>
                    <a:pt x="738" y="7876"/>
                  </a:lnTo>
                  <a:lnTo>
                    <a:pt x="674" y="7876"/>
                  </a:lnTo>
                  <a:lnTo>
                    <a:pt x="618" y="7892"/>
                  </a:lnTo>
                  <a:lnTo>
                    <a:pt x="570" y="7923"/>
                  </a:lnTo>
                  <a:lnTo>
                    <a:pt x="523" y="7955"/>
                  </a:lnTo>
                  <a:lnTo>
                    <a:pt x="491" y="8003"/>
                  </a:lnTo>
                  <a:lnTo>
                    <a:pt x="468" y="8050"/>
                  </a:lnTo>
                  <a:lnTo>
                    <a:pt x="443" y="8105"/>
                  </a:lnTo>
                  <a:lnTo>
                    <a:pt x="443" y="8161"/>
                  </a:lnTo>
                  <a:lnTo>
                    <a:pt x="443" y="8296"/>
                  </a:lnTo>
                  <a:lnTo>
                    <a:pt x="443" y="8296"/>
                  </a:lnTo>
                  <a:lnTo>
                    <a:pt x="428" y="8248"/>
                  </a:lnTo>
                  <a:lnTo>
                    <a:pt x="412" y="8201"/>
                  </a:lnTo>
                  <a:lnTo>
                    <a:pt x="412" y="8153"/>
                  </a:lnTo>
                  <a:lnTo>
                    <a:pt x="412" y="8105"/>
                  </a:lnTo>
                  <a:lnTo>
                    <a:pt x="412" y="8058"/>
                  </a:lnTo>
                  <a:lnTo>
                    <a:pt x="428" y="8010"/>
                  </a:lnTo>
                  <a:lnTo>
                    <a:pt x="443" y="7963"/>
                  </a:lnTo>
                  <a:lnTo>
                    <a:pt x="468" y="7916"/>
                  </a:lnTo>
                  <a:lnTo>
                    <a:pt x="912" y="7114"/>
                  </a:lnTo>
                  <a:lnTo>
                    <a:pt x="912" y="7472"/>
                  </a:lnTo>
                  <a:lnTo>
                    <a:pt x="1031" y="7472"/>
                  </a:lnTo>
                  <a:lnTo>
                    <a:pt x="1031" y="6900"/>
                  </a:lnTo>
                  <a:lnTo>
                    <a:pt x="1373" y="6288"/>
                  </a:lnTo>
                  <a:lnTo>
                    <a:pt x="1467" y="6288"/>
                  </a:lnTo>
                  <a:lnTo>
                    <a:pt x="1467" y="6114"/>
                  </a:lnTo>
                  <a:lnTo>
                    <a:pt x="1627" y="5836"/>
                  </a:lnTo>
                  <a:lnTo>
                    <a:pt x="1793" y="5836"/>
                  </a:lnTo>
                  <a:lnTo>
                    <a:pt x="1793" y="6074"/>
                  </a:lnTo>
                  <a:lnTo>
                    <a:pt x="1793" y="6074"/>
                  </a:lnTo>
                  <a:lnTo>
                    <a:pt x="1801" y="6129"/>
                  </a:lnTo>
                  <a:lnTo>
                    <a:pt x="1817" y="6185"/>
                  </a:lnTo>
                  <a:lnTo>
                    <a:pt x="1841" y="6233"/>
                  </a:lnTo>
                  <a:lnTo>
                    <a:pt x="1880" y="6272"/>
                  </a:lnTo>
                  <a:lnTo>
                    <a:pt x="1920" y="6312"/>
                  </a:lnTo>
                  <a:lnTo>
                    <a:pt x="1968" y="6336"/>
                  </a:lnTo>
                  <a:lnTo>
                    <a:pt x="2015" y="6352"/>
                  </a:lnTo>
                  <a:lnTo>
                    <a:pt x="2071" y="6360"/>
                  </a:lnTo>
                  <a:lnTo>
                    <a:pt x="2071" y="6360"/>
                  </a:lnTo>
                  <a:lnTo>
                    <a:pt x="2127" y="6352"/>
                  </a:lnTo>
                  <a:lnTo>
                    <a:pt x="2183" y="6336"/>
                  </a:lnTo>
                  <a:lnTo>
                    <a:pt x="2231" y="6312"/>
                  </a:lnTo>
                  <a:lnTo>
                    <a:pt x="2277" y="6272"/>
                  </a:lnTo>
                  <a:lnTo>
                    <a:pt x="2318" y="6233"/>
                  </a:lnTo>
                  <a:lnTo>
                    <a:pt x="2341" y="6185"/>
                  </a:lnTo>
                  <a:lnTo>
                    <a:pt x="2357" y="6129"/>
                  </a:lnTo>
                  <a:lnTo>
                    <a:pt x="2365" y="6074"/>
                  </a:lnTo>
                  <a:lnTo>
                    <a:pt x="2365" y="5836"/>
                  </a:lnTo>
                  <a:lnTo>
                    <a:pt x="2690" y="5836"/>
                  </a:lnTo>
                  <a:lnTo>
                    <a:pt x="2690" y="6288"/>
                  </a:lnTo>
                  <a:lnTo>
                    <a:pt x="2810" y="6288"/>
                  </a:lnTo>
                  <a:lnTo>
                    <a:pt x="2810" y="5836"/>
                  </a:lnTo>
                  <a:lnTo>
                    <a:pt x="3128" y="5836"/>
                  </a:lnTo>
                  <a:lnTo>
                    <a:pt x="3128" y="6074"/>
                  </a:lnTo>
                  <a:lnTo>
                    <a:pt x="3128" y="6074"/>
                  </a:lnTo>
                  <a:lnTo>
                    <a:pt x="3135" y="6122"/>
                  </a:lnTo>
                  <a:lnTo>
                    <a:pt x="3143" y="6162"/>
                  </a:lnTo>
                  <a:lnTo>
                    <a:pt x="3159" y="6201"/>
                  </a:lnTo>
                  <a:lnTo>
                    <a:pt x="3183" y="6241"/>
                  </a:lnTo>
                  <a:lnTo>
                    <a:pt x="3215" y="6272"/>
                  </a:lnTo>
                  <a:lnTo>
                    <a:pt x="3246" y="6297"/>
                  </a:lnTo>
                  <a:lnTo>
                    <a:pt x="3286" y="6320"/>
                  </a:lnTo>
                  <a:lnTo>
                    <a:pt x="3326" y="6344"/>
                  </a:lnTo>
                  <a:lnTo>
                    <a:pt x="3191" y="6812"/>
                  </a:lnTo>
                  <a:lnTo>
                    <a:pt x="3191" y="6812"/>
                  </a:lnTo>
                  <a:lnTo>
                    <a:pt x="3143" y="6781"/>
                  </a:lnTo>
                  <a:lnTo>
                    <a:pt x="3095" y="6756"/>
                  </a:lnTo>
                  <a:lnTo>
                    <a:pt x="3040" y="6733"/>
                  </a:lnTo>
                  <a:lnTo>
                    <a:pt x="2985" y="6733"/>
                  </a:lnTo>
                  <a:lnTo>
                    <a:pt x="2985" y="6733"/>
                  </a:lnTo>
                  <a:lnTo>
                    <a:pt x="2921" y="6733"/>
                  </a:lnTo>
                  <a:lnTo>
                    <a:pt x="2865" y="6749"/>
                  </a:lnTo>
                  <a:lnTo>
                    <a:pt x="2817" y="6781"/>
                  </a:lnTo>
                  <a:lnTo>
                    <a:pt x="2778" y="6812"/>
                  </a:lnTo>
                  <a:lnTo>
                    <a:pt x="2738" y="6852"/>
                  </a:lnTo>
                  <a:lnTo>
                    <a:pt x="2715" y="6900"/>
                  </a:lnTo>
                  <a:lnTo>
                    <a:pt x="2690" y="6947"/>
                  </a:lnTo>
                  <a:lnTo>
                    <a:pt x="2690" y="7003"/>
                  </a:lnTo>
                  <a:lnTo>
                    <a:pt x="2690" y="7257"/>
                  </a:lnTo>
                  <a:lnTo>
                    <a:pt x="2690" y="7257"/>
                  </a:lnTo>
                  <a:lnTo>
                    <a:pt x="2698" y="7321"/>
                  </a:lnTo>
                  <a:lnTo>
                    <a:pt x="2715" y="7368"/>
                  </a:lnTo>
                  <a:lnTo>
                    <a:pt x="2738" y="7416"/>
                  </a:lnTo>
                  <a:lnTo>
                    <a:pt x="2778" y="7464"/>
                  </a:lnTo>
                  <a:lnTo>
                    <a:pt x="2817" y="7495"/>
                  </a:lnTo>
                  <a:lnTo>
                    <a:pt x="2873" y="7527"/>
                  </a:lnTo>
                  <a:lnTo>
                    <a:pt x="2921" y="7543"/>
                  </a:lnTo>
                  <a:lnTo>
                    <a:pt x="2985" y="7551"/>
                  </a:lnTo>
                  <a:lnTo>
                    <a:pt x="2985" y="7551"/>
                  </a:lnTo>
                  <a:lnTo>
                    <a:pt x="2985" y="7551"/>
                  </a:lnTo>
                  <a:lnTo>
                    <a:pt x="2810" y="8185"/>
                  </a:lnTo>
                  <a:lnTo>
                    <a:pt x="2810" y="7931"/>
                  </a:lnTo>
                  <a:lnTo>
                    <a:pt x="2690" y="7931"/>
                  </a:lnTo>
                  <a:lnTo>
                    <a:pt x="2690" y="8566"/>
                  </a:lnTo>
                  <a:lnTo>
                    <a:pt x="2310" y="8566"/>
                  </a:lnTo>
                  <a:lnTo>
                    <a:pt x="2310" y="8566"/>
                  </a:lnTo>
                  <a:lnTo>
                    <a:pt x="2333" y="8535"/>
                  </a:lnTo>
                  <a:lnTo>
                    <a:pt x="2349" y="8495"/>
                  </a:lnTo>
                  <a:lnTo>
                    <a:pt x="2365" y="8447"/>
                  </a:lnTo>
                  <a:lnTo>
                    <a:pt x="2365" y="8408"/>
                  </a:lnTo>
                  <a:lnTo>
                    <a:pt x="2365" y="8161"/>
                  </a:lnTo>
                  <a:lnTo>
                    <a:pt x="2365" y="8161"/>
                  </a:lnTo>
                  <a:lnTo>
                    <a:pt x="2357" y="8105"/>
                  </a:lnTo>
                  <a:lnTo>
                    <a:pt x="2341" y="8050"/>
                  </a:lnTo>
                  <a:lnTo>
                    <a:pt x="2318" y="8003"/>
                  </a:lnTo>
                  <a:lnTo>
                    <a:pt x="2277" y="7955"/>
                  </a:lnTo>
                  <a:lnTo>
                    <a:pt x="2238" y="7923"/>
                  </a:lnTo>
                  <a:lnTo>
                    <a:pt x="2190" y="7892"/>
                  </a:lnTo>
                  <a:lnTo>
                    <a:pt x="2135" y="7876"/>
                  </a:lnTo>
                  <a:lnTo>
                    <a:pt x="2071" y="7876"/>
                  </a:lnTo>
                  <a:lnTo>
                    <a:pt x="2071" y="7876"/>
                  </a:lnTo>
                  <a:lnTo>
                    <a:pt x="2015" y="7876"/>
                  </a:lnTo>
                  <a:lnTo>
                    <a:pt x="1961" y="7900"/>
                  </a:lnTo>
                  <a:lnTo>
                    <a:pt x="1913" y="7923"/>
                  </a:lnTo>
                  <a:lnTo>
                    <a:pt x="1872" y="7955"/>
                  </a:lnTo>
                  <a:lnTo>
                    <a:pt x="1841" y="8003"/>
                  </a:lnTo>
                  <a:lnTo>
                    <a:pt x="1817" y="8050"/>
                  </a:lnTo>
                  <a:lnTo>
                    <a:pt x="1801" y="8105"/>
                  </a:lnTo>
                  <a:lnTo>
                    <a:pt x="1793" y="8161"/>
                  </a:lnTo>
                  <a:lnTo>
                    <a:pt x="1793" y="8408"/>
                  </a:lnTo>
                  <a:lnTo>
                    <a:pt x="1793" y="8408"/>
                  </a:lnTo>
                  <a:lnTo>
                    <a:pt x="1793" y="8447"/>
                  </a:lnTo>
                  <a:lnTo>
                    <a:pt x="1809" y="8495"/>
                  </a:lnTo>
                  <a:lnTo>
                    <a:pt x="1826" y="8535"/>
                  </a:lnTo>
                  <a:lnTo>
                    <a:pt x="1841" y="8566"/>
                  </a:lnTo>
                  <a:lnTo>
                    <a:pt x="1467" y="8566"/>
                  </a:lnTo>
                  <a:lnTo>
                    <a:pt x="1467" y="7931"/>
                  </a:lnTo>
                  <a:lnTo>
                    <a:pt x="1349" y="7931"/>
                  </a:lnTo>
                  <a:lnTo>
                    <a:pt x="1349" y="8566"/>
                  </a:lnTo>
                  <a:lnTo>
                    <a:pt x="975" y="8566"/>
                  </a:lnTo>
                  <a:lnTo>
                    <a:pt x="975" y="8566"/>
                  </a:lnTo>
                  <a:lnTo>
                    <a:pt x="999" y="8535"/>
                  </a:lnTo>
                  <a:lnTo>
                    <a:pt x="1016" y="8495"/>
                  </a:lnTo>
                  <a:lnTo>
                    <a:pt x="1023" y="8447"/>
                  </a:lnTo>
                  <a:lnTo>
                    <a:pt x="1031" y="8408"/>
                  </a:lnTo>
                  <a:lnTo>
                    <a:pt x="1031" y="8161"/>
                  </a:lnTo>
                  <a:lnTo>
                    <a:pt x="1031" y="8161"/>
                  </a:lnTo>
                  <a:lnTo>
                    <a:pt x="1023" y="8105"/>
                  </a:lnTo>
                  <a:lnTo>
                    <a:pt x="1008" y="8050"/>
                  </a:lnTo>
                  <a:lnTo>
                    <a:pt x="975" y="8003"/>
                  </a:lnTo>
                  <a:lnTo>
                    <a:pt x="944" y="7955"/>
                  </a:lnTo>
                  <a:lnTo>
                    <a:pt x="896" y="7923"/>
                  </a:lnTo>
                  <a:lnTo>
                    <a:pt x="848" y="7892"/>
                  </a:lnTo>
                  <a:lnTo>
                    <a:pt x="792" y="7876"/>
                  </a:lnTo>
                  <a:lnTo>
                    <a:pt x="738" y="7876"/>
                  </a:lnTo>
                  <a:close/>
                  <a:moveTo>
                    <a:pt x="6017" y="5836"/>
                  </a:moveTo>
                  <a:lnTo>
                    <a:pt x="6351" y="5836"/>
                  </a:lnTo>
                  <a:lnTo>
                    <a:pt x="6351" y="6074"/>
                  </a:lnTo>
                  <a:lnTo>
                    <a:pt x="6351" y="6074"/>
                  </a:lnTo>
                  <a:lnTo>
                    <a:pt x="6351" y="6106"/>
                  </a:lnTo>
                  <a:lnTo>
                    <a:pt x="6343" y="6137"/>
                  </a:lnTo>
                  <a:lnTo>
                    <a:pt x="6327" y="6162"/>
                  </a:lnTo>
                  <a:lnTo>
                    <a:pt x="6303" y="6193"/>
                  </a:lnTo>
                  <a:lnTo>
                    <a:pt x="6279" y="6209"/>
                  </a:lnTo>
                  <a:lnTo>
                    <a:pt x="6248" y="6233"/>
                  </a:lnTo>
                  <a:lnTo>
                    <a:pt x="6216" y="6241"/>
                  </a:lnTo>
                  <a:lnTo>
                    <a:pt x="6177" y="6241"/>
                  </a:lnTo>
                  <a:lnTo>
                    <a:pt x="6177" y="6241"/>
                  </a:lnTo>
                  <a:lnTo>
                    <a:pt x="6144" y="6241"/>
                  </a:lnTo>
                  <a:lnTo>
                    <a:pt x="6113" y="6233"/>
                  </a:lnTo>
                  <a:lnTo>
                    <a:pt x="6089" y="6217"/>
                  </a:lnTo>
                  <a:lnTo>
                    <a:pt x="6065" y="6193"/>
                  </a:lnTo>
                  <a:lnTo>
                    <a:pt x="6042" y="6170"/>
                  </a:lnTo>
                  <a:lnTo>
                    <a:pt x="6025" y="6137"/>
                  </a:lnTo>
                  <a:lnTo>
                    <a:pt x="6017" y="6106"/>
                  </a:lnTo>
                  <a:lnTo>
                    <a:pt x="6017" y="6074"/>
                  </a:lnTo>
                  <a:lnTo>
                    <a:pt x="6017" y="5836"/>
                  </a:lnTo>
                  <a:close/>
                  <a:moveTo>
                    <a:pt x="4659" y="5836"/>
                  </a:moveTo>
                  <a:lnTo>
                    <a:pt x="5017" y="5836"/>
                  </a:lnTo>
                  <a:lnTo>
                    <a:pt x="5017" y="6074"/>
                  </a:lnTo>
                  <a:lnTo>
                    <a:pt x="5017" y="6074"/>
                  </a:lnTo>
                  <a:lnTo>
                    <a:pt x="5009" y="6106"/>
                  </a:lnTo>
                  <a:lnTo>
                    <a:pt x="5001" y="6137"/>
                  </a:lnTo>
                  <a:lnTo>
                    <a:pt x="4985" y="6162"/>
                  </a:lnTo>
                  <a:lnTo>
                    <a:pt x="4962" y="6193"/>
                  </a:lnTo>
                  <a:lnTo>
                    <a:pt x="4937" y="6209"/>
                  </a:lnTo>
                  <a:lnTo>
                    <a:pt x="4906" y="6233"/>
                  </a:lnTo>
                  <a:lnTo>
                    <a:pt x="4874" y="6241"/>
                  </a:lnTo>
                  <a:lnTo>
                    <a:pt x="4842" y="6241"/>
                  </a:lnTo>
                  <a:lnTo>
                    <a:pt x="4842" y="6241"/>
                  </a:lnTo>
                  <a:lnTo>
                    <a:pt x="4802" y="6241"/>
                  </a:lnTo>
                  <a:lnTo>
                    <a:pt x="4771" y="6233"/>
                  </a:lnTo>
                  <a:lnTo>
                    <a:pt x="4739" y="6209"/>
                  </a:lnTo>
                  <a:lnTo>
                    <a:pt x="4715" y="6193"/>
                  </a:lnTo>
                  <a:lnTo>
                    <a:pt x="4692" y="6162"/>
                  </a:lnTo>
                  <a:lnTo>
                    <a:pt x="4676" y="6137"/>
                  </a:lnTo>
                  <a:lnTo>
                    <a:pt x="4667" y="6106"/>
                  </a:lnTo>
                  <a:lnTo>
                    <a:pt x="4659" y="6074"/>
                  </a:lnTo>
                  <a:lnTo>
                    <a:pt x="4659" y="5836"/>
                  </a:lnTo>
                  <a:close/>
                  <a:moveTo>
                    <a:pt x="3357" y="6233"/>
                  </a:moveTo>
                  <a:lnTo>
                    <a:pt x="3357" y="6233"/>
                  </a:lnTo>
                  <a:lnTo>
                    <a:pt x="3309" y="6201"/>
                  </a:lnTo>
                  <a:lnTo>
                    <a:pt x="3278" y="6162"/>
                  </a:lnTo>
                  <a:lnTo>
                    <a:pt x="3255" y="6122"/>
                  </a:lnTo>
                  <a:lnTo>
                    <a:pt x="3246" y="6074"/>
                  </a:lnTo>
                  <a:lnTo>
                    <a:pt x="3246" y="5836"/>
                  </a:lnTo>
                  <a:lnTo>
                    <a:pt x="3461" y="5836"/>
                  </a:lnTo>
                  <a:lnTo>
                    <a:pt x="3357" y="6233"/>
                  </a:lnTo>
                  <a:close/>
                  <a:moveTo>
                    <a:pt x="1913" y="5836"/>
                  </a:moveTo>
                  <a:lnTo>
                    <a:pt x="2246" y="5836"/>
                  </a:lnTo>
                  <a:lnTo>
                    <a:pt x="2246" y="6074"/>
                  </a:lnTo>
                  <a:lnTo>
                    <a:pt x="2246" y="6074"/>
                  </a:lnTo>
                  <a:lnTo>
                    <a:pt x="2246" y="6106"/>
                  </a:lnTo>
                  <a:lnTo>
                    <a:pt x="2238" y="6137"/>
                  </a:lnTo>
                  <a:lnTo>
                    <a:pt x="2222" y="6162"/>
                  </a:lnTo>
                  <a:lnTo>
                    <a:pt x="2198" y="6193"/>
                  </a:lnTo>
                  <a:lnTo>
                    <a:pt x="2175" y="6209"/>
                  </a:lnTo>
                  <a:lnTo>
                    <a:pt x="2142" y="6233"/>
                  </a:lnTo>
                  <a:lnTo>
                    <a:pt x="2111" y="6241"/>
                  </a:lnTo>
                  <a:lnTo>
                    <a:pt x="2071" y="6241"/>
                  </a:lnTo>
                  <a:lnTo>
                    <a:pt x="2071" y="6241"/>
                  </a:lnTo>
                  <a:lnTo>
                    <a:pt x="2040" y="6241"/>
                  </a:lnTo>
                  <a:lnTo>
                    <a:pt x="2015" y="6233"/>
                  </a:lnTo>
                  <a:lnTo>
                    <a:pt x="1984" y="6217"/>
                  </a:lnTo>
                  <a:lnTo>
                    <a:pt x="1961" y="6193"/>
                  </a:lnTo>
                  <a:lnTo>
                    <a:pt x="1936" y="6170"/>
                  </a:lnTo>
                  <a:lnTo>
                    <a:pt x="1920" y="6137"/>
                  </a:lnTo>
                  <a:lnTo>
                    <a:pt x="1913" y="6106"/>
                  </a:lnTo>
                  <a:lnTo>
                    <a:pt x="1913" y="6074"/>
                  </a:lnTo>
                  <a:lnTo>
                    <a:pt x="1913" y="5836"/>
                  </a:lnTo>
                  <a:close/>
                  <a:moveTo>
                    <a:pt x="3596" y="8408"/>
                  </a:moveTo>
                  <a:lnTo>
                    <a:pt x="3596" y="8408"/>
                  </a:lnTo>
                  <a:lnTo>
                    <a:pt x="3596" y="8431"/>
                  </a:lnTo>
                  <a:lnTo>
                    <a:pt x="3588" y="8463"/>
                  </a:lnTo>
                  <a:lnTo>
                    <a:pt x="3572" y="8487"/>
                  </a:lnTo>
                  <a:lnTo>
                    <a:pt x="3556" y="8510"/>
                  </a:lnTo>
                  <a:lnTo>
                    <a:pt x="3516" y="8550"/>
                  </a:lnTo>
                  <a:lnTo>
                    <a:pt x="3461" y="8566"/>
                  </a:lnTo>
                  <a:lnTo>
                    <a:pt x="3381" y="8566"/>
                  </a:lnTo>
                  <a:lnTo>
                    <a:pt x="3381" y="8566"/>
                  </a:lnTo>
                  <a:lnTo>
                    <a:pt x="3350" y="8558"/>
                  </a:lnTo>
                  <a:lnTo>
                    <a:pt x="3326" y="8550"/>
                  </a:lnTo>
                  <a:lnTo>
                    <a:pt x="3286" y="8510"/>
                  </a:lnTo>
                  <a:lnTo>
                    <a:pt x="3270" y="8487"/>
                  </a:lnTo>
                  <a:lnTo>
                    <a:pt x="3255" y="8463"/>
                  </a:lnTo>
                  <a:lnTo>
                    <a:pt x="3246" y="8431"/>
                  </a:lnTo>
                  <a:lnTo>
                    <a:pt x="3246" y="8408"/>
                  </a:lnTo>
                  <a:lnTo>
                    <a:pt x="3246" y="8161"/>
                  </a:lnTo>
                  <a:lnTo>
                    <a:pt x="3246" y="8161"/>
                  </a:lnTo>
                  <a:lnTo>
                    <a:pt x="3246" y="8121"/>
                  </a:lnTo>
                  <a:lnTo>
                    <a:pt x="3263" y="8090"/>
                  </a:lnTo>
                  <a:lnTo>
                    <a:pt x="3278" y="8066"/>
                  </a:lnTo>
                  <a:lnTo>
                    <a:pt x="3294" y="8042"/>
                  </a:lnTo>
                  <a:lnTo>
                    <a:pt x="3326" y="8018"/>
                  </a:lnTo>
                  <a:lnTo>
                    <a:pt x="3350" y="8003"/>
                  </a:lnTo>
                  <a:lnTo>
                    <a:pt x="3390" y="7995"/>
                  </a:lnTo>
                  <a:lnTo>
                    <a:pt x="3421" y="7986"/>
                  </a:lnTo>
                  <a:lnTo>
                    <a:pt x="3421" y="7986"/>
                  </a:lnTo>
                  <a:lnTo>
                    <a:pt x="3453" y="7995"/>
                  </a:lnTo>
                  <a:lnTo>
                    <a:pt x="3485" y="8003"/>
                  </a:lnTo>
                  <a:lnTo>
                    <a:pt x="3516" y="8018"/>
                  </a:lnTo>
                  <a:lnTo>
                    <a:pt x="3540" y="8042"/>
                  </a:lnTo>
                  <a:lnTo>
                    <a:pt x="3564" y="8066"/>
                  </a:lnTo>
                  <a:lnTo>
                    <a:pt x="3579" y="8090"/>
                  </a:lnTo>
                  <a:lnTo>
                    <a:pt x="3596" y="8121"/>
                  </a:lnTo>
                  <a:lnTo>
                    <a:pt x="3596" y="8161"/>
                  </a:lnTo>
                  <a:lnTo>
                    <a:pt x="3596" y="8408"/>
                  </a:lnTo>
                  <a:close/>
                  <a:moveTo>
                    <a:pt x="3183" y="8566"/>
                  </a:moveTo>
                  <a:lnTo>
                    <a:pt x="3128" y="8566"/>
                  </a:lnTo>
                  <a:lnTo>
                    <a:pt x="3143" y="8495"/>
                  </a:lnTo>
                  <a:lnTo>
                    <a:pt x="3143" y="8495"/>
                  </a:lnTo>
                  <a:lnTo>
                    <a:pt x="3159" y="8535"/>
                  </a:lnTo>
                  <a:lnTo>
                    <a:pt x="3183" y="8566"/>
                  </a:lnTo>
                  <a:close/>
                  <a:moveTo>
                    <a:pt x="3016" y="7424"/>
                  </a:moveTo>
                  <a:lnTo>
                    <a:pt x="3016" y="7424"/>
                  </a:lnTo>
                  <a:lnTo>
                    <a:pt x="2985" y="7431"/>
                  </a:lnTo>
                  <a:lnTo>
                    <a:pt x="2985" y="7431"/>
                  </a:lnTo>
                  <a:lnTo>
                    <a:pt x="2945" y="7424"/>
                  </a:lnTo>
                  <a:lnTo>
                    <a:pt x="2913" y="7416"/>
                  </a:lnTo>
                  <a:lnTo>
                    <a:pt x="2881" y="7400"/>
                  </a:lnTo>
                  <a:lnTo>
                    <a:pt x="2858" y="7376"/>
                  </a:lnTo>
                  <a:lnTo>
                    <a:pt x="2833" y="7352"/>
                  </a:lnTo>
                  <a:lnTo>
                    <a:pt x="2817" y="7321"/>
                  </a:lnTo>
                  <a:lnTo>
                    <a:pt x="2810" y="7289"/>
                  </a:lnTo>
                  <a:lnTo>
                    <a:pt x="2810" y="7257"/>
                  </a:lnTo>
                  <a:lnTo>
                    <a:pt x="2810" y="7003"/>
                  </a:lnTo>
                  <a:lnTo>
                    <a:pt x="2810" y="7003"/>
                  </a:lnTo>
                  <a:lnTo>
                    <a:pt x="2810" y="6972"/>
                  </a:lnTo>
                  <a:lnTo>
                    <a:pt x="2817" y="6947"/>
                  </a:lnTo>
                  <a:lnTo>
                    <a:pt x="2833" y="6916"/>
                  </a:lnTo>
                  <a:lnTo>
                    <a:pt x="2858" y="6891"/>
                  </a:lnTo>
                  <a:lnTo>
                    <a:pt x="2881" y="6876"/>
                  </a:lnTo>
                  <a:lnTo>
                    <a:pt x="2913" y="6860"/>
                  </a:lnTo>
                  <a:lnTo>
                    <a:pt x="2945" y="6852"/>
                  </a:lnTo>
                  <a:lnTo>
                    <a:pt x="2985" y="6845"/>
                  </a:lnTo>
                  <a:lnTo>
                    <a:pt x="2985" y="6845"/>
                  </a:lnTo>
                  <a:lnTo>
                    <a:pt x="3032" y="6860"/>
                  </a:lnTo>
                  <a:lnTo>
                    <a:pt x="3087" y="6884"/>
                  </a:lnTo>
                  <a:lnTo>
                    <a:pt x="3120" y="6916"/>
                  </a:lnTo>
                  <a:lnTo>
                    <a:pt x="3151" y="6955"/>
                  </a:lnTo>
                  <a:lnTo>
                    <a:pt x="3016" y="7424"/>
                  </a:lnTo>
                  <a:close/>
                  <a:moveTo>
                    <a:pt x="1913" y="8408"/>
                  </a:moveTo>
                  <a:lnTo>
                    <a:pt x="1913" y="8161"/>
                  </a:lnTo>
                  <a:lnTo>
                    <a:pt x="1913" y="8161"/>
                  </a:lnTo>
                  <a:lnTo>
                    <a:pt x="1913" y="8130"/>
                  </a:lnTo>
                  <a:lnTo>
                    <a:pt x="1920" y="8098"/>
                  </a:lnTo>
                  <a:lnTo>
                    <a:pt x="1936" y="8066"/>
                  </a:lnTo>
                  <a:lnTo>
                    <a:pt x="1961" y="8042"/>
                  </a:lnTo>
                  <a:lnTo>
                    <a:pt x="1984" y="8018"/>
                  </a:lnTo>
                  <a:lnTo>
                    <a:pt x="2007" y="8003"/>
                  </a:lnTo>
                  <a:lnTo>
                    <a:pt x="2040" y="7995"/>
                  </a:lnTo>
                  <a:lnTo>
                    <a:pt x="2071" y="7986"/>
                  </a:lnTo>
                  <a:lnTo>
                    <a:pt x="2071" y="7986"/>
                  </a:lnTo>
                  <a:lnTo>
                    <a:pt x="2111" y="7995"/>
                  </a:lnTo>
                  <a:lnTo>
                    <a:pt x="2142" y="8003"/>
                  </a:lnTo>
                  <a:lnTo>
                    <a:pt x="2175" y="8018"/>
                  </a:lnTo>
                  <a:lnTo>
                    <a:pt x="2198" y="8042"/>
                  </a:lnTo>
                  <a:lnTo>
                    <a:pt x="2222" y="8066"/>
                  </a:lnTo>
                  <a:lnTo>
                    <a:pt x="2238" y="8090"/>
                  </a:lnTo>
                  <a:lnTo>
                    <a:pt x="2246" y="8121"/>
                  </a:lnTo>
                  <a:lnTo>
                    <a:pt x="2246" y="8161"/>
                  </a:lnTo>
                  <a:lnTo>
                    <a:pt x="2246" y="8408"/>
                  </a:lnTo>
                  <a:lnTo>
                    <a:pt x="2246" y="8408"/>
                  </a:lnTo>
                  <a:lnTo>
                    <a:pt x="2246" y="8431"/>
                  </a:lnTo>
                  <a:lnTo>
                    <a:pt x="2238" y="8463"/>
                  </a:lnTo>
                  <a:lnTo>
                    <a:pt x="2231" y="8487"/>
                  </a:lnTo>
                  <a:lnTo>
                    <a:pt x="2214" y="8510"/>
                  </a:lnTo>
                  <a:lnTo>
                    <a:pt x="2167" y="8550"/>
                  </a:lnTo>
                  <a:lnTo>
                    <a:pt x="2142" y="8558"/>
                  </a:lnTo>
                  <a:lnTo>
                    <a:pt x="2111" y="8566"/>
                  </a:lnTo>
                  <a:lnTo>
                    <a:pt x="2032" y="8566"/>
                  </a:lnTo>
                  <a:lnTo>
                    <a:pt x="2032" y="8566"/>
                  </a:lnTo>
                  <a:lnTo>
                    <a:pt x="1984" y="8543"/>
                  </a:lnTo>
                  <a:lnTo>
                    <a:pt x="1944" y="8510"/>
                  </a:lnTo>
                  <a:lnTo>
                    <a:pt x="1920" y="8463"/>
                  </a:lnTo>
                  <a:lnTo>
                    <a:pt x="1913" y="8431"/>
                  </a:lnTo>
                  <a:lnTo>
                    <a:pt x="1913" y="8408"/>
                  </a:lnTo>
                  <a:close/>
                  <a:moveTo>
                    <a:pt x="4659" y="8408"/>
                  </a:moveTo>
                  <a:lnTo>
                    <a:pt x="4659" y="8161"/>
                  </a:lnTo>
                  <a:lnTo>
                    <a:pt x="4659" y="8161"/>
                  </a:lnTo>
                  <a:lnTo>
                    <a:pt x="4667" y="8121"/>
                  </a:lnTo>
                  <a:lnTo>
                    <a:pt x="4676" y="8090"/>
                  </a:lnTo>
                  <a:lnTo>
                    <a:pt x="4692" y="8066"/>
                  </a:lnTo>
                  <a:lnTo>
                    <a:pt x="4715" y="8042"/>
                  </a:lnTo>
                  <a:lnTo>
                    <a:pt x="4739" y="8018"/>
                  </a:lnTo>
                  <a:lnTo>
                    <a:pt x="4771" y="8003"/>
                  </a:lnTo>
                  <a:lnTo>
                    <a:pt x="4802" y="7995"/>
                  </a:lnTo>
                  <a:lnTo>
                    <a:pt x="4842" y="7986"/>
                  </a:lnTo>
                  <a:lnTo>
                    <a:pt x="4842" y="7986"/>
                  </a:lnTo>
                  <a:lnTo>
                    <a:pt x="4874" y="7995"/>
                  </a:lnTo>
                  <a:lnTo>
                    <a:pt x="4906" y="8003"/>
                  </a:lnTo>
                  <a:lnTo>
                    <a:pt x="4937" y="8018"/>
                  </a:lnTo>
                  <a:lnTo>
                    <a:pt x="4962" y="8042"/>
                  </a:lnTo>
                  <a:lnTo>
                    <a:pt x="4985" y="8066"/>
                  </a:lnTo>
                  <a:lnTo>
                    <a:pt x="5001" y="8090"/>
                  </a:lnTo>
                  <a:lnTo>
                    <a:pt x="5009" y="8121"/>
                  </a:lnTo>
                  <a:lnTo>
                    <a:pt x="5017" y="8161"/>
                  </a:lnTo>
                  <a:lnTo>
                    <a:pt x="5017" y="8408"/>
                  </a:lnTo>
                  <a:lnTo>
                    <a:pt x="5017" y="8408"/>
                  </a:lnTo>
                  <a:lnTo>
                    <a:pt x="5017" y="8431"/>
                  </a:lnTo>
                  <a:lnTo>
                    <a:pt x="5009" y="8463"/>
                  </a:lnTo>
                  <a:lnTo>
                    <a:pt x="4993" y="8487"/>
                  </a:lnTo>
                  <a:lnTo>
                    <a:pt x="4977" y="8510"/>
                  </a:lnTo>
                  <a:lnTo>
                    <a:pt x="4937" y="8550"/>
                  </a:lnTo>
                  <a:lnTo>
                    <a:pt x="4914" y="8558"/>
                  </a:lnTo>
                  <a:lnTo>
                    <a:pt x="4882" y="8566"/>
                  </a:lnTo>
                  <a:lnTo>
                    <a:pt x="4794" y="8566"/>
                  </a:lnTo>
                  <a:lnTo>
                    <a:pt x="4794" y="8566"/>
                  </a:lnTo>
                  <a:lnTo>
                    <a:pt x="4771" y="8558"/>
                  </a:lnTo>
                  <a:lnTo>
                    <a:pt x="4739" y="8550"/>
                  </a:lnTo>
                  <a:lnTo>
                    <a:pt x="4700" y="8510"/>
                  </a:lnTo>
                  <a:lnTo>
                    <a:pt x="4684" y="8487"/>
                  </a:lnTo>
                  <a:lnTo>
                    <a:pt x="4676" y="8463"/>
                  </a:lnTo>
                  <a:lnTo>
                    <a:pt x="4667" y="8431"/>
                  </a:lnTo>
                  <a:lnTo>
                    <a:pt x="4659" y="8408"/>
                  </a:lnTo>
                  <a:close/>
                  <a:moveTo>
                    <a:pt x="6017" y="8408"/>
                  </a:moveTo>
                  <a:lnTo>
                    <a:pt x="6017" y="8161"/>
                  </a:lnTo>
                  <a:lnTo>
                    <a:pt x="6017" y="8161"/>
                  </a:lnTo>
                  <a:lnTo>
                    <a:pt x="6017" y="8130"/>
                  </a:lnTo>
                  <a:lnTo>
                    <a:pt x="6025" y="8098"/>
                  </a:lnTo>
                  <a:lnTo>
                    <a:pt x="6042" y="8066"/>
                  </a:lnTo>
                  <a:lnTo>
                    <a:pt x="6065" y="8042"/>
                  </a:lnTo>
                  <a:lnTo>
                    <a:pt x="6089" y="8018"/>
                  </a:lnTo>
                  <a:lnTo>
                    <a:pt x="6113" y="8003"/>
                  </a:lnTo>
                  <a:lnTo>
                    <a:pt x="6144" y="7995"/>
                  </a:lnTo>
                  <a:lnTo>
                    <a:pt x="6177" y="7986"/>
                  </a:lnTo>
                  <a:lnTo>
                    <a:pt x="6177" y="7986"/>
                  </a:lnTo>
                  <a:lnTo>
                    <a:pt x="6216" y="7995"/>
                  </a:lnTo>
                  <a:lnTo>
                    <a:pt x="6248" y="8003"/>
                  </a:lnTo>
                  <a:lnTo>
                    <a:pt x="6279" y="8018"/>
                  </a:lnTo>
                  <a:lnTo>
                    <a:pt x="6303" y="8042"/>
                  </a:lnTo>
                  <a:lnTo>
                    <a:pt x="6327" y="8066"/>
                  </a:lnTo>
                  <a:lnTo>
                    <a:pt x="6343" y="8090"/>
                  </a:lnTo>
                  <a:lnTo>
                    <a:pt x="6351" y="8121"/>
                  </a:lnTo>
                  <a:lnTo>
                    <a:pt x="6351" y="8161"/>
                  </a:lnTo>
                  <a:lnTo>
                    <a:pt x="6351" y="8408"/>
                  </a:lnTo>
                  <a:lnTo>
                    <a:pt x="6351" y="8408"/>
                  </a:lnTo>
                  <a:lnTo>
                    <a:pt x="6351" y="8431"/>
                  </a:lnTo>
                  <a:lnTo>
                    <a:pt x="6343" y="8463"/>
                  </a:lnTo>
                  <a:lnTo>
                    <a:pt x="6327" y="8487"/>
                  </a:lnTo>
                  <a:lnTo>
                    <a:pt x="6312" y="8510"/>
                  </a:lnTo>
                  <a:lnTo>
                    <a:pt x="6272" y="8550"/>
                  </a:lnTo>
                  <a:lnTo>
                    <a:pt x="6248" y="8558"/>
                  </a:lnTo>
                  <a:lnTo>
                    <a:pt x="6216" y="8566"/>
                  </a:lnTo>
                  <a:lnTo>
                    <a:pt x="6137" y="8566"/>
                  </a:lnTo>
                  <a:lnTo>
                    <a:pt x="6137" y="8566"/>
                  </a:lnTo>
                  <a:lnTo>
                    <a:pt x="6089" y="8543"/>
                  </a:lnTo>
                  <a:lnTo>
                    <a:pt x="6050" y="8510"/>
                  </a:lnTo>
                  <a:lnTo>
                    <a:pt x="6025" y="8463"/>
                  </a:lnTo>
                  <a:lnTo>
                    <a:pt x="6017" y="8431"/>
                  </a:lnTo>
                  <a:lnTo>
                    <a:pt x="6017" y="8408"/>
                  </a:lnTo>
                  <a:close/>
                  <a:moveTo>
                    <a:pt x="5930" y="413"/>
                  </a:moveTo>
                  <a:lnTo>
                    <a:pt x="5930" y="1136"/>
                  </a:lnTo>
                  <a:lnTo>
                    <a:pt x="5398" y="1136"/>
                  </a:lnTo>
                  <a:lnTo>
                    <a:pt x="5398" y="3351"/>
                  </a:lnTo>
                  <a:lnTo>
                    <a:pt x="6557" y="5423"/>
                  </a:lnTo>
                  <a:lnTo>
                    <a:pt x="3938" y="5423"/>
                  </a:lnTo>
                  <a:lnTo>
                    <a:pt x="3913" y="413"/>
                  </a:lnTo>
                  <a:lnTo>
                    <a:pt x="5930" y="413"/>
                  </a:lnTo>
                  <a:close/>
                  <a:moveTo>
                    <a:pt x="3008" y="3351"/>
                  </a:moveTo>
                  <a:lnTo>
                    <a:pt x="3008" y="1136"/>
                  </a:lnTo>
                  <a:lnTo>
                    <a:pt x="2476" y="1136"/>
                  </a:lnTo>
                  <a:lnTo>
                    <a:pt x="2476" y="413"/>
                  </a:lnTo>
                  <a:lnTo>
                    <a:pt x="3500" y="413"/>
                  </a:lnTo>
                  <a:lnTo>
                    <a:pt x="3533" y="5423"/>
                  </a:lnTo>
                  <a:lnTo>
                    <a:pt x="1857" y="5423"/>
                  </a:lnTo>
                  <a:lnTo>
                    <a:pt x="3008" y="335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8" name="Freeform 2"/>
            <p:cNvSpPr>
              <a:spLocks noChangeArrowheads="1"/>
            </p:cNvSpPr>
            <p:nvPr/>
          </p:nvSpPr>
          <p:spPr bwMode="auto">
            <a:xfrm>
              <a:off x="7475538" y="3373438"/>
              <a:ext cx="211137" cy="295275"/>
            </a:xfrm>
            <a:custGeom>
              <a:avLst/>
              <a:gdLst>
                <a:gd name="T0" fmla="*/ 293 w 588"/>
                <a:gd name="T1" fmla="*/ 818 h 819"/>
                <a:gd name="T2" fmla="*/ 405 w 588"/>
                <a:gd name="T3" fmla="*/ 794 h 819"/>
                <a:gd name="T4" fmla="*/ 492 w 588"/>
                <a:gd name="T5" fmla="*/ 731 h 819"/>
                <a:gd name="T6" fmla="*/ 563 w 588"/>
                <a:gd name="T7" fmla="*/ 635 h 819"/>
                <a:gd name="T8" fmla="*/ 587 w 588"/>
                <a:gd name="T9" fmla="*/ 524 h 819"/>
                <a:gd name="T10" fmla="*/ 587 w 588"/>
                <a:gd name="T11" fmla="*/ 270 h 819"/>
                <a:gd name="T12" fmla="*/ 563 w 588"/>
                <a:gd name="T13" fmla="*/ 167 h 819"/>
                <a:gd name="T14" fmla="*/ 492 w 588"/>
                <a:gd name="T15" fmla="*/ 79 h 819"/>
                <a:gd name="T16" fmla="*/ 405 w 588"/>
                <a:gd name="T17" fmla="*/ 16 h 819"/>
                <a:gd name="T18" fmla="*/ 293 w 588"/>
                <a:gd name="T19" fmla="*/ 0 h 819"/>
                <a:gd name="T20" fmla="*/ 230 w 588"/>
                <a:gd name="T21" fmla="*/ 0 h 819"/>
                <a:gd name="T22" fmla="*/ 127 w 588"/>
                <a:gd name="T23" fmla="*/ 48 h 819"/>
                <a:gd name="T24" fmla="*/ 47 w 588"/>
                <a:gd name="T25" fmla="*/ 119 h 819"/>
                <a:gd name="T26" fmla="*/ 0 w 588"/>
                <a:gd name="T27" fmla="*/ 214 h 819"/>
                <a:gd name="T28" fmla="*/ 0 w 588"/>
                <a:gd name="T29" fmla="*/ 524 h 819"/>
                <a:gd name="T30" fmla="*/ 0 w 588"/>
                <a:gd name="T31" fmla="*/ 588 h 819"/>
                <a:gd name="T32" fmla="*/ 47 w 588"/>
                <a:gd name="T33" fmla="*/ 683 h 819"/>
                <a:gd name="T34" fmla="*/ 127 w 588"/>
                <a:gd name="T35" fmla="*/ 762 h 819"/>
                <a:gd name="T36" fmla="*/ 230 w 588"/>
                <a:gd name="T37" fmla="*/ 810 h 819"/>
                <a:gd name="T38" fmla="*/ 110 w 588"/>
                <a:gd name="T39" fmla="*/ 270 h 819"/>
                <a:gd name="T40" fmla="*/ 118 w 588"/>
                <a:gd name="T41" fmla="*/ 239 h 819"/>
                <a:gd name="T42" fmla="*/ 143 w 588"/>
                <a:gd name="T43" fmla="*/ 183 h 819"/>
                <a:gd name="T44" fmla="*/ 190 w 588"/>
                <a:gd name="T45" fmla="*/ 143 h 819"/>
                <a:gd name="T46" fmla="*/ 253 w 588"/>
                <a:gd name="T47" fmla="*/ 119 h 819"/>
                <a:gd name="T48" fmla="*/ 293 w 588"/>
                <a:gd name="T49" fmla="*/ 112 h 819"/>
                <a:gd name="T50" fmla="*/ 357 w 588"/>
                <a:gd name="T51" fmla="*/ 127 h 819"/>
                <a:gd name="T52" fmla="*/ 413 w 588"/>
                <a:gd name="T53" fmla="*/ 167 h 819"/>
                <a:gd name="T54" fmla="*/ 452 w 588"/>
                <a:gd name="T55" fmla="*/ 214 h 819"/>
                <a:gd name="T56" fmla="*/ 469 w 588"/>
                <a:gd name="T57" fmla="*/ 270 h 819"/>
                <a:gd name="T58" fmla="*/ 469 w 588"/>
                <a:gd name="T59" fmla="*/ 524 h 819"/>
                <a:gd name="T60" fmla="*/ 452 w 588"/>
                <a:gd name="T61" fmla="*/ 588 h 819"/>
                <a:gd name="T62" fmla="*/ 413 w 588"/>
                <a:gd name="T63" fmla="*/ 643 h 819"/>
                <a:gd name="T64" fmla="*/ 357 w 588"/>
                <a:gd name="T65" fmla="*/ 683 h 819"/>
                <a:gd name="T66" fmla="*/ 293 w 588"/>
                <a:gd name="T67" fmla="*/ 698 h 819"/>
                <a:gd name="T68" fmla="*/ 253 w 588"/>
                <a:gd name="T69" fmla="*/ 691 h 819"/>
                <a:gd name="T70" fmla="*/ 190 w 588"/>
                <a:gd name="T71" fmla="*/ 667 h 819"/>
                <a:gd name="T72" fmla="*/ 143 w 588"/>
                <a:gd name="T73" fmla="*/ 619 h 819"/>
                <a:gd name="T74" fmla="*/ 118 w 588"/>
                <a:gd name="T75" fmla="*/ 556 h 819"/>
                <a:gd name="T76" fmla="*/ 110 w 588"/>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8" h="819">
                  <a:moveTo>
                    <a:pt x="293" y="818"/>
                  </a:moveTo>
                  <a:lnTo>
                    <a:pt x="293" y="818"/>
                  </a:lnTo>
                  <a:lnTo>
                    <a:pt x="349" y="810"/>
                  </a:lnTo>
                  <a:lnTo>
                    <a:pt x="405" y="794"/>
                  </a:lnTo>
                  <a:lnTo>
                    <a:pt x="452" y="762"/>
                  </a:lnTo>
                  <a:lnTo>
                    <a:pt x="492" y="731"/>
                  </a:lnTo>
                  <a:lnTo>
                    <a:pt x="531" y="683"/>
                  </a:lnTo>
                  <a:lnTo>
                    <a:pt x="563" y="635"/>
                  </a:lnTo>
                  <a:lnTo>
                    <a:pt x="579" y="580"/>
                  </a:lnTo>
                  <a:lnTo>
                    <a:pt x="587" y="524"/>
                  </a:lnTo>
                  <a:lnTo>
                    <a:pt x="587" y="270"/>
                  </a:lnTo>
                  <a:lnTo>
                    <a:pt x="587" y="270"/>
                  </a:lnTo>
                  <a:lnTo>
                    <a:pt x="579" y="214"/>
                  </a:lnTo>
                  <a:lnTo>
                    <a:pt x="563" y="167"/>
                  </a:lnTo>
                  <a:lnTo>
                    <a:pt x="531" y="119"/>
                  </a:lnTo>
                  <a:lnTo>
                    <a:pt x="492" y="79"/>
                  </a:lnTo>
                  <a:lnTo>
                    <a:pt x="452" y="48"/>
                  </a:lnTo>
                  <a:lnTo>
                    <a:pt x="405" y="16"/>
                  </a:lnTo>
                  <a:lnTo>
                    <a:pt x="349" y="0"/>
                  </a:lnTo>
                  <a:lnTo>
                    <a:pt x="293" y="0"/>
                  </a:lnTo>
                  <a:lnTo>
                    <a:pt x="293" y="0"/>
                  </a:lnTo>
                  <a:lnTo>
                    <a:pt x="230" y="0"/>
                  </a:lnTo>
                  <a:lnTo>
                    <a:pt x="174" y="16"/>
                  </a:lnTo>
                  <a:lnTo>
                    <a:pt x="127" y="48"/>
                  </a:lnTo>
                  <a:lnTo>
                    <a:pt x="87" y="79"/>
                  </a:lnTo>
                  <a:lnTo>
                    <a:pt x="47" y="119"/>
                  </a:lnTo>
                  <a:lnTo>
                    <a:pt x="23" y="167"/>
                  </a:lnTo>
                  <a:lnTo>
                    <a:pt x="0" y="214"/>
                  </a:lnTo>
                  <a:lnTo>
                    <a:pt x="0" y="270"/>
                  </a:lnTo>
                  <a:lnTo>
                    <a:pt x="0" y="524"/>
                  </a:lnTo>
                  <a:lnTo>
                    <a:pt x="0" y="524"/>
                  </a:lnTo>
                  <a:lnTo>
                    <a:pt x="0" y="588"/>
                  </a:lnTo>
                  <a:lnTo>
                    <a:pt x="23" y="635"/>
                  </a:lnTo>
                  <a:lnTo>
                    <a:pt x="47" y="683"/>
                  </a:lnTo>
                  <a:lnTo>
                    <a:pt x="87" y="731"/>
                  </a:lnTo>
                  <a:lnTo>
                    <a:pt x="127" y="762"/>
                  </a:lnTo>
                  <a:lnTo>
                    <a:pt x="182" y="794"/>
                  </a:lnTo>
                  <a:lnTo>
                    <a:pt x="230" y="810"/>
                  </a:lnTo>
                  <a:lnTo>
                    <a:pt x="293" y="818"/>
                  </a:lnTo>
                  <a:close/>
                  <a:moveTo>
                    <a:pt x="110" y="270"/>
                  </a:moveTo>
                  <a:lnTo>
                    <a:pt x="110" y="270"/>
                  </a:lnTo>
                  <a:lnTo>
                    <a:pt x="118" y="239"/>
                  </a:lnTo>
                  <a:lnTo>
                    <a:pt x="127" y="214"/>
                  </a:lnTo>
                  <a:lnTo>
                    <a:pt x="143" y="183"/>
                  </a:lnTo>
                  <a:lnTo>
                    <a:pt x="166" y="158"/>
                  </a:lnTo>
                  <a:lnTo>
                    <a:pt x="190" y="143"/>
                  </a:lnTo>
                  <a:lnTo>
                    <a:pt x="222" y="127"/>
                  </a:lnTo>
                  <a:lnTo>
                    <a:pt x="253" y="119"/>
                  </a:lnTo>
                  <a:lnTo>
                    <a:pt x="293" y="112"/>
                  </a:lnTo>
                  <a:lnTo>
                    <a:pt x="293" y="112"/>
                  </a:lnTo>
                  <a:lnTo>
                    <a:pt x="325" y="119"/>
                  </a:lnTo>
                  <a:lnTo>
                    <a:pt x="357" y="127"/>
                  </a:lnTo>
                  <a:lnTo>
                    <a:pt x="388" y="143"/>
                  </a:lnTo>
                  <a:lnTo>
                    <a:pt x="413" y="167"/>
                  </a:lnTo>
                  <a:lnTo>
                    <a:pt x="436" y="183"/>
                  </a:lnTo>
                  <a:lnTo>
                    <a:pt x="452" y="214"/>
                  </a:lnTo>
                  <a:lnTo>
                    <a:pt x="460" y="239"/>
                  </a:lnTo>
                  <a:lnTo>
                    <a:pt x="469" y="270"/>
                  </a:lnTo>
                  <a:lnTo>
                    <a:pt x="469" y="524"/>
                  </a:lnTo>
                  <a:lnTo>
                    <a:pt x="469" y="524"/>
                  </a:lnTo>
                  <a:lnTo>
                    <a:pt x="460" y="556"/>
                  </a:lnTo>
                  <a:lnTo>
                    <a:pt x="452" y="588"/>
                  </a:lnTo>
                  <a:lnTo>
                    <a:pt x="436" y="619"/>
                  </a:lnTo>
                  <a:lnTo>
                    <a:pt x="413" y="643"/>
                  </a:lnTo>
                  <a:lnTo>
                    <a:pt x="380" y="667"/>
                  </a:lnTo>
                  <a:lnTo>
                    <a:pt x="357" y="683"/>
                  </a:lnTo>
                  <a:lnTo>
                    <a:pt x="325" y="691"/>
                  </a:lnTo>
                  <a:lnTo>
                    <a:pt x="293" y="698"/>
                  </a:lnTo>
                  <a:lnTo>
                    <a:pt x="293" y="698"/>
                  </a:lnTo>
                  <a:lnTo>
                    <a:pt x="253" y="691"/>
                  </a:lnTo>
                  <a:lnTo>
                    <a:pt x="222" y="683"/>
                  </a:lnTo>
                  <a:lnTo>
                    <a:pt x="190" y="667"/>
                  </a:lnTo>
                  <a:lnTo>
                    <a:pt x="166" y="643"/>
                  </a:lnTo>
                  <a:lnTo>
                    <a:pt x="143" y="619"/>
                  </a:lnTo>
                  <a:lnTo>
                    <a:pt x="127" y="588"/>
                  </a:lnTo>
                  <a:lnTo>
                    <a:pt x="118" y="556"/>
                  </a:lnTo>
                  <a:lnTo>
                    <a:pt x="110" y="524"/>
                  </a:lnTo>
                  <a:lnTo>
                    <a:pt x="110"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9" name="Freeform 3"/>
            <p:cNvSpPr>
              <a:spLocks noChangeArrowheads="1"/>
            </p:cNvSpPr>
            <p:nvPr/>
          </p:nvSpPr>
          <p:spPr bwMode="auto">
            <a:xfrm>
              <a:off x="6834188" y="3394075"/>
              <a:ext cx="42862" cy="246063"/>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Freeform 4"/>
            <p:cNvSpPr>
              <a:spLocks noChangeArrowheads="1"/>
            </p:cNvSpPr>
            <p:nvPr/>
          </p:nvSpPr>
          <p:spPr bwMode="auto">
            <a:xfrm>
              <a:off x="7315200" y="3394075"/>
              <a:ext cx="42863" cy="246063"/>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1" name="Freeform 5"/>
            <p:cNvSpPr>
              <a:spLocks noChangeArrowheads="1"/>
            </p:cNvSpPr>
            <p:nvPr/>
          </p:nvSpPr>
          <p:spPr bwMode="auto">
            <a:xfrm>
              <a:off x="6505575" y="3373438"/>
              <a:ext cx="212725" cy="295275"/>
            </a:xfrm>
            <a:custGeom>
              <a:avLst/>
              <a:gdLst>
                <a:gd name="T0" fmla="*/ 293 w 589"/>
                <a:gd name="T1" fmla="*/ 0 h 819"/>
                <a:gd name="T2" fmla="*/ 183 w 589"/>
                <a:gd name="T3" fmla="*/ 16 h 819"/>
                <a:gd name="T4" fmla="*/ 87 w 589"/>
                <a:gd name="T5" fmla="*/ 79 h 819"/>
                <a:gd name="T6" fmla="*/ 23 w 589"/>
                <a:gd name="T7" fmla="*/ 167 h 819"/>
                <a:gd name="T8" fmla="*/ 0 w 589"/>
                <a:gd name="T9" fmla="*/ 270 h 819"/>
                <a:gd name="T10" fmla="*/ 0 w 589"/>
                <a:gd name="T11" fmla="*/ 524 h 819"/>
                <a:gd name="T12" fmla="*/ 23 w 589"/>
                <a:gd name="T13" fmla="*/ 635 h 819"/>
                <a:gd name="T14" fmla="*/ 87 w 589"/>
                <a:gd name="T15" fmla="*/ 731 h 819"/>
                <a:gd name="T16" fmla="*/ 183 w 589"/>
                <a:gd name="T17" fmla="*/ 794 h 819"/>
                <a:gd name="T18" fmla="*/ 293 w 589"/>
                <a:gd name="T19" fmla="*/ 818 h 819"/>
                <a:gd name="T20" fmla="*/ 349 w 589"/>
                <a:gd name="T21" fmla="*/ 810 h 819"/>
                <a:gd name="T22" fmla="*/ 453 w 589"/>
                <a:gd name="T23" fmla="*/ 762 h 819"/>
                <a:gd name="T24" fmla="*/ 540 w 589"/>
                <a:gd name="T25" fmla="*/ 683 h 819"/>
                <a:gd name="T26" fmla="*/ 580 w 589"/>
                <a:gd name="T27" fmla="*/ 588 h 819"/>
                <a:gd name="T28" fmla="*/ 588 w 589"/>
                <a:gd name="T29" fmla="*/ 270 h 819"/>
                <a:gd name="T30" fmla="*/ 580 w 589"/>
                <a:gd name="T31" fmla="*/ 214 h 819"/>
                <a:gd name="T32" fmla="*/ 540 w 589"/>
                <a:gd name="T33" fmla="*/ 119 h 819"/>
                <a:gd name="T34" fmla="*/ 461 w 589"/>
                <a:gd name="T35" fmla="*/ 48 h 819"/>
                <a:gd name="T36" fmla="*/ 357 w 589"/>
                <a:gd name="T37" fmla="*/ 0 h 819"/>
                <a:gd name="T38" fmla="*/ 468 w 589"/>
                <a:gd name="T39" fmla="*/ 524 h 819"/>
                <a:gd name="T40" fmla="*/ 468 w 589"/>
                <a:gd name="T41" fmla="*/ 556 h 819"/>
                <a:gd name="T42" fmla="*/ 445 w 589"/>
                <a:gd name="T43" fmla="*/ 619 h 819"/>
                <a:gd name="T44" fmla="*/ 397 w 589"/>
                <a:gd name="T45" fmla="*/ 667 h 819"/>
                <a:gd name="T46" fmla="*/ 333 w 589"/>
                <a:gd name="T47" fmla="*/ 691 h 819"/>
                <a:gd name="T48" fmla="*/ 293 w 589"/>
                <a:gd name="T49" fmla="*/ 698 h 819"/>
                <a:gd name="T50" fmla="*/ 222 w 589"/>
                <a:gd name="T51" fmla="*/ 683 h 819"/>
                <a:gd name="T52" fmla="*/ 167 w 589"/>
                <a:gd name="T53" fmla="*/ 643 h 819"/>
                <a:gd name="T54" fmla="*/ 135 w 589"/>
                <a:gd name="T55" fmla="*/ 588 h 819"/>
                <a:gd name="T56" fmla="*/ 119 w 589"/>
                <a:gd name="T57" fmla="*/ 524 h 819"/>
                <a:gd name="T58" fmla="*/ 119 w 589"/>
                <a:gd name="T59" fmla="*/ 270 h 819"/>
                <a:gd name="T60" fmla="*/ 135 w 589"/>
                <a:gd name="T61" fmla="*/ 214 h 819"/>
                <a:gd name="T62" fmla="*/ 175 w 589"/>
                <a:gd name="T63" fmla="*/ 158 h 819"/>
                <a:gd name="T64" fmla="*/ 230 w 589"/>
                <a:gd name="T65" fmla="*/ 127 h 819"/>
                <a:gd name="T66" fmla="*/ 293 w 589"/>
                <a:gd name="T67" fmla="*/ 112 h 819"/>
                <a:gd name="T68" fmla="*/ 333 w 589"/>
                <a:gd name="T69" fmla="*/ 119 h 819"/>
                <a:gd name="T70" fmla="*/ 389 w 589"/>
                <a:gd name="T71" fmla="*/ 143 h 819"/>
                <a:gd name="T72" fmla="*/ 437 w 589"/>
                <a:gd name="T73" fmla="*/ 183 h 819"/>
                <a:gd name="T74" fmla="*/ 468 w 589"/>
                <a:gd name="T75" fmla="*/ 239 h 819"/>
                <a:gd name="T76" fmla="*/ 468 w 589"/>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9" h="819">
                  <a:moveTo>
                    <a:pt x="293" y="0"/>
                  </a:moveTo>
                  <a:lnTo>
                    <a:pt x="293" y="0"/>
                  </a:lnTo>
                  <a:lnTo>
                    <a:pt x="239" y="0"/>
                  </a:lnTo>
                  <a:lnTo>
                    <a:pt x="183" y="16"/>
                  </a:lnTo>
                  <a:lnTo>
                    <a:pt x="127" y="48"/>
                  </a:lnTo>
                  <a:lnTo>
                    <a:pt x="87" y="79"/>
                  </a:lnTo>
                  <a:lnTo>
                    <a:pt x="48" y="119"/>
                  </a:lnTo>
                  <a:lnTo>
                    <a:pt x="23" y="167"/>
                  </a:lnTo>
                  <a:lnTo>
                    <a:pt x="8" y="214"/>
                  </a:lnTo>
                  <a:lnTo>
                    <a:pt x="0" y="270"/>
                  </a:lnTo>
                  <a:lnTo>
                    <a:pt x="0" y="524"/>
                  </a:lnTo>
                  <a:lnTo>
                    <a:pt x="0" y="524"/>
                  </a:lnTo>
                  <a:lnTo>
                    <a:pt x="8" y="588"/>
                  </a:lnTo>
                  <a:lnTo>
                    <a:pt x="23" y="635"/>
                  </a:lnTo>
                  <a:lnTo>
                    <a:pt x="56" y="683"/>
                  </a:lnTo>
                  <a:lnTo>
                    <a:pt x="87" y="731"/>
                  </a:lnTo>
                  <a:lnTo>
                    <a:pt x="135" y="762"/>
                  </a:lnTo>
                  <a:lnTo>
                    <a:pt x="183" y="794"/>
                  </a:lnTo>
                  <a:lnTo>
                    <a:pt x="239" y="810"/>
                  </a:lnTo>
                  <a:lnTo>
                    <a:pt x="293" y="818"/>
                  </a:lnTo>
                  <a:lnTo>
                    <a:pt x="293" y="818"/>
                  </a:lnTo>
                  <a:lnTo>
                    <a:pt x="349" y="810"/>
                  </a:lnTo>
                  <a:lnTo>
                    <a:pt x="405" y="794"/>
                  </a:lnTo>
                  <a:lnTo>
                    <a:pt x="453" y="762"/>
                  </a:lnTo>
                  <a:lnTo>
                    <a:pt x="500" y="731"/>
                  </a:lnTo>
                  <a:lnTo>
                    <a:pt x="540" y="683"/>
                  </a:lnTo>
                  <a:lnTo>
                    <a:pt x="563" y="635"/>
                  </a:lnTo>
                  <a:lnTo>
                    <a:pt x="580" y="588"/>
                  </a:lnTo>
                  <a:lnTo>
                    <a:pt x="588" y="524"/>
                  </a:lnTo>
                  <a:lnTo>
                    <a:pt x="588" y="270"/>
                  </a:lnTo>
                  <a:lnTo>
                    <a:pt x="588" y="270"/>
                  </a:lnTo>
                  <a:lnTo>
                    <a:pt x="580" y="214"/>
                  </a:lnTo>
                  <a:lnTo>
                    <a:pt x="563" y="167"/>
                  </a:lnTo>
                  <a:lnTo>
                    <a:pt x="540" y="119"/>
                  </a:lnTo>
                  <a:lnTo>
                    <a:pt x="500" y="79"/>
                  </a:lnTo>
                  <a:lnTo>
                    <a:pt x="461" y="48"/>
                  </a:lnTo>
                  <a:lnTo>
                    <a:pt x="413" y="16"/>
                  </a:lnTo>
                  <a:lnTo>
                    <a:pt x="357" y="0"/>
                  </a:lnTo>
                  <a:lnTo>
                    <a:pt x="293" y="0"/>
                  </a:lnTo>
                  <a:close/>
                  <a:moveTo>
                    <a:pt x="468" y="524"/>
                  </a:moveTo>
                  <a:lnTo>
                    <a:pt x="468" y="524"/>
                  </a:lnTo>
                  <a:lnTo>
                    <a:pt x="468" y="556"/>
                  </a:lnTo>
                  <a:lnTo>
                    <a:pt x="461" y="588"/>
                  </a:lnTo>
                  <a:lnTo>
                    <a:pt x="445" y="619"/>
                  </a:lnTo>
                  <a:lnTo>
                    <a:pt x="420" y="643"/>
                  </a:lnTo>
                  <a:lnTo>
                    <a:pt x="397" y="667"/>
                  </a:lnTo>
                  <a:lnTo>
                    <a:pt x="365" y="683"/>
                  </a:lnTo>
                  <a:lnTo>
                    <a:pt x="333" y="691"/>
                  </a:lnTo>
                  <a:lnTo>
                    <a:pt x="293" y="698"/>
                  </a:lnTo>
                  <a:lnTo>
                    <a:pt x="293" y="698"/>
                  </a:lnTo>
                  <a:lnTo>
                    <a:pt x="262" y="691"/>
                  </a:lnTo>
                  <a:lnTo>
                    <a:pt x="222" y="683"/>
                  </a:lnTo>
                  <a:lnTo>
                    <a:pt x="198" y="667"/>
                  </a:lnTo>
                  <a:lnTo>
                    <a:pt x="167" y="643"/>
                  </a:lnTo>
                  <a:lnTo>
                    <a:pt x="150" y="619"/>
                  </a:lnTo>
                  <a:lnTo>
                    <a:pt x="135" y="588"/>
                  </a:lnTo>
                  <a:lnTo>
                    <a:pt x="119" y="556"/>
                  </a:lnTo>
                  <a:lnTo>
                    <a:pt x="119" y="524"/>
                  </a:lnTo>
                  <a:lnTo>
                    <a:pt x="119" y="270"/>
                  </a:lnTo>
                  <a:lnTo>
                    <a:pt x="119" y="270"/>
                  </a:lnTo>
                  <a:lnTo>
                    <a:pt x="119" y="239"/>
                  </a:lnTo>
                  <a:lnTo>
                    <a:pt x="135" y="214"/>
                  </a:lnTo>
                  <a:lnTo>
                    <a:pt x="150" y="183"/>
                  </a:lnTo>
                  <a:lnTo>
                    <a:pt x="175" y="158"/>
                  </a:lnTo>
                  <a:lnTo>
                    <a:pt x="198" y="143"/>
                  </a:lnTo>
                  <a:lnTo>
                    <a:pt x="230" y="127"/>
                  </a:lnTo>
                  <a:lnTo>
                    <a:pt x="262" y="119"/>
                  </a:lnTo>
                  <a:lnTo>
                    <a:pt x="293" y="112"/>
                  </a:lnTo>
                  <a:lnTo>
                    <a:pt x="293" y="112"/>
                  </a:lnTo>
                  <a:lnTo>
                    <a:pt x="333" y="119"/>
                  </a:lnTo>
                  <a:lnTo>
                    <a:pt x="365" y="127"/>
                  </a:lnTo>
                  <a:lnTo>
                    <a:pt x="389" y="143"/>
                  </a:lnTo>
                  <a:lnTo>
                    <a:pt x="420" y="158"/>
                  </a:lnTo>
                  <a:lnTo>
                    <a:pt x="437" y="183"/>
                  </a:lnTo>
                  <a:lnTo>
                    <a:pt x="461" y="214"/>
                  </a:lnTo>
                  <a:lnTo>
                    <a:pt x="468" y="239"/>
                  </a:lnTo>
                  <a:lnTo>
                    <a:pt x="468" y="270"/>
                  </a:lnTo>
                  <a:lnTo>
                    <a:pt x="468"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Freeform 6"/>
            <p:cNvSpPr>
              <a:spLocks noChangeArrowheads="1"/>
            </p:cNvSpPr>
            <p:nvPr/>
          </p:nvSpPr>
          <p:spPr bwMode="auto">
            <a:xfrm>
              <a:off x="6991350" y="3373438"/>
              <a:ext cx="206375" cy="295275"/>
            </a:xfrm>
            <a:custGeom>
              <a:avLst/>
              <a:gdLst>
                <a:gd name="T0" fmla="*/ 278 w 572"/>
                <a:gd name="T1" fmla="*/ 0 h 819"/>
                <a:gd name="T2" fmla="*/ 174 w 572"/>
                <a:gd name="T3" fmla="*/ 16 h 819"/>
                <a:gd name="T4" fmla="*/ 87 w 572"/>
                <a:gd name="T5" fmla="*/ 79 h 819"/>
                <a:gd name="T6" fmla="*/ 23 w 572"/>
                <a:gd name="T7" fmla="*/ 167 h 819"/>
                <a:gd name="T8" fmla="*/ 0 w 572"/>
                <a:gd name="T9" fmla="*/ 270 h 819"/>
                <a:gd name="T10" fmla="*/ 0 w 572"/>
                <a:gd name="T11" fmla="*/ 524 h 819"/>
                <a:gd name="T12" fmla="*/ 23 w 572"/>
                <a:gd name="T13" fmla="*/ 635 h 819"/>
                <a:gd name="T14" fmla="*/ 87 w 572"/>
                <a:gd name="T15" fmla="*/ 731 h 819"/>
                <a:gd name="T16" fmla="*/ 174 w 572"/>
                <a:gd name="T17" fmla="*/ 794 h 819"/>
                <a:gd name="T18" fmla="*/ 278 w 572"/>
                <a:gd name="T19" fmla="*/ 818 h 819"/>
                <a:gd name="T20" fmla="*/ 341 w 572"/>
                <a:gd name="T21" fmla="*/ 810 h 819"/>
                <a:gd name="T22" fmla="*/ 444 w 572"/>
                <a:gd name="T23" fmla="*/ 762 h 819"/>
                <a:gd name="T24" fmla="*/ 524 w 572"/>
                <a:gd name="T25" fmla="*/ 683 h 819"/>
                <a:gd name="T26" fmla="*/ 571 w 572"/>
                <a:gd name="T27" fmla="*/ 588 h 819"/>
                <a:gd name="T28" fmla="*/ 571 w 572"/>
                <a:gd name="T29" fmla="*/ 270 h 819"/>
                <a:gd name="T30" fmla="*/ 571 w 572"/>
                <a:gd name="T31" fmla="*/ 214 h 819"/>
                <a:gd name="T32" fmla="*/ 524 w 572"/>
                <a:gd name="T33" fmla="*/ 119 h 819"/>
                <a:gd name="T34" fmla="*/ 444 w 572"/>
                <a:gd name="T35" fmla="*/ 48 h 819"/>
                <a:gd name="T36" fmla="*/ 341 w 572"/>
                <a:gd name="T37" fmla="*/ 0 h 819"/>
                <a:gd name="T38" fmla="*/ 461 w 572"/>
                <a:gd name="T39" fmla="*/ 524 h 819"/>
                <a:gd name="T40" fmla="*/ 453 w 572"/>
                <a:gd name="T41" fmla="*/ 556 h 819"/>
                <a:gd name="T42" fmla="*/ 428 w 572"/>
                <a:gd name="T43" fmla="*/ 619 h 819"/>
                <a:gd name="T44" fmla="*/ 381 w 572"/>
                <a:gd name="T45" fmla="*/ 667 h 819"/>
                <a:gd name="T46" fmla="*/ 318 w 572"/>
                <a:gd name="T47" fmla="*/ 691 h 819"/>
                <a:gd name="T48" fmla="*/ 278 w 572"/>
                <a:gd name="T49" fmla="*/ 698 h 819"/>
                <a:gd name="T50" fmla="*/ 222 w 572"/>
                <a:gd name="T51" fmla="*/ 683 h 819"/>
                <a:gd name="T52" fmla="*/ 166 w 572"/>
                <a:gd name="T53" fmla="*/ 643 h 819"/>
                <a:gd name="T54" fmla="*/ 135 w 572"/>
                <a:gd name="T55" fmla="*/ 588 h 819"/>
                <a:gd name="T56" fmla="*/ 119 w 572"/>
                <a:gd name="T57" fmla="*/ 524 h 819"/>
                <a:gd name="T58" fmla="*/ 119 w 572"/>
                <a:gd name="T59" fmla="*/ 270 h 819"/>
                <a:gd name="T60" fmla="*/ 135 w 572"/>
                <a:gd name="T61" fmla="*/ 214 h 819"/>
                <a:gd name="T62" fmla="*/ 166 w 572"/>
                <a:gd name="T63" fmla="*/ 158 h 819"/>
                <a:gd name="T64" fmla="*/ 222 w 572"/>
                <a:gd name="T65" fmla="*/ 127 h 819"/>
                <a:gd name="T66" fmla="*/ 278 w 572"/>
                <a:gd name="T67" fmla="*/ 112 h 819"/>
                <a:gd name="T68" fmla="*/ 318 w 572"/>
                <a:gd name="T69" fmla="*/ 119 h 819"/>
                <a:gd name="T70" fmla="*/ 381 w 572"/>
                <a:gd name="T71" fmla="*/ 143 h 819"/>
                <a:gd name="T72" fmla="*/ 428 w 572"/>
                <a:gd name="T73" fmla="*/ 183 h 819"/>
                <a:gd name="T74" fmla="*/ 453 w 572"/>
                <a:gd name="T75" fmla="*/ 239 h 819"/>
                <a:gd name="T76" fmla="*/ 461 w 572"/>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2" h="819">
                  <a:moveTo>
                    <a:pt x="278" y="0"/>
                  </a:moveTo>
                  <a:lnTo>
                    <a:pt x="278" y="0"/>
                  </a:lnTo>
                  <a:lnTo>
                    <a:pt x="230" y="0"/>
                  </a:lnTo>
                  <a:lnTo>
                    <a:pt x="174" y="16"/>
                  </a:lnTo>
                  <a:lnTo>
                    <a:pt x="127" y="48"/>
                  </a:lnTo>
                  <a:lnTo>
                    <a:pt x="87" y="79"/>
                  </a:lnTo>
                  <a:lnTo>
                    <a:pt x="56" y="119"/>
                  </a:lnTo>
                  <a:lnTo>
                    <a:pt x="23" y="167"/>
                  </a:lnTo>
                  <a:lnTo>
                    <a:pt x="8" y="214"/>
                  </a:lnTo>
                  <a:lnTo>
                    <a:pt x="0" y="270"/>
                  </a:lnTo>
                  <a:lnTo>
                    <a:pt x="0" y="524"/>
                  </a:lnTo>
                  <a:lnTo>
                    <a:pt x="0" y="524"/>
                  </a:lnTo>
                  <a:lnTo>
                    <a:pt x="8" y="580"/>
                  </a:lnTo>
                  <a:lnTo>
                    <a:pt x="23" y="635"/>
                  </a:lnTo>
                  <a:lnTo>
                    <a:pt x="56" y="683"/>
                  </a:lnTo>
                  <a:lnTo>
                    <a:pt x="87" y="731"/>
                  </a:lnTo>
                  <a:lnTo>
                    <a:pt x="127" y="762"/>
                  </a:lnTo>
                  <a:lnTo>
                    <a:pt x="174" y="794"/>
                  </a:lnTo>
                  <a:lnTo>
                    <a:pt x="230" y="810"/>
                  </a:lnTo>
                  <a:lnTo>
                    <a:pt x="278" y="818"/>
                  </a:lnTo>
                  <a:lnTo>
                    <a:pt x="278" y="818"/>
                  </a:lnTo>
                  <a:lnTo>
                    <a:pt x="341" y="810"/>
                  </a:lnTo>
                  <a:lnTo>
                    <a:pt x="397" y="794"/>
                  </a:lnTo>
                  <a:lnTo>
                    <a:pt x="444" y="762"/>
                  </a:lnTo>
                  <a:lnTo>
                    <a:pt x="484" y="731"/>
                  </a:lnTo>
                  <a:lnTo>
                    <a:pt x="524" y="683"/>
                  </a:lnTo>
                  <a:lnTo>
                    <a:pt x="548" y="635"/>
                  </a:lnTo>
                  <a:lnTo>
                    <a:pt x="571" y="588"/>
                  </a:lnTo>
                  <a:lnTo>
                    <a:pt x="571" y="524"/>
                  </a:lnTo>
                  <a:lnTo>
                    <a:pt x="571" y="270"/>
                  </a:lnTo>
                  <a:lnTo>
                    <a:pt x="571" y="270"/>
                  </a:lnTo>
                  <a:lnTo>
                    <a:pt x="571" y="214"/>
                  </a:lnTo>
                  <a:lnTo>
                    <a:pt x="555" y="167"/>
                  </a:lnTo>
                  <a:lnTo>
                    <a:pt x="524" y="119"/>
                  </a:lnTo>
                  <a:lnTo>
                    <a:pt x="492" y="79"/>
                  </a:lnTo>
                  <a:lnTo>
                    <a:pt x="444" y="48"/>
                  </a:lnTo>
                  <a:lnTo>
                    <a:pt x="397" y="16"/>
                  </a:lnTo>
                  <a:lnTo>
                    <a:pt x="341" y="0"/>
                  </a:lnTo>
                  <a:lnTo>
                    <a:pt x="278" y="0"/>
                  </a:lnTo>
                  <a:close/>
                  <a:moveTo>
                    <a:pt x="461" y="524"/>
                  </a:moveTo>
                  <a:lnTo>
                    <a:pt x="461" y="524"/>
                  </a:lnTo>
                  <a:lnTo>
                    <a:pt x="453" y="556"/>
                  </a:lnTo>
                  <a:lnTo>
                    <a:pt x="444" y="588"/>
                  </a:lnTo>
                  <a:lnTo>
                    <a:pt x="428" y="619"/>
                  </a:lnTo>
                  <a:lnTo>
                    <a:pt x="405" y="643"/>
                  </a:lnTo>
                  <a:lnTo>
                    <a:pt x="381" y="667"/>
                  </a:lnTo>
                  <a:lnTo>
                    <a:pt x="349" y="683"/>
                  </a:lnTo>
                  <a:lnTo>
                    <a:pt x="318" y="691"/>
                  </a:lnTo>
                  <a:lnTo>
                    <a:pt x="278" y="698"/>
                  </a:lnTo>
                  <a:lnTo>
                    <a:pt x="278" y="698"/>
                  </a:lnTo>
                  <a:lnTo>
                    <a:pt x="254" y="691"/>
                  </a:lnTo>
                  <a:lnTo>
                    <a:pt x="222" y="683"/>
                  </a:lnTo>
                  <a:lnTo>
                    <a:pt x="198" y="667"/>
                  </a:lnTo>
                  <a:lnTo>
                    <a:pt x="166" y="643"/>
                  </a:lnTo>
                  <a:lnTo>
                    <a:pt x="150" y="619"/>
                  </a:lnTo>
                  <a:lnTo>
                    <a:pt x="135" y="588"/>
                  </a:lnTo>
                  <a:lnTo>
                    <a:pt x="127" y="556"/>
                  </a:lnTo>
                  <a:lnTo>
                    <a:pt x="119" y="524"/>
                  </a:lnTo>
                  <a:lnTo>
                    <a:pt x="119" y="270"/>
                  </a:lnTo>
                  <a:lnTo>
                    <a:pt x="119" y="270"/>
                  </a:lnTo>
                  <a:lnTo>
                    <a:pt x="127" y="239"/>
                  </a:lnTo>
                  <a:lnTo>
                    <a:pt x="135" y="214"/>
                  </a:lnTo>
                  <a:lnTo>
                    <a:pt x="150" y="183"/>
                  </a:lnTo>
                  <a:lnTo>
                    <a:pt x="166" y="158"/>
                  </a:lnTo>
                  <a:lnTo>
                    <a:pt x="191" y="143"/>
                  </a:lnTo>
                  <a:lnTo>
                    <a:pt x="222" y="127"/>
                  </a:lnTo>
                  <a:lnTo>
                    <a:pt x="254" y="119"/>
                  </a:lnTo>
                  <a:lnTo>
                    <a:pt x="278" y="112"/>
                  </a:lnTo>
                  <a:lnTo>
                    <a:pt x="278" y="112"/>
                  </a:lnTo>
                  <a:lnTo>
                    <a:pt x="318" y="119"/>
                  </a:lnTo>
                  <a:lnTo>
                    <a:pt x="349" y="127"/>
                  </a:lnTo>
                  <a:lnTo>
                    <a:pt x="381" y="143"/>
                  </a:lnTo>
                  <a:lnTo>
                    <a:pt x="405" y="158"/>
                  </a:lnTo>
                  <a:lnTo>
                    <a:pt x="428" y="183"/>
                  </a:lnTo>
                  <a:lnTo>
                    <a:pt x="444" y="214"/>
                  </a:lnTo>
                  <a:lnTo>
                    <a:pt x="453" y="239"/>
                  </a:lnTo>
                  <a:lnTo>
                    <a:pt x="461" y="270"/>
                  </a:lnTo>
                  <a:lnTo>
                    <a:pt x="461"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3" name="Freeform 7"/>
            <p:cNvSpPr>
              <a:spLocks noChangeArrowheads="1"/>
            </p:cNvSpPr>
            <p:nvPr/>
          </p:nvSpPr>
          <p:spPr bwMode="auto">
            <a:xfrm>
              <a:off x="5837238" y="3394075"/>
              <a:ext cx="42862" cy="246063"/>
            </a:xfrm>
            <a:custGeom>
              <a:avLst/>
              <a:gdLst>
                <a:gd name="T0" fmla="*/ 119 w 120"/>
                <a:gd name="T1" fmla="*/ 0 h 684"/>
                <a:gd name="T2" fmla="*/ 0 w 120"/>
                <a:gd name="T3" fmla="*/ 0 h 684"/>
                <a:gd name="T4" fmla="*/ 0 w 120"/>
                <a:gd name="T5" fmla="*/ 683 h 684"/>
                <a:gd name="T6" fmla="*/ 119 w 120"/>
                <a:gd name="T7" fmla="*/ 683 h 684"/>
                <a:gd name="T8" fmla="*/ 119 w 120"/>
                <a:gd name="T9" fmla="*/ 0 h 684"/>
              </a:gdLst>
              <a:ahLst/>
              <a:cxnLst>
                <a:cxn ang="0">
                  <a:pos x="T0" y="T1"/>
                </a:cxn>
                <a:cxn ang="0">
                  <a:pos x="T2" y="T3"/>
                </a:cxn>
                <a:cxn ang="0">
                  <a:pos x="T4" y="T5"/>
                </a:cxn>
                <a:cxn ang="0">
                  <a:pos x="T6" y="T7"/>
                </a:cxn>
                <a:cxn ang="0">
                  <a:pos x="T8" y="T9"/>
                </a:cxn>
              </a:cxnLst>
              <a:rect l="0" t="0" r="r" b="b"/>
              <a:pathLst>
                <a:path w="120" h="684">
                  <a:moveTo>
                    <a:pt x="119" y="0"/>
                  </a:moveTo>
                  <a:lnTo>
                    <a:pt x="0" y="0"/>
                  </a:lnTo>
                  <a:lnTo>
                    <a:pt x="0" y="683"/>
                  </a:lnTo>
                  <a:lnTo>
                    <a:pt x="119" y="683"/>
                  </a:lnTo>
                  <a:lnTo>
                    <a:pt x="11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4" name="Freeform 8"/>
            <p:cNvSpPr>
              <a:spLocks noChangeArrowheads="1"/>
            </p:cNvSpPr>
            <p:nvPr/>
          </p:nvSpPr>
          <p:spPr bwMode="auto">
            <a:xfrm>
              <a:off x="5513388" y="3373438"/>
              <a:ext cx="209550" cy="295275"/>
            </a:xfrm>
            <a:custGeom>
              <a:avLst/>
              <a:gdLst>
                <a:gd name="T0" fmla="*/ 286 w 580"/>
                <a:gd name="T1" fmla="*/ 818 h 819"/>
                <a:gd name="T2" fmla="*/ 396 w 580"/>
                <a:gd name="T3" fmla="*/ 794 h 819"/>
                <a:gd name="T4" fmla="*/ 484 w 580"/>
                <a:gd name="T5" fmla="*/ 731 h 819"/>
                <a:gd name="T6" fmla="*/ 556 w 580"/>
                <a:gd name="T7" fmla="*/ 635 h 819"/>
                <a:gd name="T8" fmla="*/ 579 w 580"/>
                <a:gd name="T9" fmla="*/ 524 h 819"/>
                <a:gd name="T10" fmla="*/ 579 w 580"/>
                <a:gd name="T11" fmla="*/ 270 h 819"/>
                <a:gd name="T12" fmla="*/ 556 w 580"/>
                <a:gd name="T13" fmla="*/ 167 h 819"/>
                <a:gd name="T14" fmla="*/ 492 w 580"/>
                <a:gd name="T15" fmla="*/ 79 h 819"/>
                <a:gd name="T16" fmla="*/ 396 w 580"/>
                <a:gd name="T17" fmla="*/ 16 h 819"/>
                <a:gd name="T18" fmla="*/ 286 w 580"/>
                <a:gd name="T19" fmla="*/ 0 h 819"/>
                <a:gd name="T20" fmla="*/ 230 w 580"/>
                <a:gd name="T21" fmla="*/ 0 h 819"/>
                <a:gd name="T22" fmla="*/ 126 w 580"/>
                <a:gd name="T23" fmla="*/ 48 h 819"/>
                <a:gd name="T24" fmla="*/ 55 w 580"/>
                <a:gd name="T25" fmla="*/ 119 h 819"/>
                <a:gd name="T26" fmla="*/ 8 w 580"/>
                <a:gd name="T27" fmla="*/ 214 h 819"/>
                <a:gd name="T28" fmla="*/ 0 w 580"/>
                <a:gd name="T29" fmla="*/ 524 h 819"/>
                <a:gd name="T30" fmla="*/ 8 w 580"/>
                <a:gd name="T31" fmla="*/ 580 h 819"/>
                <a:gd name="T32" fmla="*/ 55 w 580"/>
                <a:gd name="T33" fmla="*/ 683 h 819"/>
                <a:gd name="T34" fmla="*/ 126 w 580"/>
                <a:gd name="T35" fmla="*/ 762 h 819"/>
                <a:gd name="T36" fmla="*/ 230 w 580"/>
                <a:gd name="T37" fmla="*/ 810 h 819"/>
                <a:gd name="T38" fmla="*/ 118 w 580"/>
                <a:gd name="T39" fmla="*/ 270 h 819"/>
                <a:gd name="T40" fmla="*/ 126 w 580"/>
                <a:gd name="T41" fmla="*/ 239 h 819"/>
                <a:gd name="T42" fmla="*/ 151 w 580"/>
                <a:gd name="T43" fmla="*/ 183 h 819"/>
                <a:gd name="T44" fmla="*/ 190 w 580"/>
                <a:gd name="T45" fmla="*/ 143 h 819"/>
                <a:gd name="T46" fmla="*/ 253 w 580"/>
                <a:gd name="T47" fmla="*/ 119 h 819"/>
                <a:gd name="T48" fmla="*/ 286 w 580"/>
                <a:gd name="T49" fmla="*/ 112 h 819"/>
                <a:gd name="T50" fmla="*/ 349 w 580"/>
                <a:gd name="T51" fmla="*/ 127 h 819"/>
                <a:gd name="T52" fmla="*/ 405 w 580"/>
                <a:gd name="T53" fmla="*/ 158 h 819"/>
                <a:gd name="T54" fmla="*/ 444 w 580"/>
                <a:gd name="T55" fmla="*/ 214 h 819"/>
                <a:gd name="T56" fmla="*/ 460 w 580"/>
                <a:gd name="T57" fmla="*/ 270 h 819"/>
                <a:gd name="T58" fmla="*/ 460 w 580"/>
                <a:gd name="T59" fmla="*/ 524 h 819"/>
                <a:gd name="T60" fmla="*/ 444 w 580"/>
                <a:gd name="T61" fmla="*/ 588 h 819"/>
                <a:gd name="T62" fmla="*/ 405 w 580"/>
                <a:gd name="T63" fmla="*/ 643 h 819"/>
                <a:gd name="T64" fmla="*/ 349 w 580"/>
                <a:gd name="T65" fmla="*/ 683 h 819"/>
                <a:gd name="T66" fmla="*/ 286 w 580"/>
                <a:gd name="T67" fmla="*/ 698 h 819"/>
                <a:gd name="T68" fmla="*/ 253 w 580"/>
                <a:gd name="T69" fmla="*/ 691 h 819"/>
                <a:gd name="T70" fmla="*/ 198 w 580"/>
                <a:gd name="T71" fmla="*/ 667 h 819"/>
                <a:gd name="T72" fmla="*/ 151 w 580"/>
                <a:gd name="T73" fmla="*/ 619 h 819"/>
                <a:gd name="T74" fmla="*/ 126 w 580"/>
                <a:gd name="T75" fmla="*/ 556 h 819"/>
                <a:gd name="T76" fmla="*/ 118 w 580"/>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0" h="819">
                  <a:moveTo>
                    <a:pt x="286" y="818"/>
                  </a:moveTo>
                  <a:lnTo>
                    <a:pt x="286" y="818"/>
                  </a:lnTo>
                  <a:lnTo>
                    <a:pt x="342" y="810"/>
                  </a:lnTo>
                  <a:lnTo>
                    <a:pt x="396" y="794"/>
                  </a:lnTo>
                  <a:lnTo>
                    <a:pt x="444" y="762"/>
                  </a:lnTo>
                  <a:lnTo>
                    <a:pt x="484" y="731"/>
                  </a:lnTo>
                  <a:lnTo>
                    <a:pt x="523" y="683"/>
                  </a:lnTo>
                  <a:lnTo>
                    <a:pt x="556" y="635"/>
                  </a:lnTo>
                  <a:lnTo>
                    <a:pt x="571" y="588"/>
                  </a:lnTo>
                  <a:lnTo>
                    <a:pt x="579" y="524"/>
                  </a:lnTo>
                  <a:lnTo>
                    <a:pt x="579" y="270"/>
                  </a:lnTo>
                  <a:lnTo>
                    <a:pt x="579" y="270"/>
                  </a:lnTo>
                  <a:lnTo>
                    <a:pt x="571" y="214"/>
                  </a:lnTo>
                  <a:lnTo>
                    <a:pt x="556" y="167"/>
                  </a:lnTo>
                  <a:lnTo>
                    <a:pt x="523" y="119"/>
                  </a:lnTo>
                  <a:lnTo>
                    <a:pt x="492" y="79"/>
                  </a:lnTo>
                  <a:lnTo>
                    <a:pt x="444" y="48"/>
                  </a:lnTo>
                  <a:lnTo>
                    <a:pt x="396" y="16"/>
                  </a:lnTo>
                  <a:lnTo>
                    <a:pt x="342" y="0"/>
                  </a:lnTo>
                  <a:lnTo>
                    <a:pt x="286" y="0"/>
                  </a:lnTo>
                  <a:lnTo>
                    <a:pt x="286" y="0"/>
                  </a:lnTo>
                  <a:lnTo>
                    <a:pt x="230" y="0"/>
                  </a:lnTo>
                  <a:lnTo>
                    <a:pt x="174" y="16"/>
                  </a:lnTo>
                  <a:lnTo>
                    <a:pt x="126" y="48"/>
                  </a:lnTo>
                  <a:lnTo>
                    <a:pt x="87" y="79"/>
                  </a:lnTo>
                  <a:lnTo>
                    <a:pt x="55" y="119"/>
                  </a:lnTo>
                  <a:lnTo>
                    <a:pt x="24" y="167"/>
                  </a:lnTo>
                  <a:lnTo>
                    <a:pt x="8" y="214"/>
                  </a:lnTo>
                  <a:lnTo>
                    <a:pt x="0" y="270"/>
                  </a:lnTo>
                  <a:lnTo>
                    <a:pt x="0" y="524"/>
                  </a:lnTo>
                  <a:lnTo>
                    <a:pt x="0" y="524"/>
                  </a:lnTo>
                  <a:lnTo>
                    <a:pt x="8" y="580"/>
                  </a:lnTo>
                  <a:lnTo>
                    <a:pt x="24" y="635"/>
                  </a:lnTo>
                  <a:lnTo>
                    <a:pt x="55" y="683"/>
                  </a:lnTo>
                  <a:lnTo>
                    <a:pt x="87" y="731"/>
                  </a:lnTo>
                  <a:lnTo>
                    <a:pt x="126" y="762"/>
                  </a:lnTo>
                  <a:lnTo>
                    <a:pt x="174" y="794"/>
                  </a:lnTo>
                  <a:lnTo>
                    <a:pt x="230" y="810"/>
                  </a:lnTo>
                  <a:lnTo>
                    <a:pt x="286" y="818"/>
                  </a:lnTo>
                  <a:close/>
                  <a:moveTo>
                    <a:pt x="118" y="270"/>
                  </a:moveTo>
                  <a:lnTo>
                    <a:pt x="118" y="270"/>
                  </a:lnTo>
                  <a:lnTo>
                    <a:pt x="126" y="239"/>
                  </a:lnTo>
                  <a:lnTo>
                    <a:pt x="135" y="214"/>
                  </a:lnTo>
                  <a:lnTo>
                    <a:pt x="151" y="183"/>
                  </a:lnTo>
                  <a:lnTo>
                    <a:pt x="166" y="158"/>
                  </a:lnTo>
                  <a:lnTo>
                    <a:pt x="190" y="143"/>
                  </a:lnTo>
                  <a:lnTo>
                    <a:pt x="222" y="127"/>
                  </a:lnTo>
                  <a:lnTo>
                    <a:pt x="253" y="119"/>
                  </a:lnTo>
                  <a:lnTo>
                    <a:pt x="286" y="112"/>
                  </a:lnTo>
                  <a:lnTo>
                    <a:pt x="286" y="112"/>
                  </a:lnTo>
                  <a:lnTo>
                    <a:pt x="317" y="119"/>
                  </a:lnTo>
                  <a:lnTo>
                    <a:pt x="349" y="127"/>
                  </a:lnTo>
                  <a:lnTo>
                    <a:pt x="381" y="143"/>
                  </a:lnTo>
                  <a:lnTo>
                    <a:pt x="405" y="158"/>
                  </a:lnTo>
                  <a:lnTo>
                    <a:pt x="429" y="183"/>
                  </a:lnTo>
                  <a:lnTo>
                    <a:pt x="444" y="214"/>
                  </a:lnTo>
                  <a:lnTo>
                    <a:pt x="452" y="239"/>
                  </a:lnTo>
                  <a:lnTo>
                    <a:pt x="460" y="270"/>
                  </a:lnTo>
                  <a:lnTo>
                    <a:pt x="460" y="524"/>
                  </a:lnTo>
                  <a:lnTo>
                    <a:pt x="460" y="524"/>
                  </a:lnTo>
                  <a:lnTo>
                    <a:pt x="452" y="556"/>
                  </a:lnTo>
                  <a:lnTo>
                    <a:pt x="444" y="588"/>
                  </a:lnTo>
                  <a:lnTo>
                    <a:pt x="429" y="619"/>
                  </a:lnTo>
                  <a:lnTo>
                    <a:pt x="405" y="643"/>
                  </a:lnTo>
                  <a:lnTo>
                    <a:pt x="381" y="667"/>
                  </a:lnTo>
                  <a:lnTo>
                    <a:pt x="349" y="683"/>
                  </a:lnTo>
                  <a:lnTo>
                    <a:pt x="317" y="691"/>
                  </a:lnTo>
                  <a:lnTo>
                    <a:pt x="286" y="698"/>
                  </a:lnTo>
                  <a:lnTo>
                    <a:pt x="286" y="698"/>
                  </a:lnTo>
                  <a:lnTo>
                    <a:pt x="253" y="691"/>
                  </a:lnTo>
                  <a:lnTo>
                    <a:pt x="222" y="683"/>
                  </a:lnTo>
                  <a:lnTo>
                    <a:pt x="198" y="667"/>
                  </a:lnTo>
                  <a:lnTo>
                    <a:pt x="174" y="643"/>
                  </a:lnTo>
                  <a:lnTo>
                    <a:pt x="151" y="619"/>
                  </a:lnTo>
                  <a:lnTo>
                    <a:pt x="135" y="588"/>
                  </a:lnTo>
                  <a:lnTo>
                    <a:pt x="126" y="556"/>
                  </a:lnTo>
                  <a:lnTo>
                    <a:pt x="118" y="524"/>
                  </a:lnTo>
                  <a:lnTo>
                    <a:pt x="118"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05" name="Group 104"/>
          <p:cNvGrpSpPr/>
          <p:nvPr/>
        </p:nvGrpSpPr>
        <p:grpSpPr>
          <a:xfrm>
            <a:off x="2635853" y="4209857"/>
            <a:ext cx="407519" cy="392530"/>
            <a:chOff x="4410328" y="6888804"/>
            <a:chExt cx="1374706" cy="1324141"/>
          </a:xfrm>
          <a:noFill/>
        </p:grpSpPr>
        <p:sp>
          <p:nvSpPr>
            <p:cNvPr id="106" name="Freeform 67"/>
            <p:cNvSpPr>
              <a:spLocks noChangeArrowheads="1"/>
            </p:cNvSpPr>
            <p:nvPr/>
          </p:nvSpPr>
          <p:spPr bwMode="auto">
            <a:xfrm>
              <a:off x="4676578" y="7083949"/>
              <a:ext cx="333406" cy="65575"/>
            </a:xfrm>
            <a:custGeom>
              <a:avLst/>
              <a:gdLst>
                <a:gd name="T0" fmla="*/ 0 w 1859"/>
                <a:gd name="T1" fmla="*/ 365 h 366"/>
                <a:gd name="T2" fmla="*/ 0 w 1859"/>
                <a:gd name="T3" fmla="*/ 365 h 366"/>
                <a:gd name="T4" fmla="*/ 1858 w 1859"/>
                <a:gd name="T5" fmla="*/ 365 h 366"/>
                <a:gd name="T6" fmla="*/ 1858 w 1859"/>
                <a:gd name="T7" fmla="*/ 0 h 366"/>
                <a:gd name="T8" fmla="*/ 1858 w 1859"/>
                <a:gd name="T9" fmla="*/ 0 h 366"/>
                <a:gd name="T10" fmla="*/ 0 w 1859"/>
                <a:gd name="T11" fmla="*/ 0 h 366"/>
                <a:gd name="T12" fmla="*/ 0 w 1859"/>
                <a:gd name="T13" fmla="*/ 0 h 366"/>
                <a:gd name="T14" fmla="*/ 0 w 1859"/>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6">
                  <a:moveTo>
                    <a:pt x="0" y="365"/>
                  </a:moveTo>
                  <a:lnTo>
                    <a:pt x="0" y="365"/>
                  </a:lnTo>
                  <a:lnTo>
                    <a:pt x="1858" y="365"/>
                  </a:lnTo>
                  <a:lnTo>
                    <a:pt x="1858" y="0"/>
                  </a:lnTo>
                  <a:lnTo>
                    <a:pt x="1858"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7" name="Freeform 68"/>
            <p:cNvSpPr>
              <a:spLocks noChangeArrowheads="1"/>
            </p:cNvSpPr>
            <p:nvPr/>
          </p:nvSpPr>
          <p:spPr bwMode="auto">
            <a:xfrm>
              <a:off x="4676578" y="7278303"/>
              <a:ext cx="333406" cy="65575"/>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8" name="Freeform 69"/>
            <p:cNvSpPr>
              <a:spLocks noChangeArrowheads="1"/>
            </p:cNvSpPr>
            <p:nvPr/>
          </p:nvSpPr>
          <p:spPr bwMode="auto">
            <a:xfrm>
              <a:off x="4544638" y="7473449"/>
              <a:ext cx="65575" cy="65575"/>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9" name="Freeform 70"/>
            <p:cNvSpPr>
              <a:spLocks noChangeArrowheads="1"/>
            </p:cNvSpPr>
            <p:nvPr/>
          </p:nvSpPr>
          <p:spPr bwMode="auto">
            <a:xfrm>
              <a:off x="4676578" y="7473449"/>
              <a:ext cx="333406" cy="65575"/>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0" name="Freeform 71"/>
            <p:cNvSpPr>
              <a:spLocks noChangeArrowheads="1"/>
            </p:cNvSpPr>
            <p:nvPr/>
          </p:nvSpPr>
          <p:spPr bwMode="auto">
            <a:xfrm>
              <a:off x="4544638" y="7278303"/>
              <a:ext cx="65575" cy="65575"/>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1" name="Freeform 72"/>
            <p:cNvSpPr>
              <a:spLocks noChangeArrowheads="1"/>
            </p:cNvSpPr>
            <p:nvPr/>
          </p:nvSpPr>
          <p:spPr bwMode="auto">
            <a:xfrm>
              <a:off x="4544638" y="7083949"/>
              <a:ext cx="65575" cy="65575"/>
            </a:xfrm>
            <a:custGeom>
              <a:avLst/>
              <a:gdLst>
                <a:gd name="T0" fmla="*/ 0 w 366"/>
                <a:gd name="T1" fmla="*/ 365 h 366"/>
                <a:gd name="T2" fmla="*/ 0 w 366"/>
                <a:gd name="T3" fmla="*/ 365 h 366"/>
                <a:gd name="T4" fmla="*/ 365 w 366"/>
                <a:gd name="T5" fmla="*/ 365 h 366"/>
                <a:gd name="T6" fmla="*/ 365 w 366"/>
                <a:gd name="T7" fmla="*/ 0 h 366"/>
                <a:gd name="T8" fmla="*/ 365 w 366"/>
                <a:gd name="T9" fmla="*/ 0 h 366"/>
                <a:gd name="T10" fmla="*/ 0 w 366"/>
                <a:gd name="T11" fmla="*/ 0 h 366"/>
                <a:gd name="T12" fmla="*/ 0 w 366"/>
                <a:gd name="T13" fmla="*/ 0 h 366"/>
                <a:gd name="T14" fmla="*/ 0 w 366"/>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6">
                  <a:moveTo>
                    <a:pt x="0" y="365"/>
                  </a:moveTo>
                  <a:lnTo>
                    <a:pt x="0" y="365"/>
                  </a:lnTo>
                  <a:lnTo>
                    <a:pt x="365" y="365"/>
                  </a:lnTo>
                  <a:lnTo>
                    <a:pt x="365" y="0"/>
                  </a:lnTo>
                  <a:lnTo>
                    <a:pt x="365"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2" name="Freeform 73"/>
            <p:cNvSpPr>
              <a:spLocks noChangeArrowheads="1"/>
            </p:cNvSpPr>
            <p:nvPr/>
          </p:nvSpPr>
          <p:spPr bwMode="auto">
            <a:xfrm>
              <a:off x="4410328" y="6888804"/>
              <a:ext cx="1374706" cy="1324141"/>
            </a:xfrm>
            <a:custGeom>
              <a:avLst/>
              <a:gdLst>
                <a:gd name="T0" fmla="*/ 6479 w 7671"/>
                <a:gd name="T1" fmla="*/ 2549 h 7392"/>
                <a:gd name="T2" fmla="*/ 6225 w 7671"/>
                <a:gd name="T3" fmla="*/ 2549 h 7392"/>
                <a:gd name="T4" fmla="*/ 6145 w 7671"/>
                <a:gd name="T5" fmla="*/ 2374 h 7392"/>
                <a:gd name="T6" fmla="*/ 7075 w 7671"/>
                <a:gd name="T7" fmla="*/ 1358 h 7392"/>
                <a:gd name="T8" fmla="*/ 6463 w 7671"/>
                <a:gd name="T9" fmla="*/ 1072 h 7392"/>
                <a:gd name="T10" fmla="*/ 5987 w 7671"/>
                <a:gd name="T11" fmla="*/ 1041 h 7392"/>
                <a:gd name="T12" fmla="*/ 5146 w 7671"/>
                <a:gd name="T13" fmla="*/ 1405 h 7392"/>
                <a:gd name="T14" fmla="*/ 4804 w 7671"/>
                <a:gd name="T15" fmla="*/ 1795 h 7392"/>
                <a:gd name="T16" fmla="*/ 4621 w 7671"/>
                <a:gd name="T17" fmla="*/ 2295 h 7392"/>
                <a:gd name="T18" fmla="*/ 4629 w 7671"/>
                <a:gd name="T19" fmla="*/ 2842 h 7392"/>
                <a:gd name="T20" fmla="*/ 0 w 7671"/>
                <a:gd name="T21" fmla="*/ 0 h 7392"/>
                <a:gd name="T22" fmla="*/ 40 w 7671"/>
                <a:gd name="T23" fmla="*/ 4438 h 7392"/>
                <a:gd name="T24" fmla="*/ 341 w 7671"/>
                <a:gd name="T25" fmla="*/ 4866 h 7392"/>
                <a:gd name="T26" fmla="*/ 833 w 7671"/>
                <a:gd name="T27" fmla="*/ 5073 h 7392"/>
                <a:gd name="T28" fmla="*/ 1524 w 7671"/>
                <a:gd name="T29" fmla="*/ 5914 h 7392"/>
                <a:gd name="T30" fmla="*/ 1263 w 7671"/>
                <a:gd name="T31" fmla="*/ 6351 h 7392"/>
                <a:gd name="T32" fmla="*/ 1286 w 7671"/>
                <a:gd name="T33" fmla="*/ 6804 h 7392"/>
                <a:gd name="T34" fmla="*/ 1524 w 7671"/>
                <a:gd name="T35" fmla="*/ 7177 h 7392"/>
                <a:gd name="T36" fmla="*/ 1969 w 7671"/>
                <a:gd name="T37" fmla="*/ 7383 h 7392"/>
                <a:gd name="T38" fmla="*/ 2382 w 7671"/>
                <a:gd name="T39" fmla="*/ 7367 h 7392"/>
                <a:gd name="T40" fmla="*/ 2747 w 7671"/>
                <a:gd name="T41" fmla="*/ 7177 h 7392"/>
                <a:gd name="T42" fmla="*/ 6455 w 7671"/>
                <a:gd name="T43" fmla="*/ 4072 h 7392"/>
                <a:gd name="T44" fmla="*/ 7241 w 7671"/>
                <a:gd name="T45" fmla="*/ 3659 h 7392"/>
                <a:gd name="T46" fmla="*/ 7559 w 7671"/>
                <a:gd name="T47" fmla="*/ 3183 h 7392"/>
                <a:gd name="T48" fmla="*/ 7670 w 7671"/>
                <a:gd name="T49" fmla="*/ 2493 h 7392"/>
                <a:gd name="T50" fmla="*/ 1485 w 7671"/>
                <a:gd name="T51" fmla="*/ 4168 h 7392"/>
                <a:gd name="T52" fmla="*/ 1414 w 7671"/>
                <a:gd name="T53" fmla="*/ 4438 h 7392"/>
                <a:gd name="T54" fmla="*/ 1183 w 7671"/>
                <a:gd name="T55" fmla="*/ 4652 h 7392"/>
                <a:gd name="T56" fmla="*/ 929 w 7671"/>
                <a:gd name="T57" fmla="*/ 4708 h 7392"/>
                <a:gd name="T58" fmla="*/ 611 w 7671"/>
                <a:gd name="T59" fmla="*/ 4620 h 7392"/>
                <a:gd name="T60" fmla="*/ 413 w 7671"/>
                <a:gd name="T61" fmla="*/ 4390 h 7392"/>
                <a:gd name="T62" fmla="*/ 373 w 7671"/>
                <a:gd name="T63" fmla="*/ 366 h 7392"/>
                <a:gd name="T64" fmla="*/ 3716 w 7671"/>
                <a:gd name="T65" fmla="*/ 3985 h 7392"/>
                <a:gd name="T66" fmla="*/ 1485 w 7671"/>
                <a:gd name="T67" fmla="*/ 4168 h 7392"/>
                <a:gd name="T68" fmla="*/ 1811 w 7671"/>
                <a:gd name="T69" fmla="*/ 4398 h 7392"/>
                <a:gd name="T70" fmla="*/ 3716 w 7671"/>
                <a:gd name="T71" fmla="*/ 4350 h 7392"/>
                <a:gd name="T72" fmla="*/ 3835 w 7671"/>
                <a:gd name="T73" fmla="*/ 4612 h 7392"/>
                <a:gd name="T74" fmla="*/ 3350 w 7671"/>
                <a:gd name="T75" fmla="*/ 4708 h 7392"/>
                <a:gd name="T76" fmla="*/ 6908 w 7671"/>
                <a:gd name="T77" fmla="*/ 3389 h 7392"/>
                <a:gd name="T78" fmla="*/ 6217 w 7671"/>
                <a:gd name="T79" fmla="*/ 3699 h 7392"/>
                <a:gd name="T80" fmla="*/ 5852 w 7671"/>
                <a:gd name="T81" fmla="*/ 3659 h 7392"/>
                <a:gd name="T82" fmla="*/ 2398 w 7671"/>
                <a:gd name="T83" fmla="*/ 6899 h 7392"/>
                <a:gd name="T84" fmla="*/ 1865 w 7671"/>
                <a:gd name="T85" fmla="*/ 6899 h 7392"/>
                <a:gd name="T86" fmla="*/ 1699 w 7671"/>
                <a:gd name="T87" fmla="*/ 6629 h 7392"/>
                <a:gd name="T88" fmla="*/ 1723 w 7671"/>
                <a:gd name="T89" fmla="*/ 6359 h 7392"/>
                <a:gd name="T90" fmla="*/ 3526 w 7671"/>
                <a:gd name="T91" fmla="*/ 5073 h 7392"/>
                <a:gd name="T92" fmla="*/ 3970 w 7671"/>
                <a:gd name="T93" fmla="*/ 4961 h 7392"/>
                <a:gd name="T94" fmla="*/ 4343 w 7671"/>
                <a:gd name="T95" fmla="*/ 4596 h 7392"/>
                <a:gd name="T96" fmla="*/ 4454 w 7671"/>
                <a:gd name="T97" fmla="*/ 4168 h 7392"/>
                <a:gd name="T98" fmla="*/ 4089 w 7671"/>
                <a:gd name="T99" fmla="*/ 3985 h 7392"/>
                <a:gd name="T100" fmla="*/ 5042 w 7671"/>
                <a:gd name="T101" fmla="*/ 2747 h 7392"/>
                <a:gd name="T102" fmla="*/ 5113 w 7671"/>
                <a:gd name="T103" fmla="*/ 2167 h 7392"/>
                <a:gd name="T104" fmla="*/ 5352 w 7671"/>
                <a:gd name="T105" fmla="*/ 1795 h 7392"/>
                <a:gd name="T106" fmla="*/ 5923 w 7671"/>
                <a:gd name="T107" fmla="*/ 1493 h 7392"/>
                <a:gd name="T108" fmla="*/ 6257 w 7671"/>
                <a:gd name="T109" fmla="*/ 1517 h 7392"/>
                <a:gd name="T110" fmla="*/ 5821 w 7671"/>
                <a:gd name="T111" fmla="*/ 2017 h 7392"/>
                <a:gd name="T112" fmla="*/ 5701 w 7671"/>
                <a:gd name="T113" fmla="*/ 2374 h 7392"/>
                <a:gd name="T114" fmla="*/ 5821 w 7671"/>
                <a:gd name="T115" fmla="*/ 2732 h 7392"/>
                <a:gd name="T116" fmla="*/ 6058 w 7671"/>
                <a:gd name="T117" fmla="*/ 2937 h 7392"/>
                <a:gd name="T118" fmla="*/ 6423 w 7671"/>
                <a:gd name="T119" fmla="*/ 3001 h 7392"/>
                <a:gd name="T120" fmla="*/ 6797 w 7671"/>
                <a:gd name="T121" fmla="*/ 2882 h 7392"/>
                <a:gd name="T122" fmla="*/ 7250 w 7671"/>
                <a:gd name="T123" fmla="*/ 2700 h 7392"/>
                <a:gd name="T124" fmla="*/ 6908 w 7671"/>
                <a:gd name="T125" fmla="*/ 3389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71" h="7392">
                  <a:moveTo>
                    <a:pt x="7520" y="1906"/>
                  </a:moveTo>
                  <a:lnTo>
                    <a:pt x="7408" y="1636"/>
                  </a:lnTo>
                  <a:lnTo>
                    <a:pt x="7408" y="1636"/>
                  </a:lnTo>
                  <a:lnTo>
                    <a:pt x="6519" y="2509"/>
                  </a:lnTo>
                  <a:lnTo>
                    <a:pt x="6519" y="2509"/>
                  </a:lnTo>
                  <a:lnTo>
                    <a:pt x="6479" y="2549"/>
                  </a:lnTo>
                  <a:lnTo>
                    <a:pt x="6440" y="2572"/>
                  </a:lnTo>
                  <a:lnTo>
                    <a:pt x="6392" y="2589"/>
                  </a:lnTo>
                  <a:lnTo>
                    <a:pt x="6352" y="2597"/>
                  </a:lnTo>
                  <a:lnTo>
                    <a:pt x="6313" y="2589"/>
                  </a:lnTo>
                  <a:lnTo>
                    <a:pt x="6272" y="2572"/>
                  </a:lnTo>
                  <a:lnTo>
                    <a:pt x="6225" y="2549"/>
                  </a:lnTo>
                  <a:lnTo>
                    <a:pt x="6185" y="2509"/>
                  </a:lnTo>
                  <a:lnTo>
                    <a:pt x="6185" y="2509"/>
                  </a:lnTo>
                  <a:lnTo>
                    <a:pt x="6170" y="2485"/>
                  </a:lnTo>
                  <a:lnTo>
                    <a:pt x="6153" y="2454"/>
                  </a:lnTo>
                  <a:lnTo>
                    <a:pt x="6145" y="2414"/>
                  </a:lnTo>
                  <a:lnTo>
                    <a:pt x="6145" y="2374"/>
                  </a:lnTo>
                  <a:lnTo>
                    <a:pt x="6145" y="2335"/>
                  </a:lnTo>
                  <a:lnTo>
                    <a:pt x="6153" y="2295"/>
                  </a:lnTo>
                  <a:lnTo>
                    <a:pt x="6170" y="2263"/>
                  </a:lnTo>
                  <a:lnTo>
                    <a:pt x="6185" y="2239"/>
                  </a:lnTo>
                  <a:lnTo>
                    <a:pt x="6185" y="2239"/>
                  </a:lnTo>
                  <a:lnTo>
                    <a:pt x="7075" y="1358"/>
                  </a:lnTo>
                  <a:lnTo>
                    <a:pt x="7075" y="1358"/>
                  </a:lnTo>
                  <a:lnTo>
                    <a:pt x="6797" y="1191"/>
                  </a:lnTo>
                  <a:lnTo>
                    <a:pt x="6797" y="1191"/>
                  </a:lnTo>
                  <a:lnTo>
                    <a:pt x="6630" y="1120"/>
                  </a:lnTo>
                  <a:lnTo>
                    <a:pt x="6550" y="1096"/>
                  </a:lnTo>
                  <a:lnTo>
                    <a:pt x="6463" y="1072"/>
                  </a:lnTo>
                  <a:lnTo>
                    <a:pt x="6384" y="1048"/>
                  </a:lnTo>
                  <a:lnTo>
                    <a:pt x="6297" y="1041"/>
                  </a:lnTo>
                  <a:lnTo>
                    <a:pt x="6217" y="1033"/>
                  </a:lnTo>
                  <a:lnTo>
                    <a:pt x="6130" y="1033"/>
                  </a:lnTo>
                  <a:lnTo>
                    <a:pt x="6130" y="1033"/>
                  </a:lnTo>
                  <a:lnTo>
                    <a:pt x="5987" y="1041"/>
                  </a:lnTo>
                  <a:lnTo>
                    <a:pt x="5844" y="1056"/>
                  </a:lnTo>
                  <a:lnTo>
                    <a:pt x="5701" y="1096"/>
                  </a:lnTo>
                  <a:lnTo>
                    <a:pt x="5558" y="1151"/>
                  </a:lnTo>
                  <a:lnTo>
                    <a:pt x="5416" y="1223"/>
                  </a:lnTo>
                  <a:lnTo>
                    <a:pt x="5281" y="1311"/>
                  </a:lnTo>
                  <a:lnTo>
                    <a:pt x="5146" y="1405"/>
                  </a:lnTo>
                  <a:lnTo>
                    <a:pt x="5018" y="1525"/>
                  </a:lnTo>
                  <a:lnTo>
                    <a:pt x="5018" y="1525"/>
                  </a:lnTo>
                  <a:lnTo>
                    <a:pt x="4963" y="1588"/>
                  </a:lnTo>
                  <a:lnTo>
                    <a:pt x="4907" y="1652"/>
                  </a:lnTo>
                  <a:lnTo>
                    <a:pt x="4851" y="1723"/>
                  </a:lnTo>
                  <a:lnTo>
                    <a:pt x="4804" y="1795"/>
                  </a:lnTo>
                  <a:lnTo>
                    <a:pt x="4764" y="1874"/>
                  </a:lnTo>
                  <a:lnTo>
                    <a:pt x="4724" y="1953"/>
                  </a:lnTo>
                  <a:lnTo>
                    <a:pt x="4685" y="2032"/>
                  </a:lnTo>
                  <a:lnTo>
                    <a:pt x="4661" y="2120"/>
                  </a:lnTo>
                  <a:lnTo>
                    <a:pt x="4637" y="2208"/>
                  </a:lnTo>
                  <a:lnTo>
                    <a:pt x="4621" y="2295"/>
                  </a:lnTo>
                  <a:lnTo>
                    <a:pt x="4606" y="2382"/>
                  </a:lnTo>
                  <a:lnTo>
                    <a:pt x="4598" y="2470"/>
                  </a:lnTo>
                  <a:lnTo>
                    <a:pt x="4598" y="2565"/>
                  </a:lnTo>
                  <a:lnTo>
                    <a:pt x="4606" y="2652"/>
                  </a:lnTo>
                  <a:lnTo>
                    <a:pt x="4613" y="2747"/>
                  </a:lnTo>
                  <a:lnTo>
                    <a:pt x="4629" y="2842"/>
                  </a:lnTo>
                  <a:lnTo>
                    <a:pt x="4629" y="2842"/>
                  </a:lnTo>
                  <a:lnTo>
                    <a:pt x="4089" y="3381"/>
                  </a:lnTo>
                  <a:lnTo>
                    <a:pt x="4089" y="3381"/>
                  </a:lnTo>
                  <a:lnTo>
                    <a:pt x="4089" y="0"/>
                  </a:lnTo>
                  <a:lnTo>
                    <a:pt x="4089" y="0"/>
                  </a:lnTo>
                  <a:lnTo>
                    <a:pt x="0" y="0"/>
                  </a:lnTo>
                  <a:lnTo>
                    <a:pt x="0" y="0"/>
                  </a:lnTo>
                  <a:lnTo>
                    <a:pt x="0" y="4168"/>
                  </a:lnTo>
                  <a:lnTo>
                    <a:pt x="0" y="4168"/>
                  </a:lnTo>
                  <a:lnTo>
                    <a:pt x="8" y="4263"/>
                  </a:lnTo>
                  <a:lnTo>
                    <a:pt x="16" y="4350"/>
                  </a:lnTo>
                  <a:lnTo>
                    <a:pt x="40" y="4438"/>
                  </a:lnTo>
                  <a:lnTo>
                    <a:pt x="71" y="4517"/>
                  </a:lnTo>
                  <a:lnTo>
                    <a:pt x="112" y="4596"/>
                  </a:lnTo>
                  <a:lnTo>
                    <a:pt x="158" y="4675"/>
                  </a:lnTo>
                  <a:lnTo>
                    <a:pt x="214" y="4739"/>
                  </a:lnTo>
                  <a:lnTo>
                    <a:pt x="270" y="4810"/>
                  </a:lnTo>
                  <a:lnTo>
                    <a:pt x="341" y="4866"/>
                  </a:lnTo>
                  <a:lnTo>
                    <a:pt x="413" y="4922"/>
                  </a:lnTo>
                  <a:lnTo>
                    <a:pt x="484" y="4961"/>
                  </a:lnTo>
                  <a:lnTo>
                    <a:pt x="571" y="5001"/>
                  </a:lnTo>
                  <a:lnTo>
                    <a:pt x="652" y="5033"/>
                  </a:lnTo>
                  <a:lnTo>
                    <a:pt x="746" y="5057"/>
                  </a:lnTo>
                  <a:lnTo>
                    <a:pt x="833" y="5073"/>
                  </a:lnTo>
                  <a:lnTo>
                    <a:pt x="929" y="5073"/>
                  </a:lnTo>
                  <a:lnTo>
                    <a:pt x="929" y="5073"/>
                  </a:lnTo>
                  <a:lnTo>
                    <a:pt x="2374" y="5073"/>
                  </a:lnTo>
                  <a:lnTo>
                    <a:pt x="2374" y="5073"/>
                  </a:lnTo>
                  <a:lnTo>
                    <a:pt x="1524" y="5914"/>
                  </a:lnTo>
                  <a:lnTo>
                    <a:pt x="1524" y="5914"/>
                  </a:lnTo>
                  <a:lnTo>
                    <a:pt x="1461" y="5977"/>
                  </a:lnTo>
                  <a:lnTo>
                    <a:pt x="1406" y="6049"/>
                  </a:lnTo>
                  <a:lnTo>
                    <a:pt x="1358" y="6121"/>
                  </a:lnTo>
                  <a:lnTo>
                    <a:pt x="1318" y="6193"/>
                  </a:lnTo>
                  <a:lnTo>
                    <a:pt x="1286" y="6272"/>
                  </a:lnTo>
                  <a:lnTo>
                    <a:pt x="1263" y="6351"/>
                  </a:lnTo>
                  <a:lnTo>
                    <a:pt x="1246" y="6430"/>
                  </a:lnTo>
                  <a:lnTo>
                    <a:pt x="1246" y="6517"/>
                  </a:lnTo>
                  <a:lnTo>
                    <a:pt x="1246" y="6517"/>
                  </a:lnTo>
                  <a:lnTo>
                    <a:pt x="1246" y="6613"/>
                  </a:lnTo>
                  <a:lnTo>
                    <a:pt x="1263" y="6708"/>
                  </a:lnTo>
                  <a:lnTo>
                    <a:pt x="1286" y="6804"/>
                  </a:lnTo>
                  <a:lnTo>
                    <a:pt x="1318" y="6883"/>
                  </a:lnTo>
                  <a:lnTo>
                    <a:pt x="1358" y="6970"/>
                  </a:lnTo>
                  <a:lnTo>
                    <a:pt x="1406" y="7042"/>
                  </a:lnTo>
                  <a:lnTo>
                    <a:pt x="1461" y="7113"/>
                  </a:lnTo>
                  <a:lnTo>
                    <a:pt x="1524" y="7177"/>
                  </a:lnTo>
                  <a:lnTo>
                    <a:pt x="1524" y="7177"/>
                  </a:lnTo>
                  <a:lnTo>
                    <a:pt x="1588" y="7232"/>
                  </a:lnTo>
                  <a:lnTo>
                    <a:pt x="1659" y="7280"/>
                  </a:lnTo>
                  <a:lnTo>
                    <a:pt x="1730" y="7319"/>
                  </a:lnTo>
                  <a:lnTo>
                    <a:pt x="1802" y="7343"/>
                  </a:lnTo>
                  <a:lnTo>
                    <a:pt x="1882" y="7367"/>
                  </a:lnTo>
                  <a:lnTo>
                    <a:pt x="1969" y="7383"/>
                  </a:lnTo>
                  <a:lnTo>
                    <a:pt x="2048" y="7391"/>
                  </a:lnTo>
                  <a:lnTo>
                    <a:pt x="2135" y="7391"/>
                  </a:lnTo>
                  <a:lnTo>
                    <a:pt x="2135" y="7391"/>
                  </a:lnTo>
                  <a:lnTo>
                    <a:pt x="2216" y="7391"/>
                  </a:lnTo>
                  <a:lnTo>
                    <a:pt x="2295" y="7383"/>
                  </a:lnTo>
                  <a:lnTo>
                    <a:pt x="2382" y="7367"/>
                  </a:lnTo>
                  <a:lnTo>
                    <a:pt x="2461" y="7343"/>
                  </a:lnTo>
                  <a:lnTo>
                    <a:pt x="2533" y="7319"/>
                  </a:lnTo>
                  <a:lnTo>
                    <a:pt x="2612" y="7280"/>
                  </a:lnTo>
                  <a:lnTo>
                    <a:pt x="2675" y="7232"/>
                  </a:lnTo>
                  <a:lnTo>
                    <a:pt x="2747" y="7177"/>
                  </a:lnTo>
                  <a:lnTo>
                    <a:pt x="2747" y="7177"/>
                  </a:lnTo>
                  <a:lnTo>
                    <a:pt x="5852" y="4104"/>
                  </a:lnTo>
                  <a:lnTo>
                    <a:pt x="5852" y="4104"/>
                  </a:lnTo>
                  <a:lnTo>
                    <a:pt x="6130" y="4104"/>
                  </a:lnTo>
                  <a:lnTo>
                    <a:pt x="6130" y="4104"/>
                  </a:lnTo>
                  <a:lnTo>
                    <a:pt x="6297" y="4096"/>
                  </a:lnTo>
                  <a:lnTo>
                    <a:pt x="6455" y="4072"/>
                  </a:lnTo>
                  <a:lnTo>
                    <a:pt x="6606" y="4033"/>
                  </a:lnTo>
                  <a:lnTo>
                    <a:pt x="6749" y="3985"/>
                  </a:lnTo>
                  <a:lnTo>
                    <a:pt x="6884" y="3921"/>
                  </a:lnTo>
                  <a:lnTo>
                    <a:pt x="7011" y="3850"/>
                  </a:lnTo>
                  <a:lnTo>
                    <a:pt x="7130" y="3763"/>
                  </a:lnTo>
                  <a:lnTo>
                    <a:pt x="7241" y="3659"/>
                  </a:lnTo>
                  <a:lnTo>
                    <a:pt x="7241" y="3659"/>
                  </a:lnTo>
                  <a:lnTo>
                    <a:pt x="7321" y="3580"/>
                  </a:lnTo>
                  <a:lnTo>
                    <a:pt x="7393" y="3485"/>
                  </a:lnTo>
                  <a:lnTo>
                    <a:pt x="7456" y="3389"/>
                  </a:lnTo>
                  <a:lnTo>
                    <a:pt x="7511" y="3286"/>
                  </a:lnTo>
                  <a:lnTo>
                    <a:pt x="7559" y="3183"/>
                  </a:lnTo>
                  <a:lnTo>
                    <a:pt x="7599" y="3072"/>
                  </a:lnTo>
                  <a:lnTo>
                    <a:pt x="7630" y="2961"/>
                  </a:lnTo>
                  <a:lnTo>
                    <a:pt x="7654" y="2850"/>
                  </a:lnTo>
                  <a:lnTo>
                    <a:pt x="7663" y="2732"/>
                  </a:lnTo>
                  <a:lnTo>
                    <a:pt x="7670" y="2613"/>
                  </a:lnTo>
                  <a:lnTo>
                    <a:pt x="7670" y="2493"/>
                  </a:lnTo>
                  <a:lnTo>
                    <a:pt x="7654" y="2374"/>
                  </a:lnTo>
                  <a:lnTo>
                    <a:pt x="7638" y="2255"/>
                  </a:lnTo>
                  <a:lnTo>
                    <a:pt x="7607" y="2136"/>
                  </a:lnTo>
                  <a:lnTo>
                    <a:pt x="7567" y="2025"/>
                  </a:lnTo>
                  <a:lnTo>
                    <a:pt x="7520" y="1906"/>
                  </a:lnTo>
                  <a:close/>
                  <a:moveTo>
                    <a:pt x="1485" y="4168"/>
                  </a:moveTo>
                  <a:lnTo>
                    <a:pt x="1485" y="4168"/>
                  </a:lnTo>
                  <a:lnTo>
                    <a:pt x="1485" y="4224"/>
                  </a:lnTo>
                  <a:lnTo>
                    <a:pt x="1477" y="4278"/>
                  </a:lnTo>
                  <a:lnTo>
                    <a:pt x="1461" y="4334"/>
                  </a:lnTo>
                  <a:lnTo>
                    <a:pt x="1437" y="4390"/>
                  </a:lnTo>
                  <a:lnTo>
                    <a:pt x="1414" y="4438"/>
                  </a:lnTo>
                  <a:lnTo>
                    <a:pt x="1381" y="4477"/>
                  </a:lnTo>
                  <a:lnTo>
                    <a:pt x="1350" y="4517"/>
                  </a:lnTo>
                  <a:lnTo>
                    <a:pt x="1310" y="4557"/>
                  </a:lnTo>
                  <a:lnTo>
                    <a:pt x="1271" y="4596"/>
                  </a:lnTo>
                  <a:lnTo>
                    <a:pt x="1231" y="4620"/>
                  </a:lnTo>
                  <a:lnTo>
                    <a:pt x="1183" y="4652"/>
                  </a:lnTo>
                  <a:lnTo>
                    <a:pt x="1136" y="4668"/>
                  </a:lnTo>
                  <a:lnTo>
                    <a:pt x="1088" y="4691"/>
                  </a:lnTo>
                  <a:lnTo>
                    <a:pt x="1032" y="4700"/>
                  </a:lnTo>
                  <a:lnTo>
                    <a:pt x="984" y="4708"/>
                  </a:lnTo>
                  <a:lnTo>
                    <a:pt x="929" y="4708"/>
                  </a:lnTo>
                  <a:lnTo>
                    <a:pt x="929" y="4708"/>
                  </a:lnTo>
                  <a:lnTo>
                    <a:pt x="866" y="4708"/>
                  </a:lnTo>
                  <a:lnTo>
                    <a:pt x="810" y="4700"/>
                  </a:lnTo>
                  <a:lnTo>
                    <a:pt x="754" y="4691"/>
                  </a:lnTo>
                  <a:lnTo>
                    <a:pt x="706" y="4668"/>
                  </a:lnTo>
                  <a:lnTo>
                    <a:pt x="659" y="4652"/>
                  </a:lnTo>
                  <a:lnTo>
                    <a:pt x="611" y="4620"/>
                  </a:lnTo>
                  <a:lnTo>
                    <a:pt x="563" y="4596"/>
                  </a:lnTo>
                  <a:lnTo>
                    <a:pt x="532" y="4557"/>
                  </a:lnTo>
                  <a:lnTo>
                    <a:pt x="492" y="4517"/>
                  </a:lnTo>
                  <a:lnTo>
                    <a:pt x="461" y="4477"/>
                  </a:lnTo>
                  <a:lnTo>
                    <a:pt x="436" y="4438"/>
                  </a:lnTo>
                  <a:lnTo>
                    <a:pt x="413" y="4390"/>
                  </a:lnTo>
                  <a:lnTo>
                    <a:pt x="397" y="4334"/>
                  </a:lnTo>
                  <a:lnTo>
                    <a:pt x="382" y="4278"/>
                  </a:lnTo>
                  <a:lnTo>
                    <a:pt x="373" y="4224"/>
                  </a:lnTo>
                  <a:lnTo>
                    <a:pt x="373" y="4168"/>
                  </a:lnTo>
                  <a:lnTo>
                    <a:pt x="373" y="4168"/>
                  </a:lnTo>
                  <a:lnTo>
                    <a:pt x="373" y="366"/>
                  </a:lnTo>
                  <a:lnTo>
                    <a:pt x="373" y="366"/>
                  </a:lnTo>
                  <a:lnTo>
                    <a:pt x="3716" y="366"/>
                  </a:lnTo>
                  <a:lnTo>
                    <a:pt x="3716" y="366"/>
                  </a:lnTo>
                  <a:lnTo>
                    <a:pt x="3716" y="3747"/>
                  </a:lnTo>
                  <a:lnTo>
                    <a:pt x="3716" y="3747"/>
                  </a:lnTo>
                  <a:lnTo>
                    <a:pt x="3716" y="3985"/>
                  </a:lnTo>
                  <a:lnTo>
                    <a:pt x="3716" y="3985"/>
                  </a:lnTo>
                  <a:lnTo>
                    <a:pt x="3470" y="3985"/>
                  </a:lnTo>
                  <a:lnTo>
                    <a:pt x="3470" y="3985"/>
                  </a:lnTo>
                  <a:lnTo>
                    <a:pt x="1485" y="3985"/>
                  </a:lnTo>
                  <a:lnTo>
                    <a:pt x="1485" y="3985"/>
                  </a:lnTo>
                  <a:lnTo>
                    <a:pt x="1485" y="4168"/>
                  </a:lnTo>
                  <a:close/>
                  <a:moveTo>
                    <a:pt x="1676" y="4708"/>
                  </a:moveTo>
                  <a:lnTo>
                    <a:pt x="1676" y="4708"/>
                  </a:lnTo>
                  <a:lnTo>
                    <a:pt x="1715" y="4636"/>
                  </a:lnTo>
                  <a:lnTo>
                    <a:pt x="1763" y="4548"/>
                  </a:lnTo>
                  <a:lnTo>
                    <a:pt x="1794" y="4453"/>
                  </a:lnTo>
                  <a:lnTo>
                    <a:pt x="1811" y="4398"/>
                  </a:lnTo>
                  <a:lnTo>
                    <a:pt x="1811" y="4350"/>
                  </a:lnTo>
                  <a:lnTo>
                    <a:pt x="1811" y="4350"/>
                  </a:lnTo>
                  <a:lnTo>
                    <a:pt x="3105" y="4350"/>
                  </a:lnTo>
                  <a:lnTo>
                    <a:pt x="3105" y="4350"/>
                  </a:lnTo>
                  <a:lnTo>
                    <a:pt x="3716" y="4350"/>
                  </a:lnTo>
                  <a:lnTo>
                    <a:pt x="3716" y="4350"/>
                  </a:lnTo>
                  <a:lnTo>
                    <a:pt x="4041" y="4350"/>
                  </a:lnTo>
                  <a:lnTo>
                    <a:pt x="4041" y="4350"/>
                  </a:lnTo>
                  <a:lnTo>
                    <a:pt x="4002" y="4430"/>
                  </a:lnTo>
                  <a:lnTo>
                    <a:pt x="3954" y="4501"/>
                  </a:lnTo>
                  <a:lnTo>
                    <a:pt x="3898" y="4565"/>
                  </a:lnTo>
                  <a:lnTo>
                    <a:pt x="3835" y="4612"/>
                  </a:lnTo>
                  <a:lnTo>
                    <a:pt x="3771" y="4660"/>
                  </a:lnTo>
                  <a:lnTo>
                    <a:pt x="3692" y="4683"/>
                  </a:lnTo>
                  <a:lnTo>
                    <a:pt x="3613" y="4708"/>
                  </a:lnTo>
                  <a:lnTo>
                    <a:pt x="3526" y="4708"/>
                  </a:lnTo>
                  <a:lnTo>
                    <a:pt x="3526" y="4708"/>
                  </a:lnTo>
                  <a:lnTo>
                    <a:pt x="3350" y="4708"/>
                  </a:lnTo>
                  <a:lnTo>
                    <a:pt x="3350" y="4708"/>
                  </a:lnTo>
                  <a:lnTo>
                    <a:pt x="2739" y="4708"/>
                  </a:lnTo>
                  <a:lnTo>
                    <a:pt x="2739" y="4708"/>
                  </a:lnTo>
                  <a:lnTo>
                    <a:pt x="1676" y="4708"/>
                  </a:lnTo>
                  <a:close/>
                  <a:moveTo>
                    <a:pt x="6908" y="3389"/>
                  </a:moveTo>
                  <a:lnTo>
                    <a:pt x="6908" y="3389"/>
                  </a:lnTo>
                  <a:lnTo>
                    <a:pt x="6797" y="3485"/>
                  </a:lnTo>
                  <a:lnTo>
                    <a:pt x="6685" y="3564"/>
                  </a:lnTo>
                  <a:lnTo>
                    <a:pt x="6558" y="3628"/>
                  </a:lnTo>
                  <a:lnTo>
                    <a:pt x="6423" y="3667"/>
                  </a:lnTo>
                  <a:lnTo>
                    <a:pt x="6288" y="3699"/>
                  </a:lnTo>
                  <a:lnTo>
                    <a:pt x="6217" y="3699"/>
                  </a:lnTo>
                  <a:lnTo>
                    <a:pt x="6145" y="3707"/>
                  </a:lnTo>
                  <a:lnTo>
                    <a:pt x="6074" y="3699"/>
                  </a:lnTo>
                  <a:lnTo>
                    <a:pt x="6002" y="3691"/>
                  </a:lnTo>
                  <a:lnTo>
                    <a:pt x="5923" y="3684"/>
                  </a:lnTo>
                  <a:lnTo>
                    <a:pt x="5852" y="3659"/>
                  </a:lnTo>
                  <a:lnTo>
                    <a:pt x="5852" y="3659"/>
                  </a:lnTo>
                  <a:lnTo>
                    <a:pt x="5740" y="3604"/>
                  </a:lnTo>
                  <a:lnTo>
                    <a:pt x="5740" y="3604"/>
                  </a:lnTo>
                  <a:lnTo>
                    <a:pt x="2469" y="6843"/>
                  </a:lnTo>
                  <a:lnTo>
                    <a:pt x="2469" y="6843"/>
                  </a:lnTo>
                  <a:lnTo>
                    <a:pt x="2430" y="6875"/>
                  </a:lnTo>
                  <a:lnTo>
                    <a:pt x="2398" y="6899"/>
                  </a:lnTo>
                  <a:lnTo>
                    <a:pt x="2318" y="6939"/>
                  </a:lnTo>
                  <a:lnTo>
                    <a:pt x="2224" y="6962"/>
                  </a:lnTo>
                  <a:lnTo>
                    <a:pt x="2135" y="6970"/>
                  </a:lnTo>
                  <a:lnTo>
                    <a:pt x="2041" y="6962"/>
                  </a:lnTo>
                  <a:lnTo>
                    <a:pt x="1954" y="6939"/>
                  </a:lnTo>
                  <a:lnTo>
                    <a:pt x="1865" y="6899"/>
                  </a:lnTo>
                  <a:lnTo>
                    <a:pt x="1834" y="6875"/>
                  </a:lnTo>
                  <a:lnTo>
                    <a:pt x="1802" y="6843"/>
                  </a:lnTo>
                  <a:lnTo>
                    <a:pt x="1802" y="6843"/>
                  </a:lnTo>
                  <a:lnTo>
                    <a:pt x="1755" y="6795"/>
                  </a:lnTo>
                  <a:lnTo>
                    <a:pt x="1723" y="6724"/>
                  </a:lnTo>
                  <a:lnTo>
                    <a:pt x="1699" y="6629"/>
                  </a:lnTo>
                  <a:lnTo>
                    <a:pt x="1691" y="6573"/>
                  </a:lnTo>
                  <a:lnTo>
                    <a:pt x="1691" y="6517"/>
                  </a:lnTo>
                  <a:lnTo>
                    <a:pt x="1691" y="6517"/>
                  </a:lnTo>
                  <a:lnTo>
                    <a:pt x="1691" y="6478"/>
                  </a:lnTo>
                  <a:lnTo>
                    <a:pt x="1699" y="6438"/>
                  </a:lnTo>
                  <a:lnTo>
                    <a:pt x="1723" y="6359"/>
                  </a:lnTo>
                  <a:lnTo>
                    <a:pt x="1755" y="6295"/>
                  </a:lnTo>
                  <a:lnTo>
                    <a:pt x="1802" y="6239"/>
                  </a:lnTo>
                  <a:lnTo>
                    <a:pt x="1802" y="6239"/>
                  </a:lnTo>
                  <a:lnTo>
                    <a:pt x="2978" y="5073"/>
                  </a:lnTo>
                  <a:lnTo>
                    <a:pt x="2978" y="5073"/>
                  </a:lnTo>
                  <a:lnTo>
                    <a:pt x="3526" y="5073"/>
                  </a:lnTo>
                  <a:lnTo>
                    <a:pt x="3526" y="5073"/>
                  </a:lnTo>
                  <a:lnTo>
                    <a:pt x="3620" y="5073"/>
                  </a:lnTo>
                  <a:lnTo>
                    <a:pt x="3716" y="5057"/>
                  </a:lnTo>
                  <a:lnTo>
                    <a:pt x="3803" y="5033"/>
                  </a:lnTo>
                  <a:lnTo>
                    <a:pt x="3890" y="5001"/>
                  </a:lnTo>
                  <a:lnTo>
                    <a:pt x="3970" y="4961"/>
                  </a:lnTo>
                  <a:lnTo>
                    <a:pt x="4050" y="4922"/>
                  </a:lnTo>
                  <a:lnTo>
                    <a:pt x="4121" y="4866"/>
                  </a:lnTo>
                  <a:lnTo>
                    <a:pt x="4185" y="4810"/>
                  </a:lnTo>
                  <a:lnTo>
                    <a:pt x="4247" y="4739"/>
                  </a:lnTo>
                  <a:lnTo>
                    <a:pt x="4295" y="4675"/>
                  </a:lnTo>
                  <a:lnTo>
                    <a:pt x="4343" y="4596"/>
                  </a:lnTo>
                  <a:lnTo>
                    <a:pt x="4382" y="4517"/>
                  </a:lnTo>
                  <a:lnTo>
                    <a:pt x="4415" y="4438"/>
                  </a:lnTo>
                  <a:lnTo>
                    <a:pt x="4438" y="4350"/>
                  </a:lnTo>
                  <a:lnTo>
                    <a:pt x="4454" y="4263"/>
                  </a:lnTo>
                  <a:lnTo>
                    <a:pt x="4454" y="4168"/>
                  </a:lnTo>
                  <a:lnTo>
                    <a:pt x="4454" y="4168"/>
                  </a:lnTo>
                  <a:lnTo>
                    <a:pt x="4454" y="3985"/>
                  </a:lnTo>
                  <a:lnTo>
                    <a:pt x="4454" y="3985"/>
                  </a:lnTo>
                  <a:lnTo>
                    <a:pt x="4089" y="3985"/>
                  </a:lnTo>
                  <a:lnTo>
                    <a:pt x="4089" y="3985"/>
                  </a:lnTo>
                  <a:lnTo>
                    <a:pt x="4089" y="3985"/>
                  </a:lnTo>
                  <a:lnTo>
                    <a:pt x="4089" y="3985"/>
                  </a:lnTo>
                  <a:lnTo>
                    <a:pt x="5074" y="3001"/>
                  </a:lnTo>
                  <a:lnTo>
                    <a:pt x="5074" y="3001"/>
                  </a:lnTo>
                  <a:lnTo>
                    <a:pt x="5074" y="2898"/>
                  </a:lnTo>
                  <a:lnTo>
                    <a:pt x="5074" y="2898"/>
                  </a:lnTo>
                  <a:lnTo>
                    <a:pt x="5057" y="2819"/>
                  </a:lnTo>
                  <a:lnTo>
                    <a:pt x="5042" y="2747"/>
                  </a:lnTo>
                  <a:lnTo>
                    <a:pt x="5034" y="2676"/>
                  </a:lnTo>
                  <a:lnTo>
                    <a:pt x="5034" y="2597"/>
                  </a:lnTo>
                  <a:lnTo>
                    <a:pt x="5034" y="2525"/>
                  </a:lnTo>
                  <a:lnTo>
                    <a:pt x="5042" y="2454"/>
                  </a:lnTo>
                  <a:lnTo>
                    <a:pt x="5066" y="2302"/>
                  </a:lnTo>
                  <a:lnTo>
                    <a:pt x="5113" y="2167"/>
                  </a:lnTo>
                  <a:lnTo>
                    <a:pt x="5146" y="2096"/>
                  </a:lnTo>
                  <a:lnTo>
                    <a:pt x="5177" y="2032"/>
                  </a:lnTo>
                  <a:lnTo>
                    <a:pt x="5217" y="1969"/>
                  </a:lnTo>
                  <a:lnTo>
                    <a:pt x="5256" y="1906"/>
                  </a:lnTo>
                  <a:lnTo>
                    <a:pt x="5304" y="1851"/>
                  </a:lnTo>
                  <a:lnTo>
                    <a:pt x="5352" y="1795"/>
                  </a:lnTo>
                  <a:lnTo>
                    <a:pt x="5352" y="1795"/>
                  </a:lnTo>
                  <a:lnTo>
                    <a:pt x="5526" y="1675"/>
                  </a:lnTo>
                  <a:lnTo>
                    <a:pt x="5622" y="1620"/>
                  </a:lnTo>
                  <a:lnTo>
                    <a:pt x="5725" y="1573"/>
                  </a:lnTo>
                  <a:lnTo>
                    <a:pt x="5821" y="1533"/>
                  </a:lnTo>
                  <a:lnTo>
                    <a:pt x="5923" y="1493"/>
                  </a:lnTo>
                  <a:lnTo>
                    <a:pt x="6027" y="1477"/>
                  </a:lnTo>
                  <a:lnTo>
                    <a:pt x="6130" y="1469"/>
                  </a:lnTo>
                  <a:lnTo>
                    <a:pt x="6130" y="1469"/>
                  </a:lnTo>
                  <a:lnTo>
                    <a:pt x="6170" y="1477"/>
                  </a:lnTo>
                  <a:lnTo>
                    <a:pt x="6217" y="1493"/>
                  </a:lnTo>
                  <a:lnTo>
                    <a:pt x="6257" y="1517"/>
                  </a:lnTo>
                  <a:lnTo>
                    <a:pt x="6297" y="1525"/>
                  </a:lnTo>
                  <a:lnTo>
                    <a:pt x="6297" y="1525"/>
                  </a:lnTo>
                  <a:lnTo>
                    <a:pt x="5908" y="1906"/>
                  </a:lnTo>
                  <a:lnTo>
                    <a:pt x="5908" y="1906"/>
                  </a:lnTo>
                  <a:lnTo>
                    <a:pt x="5860" y="1961"/>
                  </a:lnTo>
                  <a:lnTo>
                    <a:pt x="5821" y="2017"/>
                  </a:lnTo>
                  <a:lnTo>
                    <a:pt x="5780" y="2073"/>
                  </a:lnTo>
                  <a:lnTo>
                    <a:pt x="5757" y="2128"/>
                  </a:lnTo>
                  <a:lnTo>
                    <a:pt x="5732" y="2192"/>
                  </a:lnTo>
                  <a:lnTo>
                    <a:pt x="5717" y="2247"/>
                  </a:lnTo>
                  <a:lnTo>
                    <a:pt x="5701" y="2310"/>
                  </a:lnTo>
                  <a:lnTo>
                    <a:pt x="5701" y="2374"/>
                  </a:lnTo>
                  <a:lnTo>
                    <a:pt x="5701" y="2437"/>
                  </a:lnTo>
                  <a:lnTo>
                    <a:pt x="5717" y="2493"/>
                  </a:lnTo>
                  <a:lnTo>
                    <a:pt x="5732" y="2557"/>
                  </a:lnTo>
                  <a:lnTo>
                    <a:pt x="5757" y="2620"/>
                  </a:lnTo>
                  <a:lnTo>
                    <a:pt x="5780" y="2676"/>
                  </a:lnTo>
                  <a:lnTo>
                    <a:pt x="5821" y="2732"/>
                  </a:lnTo>
                  <a:lnTo>
                    <a:pt x="5860" y="2787"/>
                  </a:lnTo>
                  <a:lnTo>
                    <a:pt x="5908" y="2842"/>
                  </a:lnTo>
                  <a:lnTo>
                    <a:pt x="5908" y="2842"/>
                  </a:lnTo>
                  <a:lnTo>
                    <a:pt x="5955" y="2882"/>
                  </a:lnTo>
                  <a:lnTo>
                    <a:pt x="6002" y="2914"/>
                  </a:lnTo>
                  <a:lnTo>
                    <a:pt x="6058" y="2937"/>
                  </a:lnTo>
                  <a:lnTo>
                    <a:pt x="6114" y="2961"/>
                  </a:lnTo>
                  <a:lnTo>
                    <a:pt x="6170" y="2976"/>
                  </a:lnTo>
                  <a:lnTo>
                    <a:pt x="6233" y="2992"/>
                  </a:lnTo>
                  <a:lnTo>
                    <a:pt x="6297" y="3001"/>
                  </a:lnTo>
                  <a:lnTo>
                    <a:pt x="6360" y="3001"/>
                  </a:lnTo>
                  <a:lnTo>
                    <a:pt x="6423" y="3001"/>
                  </a:lnTo>
                  <a:lnTo>
                    <a:pt x="6495" y="2992"/>
                  </a:lnTo>
                  <a:lnTo>
                    <a:pt x="6558" y="2976"/>
                  </a:lnTo>
                  <a:lnTo>
                    <a:pt x="6622" y="2961"/>
                  </a:lnTo>
                  <a:lnTo>
                    <a:pt x="6685" y="2937"/>
                  </a:lnTo>
                  <a:lnTo>
                    <a:pt x="6741" y="2914"/>
                  </a:lnTo>
                  <a:lnTo>
                    <a:pt x="6797" y="2882"/>
                  </a:lnTo>
                  <a:lnTo>
                    <a:pt x="6853" y="2842"/>
                  </a:lnTo>
                  <a:lnTo>
                    <a:pt x="6853" y="2842"/>
                  </a:lnTo>
                  <a:lnTo>
                    <a:pt x="7241" y="2454"/>
                  </a:lnTo>
                  <a:lnTo>
                    <a:pt x="7241" y="2454"/>
                  </a:lnTo>
                  <a:lnTo>
                    <a:pt x="7258" y="2580"/>
                  </a:lnTo>
                  <a:lnTo>
                    <a:pt x="7250" y="2700"/>
                  </a:lnTo>
                  <a:lnTo>
                    <a:pt x="7233" y="2827"/>
                  </a:lnTo>
                  <a:lnTo>
                    <a:pt x="7202" y="2945"/>
                  </a:lnTo>
                  <a:lnTo>
                    <a:pt x="7154" y="3056"/>
                  </a:lnTo>
                  <a:lnTo>
                    <a:pt x="7082" y="3175"/>
                  </a:lnTo>
                  <a:lnTo>
                    <a:pt x="7003" y="3286"/>
                  </a:lnTo>
                  <a:lnTo>
                    <a:pt x="6908" y="338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13" name="Group 112"/>
          <p:cNvGrpSpPr/>
          <p:nvPr/>
        </p:nvGrpSpPr>
        <p:grpSpPr>
          <a:xfrm>
            <a:off x="4693823" y="5536844"/>
            <a:ext cx="597140" cy="386452"/>
            <a:chOff x="3408363" y="4437063"/>
            <a:chExt cx="4859337" cy="3144837"/>
          </a:xfrm>
          <a:noFill/>
        </p:grpSpPr>
        <p:sp>
          <p:nvSpPr>
            <p:cNvPr id="114" name="Freeform 9"/>
            <p:cNvSpPr>
              <a:spLocks noChangeArrowheads="1"/>
            </p:cNvSpPr>
            <p:nvPr/>
          </p:nvSpPr>
          <p:spPr bwMode="auto">
            <a:xfrm>
              <a:off x="3408363" y="4437063"/>
              <a:ext cx="4859337" cy="3144837"/>
            </a:xfrm>
            <a:custGeom>
              <a:avLst/>
              <a:gdLst>
                <a:gd name="T0" fmla="*/ 1214 w 13498"/>
                <a:gd name="T1" fmla="*/ 2763 h 8735"/>
                <a:gd name="T2" fmla="*/ 5358 w 13498"/>
                <a:gd name="T3" fmla="*/ 1382 h 8735"/>
                <a:gd name="T4" fmla="*/ 7010 w 13498"/>
                <a:gd name="T5" fmla="*/ 2756 h 8735"/>
                <a:gd name="T6" fmla="*/ 8423 w 13498"/>
                <a:gd name="T7" fmla="*/ 4169 h 8735"/>
                <a:gd name="T8" fmla="*/ 9614 w 13498"/>
                <a:gd name="T9" fmla="*/ 4121 h 8735"/>
                <a:gd name="T10" fmla="*/ 10480 w 13498"/>
                <a:gd name="T11" fmla="*/ 3820 h 8735"/>
                <a:gd name="T12" fmla="*/ 10424 w 13498"/>
                <a:gd name="T13" fmla="*/ 3668 h 8735"/>
                <a:gd name="T14" fmla="*/ 10202 w 13498"/>
                <a:gd name="T15" fmla="*/ 2985 h 8735"/>
                <a:gd name="T16" fmla="*/ 10210 w 13498"/>
                <a:gd name="T17" fmla="*/ 2358 h 8735"/>
                <a:gd name="T18" fmla="*/ 10384 w 13498"/>
                <a:gd name="T19" fmla="*/ 1795 h 8735"/>
                <a:gd name="T20" fmla="*/ 10829 w 13498"/>
                <a:gd name="T21" fmla="*/ 1541 h 8735"/>
                <a:gd name="T22" fmla="*/ 11528 w 13498"/>
                <a:gd name="T23" fmla="*/ 2358 h 8735"/>
                <a:gd name="T24" fmla="*/ 11686 w 13498"/>
                <a:gd name="T25" fmla="*/ 2787 h 8735"/>
                <a:gd name="T26" fmla="*/ 12171 w 13498"/>
                <a:gd name="T27" fmla="*/ 2859 h 8735"/>
                <a:gd name="T28" fmla="*/ 12751 w 13498"/>
                <a:gd name="T29" fmla="*/ 2891 h 8735"/>
                <a:gd name="T30" fmla="*/ 13402 w 13498"/>
                <a:gd name="T31" fmla="*/ 3145 h 8735"/>
                <a:gd name="T32" fmla="*/ 13187 w 13498"/>
                <a:gd name="T33" fmla="*/ 3716 h 8735"/>
                <a:gd name="T34" fmla="*/ 12623 w 13498"/>
                <a:gd name="T35" fmla="*/ 4145 h 8735"/>
                <a:gd name="T36" fmla="*/ 11829 w 13498"/>
                <a:gd name="T37" fmla="*/ 4343 h 8735"/>
                <a:gd name="T38" fmla="*/ 11393 w 13498"/>
                <a:gd name="T39" fmla="*/ 4375 h 8735"/>
                <a:gd name="T40" fmla="*/ 10845 w 13498"/>
                <a:gd name="T41" fmla="*/ 5455 h 8735"/>
                <a:gd name="T42" fmla="*/ 10027 w 13498"/>
                <a:gd name="T43" fmla="*/ 6551 h 8735"/>
                <a:gd name="T44" fmla="*/ 9225 w 13498"/>
                <a:gd name="T45" fmla="*/ 7273 h 8735"/>
                <a:gd name="T46" fmla="*/ 8320 w 13498"/>
                <a:gd name="T47" fmla="*/ 7853 h 8735"/>
                <a:gd name="T48" fmla="*/ 7391 w 13498"/>
                <a:gd name="T49" fmla="*/ 8258 h 8735"/>
                <a:gd name="T50" fmla="*/ 6033 w 13498"/>
                <a:gd name="T51" fmla="*/ 8607 h 8735"/>
                <a:gd name="T52" fmla="*/ 5017 w 13498"/>
                <a:gd name="T53" fmla="*/ 8726 h 8735"/>
                <a:gd name="T54" fmla="*/ 3501 w 13498"/>
                <a:gd name="T55" fmla="*/ 8663 h 8735"/>
                <a:gd name="T56" fmla="*/ 2327 w 13498"/>
                <a:gd name="T57" fmla="*/ 8321 h 8735"/>
                <a:gd name="T58" fmla="*/ 1310 w 13498"/>
                <a:gd name="T59" fmla="*/ 7686 h 8735"/>
                <a:gd name="T60" fmla="*/ 572 w 13498"/>
                <a:gd name="T61" fmla="*/ 6844 h 8735"/>
                <a:gd name="T62" fmla="*/ 198 w 13498"/>
                <a:gd name="T63" fmla="*/ 6059 h 8735"/>
                <a:gd name="T64" fmla="*/ 24 w 13498"/>
                <a:gd name="T65" fmla="*/ 5249 h 8735"/>
                <a:gd name="T66" fmla="*/ 39 w 13498"/>
                <a:gd name="T67" fmla="*/ 4169 h 8735"/>
                <a:gd name="T68" fmla="*/ 1413 w 13498"/>
                <a:gd name="T69" fmla="*/ 7488 h 8735"/>
                <a:gd name="T70" fmla="*/ 2302 w 13498"/>
                <a:gd name="T71" fmla="*/ 8067 h 8735"/>
                <a:gd name="T72" fmla="*/ 3343 w 13498"/>
                <a:gd name="T73" fmla="*/ 8408 h 8735"/>
                <a:gd name="T74" fmla="*/ 4423 w 13498"/>
                <a:gd name="T75" fmla="*/ 8504 h 8735"/>
                <a:gd name="T76" fmla="*/ 4763 w 13498"/>
                <a:gd name="T77" fmla="*/ 8472 h 8735"/>
                <a:gd name="T78" fmla="*/ 3827 w 13498"/>
                <a:gd name="T79" fmla="*/ 7797 h 8735"/>
                <a:gd name="T80" fmla="*/ 3374 w 13498"/>
                <a:gd name="T81" fmla="*/ 7146 h 8735"/>
                <a:gd name="T82" fmla="*/ 3272 w 13498"/>
                <a:gd name="T83" fmla="*/ 7019 h 8735"/>
                <a:gd name="T84" fmla="*/ 1889 w 13498"/>
                <a:gd name="T85" fmla="*/ 7178 h 8735"/>
                <a:gd name="T86" fmla="*/ 1453 w 13498"/>
                <a:gd name="T87" fmla="*/ 4185 h 8735"/>
                <a:gd name="T88" fmla="*/ 5589 w 13498"/>
                <a:gd name="T89" fmla="*/ 2994 h 8735"/>
                <a:gd name="T90" fmla="*/ 6779 w 13498"/>
                <a:gd name="T91" fmla="*/ 2994 h 8735"/>
                <a:gd name="T92" fmla="*/ 5589 w 13498"/>
                <a:gd name="T93" fmla="*/ 231 h 8735"/>
                <a:gd name="T94" fmla="*/ 5589 w 13498"/>
                <a:gd name="T95" fmla="*/ 1612 h 8735"/>
                <a:gd name="T96" fmla="*/ 6779 w 13498"/>
                <a:gd name="T97" fmla="*/ 1612 h 8735"/>
                <a:gd name="T98" fmla="*/ 5398 w 13498"/>
                <a:gd name="T99" fmla="*/ 4185 h 8735"/>
                <a:gd name="T100" fmla="*/ 6970 w 13498"/>
                <a:gd name="T101" fmla="*/ 4185 h 8735"/>
                <a:gd name="T102" fmla="*/ 6970 w 13498"/>
                <a:gd name="T103" fmla="*/ 2994 h 8735"/>
                <a:gd name="T104" fmla="*/ 4018 w 13498"/>
                <a:gd name="T105" fmla="*/ 2994 h 8735"/>
                <a:gd name="T106" fmla="*/ 4208 w 13498"/>
                <a:gd name="T107" fmla="*/ 2803 h 8735"/>
                <a:gd name="T108" fmla="*/ 4208 w 13498"/>
                <a:gd name="T109" fmla="*/ 1612 h 8735"/>
                <a:gd name="T110" fmla="*/ 2834 w 13498"/>
                <a:gd name="T111" fmla="*/ 1612 h 8735"/>
                <a:gd name="T112" fmla="*/ 3947 w 13498"/>
                <a:gd name="T113" fmla="*/ 6781 h 8735"/>
                <a:gd name="T114" fmla="*/ 4224 w 13498"/>
                <a:gd name="T115" fmla="*/ 6638 h 8735"/>
                <a:gd name="T116" fmla="*/ 4256 w 13498"/>
                <a:gd name="T117" fmla="*/ 6329 h 8735"/>
                <a:gd name="T118" fmla="*/ 3947 w 13498"/>
                <a:gd name="T119" fmla="*/ 6122 h 8735"/>
                <a:gd name="T120" fmla="*/ 3677 w 13498"/>
                <a:gd name="T121" fmla="*/ 6265 h 8735"/>
                <a:gd name="T122" fmla="*/ 3644 w 13498"/>
                <a:gd name="T123" fmla="*/ 6582 h 8735"/>
                <a:gd name="T124" fmla="*/ 3947 w 13498"/>
                <a:gd name="T125" fmla="*/ 6781 h 8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498" h="8735">
                  <a:moveTo>
                    <a:pt x="39" y="4169"/>
                  </a:moveTo>
                  <a:lnTo>
                    <a:pt x="39" y="4169"/>
                  </a:lnTo>
                  <a:lnTo>
                    <a:pt x="1214" y="4169"/>
                  </a:lnTo>
                  <a:lnTo>
                    <a:pt x="1214" y="4169"/>
                  </a:lnTo>
                  <a:lnTo>
                    <a:pt x="1214" y="2763"/>
                  </a:lnTo>
                  <a:lnTo>
                    <a:pt x="1214" y="2763"/>
                  </a:lnTo>
                  <a:lnTo>
                    <a:pt x="2597" y="2763"/>
                  </a:lnTo>
                  <a:lnTo>
                    <a:pt x="2597" y="2763"/>
                  </a:lnTo>
                  <a:lnTo>
                    <a:pt x="2597" y="1382"/>
                  </a:lnTo>
                  <a:lnTo>
                    <a:pt x="2597" y="1382"/>
                  </a:lnTo>
                  <a:lnTo>
                    <a:pt x="5358" y="1382"/>
                  </a:lnTo>
                  <a:lnTo>
                    <a:pt x="5358" y="1382"/>
                  </a:lnTo>
                  <a:lnTo>
                    <a:pt x="5358" y="0"/>
                  </a:lnTo>
                  <a:lnTo>
                    <a:pt x="5358" y="0"/>
                  </a:lnTo>
                  <a:lnTo>
                    <a:pt x="7010" y="0"/>
                  </a:lnTo>
                  <a:lnTo>
                    <a:pt x="7010" y="0"/>
                  </a:lnTo>
                  <a:lnTo>
                    <a:pt x="7010" y="2756"/>
                  </a:lnTo>
                  <a:lnTo>
                    <a:pt x="7010" y="2756"/>
                  </a:lnTo>
                  <a:lnTo>
                    <a:pt x="8392" y="2756"/>
                  </a:lnTo>
                  <a:lnTo>
                    <a:pt x="8392" y="2756"/>
                  </a:lnTo>
                  <a:lnTo>
                    <a:pt x="8392" y="4169"/>
                  </a:lnTo>
                  <a:lnTo>
                    <a:pt x="8392" y="4169"/>
                  </a:lnTo>
                  <a:lnTo>
                    <a:pt x="8423" y="4169"/>
                  </a:lnTo>
                  <a:lnTo>
                    <a:pt x="8423" y="4169"/>
                  </a:lnTo>
                  <a:lnTo>
                    <a:pt x="8868" y="4169"/>
                  </a:lnTo>
                  <a:lnTo>
                    <a:pt x="9090" y="4169"/>
                  </a:lnTo>
                  <a:lnTo>
                    <a:pt x="9312" y="4161"/>
                  </a:lnTo>
                  <a:lnTo>
                    <a:pt x="9312" y="4161"/>
                  </a:lnTo>
                  <a:lnTo>
                    <a:pt x="9464" y="4145"/>
                  </a:lnTo>
                  <a:lnTo>
                    <a:pt x="9614" y="4121"/>
                  </a:lnTo>
                  <a:lnTo>
                    <a:pt x="9765" y="4090"/>
                  </a:lnTo>
                  <a:lnTo>
                    <a:pt x="9908" y="4057"/>
                  </a:lnTo>
                  <a:lnTo>
                    <a:pt x="10059" y="4010"/>
                  </a:lnTo>
                  <a:lnTo>
                    <a:pt x="10202" y="3955"/>
                  </a:lnTo>
                  <a:lnTo>
                    <a:pt x="10337" y="3891"/>
                  </a:lnTo>
                  <a:lnTo>
                    <a:pt x="10480" y="3820"/>
                  </a:lnTo>
                  <a:lnTo>
                    <a:pt x="10480" y="3820"/>
                  </a:lnTo>
                  <a:lnTo>
                    <a:pt x="10511" y="3795"/>
                  </a:lnTo>
                  <a:lnTo>
                    <a:pt x="10511" y="3795"/>
                  </a:lnTo>
                  <a:lnTo>
                    <a:pt x="10496" y="3772"/>
                  </a:lnTo>
                  <a:lnTo>
                    <a:pt x="10496" y="3772"/>
                  </a:lnTo>
                  <a:lnTo>
                    <a:pt x="10424" y="3668"/>
                  </a:lnTo>
                  <a:lnTo>
                    <a:pt x="10369" y="3558"/>
                  </a:lnTo>
                  <a:lnTo>
                    <a:pt x="10321" y="3454"/>
                  </a:lnTo>
                  <a:lnTo>
                    <a:pt x="10274" y="3343"/>
                  </a:lnTo>
                  <a:lnTo>
                    <a:pt x="10241" y="3224"/>
                  </a:lnTo>
                  <a:lnTo>
                    <a:pt x="10218" y="3105"/>
                  </a:lnTo>
                  <a:lnTo>
                    <a:pt x="10202" y="2985"/>
                  </a:lnTo>
                  <a:lnTo>
                    <a:pt x="10186" y="2867"/>
                  </a:lnTo>
                  <a:lnTo>
                    <a:pt x="10186" y="2867"/>
                  </a:lnTo>
                  <a:lnTo>
                    <a:pt x="10186" y="2740"/>
                  </a:lnTo>
                  <a:lnTo>
                    <a:pt x="10186" y="2613"/>
                  </a:lnTo>
                  <a:lnTo>
                    <a:pt x="10193" y="2478"/>
                  </a:lnTo>
                  <a:lnTo>
                    <a:pt x="10210" y="2358"/>
                  </a:lnTo>
                  <a:lnTo>
                    <a:pt x="10234" y="2231"/>
                  </a:lnTo>
                  <a:lnTo>
                    <a:pt x="10265" y="2104"/>
                  </a:lnTo>
                  <a:lnTo>
                    <a:pt x="10305" y="1986"/>
                  </a:lnTo>
                  <a:lnTo>
                    <a:pt x="10353" y="1859"/>
                  </a:lnTo>
                  <a:lnTo>
                    <a:pt x="10353" y="1859"/>
                  </a:lnTo>
                  <a:lnTo>
                    <a:pt x="10384" y="1795"/>
                  </a:lnTo>
                  <a:lnTo>
                    <a:pt x="10417" y="1739"/>
                  </a:lnTo>
                  <a:lnTo>
                    <a:pt x="10496" y="1620"/>
                  </a:lnTo>
                  <a:lnTo>
                    <a:pt x="10583" y="1517"/>
                  </a:lnTo>
                  <a:lnTo>
                    <a:pt x="10670" y="1413"/>
                  </a:lnTo>
                  <a:lnTo>
                    <a:pt x="10670" y="1413"/>
                  </a:lnTo>
                  <a:lnTo>
                    <a:pt x="10829" y="1541"/>
                  </a:lnTo>
                  <a:lnTo>
                    <a:pt x="10980" y="1668"/>
                  </a:lnTo>
                  <a:lnTo>
                    <a:pt x="11123" y="1803"/>
                  </a:lnTo>
                  <a:lnTo>
                    <a:pt x="11258" y="1946"/>
                  </a:lnTo>
                  <a:lnTo>
                    <a:pt x="11377" y="2104"/>
                  </a:lnTo>
                  <a:lnTo>
                    <a:pt x="11480" y="2271"/>
                  </a:lnTo>
                  <a:lnTo>
                    <a:pt x="11528" y="2358"/>
                  </a:lnTo>
                  <a:lnTo>
                    <a:pt x="11568" y="2446"/>
                  </a:lnTo>
                  <a:lnTo>
                    <a:pt x="11607" y="2541"/>
                  </a:lnTo>
                  <a:lnTo>
                    <a:pt x="11647" y="2636"/>
                  </a:lnTo>
                  <a:lnTo>
                    <a:pt x="11647" y="2636"/>
                  </a:lnTo>
                  <a:lnTo>
                    <a:pt x="11686" y="2787"/>
                  </a:lnTo>
                  <a:lnTo>
                    <a:pt x="11686" y="2787"/>
                  </a:lnTo>
                  <a:lnTo>
                    <a:pt x="11719" y="2946"/>
                  </a:lnTo>
                  <a:lnTo>
                    <a:pt x="11719" y="2946"/>
                  </a:lnTo>
                  <a:lnTo>
                    <a:pt x="11829" y="2914"/>
                  </a:lnTo>
                  <a:lnTo>
                    <a:pt x="11941" y="2891"/>
                  </a:lnTo>
                  <a:lnTo>
                    <a:pt x="12060" y="2875"/>
                  </a:lnTo>
                  <a:lnTo>
                    <a:pt x="12171" y="2859"/>
                  </a:lnTo>
                  <a:lnTo>
                    <a:pt x="12290" y="2859"/>
                  </a:lnTo>
                  <a:lnTo>
                    <a:pt x="12401" y="2859"/>
                  </a:lnTo>
                  <a:lnTo>
                    <a:pt x="12521" y="2859"/>
                  </a:lnTo>
                  <a:lnTo>
                    <a:pt x="12639" y="2875"/>
                  </a:lnTo>
                  <a:lnTo>
                    <a:pt x="12639" y="2875"/>
                  </a:lnTo>
                  <a:lnTo>
                    <a:pt x="12751" y="2891"/>
                  </a:lnTo>
                  <a:lnTo>
                    <a:pt x="12870" y="2914"/>
                  </a:lnTo>
                  <a:lnTo>
                    <a:pt x="12980" y="2946"/>
                  </a:lnTo>
                  <a:lnTo>
                    <a:pt x="13084" y="2985"/>
                  </a:lnTo>
                  <a:lnTo>
                    <a:pt x="13196" y="3033"/>
                  </a:lnTo>
                  <a:lnTo>
                    <a:pt x="13298" y="3081"/>
                  </a:lnTo>
                  <a:lnTo>
                    <a:pt x="13402" y="3145"/>
                  </a:lnTo>
                  <a:lnTo>
                    <a:pt x="13497" y="3208"/>
                  </a:lnTo>
                  <a:lnTo>
                    <a:pt x="13497" y="3208"/>
                  </a:lnTo>
                  <a:lnTo>
                    <a:pt x="13433" y="3343"/>
                  </a:lnTo>
                  <a:lnTo>
                    <a:pt x="13362" y="3471"/>
                  </a:lnTo>
                  <a:lnTo>
                    <a:pt x="13283" y="3597"/>
                  </a:lnTo>
                  <a:lnTo>
                    <a:pt x="13187" y="3716"/>
                  </a:lnTo>
                  <a:lnTo>
                    <a:pt x="13187" y="3716"/>
                  </a:lnTo>
                  <a:lnTo>
                    <a:pt x="13084" y="3828"/>
                  </a:lnTo>
                  <a:lnTo>
                    <a:pt x="12980" y="3922"/>
                  </a:lnTo>
                  <a:lnTo>
                    <a:pt x="12870" y="4010"/>
                  </a:lnTo>
                  <a:lnTo>
                    <a:pt x="12743" y="4082"/>
                  </a:lnTo>
                  <a:lnTo>
                    <a:pt x="12623" y="4145"/>
                  </a:lnTo>
                  <a:lnTo>
                    <a:pt x="12488" y="4200"/>
                  </a:lnTo>
                  <a:lnTo>
                    <a:pt x="12353" y="4248"/>
                  </a:lnTo>
                  <a:lnTo>
                    <a:pt x="12211" y="4288"/>
                  </a:lnTo>
                  <a:lnTo>
                    <a:pt x="12211" y="4288"/>
                  </a:lnTo>
                  <a:lnTo>
                    <a:pt x="12020" y="4327"/>
                  </a:lnTo>
                  <a:lnTo>
                    <a:pt x="11829" y="4343"/>
                  </a:lnTo>
                  <a:lnTo>
                    <a:pt x="11639" y="4360"/>
                  </a:lnTo>
                  <a:lnTo>
                    <a:pt x="11449" y="4352"/>
                  </a:lnTo>
                  <a:lnTo>
                    <a:pt x="11449" y="4352"/>
                  </a:lnTo>
                  <a:lnTo>
                    <a:pt x="11425" y="4360"/>
                  </a:lnTo>
                  <a:lnTo>
                    <a:pt x="11401" y="4368"/>
                  </a:lnTo>
                  <a:lnTo>
                    <a:pt x="11393" y="4375"/>
                  </a:lnTo>
                  <a:lnTo>
                    <a:pt x="11377" y="4399"/>
                  </a:lnTo>
                  <a:lnTo>
                    <a:pt x="11377" y="4399"/>
                  </a:lnTo>
                  <a:lnTo>
                    <a:pt x="11258" y="4677"/>
                  </a:lnTo>
                  <a:lnTo>
                    <a:pt x="11131" y="4939"/>
                  </a:lnTo>
                  <a:lnTo>
                    <a:pt x="10996" y="5201"/>
                  </a:lnTo>
                  <a:lnTo>
                    <a:pt x="10845" y="5455"/>
                  </a:lnTo>
                  <a:lnTo>
                    <a:pt x="10694" y="5709"/>
                  </a:lnTo>
                  <a:lnTo>
                    <a:pt x="10519" y="5947"/>
                  </a:lnTo>
                  <a:lnTo>
                    <a:pt x="10345" y="6185"/>
                  </a:lnTo>
                  <a:lnTo>
                    <a:pt x="10147" y="6416"/>
                  </a:lnTo>
                  <a:lnTo>
                    <a:pt x="10147" y="6416"/>
                  </a:lnTo>
                  <a:lnTo>
                    <a:pt x="10027" y="6551"/>
                  </a:lnTo>
                  <a:lnTo>
                    <a:pt x="9900" y="6678"/>
                  </a:lnTo>
                  <a:lnTo>
                    <a:pt x="9773" y="6805"/>
                  </a:lnTo>
                  <a:lnTo>
                    <a:pt x="9638" y="6932"/>
                  </a:lnTo>
                  <a:lnTo>
                    <a:pt x="9503" y="7051"/>
                  </a:lnTo>
                  <a:lnTo>
                    <a:pt x="9368" y="7162"/>
                  </a:lnTo>
                  <a:lnTo>
                    <a:pt x="9225" y="7273"/>
                  </a:lnTo>
                  <a:lnTo>
                    <a:pt x="9082" y="7376"/>
                  </a:lnTo>
                  <a:lnTo>
                    <a:pt x="8939" y="7480"/>
                  </a:lnTo>
                  <a:lnTo>
                    <a:pt x="8789" y="7583"/>
                  </a:lnTo>
                  <a:lnTo>
                    <a:pt x="8638" y="7678"/>
                  </a:lnTo>
                  <a:lnTo>
                    <a:pt x="8479" y="7766"/>
                  </a:lnTo>
                  <a:lnTo>
                    <a:pt x="8320" y="7853"/>
                  </a:lnTo>
                  <a:lnTo>
                    <a:pt x="8162" y="7932"/>
                  </a:lnTo>
                  <a:lnTo>
                    <a:pt x="7994" y="8011"/>
                  </a:lnTo>
                  <a:lnTo>
                    <a:pt x="7828" y="8091"/>
                  </a:lnTo>
                  <a:lnTo>
                    <a:pt x="7828" y="8091"/>
                  </a:lnTo>
                  <a:lnTo>
                    <a:pt x="7613" y="8178"/>
                  </a:lnTo>
                  <a:lnTo>
                    <a:pt x="7391" y="8258"/>
                  </a:lnTo>
                  <a:lnTo>
                    <a:pt x="7169" y="8337"/>
                  </a:lnTo>
                  <a:lnTo>
                    <a:pt x="6947" y="8400"/>
                  </a:lnTo>
                  <a:lnTo>
                    <a:pt x="6724" y="8464"/>
                  </a:lnTo>
                  <a:lnTo>
                    <a:pt x="6494" y="8520"/>
                  </a:lnTo>
                  <a:lnTo>
                    <a:pt x="6264" y="8568"/>
                  </a:lnTo>
                  <a:lnTo>
                    <a:pt x="6033" y="8607"/>
                  </a:lnTo>
                  <a:lnTo>
                    <a:pt x="6033" y="8607"/>
                  </a:lnTo>
                  <a:lnTo>
                    <a:pt x="5780" y="8647"/>
                  </a:lnTo>
                  <a:lnTo>
                    <a:pt x="5525" y="8678"/>
                  </a:lnTo>
                  <a:lnTo>
                    <a:pt x="5271" y="8703"/>
                  </a:lnTo>
                  <a:lnTo>
                    <a:pt x="5017" y="8726"/>
                  </a:lnTo>
                  <a:lnTo>
                    <a:pt x="5017" y="8726"/>
                  </a:lnTo>
                  <a:lnTo>
                    <a:pt x="4581" y="8734"/>
                  </a:lnTo>
                  <a:lnTo>
                    <a:pt x="4367" y="8734"/>
                  </a:lnTo>
                  <a:lnTo>
                    <a:pt x="4145" y="8726"/>
                  </a:lnTo>
                  <a:lnTo>
                    <a:pt x="3930" y="8718"/>
                  </a:lnTo>
                  <a:lnTo>
                    <a:pt x="3716" y="8694"/>
                  </a:lnTo>
                  <a:lnTo>
                    <a:pt x="3501" y="8663"/>
                  </a:lnTo>
                  <a:lnTo>
                    <a:pt x="3287" y="8622"/>
                  </a:lnTo>
                  <a:lnTo>
                    <a:pt x="3287" y="8622"/>
                  </a:lnTo>
                  <a:lnTo>
                    <a:pt x="3041" y="8568"/>
                  </a:lnTo>
                  <a:lnTo>
                    <a:pt x="2795" y="8496"/>
                  </a:lnTo>
                  <a:lnTo>
                    <a:pt x="2556" y="8416"/>
                  </a:lnTo>
                  <a:lnTo>
                    <a:pt x="2327" y="8321"/>
                  </a:lnTo>
                  <a:lnTo>
                    <a:pt x="2096" y="8218"/>
                  </a:lnTo>
                  <a:lnTo>
                    <a:pt x="1874" y="8091"/>
                  </a:lnTo>
                  <a:lnTo>
                    <a:pt x="1667" y="7956"/>
                  </a:lnTo>
                  <a:lnTo>
                    <a:pt x="1461" y="7805"/>
                  </a:lnTo>
                  <a:lnTo>
                    <a:pt x="1461" y="7805"/>
                  </a:lnTo>
                  <a:lnTo>
                    <a:pt x="1310" y="7686"/>
                  </a:lnTo>
                  <a:lnTo>
                    <a:pt x="1175" y="7559"/>
                  </a:lnTo>
                  <a:lnTo>
                    <a:pt x="1040" y="7432"/>
                  </a:lnTo>
                  <a:lnTo>
                    <a:pt x="913" y="7297"/>
                  </a:lnTo>
                  <a:lnTo>
                    <a:pt x="794" y="7154"/>
                  </a:lnTo>
                  <a:lnTo>
                    <a:pt x="683" y="7003"/>
                  </a:lnTo>
                  <a:lnTo>
                    <a:pt x="572" y="6844"/>
                  </a:lnTo>
                  <a:lnTo>
                    <a:pt x="477" y="6686"/>
                  </a:lnTo>
                  <a:lnTo>
                    <a:pt x="477" y="6686"/>
                  </a:lnTo>
                  <a:lnTo>
                    <a:pt x="396" y="6535"/>
                  </a:lnTo>
                  <a:lnTo>
                    <a:pt x="325" y="6376"/>
                  </a:lnTo>
                  <a:lnTo>
                    <a:pt x="261" y="6225"/>
                  </a:lnTo>
                  <a:lnTo>
                    <a:pt x="198" y="6059"/>
                  </a:lnTo>
                  <a:lnTo>
                    <a:pt x="151" y="5899"/>
                  </a:lnTo>
                  <a:lnTo>
                    <a:pt x="111" y="5733"/>
                  </a:lnTo>
                  <a:lnTo>
                    <a:pt x="72" y="5566"/>
                  </a:lnTo>
                  <a:lnTo>
                    <a:pt x="47" y="5399"/>
                  </a:lnTo>
                  <a:lnTo>
                    <a:pt x="47" y="5399"/>
                  </a:lnTo>
                  <a:lnTo>
                    <a:pt x="24" y="5249"/>
                  </a:lnTo>
                  <a:lnTo>
                    <a:pt x="16" y="5098"/>
                  </a:lnTo>
                  <a:lnTo>
                    <a:pt x="8" y="4939"/>
                  </a:lnTo>
                  <a:lnTo>
                    <a:pt x="0" y="4788"/>
                  </a:lnTo>
                  <a:lnTo>
                    <a:pt x="8" y="4637"/>
                  </a:lnTo>
                  <a:lnTo>
                    <a:pt x="16" y="4478"/>
                  </a:lnTo>
                  <a:lnTo>
                    <a:pt x="39" y="4169"/>
                  </a:lnTo>
                  <a:close/>
                  <a:moveTo>
                    <a:pt x="1079" y="7178"/>
                  </a:moveTo>
                  <a:lnTo>
                    <a:pt x="1079" y="7178"/>
                  </a:lnTo>
                  <a:lnTo>
                    <a:pt x="1119" y="7218"/>
                  </a:lnTo>
                  <a:lnTo>
                    <a:pt x="1119" y="7218"/>
                  </a:lnTo>
                  <a:lnTo>
                    <a:pt x="1262" y="7353"/>
                  </a:lnTo>
                  <a:lnTo>
                    <a:pt x="1413" y="7488"/>
                  </a:lnTo>
                  <a:lnTo>
                    <a:pt x="1572" y="7615"/>
                  </a:lnTo>
                  <a:lnTo>
                    <a:pt x="1739" y="7733"/>
                  </a:lnTo>
                  <a:lnTo>
                    <a:pt x="1739" y="7733"/>
                  </a:lnTo>
                  <a:lnTo>
                    <a:pt x="1922" y="7861"/>
                  </a:lnTo>
                  <a:lnTo>
                    <a:pt x="2112" y="7972"/>
                  </a:lnTo>
                  <a:lnTo>
                    <a:pt x="2302" y="8067"/>
                  </a:lnTo>
                  <a:lnTo>
                    <a:pt x="2501" y="8163"/>
                  </a:lnTo>
                  <a:lnTo>
                    <a:pt x="2707" y="8234"/>
                  </a:lnTo>
                  <a:lnTo>
                    <a:pt x="2913" y="8306"/>
                  </a:lnTo>
                  <a:lnTo>
                    <a:pt x="3129" y="8361"/>
                  </a:lnTo>
                  <a:lnTo>
                    <a:pt x="3343" y="8408"/>
                  </a:lnTo>
                  <a:lnTo>
                    <a:pt x="3343" y="8408"/>
                  </a:lnTo>
                  <a:lnTo>
                    <a:pt x="3525" y="8441"/>
                  </a:lnTo>
                  <a:lnTo>
                    <a:pt x="3700" y="8464"/>
                  </a:lnTo>
                  <a:lnTo>
                    <a:pt x="3883" y="8480"/>
                  </a:lnTo>
                  <a:lnTo>
                    <a:pt x="4057" y="8496"/>
                  </a:lnTo>
                  <a:lnTo>
                    <a:pt x="4240" y="8504"/>
                  </a:lnTo>
                  <a:lnTo>
                    <a:pt x="4423" y="8504"/>
                  </a:lnTo>
                  <a:lnTo>
                    <a:pt x="4779" y="8504"/>
                  </a:lnTo>
                  <a:lnTo>
                    <a:pt x="4779" y="8504"/>
                  </a:lnTo>
                  <a:lnTo>
                    <a:pt x="4810" y="8496"/>
                  </a:lnTo>
                  <a:lnTo>
                    <a:pt x="4810" y="8496"/>
                  </a:lnTo>
                  <a:lnTo>
                    <a:pt x="4763" y="8472"/>
                  </a:lnTo>
                  <a:lnTo>
                    <a:pt x="4763" y="8472"/>
                  </a:lnTo>
                  <a:lnTo>
                    <a:pt x="4541" y="8353"/>
                  </a:lnTo>
                  <a:lnTo>
                    <a:pt x="4541" y="8353"/>
                  </a:lnTo>
                  <a:lnTo>
                    <a:pt x="4343" y="8226"/>
                  </a:lnTo>
                  <a:lnTo>
                    <a:pt x="4161" y="8099"/>
                  </a:lnTo>
                  <a:lnTo>
                    <a:pt x="3986" y="7948"/>
                  </a:lnTo>
                  <a:lnTo>
                    <a:pt x="3827" y="7797"/>
                  </a:lnTo>
                  <a:lnTo>
                    <a:pt x="3677" y="7623"/>
                  </a:lnTo>
                  <a:lnTo>
                    <a:pt x="3613" y="7535"/>
                  </a:lnTo>
                  <a:lnTo>
                    <a:pt x="3549" y="7440"/>
                  </a:lnTo>
                  <a:lnTo>
                    <a:pt x="3486" y="7345"/>
                  </a:lnTo>
                  <a:lnTo>
                    <a:pt x="3430" y="7249"/>
                  </a:lnTo>
                  <a:lnTo>
                    <a:pt x="3374" y="7146"/>
                  </a:lnTo>
                  <a:lnTo>
                    <a:pt x="3327" y="7035"/>
                  </a:lnTo>
                  <a:lnTo>
                    <a:pt x="3327" y="7035"/>
                  </a:lnTo>
                  <a:lnTo>
                    <a:pt x="3311" y="7019"/>
                  </a:lnTo>
                  <a:lnTo>
                    <a:pt x="3303" y="7019"/>
                  </a:lnTo>
                  <a:lnTo>
                    <a:pt x="3272" y="7019"/>
                  </a:lnTo>
                  <a:lnTo>
                    <a:pt x="3272" y="7019"/>
                  </a:lnTo>
                  <a:lnTo>
                    <a:pt x="3002" y="7083"/>
                  </a:lnTo>
                  <a:lnTo>
                    <a:pt x="2724" y="7130"/>
                  </a:lnTo>
                  <a:lnTo>
                    <a:pt x="2437" y="7162"/>
                  </a:lnTo>
                  <a:lnTo>
                    <a:pt x="2159" y="7178"/>
                  </a:lnTo>
                  <a:lnTo>
                    <a:pt x="2159" y="7178"/>
                  </a:lnTo>
                  <a:lnTo>
                    <a:pt x="1889" y="7178"/>
                  </a:lnTo>
                  <a:lnTo>
                    <a:pt x="1619" y="7178"/>
                  </a:lnTo>
                  <a:lnTo>
                    <a:pt x="1079" y="7178"/>
                  </a:lnTo>
                  <a:close/>
                  <a:moveTo>
                    <a:pt x="1453" y="2994"/>
                  </a:moveTo>
                  <a:lnTo>
                    <a:pt x="1453" y="2994"/>
                  </a:lnTo>
                  <a:lnTo>
                    <a:pt x="1453" y="4185"/>
                  </a:lnTo>
                  <a:lnTo>
                    <a:pt x="1453" y="4185"/>
                  </a:lnTo>
                  <a:lnTo>
                    <a:pt x="2643" y="4185"/>
                  </a:lnTo>
                  <a:lnTo>
                    <a:pt x="2643" y="4185"/>
                  </a:lnTo>
                  <a:lnTo>
                    <a:pt x="2643" y="2994"/>
                  </a:lnTo>
                  <a:lnTo>
                    <a:pt x="2643" y="2994"/>
                  </a:lnTo>
                  <a:lnTo>
                    <a:pt x="1453" y="2994"/>
                  </a:lnTo>
                  <a:close/>
                  <a:moveTo>
                    <a:pt x="5589" y="2994"/>
                  </a:moveTo>
                  <a:lnTo>
                    <a:pt x="5589" y="2994"/>
                  </a:lnTo>
                  <a:lnTo>
                    <a:pt x="5589" y="4185"/>
                  </a:lnTo>
                  <a:lnTo>
                    <a:pt x="5589" y="4185"/>
                  </a:lnTo>
                  <a:lnTo>
                    <a:pt x="6779" y="4185"/>
                  </a:lnTo>
                  <a:lnTo>
                    <a:pt x="6779" y="4185"/>
                  </a:lnTo>
                  <a:lnTo>
                    <a:pt x="6779" y="2994"/>
                  </a:lnTo>
                  <a:lnTo>
                    <a:pt x="6779" y="2994"/>
                  </a:lnTo>
                  <a:lnTo>
                    <a:pt x="5589" y="2994"/>
                  </a:lnTo>
                  <a:close/>
                  <a:moveTo>
                    <a:pt x="6779" y="231"/>
                  </a:moveTo>
                  <a:lnTo>
                    <a:pt x="6779" y="231"/>
                  </a:lnTo>
                  <a:lnTo>
                    <a:pt x="5589" y="231"/>
                  </a:lnTo>
                  <a:lnTo>
                    <a:pt x="5589" y="231"/>
                  </a:lnTo>
                  <a:lnTo>
                    <a:pt x="5589" y="1421"/>
                  </a:lnTo>
                  <a:lnTo>
                    <a:pt x="5589" y="1421"/>
                  </a:lnTo>
                  <a:lnTo>
                    <a:pt x="6779" y="1421"/>
                  </a:lnTo>
                  <a:lnTo>
                    <a:pt x="6779" y="1421"/>
                  </a:lnTo>
                  <a:lnTo>
                    <a:pt x="6779" y="231"/>
                  </a:lnTo>
                  <a:close/>
                  <a:moveTo>
                    <a:pt x="5589" y="1612"/>
                  </a:moveTo>
                  <a:lnTo>
                    <a:pt x="5589" y="1612"/>
                  </a:lnTo>
                  <a:lnTo>
                    <a:pt x="5589" y="2803"/>
                  </a:lnTo>
                  <a:lnTo>
                    <a:pt x="5589" y="2803"/>
                  </a:lnTo>
                  <a:lnTo>
                    <a:pt x="6779" y="2803"/>
                  </a:lnTo>
                  <a:lnTo>
                    <a:pt x="6779" y="2803"/>
                  </a:lnTo>
                  <a:lnTo>
                    <a:pt x="6779" y="1612"/>
                  </a:lnTo>
                  <a:lnTo>
                    <a:pt x="6779" y="1612"/>
                  </a:lnTo>
                  <a:lnTo>
                    <a:pt x="5589" y="1612"/>
                  </a:lnTo>
                  <a:close/>
                  <a:moveTo>
                    <a:pt x="4208" y="4185"/>
                  </a:moveTo>
                  <a:lnTo>
                    <a:pt x="4208" y="4185"/>
                  </a:lnTo>
                  <a:lnTo>
                    <a:pt x="5398" y="4185"/>
                  </a:lnTo>
                  <a:lnTo>
                    <a:pt x="5398" y="4185"/>
                  </a:lnTo>
                  <a:lnTo>
                    <a:pt x="5398" y="2994"/>
                  </a:lnTo>
                  <a:lnTo>
                    <a:pt x="5398" y="2994"/>
                  </a:lnTo>
                  <a:lnTo>
                    <a:pt x="4208" y="2994"/>
                  </a:lnTo>
                  <a:lnTo>
                    <a:pt x="4208" y="2994"/>
                  </a:lnTo>
                  <a:lnTo>
                    <a:pt x="4208" y="4185"/>
                  </a:lnTo>
                  <a:close/>
                  <a:moveTo>
                    <a:pt x="6970" y="4185"/>
                  </a:moveTo>
                  <a:lnTo>
                    <a:pt x="6970" y="4185"/>
                  </a:lnTo>
                  <a:lnTo>
                    <a:pt x="8162" y="4185"/>
                  </a:lnTo>
                  <a:lnTo>
                    <a:pt x="8162" y="4185"/>
                  </a:lnTo>
                  <a:lnTo>
                    <a:pt x="8162" y="2994"/>
                  </a:lnTo>
                  <a:lnTo>
                    <a:pt x="8162" y="2994"/>
                  </a:lnTo>
                  <a:lnTo>
                    <a:pt x="6970" y="2994"/>
                  </a:lnTo>
                  <a:lnTo>
                    <a:pt x="6970" y="2994"/>
                  </a:lnTo>
                  <a:lnTo>
                    <a:pt x="6970" y="4185"/>
                  </a:lnTo>
                  <a:close/>
                  <a:moveTo>
                    <a:pt x="4018" y="4185"/>
                  </a:moveTo>
                  <a:lnTo>
                    <a:pt x="4018" y="4185"/>
                  </a:lnTo>
                  <a:lnTo>
                    <a:pt x="4018" y="2994"/>
                  </a:lnTo>
                  <a:lnTo>
                    <a:pt x="4018" y="2994"/>
                  </a:lnTo>
                  <a:lnTo>
                    <a:pt x="2834" y="2994"/>
                  </a:lnTo>
                  <a:lnTo>
                    <a:pt x="2834" y="2994"/>
                  </a:lnTo>
                  <a:lnTo>
                    <a:pt x="2834" y="4185"/>
                  </a:lnTo>
                  <a:lnTo>
                    <a:pt x="2834" y="4185"/>
                  </a:lnTo>
                  <a:lnTo>
                    <a:pt x="4018" y="4185"/>
                  </a:lnTo>
                  <a:close/>
                  <a:moveTo>
                    <a:pt x="4208" y="2803"/>
                  </a:moveTo>
                  <a:lnTo>
                    <a:pt x="4208" y="2803"/>
                  </a:lnTo>
                  <a:lnTo>
                    <a:pt x="5398" y="2803"/>
                  </a:lnTo>
                  <a:lnTo>
                    <a:pt x="5398" y="2803"/>
                  </a:lnTo>
                  <a:lnTo>
                    <a:pt x="5398" y="1612"/>
                  </a:lnTo>
                  <a:lnTo>
                    <a:pt x="5398" y="1612"/>
                  </a:lnTo>
                  <a:lnTo>
                    <a:pt x="4208" y="1612"/>
                  </a:lnTo>
                  <a:lnTo>
                    <a:pt x="4208" y="1612"/>
                  </a:lnTo>
                  <a:lnTo>
                    <a:pt x="4208" y="2803"/>
                  </a:lnTo>
                  <a:close/>
                  <a:moveTo>
                    <a:pt x="4018" y="1612"/>
                  </a:moveTo>
                  <a:lnTo>
                    <a:pt x="4018" y="1612"/>
                  </a:lnTo>
                  <a:lnTo>
                    <a:pt x="2834" y="1612"/>
                  </a:lnTo>
                  <a:lnTo>
                    <a:pt x="2834" y="1612"/>
                  </a:lnTo>
                  <a:lnTo>
                    <a:pt x="2834" y="2803"/>
                  </a:lnTo>
                  <a:lnTo>
                    <a:pt x="2834" y="2803"/>
                  </a:lnTo>
                  <a:lnTo>
                    <a:pt x="4018" y="2803"/>
                  </a:lnTo>
                  <a:lnTo>
                    <a:pt x="4018" y="2803"/>
                  </a:lnTo>
                  <a:lnTo>
                    <a:pt x="4018" y="1612"/>
                  </a:lnTo>
                  <a:close/>
                  <a:moveTo>
                    <a:pt x="3947" y="6781"/>
                  </a:moveTo>
                  <a:lnTo>
                    <a:pt x="3947" y="6781"/>
                  </a:lnTo>
                  <a:lnTo>
                    <a:pt x="4018" y="6773"/>
                  </a:lnTo>
                  <a:lnTo>
                    <a:pt x="4082" y="6757"/>
                  </a:lnTo>
                  <a:lnTo>
                    <a:pt x="4136" y="6725"/>
                  </a:lnTo>
                  <a:lnTo>
                    <a:pt x="4184" y="6686"/>
                  </a:lnTo>
                  <a:lnTo>
                    <a:pt x="4224" y="6638"/>
                  </a:lnTo>
                  <a:lnTo>
                    <a:pt x="4256" y="6582"/>
                  </a:lnTo>
                  <a:lnTo>
                    <a:pt x="4271" y="6518"/>
                  </a:lnTo>
                  <a:lnTo>
                    <a:pt x="4279" y="6455"/>
                  </a:lnTo>
                  <a:lnTo>
                    <a:pt x="4279" y="6455"/>
                  </a:lnTo>
                  <a:lnTo>
                    <a:pt x="4271" y="6383"/>
                  </a:lnTo>
                  <a:lnTo>
                    <a:pt x="4256" y="6329"/>
                  </a:lnTo>
                  <a:lnTo>
                    <a:pt x="4224" y="6273"/>
                  </a:lnTo>
                  <a:lnTo>
                    <a:pt x="4184" y="6217"/>
                  </a:lnTo>
                  <a:lnTo>
                    <a:pt x="4136" y="6177"/>
                  </a:lnTo>
                  <a:lnTo>
                    <a:pt x="4082" y="6146"/>
                  </a:lnTo>
                  <a:lnTo>
                    <a:pt x="4018" y="6130"/>
                  </a:lnTo>
                  <a:lnTo>
                    <a:pt x="3947" y="6122"/>
                  </a:lnTo>
                  <a:lnTo>
                    <a:pt x="3947" y="6122"/>
                  </a:lnTo>
                  <a:lnTo>
                    <a:pt x="3883" y="6130"/>
                  </a:lnTo>
                  <a:lnTo>
                    <a:pt x="3819" y="6146"/>
                  </a:lnTo>
                  <a:lnTo>
                    <a:pt x="3764" y="6177"/>
                  </a:lnTo>
                  <a:lnTo>
                    <a:pt x="3716" y="6217"/>
                  </a:lnTo>
                  <a:lnTo>
                    <a:pt x="3677" y="6265"/>
                  </a:lnTo>
                  <a:lnTo>
                    <a:pt x="3644" y="6329"/>
                  </a:lnTo>
                  <a:lnTo>
                    <a:pt x="3629" y="6383"/>
                  </a:lnTo>
                  <a:lnTo>
                    <a:pt x="3621" y="6455"/>
                  </a:lnTo>
                  <a:lnTo>
                    <a:pt x="3621" y="6455"/>
                  </a:lnTo>
                  <a:lnTo>
                    <a:pt x="3629" y="6518"/>
                  </a:lnTo>
                  <a:lnTo>
                    <a:pt x="3644" y="6582"/>
                  </a:lnTo>
                  <a:lnTo>
                    <a:pt x="3677" y="6638"/>
                  </a:lnTo>
                  <a:lnTo>
                    <a:pt x="3716" y="6686"/>
                  </a:lnTo>
                  <a:lnTo>
                    <a:pt x="3764" y="6725"/>
                  </a:lnTo>
                  <a:lnTo>
                    <a:pt x="3819" y="6757"/>
                  </a:lnTo>
                  <a:lnTo>
                    <a:pt x="3883" y="6773"/>
                  </a:lnTo>
                  <a:lnTo>
                    <a:pt x="3947" y="67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5" name="Freeform 10"/>
            <p:cNvSpPr>
              <a:spLocks noChangeArrowheads="1"/>
            </p:cNvSpPr>
            <p:nvPr/>
          </p:nvSpPr>
          <p:spPr bwMode="auto">
            <a:xfrm>
              <a:off x="4291013"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7" name="Freeform 11"/>
            <p:cNvSpPr>
              <a:spLocks noChangeArrowheads="1"/>
            </p:cNvSpPr>
            <p:nvPr/>
          </p:nvSpPr>
          <p:spPr bwMode="auto">
            <a:xfrm>
              <a:off x="4225925" y="5548313"/>
              <a:ext cx="34925" cy="357187"/>
            </a:xfrm>
            <a:custGeom>
              <a:avLst/>
              <a:gdLst>
                <a:gd name="T0" fmla="*/ 95 w 96"/>
                <a:gd name="T1" fmla="*/ 993 h 994"/>
                <a:gd name="T2" fmla="*/ 95 w 96"/>
                <a:gd name="T3" fmla="*/ 993 h 994"/>
                <a:gd name="T4" fmla="*/ 0 w 96"/>
                <a:gd name="T5" fmla="*/ 993 h 994"/>
                <a:gd name="T6" fmla="*/ 0 w 96"/>
                <a:gd name="T7" fmla="*/ 993 h 994"/>
                <a:gd name="T8" fmla="*/ 0 w 96"/>
                <a:gd name="T9" fmla="*/ 0 h 994"/>
                <a:gd name="T10" fmla="*/ 0 w 96"/>
                <a:gd name="T11" fmla="*/ 0 h 994"/>
                <a:gd name="T12" fmla="*/ 95 w 96"/>
                <a:gd name="T13" fmla="*/ 0 h 994"/>
                <a:gd name="T14" fmla="*/ 95 w 96"/>
                <a:gd name="T15" fmla="*/ 0 h 994"/>
                <a:gd name="T16" fmla="*/ 95 w 96"/>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95" y="993"/>
                  </a:moveTo>
                  <a:lnTo>
                    <a:pt x="95" y="993"/>
                  </a:lnTo>
                  <a:lnTo>
                    <a:pt x="0" y="993"/>
                  </a:lnTo>
                  <a:lnTo>
                    <a:pt x="0" y="993"/>
                  </a:lnTo>
                  <a:lnTo>
                    <a:pt x="0" y="0"/>
                  </a:lnTo>
                  <a:lnTo>
                    <a:pt x="0" y="0"/>
                  </a:lnTo>
                  <a:lnTo>
                    <a:pt x="95" y="0"/>
                  </a:lnTo>
                  <a:lnTo>
                    <a:pt x="95" y="0"/>
                  </a:lnTo>
                  <a:lnTo>
                    <a:pt x="95"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8" name="Freeform 12"/>
            <p:cNvSpPr>
              <a:spLocks noChangeArrowheads="1"/>
            </p:cNvSpPr>
            <p:nvPr/>
          </p:nvSpPr>
          <p:spPr bwMode="auto">
            <a:xfrm>
              <a:off x="3965575" y="5548313"/>
              <a:ext cx="31750" cy="357187"/>
            </a:xfrm>
            <a:custGeom>
              <a:avLst/>
              <a:gdLst>
                <a:gd name="T0" fmla="*/ 0 w 89"/>
                <a:gd name="T1" fmla="*/ 0 h 994"/>
                <a:gd name="T2" fmla="*/ 0 w 89"/>
                <a:gd name="T3" fmla="*/ 0 h 994"/>
                <a:gd name="T4" fmla="*/ 88 w 89"/>
                <a:gd name="T5" fmla="*/ 0 h 994"/>
                <a:gd name="T6" fmla="*/ 88 w 89"/>
                <a:gd name="T7" fmla="*/ 0 h 994"/>
                <a:gd name="T8" fmla="*/ 88 w 89"/>
                <a:gd name="T9" fmla="*/ 993 h 994"/>
                <a:gd name="T10" fmla="*/ 88 w 89"/>
                <a:gd name="T11" fmla="*/ 993 h 994"/>
                <a:gd name="T12" fmla="*/ 0 w 89"/>
                <a:gd name="T13" fmla="*/ 993 h 994"/>
                <a:gd name="T14" fmla="*/ 0 w 89"/>
                <a:gd name="T15" fmla="*/ 993 h 994"/>
                <a:gd name="T16" fmla="*/ 0 w 89"/>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0" y="0"/>
                  </a:moveTo>
                  <a:lnTo>
                    <a:pt x="0" y="0"/>
                  </a:lnTo>
                  <a:lnTo>
                    <a:pt x="88" y="0"/>
                  </a:lnTo>
                  <a:lnTo>
                    <a:pt x="88" y="0"/>
                  </a:lnTo>
                  <a:lnTo>
                    <a:pt x="88" y="993"/>
                  </a:lnTo>
                  <a:lnTo>
                    <a:pt x="88"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9" name="Freeform 13"/>
            <p:cNvSpPr>
              <a:spLocks noChangeArrowheads="1"/>
            </p:cNvSpPr>
            <p:nvPr/>
          </p:nvSpPr>
          <p:spPr bwMode="auto">
            <a:xfrm>
              <a:off x="4030663"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0" name="Freeform 14"/>
            <p:cNvSpPr>
              <a:spLocks noChangeArrowheads="1"/>
            </p:cNvSpPr>
            <p:nvPr/>
          </p:nvSpPr>
          <p:spPr bwMode="auto">
            <a:xfrm>
              <a:off x="4097338"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1" name="Freeform 15"/>
            <p:cNvSpPr>
              <a:spLocks noChangeArrowheads="1"/>
            </p:cNvSpPr>
            <p:nvPr/>
          </p:nvSpPr>
          <p:spPr bwMode="auto">
            <a:xfrm>
              <a:off x="4162425" y="5548313"/>
              <a:ext cx="31750" cy="357187"/>
            </a:xfrm>
            <a:custGeom>
              <a:avLst/>
              <a:gdLst>
                <a:gd name="T0" fmla="*/ 0 w 89"/>
                <a:gd name="T1" fmla="*/ 0 h 994"/>
                <a:gd name="T2" fmla="*/ 0 w 89"/>
                <a:gd name="T3" fmla="*/ 0 h 994"/>
                <a:gd name="T4" fmla="*/ 88 w 89"/>
                <a:gd name="T5" fmla="*/ 0 h 994"/>
                <a:gd name="T6" fmla="*/ 88 w 89"/>
                <a:gd name="T7" fmla="*/ 0 h 994"/>
                <a:gd name="T8" fmla="*/ 88 w 89"/>
                <a:gd name="T9" fmla="*/ 993 h 994"/>
                <a:gd name="T10" fmla="*/ 88 w 89"/>
                <a:gd name="T11" fmla="*/ 993 h 994"/>
                <a:gd name="T12" fmla="*/ 0 w 89"/>
                <a:gd name="T13" fmla="*/ 993 h 994"/>
                <a:gd name="T14" fmla="*/ 0 w 89"/>
                <a:gd name="T15" fmla="*/ 993 h 994"/>
                <a:gd name="T16" fmla="*/ 0 w 89"/>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0" y="0"/>
                  </a:moveTo>
                  <a:lnTo>
                    <a:pt x="0" y="0"/>
                  </a:lnTo>
                  <a:lnTo>
                    <a:pt x="88" y="0"/>
                  </a:lnTo>
                  <a:lnTo>
                    <a:pt x="88" y="0"/>
                  </a:lnTo>
                  <a:lnTo>
                    <a:pt x="88" y="993"/>
                  </a:lnTo>
                  <a:lnTo>
                    <a:pt x="88"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2" name="Freeform 16"/>
            <p:cNvSpPr>
              <a:spLocks noChangeArrowheads="1"/>
            </p:cNvSpPr>
            <p:nvPr/>
          </p:nvSpPr>
          <p:spPr bwMode="auto">
            <a:xfrm>
              <a:off x="5780088" y="5548313"/>
              <a:ext cx="34925" cy="357187"/>
            </a:xfrm>
            <a:custGeom>
              <a:avLst/>
              <a:gdLst>
                <a:gd name="T0" fmla="*/ 0 w 97"/>
                <a:gd name="T1" fmla="*/ 0 h 994"/>
                <a:gd name="T2" fmla="*/ 0 w 97"/>
                <a:gd name="T3" fmla="*/ 0 h 994"/>
                <a:gd name="T4" fmla="*/ 96 w 97"/>
                <a:gd name="T5" fmla="*/ 0 h 994"/>
                <a:gd name="T6" fmla="*/ 96 w 97"/>
                <a:gd name="T7" fmla="*/ 0 h 994"/>
                <a:gd name="T8" fmla="*/ 96 w 97"/>
                <a:gd name="T9" fmla="*/ 993 h 994"/>
                <a:gd name="T10" fmla="*/ 96 w 97"/>
                <a:gd name="T11" fmla="*/ 993 h 994"/>
                <a:gd name="T12" fmla="*/ 0 w 97"/>
                <a:gd name="T13" fmla="*/ 993 h 994"/>
                <a:gd name="T14" fmla="*/ 0 w 97"/>
                <a:gd name="T15" fmla="*/ 993 h 994"/>
                <a:gd name="T16" fmla="*/ 0 w 97"/>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0" y="0"/>
                  </a:moveTo>
                  <a:lnTo>
                    <a:pt x="0" y="0"/>
                  </a:lnTo>
                  <a:lnTo>
                    <a:pt x="96" y="0"/>
                  </a:lnTo>
                  <a:lnTo>
                    <a:pt x="96" y="0"/>
                  </a:lnTo>
                  <a:lnTo>
                    <a:pt x="96" y="993"/>
                  </a:lnTo>
                  <a:lnTo>
                    <a:pt x="96"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3" name="Freeform 17"/>
            <p:cNvSpPr>
              <a:spLocks noChangeArrowheads="1"/>
            </p:cNvSpPr>
            <p:nvPr/>
          </p:nvSpPr>
          <p:spPr bwMode="auto">
            <a:xfrm>
              <a:off x="5456238" y="5548313"/>
              <a:ext cx="31750" cy="357187"/>
            </a:xfrm>
            <a:custGeom>
              <a:avLst/>
              <a:gdLst>
                <a:gd name="T0" fmla="*/ 0 w 89"/>
                <a:gd name="T1" fmla="*/ 0 h 994"/>
                <a:gd name="T2" fmla="*/ 0 w 89"/>
                <a:gd name="T3" fmla="*/ 0 h 994"/>
                <a:gd name="T4" fmla="*/ 88 w 89"/>
                <a:gd name="T5" fmla="*/ 0 h 994"/>
                <a:gd name="T6" fmla="*/ 88 w 89"/>
                <a:gd name="T7" fmla="*/ 0 h 994"/>
                <a:gd name="T8" fmla="*/ 88 w 89"/>
                <a:gd name="T9" fmla="*/ 993 h 994"/>
                <a:gd name="T10" fmla="*/ 88 w 89"/>
                <a:gd name="T11" fmla="*/ 993 h 994"/>
                <a:gd name="T12" fmla="*/ 0 w 89"/>
                <a:gd name="T13" fmla="*/ 993 h 994"/>
                <a:gd name="T14" fmla="*/ 0 w 89"/>
                <a:gd name="T15" fmla="*/ 993 h 994"/>
                <a:gd name="T16" fmla="*/ 0 w 89"/>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0" y="0"/>
                  </a:moveTo>
                  <a:lnTo>
                    <a:pt x="0" y="0"/>
                  </a:lnTo>
                  <a:lnTo>
                    <a:pt x="88" y="0"/>
                  </a:lnTo>
                  <a:lnTo>
                    <a:pt x="88" y="0"/>
                  </a:lnTo>
                  <a:lnTo>
                    <a:pt x="88" y="993"/>
                  </a:lnTo>
                  <a:lnTo>
                    <a:pt x="88"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4" name="Freeform 18"/>
            <p:cNvSpPr>
              <a:spLocks noChangeArrowheads="1"/>
            </p:cNvSpPr>
            <p:nvPr/>
          </p:nvSpPr>
          <p:spPr bwMode="auto">
            <a:xfrm>
              <a:off x="5519738" y="5548313"/>
              <a:ext cx="34925" cy="357187"/>
            </a:xfrm>
            <a:custGeom>
              <a:avLst/>
              <a:gdLst>
                <a:gd name="T0" fmla="*/ 0 w 96"/>
                <a:gd name="T1" fmla="*/ 0 h 994"/>
                <a:gd name="T2" fmla="*/ 0 w 96"/>
                <a:gd name="T3" fmla="*/ 0 h 994"/>
                <a:gd name="T4" fmla="*/ 95 w 96"/>
                <a:gd name="T5" fmla="*/ 0 h 994"/>
                <a:gd name="T6" fmla="*/ 95 w 96"/>
                <a:gd name="T7" fmla="*/ 0 h 994"/>
                <a:gd name="T8" fmla="*/ 95 w 96"/>
                <a:gd name="T9" fmla="*/ 993 h 994"/>
                <a:gd name="T10" fmla="*/ 95 w 96"/>
                <a:gd name="T11" fmla="*/ 993 h 994"/>
                <a:gd name="T12" fmla="*/ 0 w 96"/>
                <a:gd name="T13" fmla="*/ 993 h 994"/>
                <a:gd name="T14" fmla="*/ 0 w 96"/>
                <a:gd name="T15" fmla="*/ 993 h 994"/>
                <a:gd name="T16" fmla="*/ 0 w 96"/>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0" y="0"/>
                  </a:moveTo>
                  <a:lnTo>
                    <a:pt x="0" y="0"/>
                  </a:lnTo>
                  <a:lnTo>
                    <a:pt x="95" y="0"/>
                  </a:lnTo>
                  <a:lnTo>
                    <a:pt x="95" y="0"/>
                  </a:lnTo>
                  <a:lnTo>
                    <a:pt x="95" y="993"/>
                  </a:lnTo>
                  <a:lnTo>
                    <a:pt x="95"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5" name="Freeform 19"/>
            <p:cNvSpPr>
              <a:spLocks noChangeArrowheads="1"/>
            </p:cNvSpPr>
            <p:nvPr/>
          </p:nvSpPr>
          <p:spPr bwMode="auto">
            <a:xfrm>
              <a:off x="5716588"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6" name="Freeform 20"/>
            <p:cNvSpPr>
              <a:spLocks noChangeArrowheads="1"/>
            </p:cNvSpPr>
            <p:nvPr/>
          </p:nvSpPr>
          <p:spPr bwMode="auto">
            <a:xfrm>
              <a:off x="5651500"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7" name="Freeform 21"/>
            <p:cNvSpPr>
              <a:spLocks noChangeArrowheads="1"/>
            </p:cNvSpPr>
            <p:nvPr/>
          </p:nvSpPr>
          <p:spPr bwMode="auto">
            <a:xfrm>
              <a:off x="5584825" y="5548313"/>
              <a:ext cx="31750" cy="357187"/>
            </a:xfrm>
            <a:custGeom>
              <a:avLst/>
              <a:gdLst>
                <a:gd name="T0" fmla="*/ 0 w 89"/>
                <a:gd name="T1" fmla="*/ 0 h 994"/>
                <a:gd name="T2" fmla="*/ 0 w 89"/>
                <a:gd name="T3" fmla="*/ 0 h 994"/>
                <a:gd name="T4" fmla="*/ 88 w 89"/>
                <a:gd name="T5" fmla="*/ 0 h 994"/>
                <a:gd name="T6" fmla="*/ 88 w 89"/>
                <a:gd name="T7" fmla="*/ 0 h 994"/>
                <a:gd name="T8" fmla="*/ 88 w 89"/>
                <a:gd name="T9" fmla="*/ 993 h 994"/>
                <a:gd name="T10" fmla="*/ 88 w 89"/>
                <a:gd name="T11" fmla="*/ 993 h 994"/>
                <a:gd name="T12" fmla="*/ 0 w 89"/>
                <a:gd name="T13" fmla="*/ 993 h 994"/>
                <a:gd name="T14" fmla="*/ 0 w 89"/>
                <a:gd name="T15" fmla="*/ 993 h 994"/>
                <a:gd name="T16" fmla="*/ 0 w 89"/>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0" y="0"/>
                  </a:moveTo>
                  <a:lnTo>
                    <a:pt x="0" y="0"/>
                  </a:lnTo>
                  <a:lnTo>
                    <a:pt x="88" y="0"/>
                  </a:lnTo>
                  <a:lnTo>
                    <a:pt x="88" y="0"/>
                  </a:lnTo>
                  <a:lnTo>
                    <a:pt x="88" y="993"/>
                  </a:lnTo>
                  <a:lnTo>
                    <a:pt x="88"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Freeform 22"/>
            <p:cNvSpPr>
              <a:spLocks noChangeArrowheads="1"/>
            </p:cNvSpPr>
            <p:nvPr/>
          </p:nvSpPr>
          <p:spPr bwMode="auto">
            <a:xfrm>
              <a:off x="5519738" y="4556125"/>
              <a:ext cx="34925" cy="357188"/>
            </a:xfrm>
            <a:custGeom>
              <a:avLst/>
              <a:gdLst>
                <a:gd name="T0" fmla="*/ 0 w 96"/>
                <a:gd name="T1" fmla="*/ 0 h 993"/>
                <a:gd name="T2" fmla="*/ 0 w 96"/>
                <a:gd name="T3" fmla="*/ 0 h 993"/>
                <a:gd name="T4" fmla="*/ 95 w 96"/>
                <a:gd name="T5" fmla="*/ 0 h 993"/>
                <a:gd name="T6" fmla="*/ 95 w 96"/>
                <a:gd name="T7" fmla="*/ 0 h 993"/>
                <a:gd name="T8" fmla="*/ 95 w 96"/>
                <a:gd name="T9" fmla="*/ 992 h 993"/>
                <a:gd name="T10" fmla="*/ 95 w 96"/>
                <a:gd name="T11" fmla="*/ 992 h 993"/>
                <a:gd name="T12" fmla="*/ 0 w 96"/>
                <a:gd name="T13" fmla="*/ 992 h 993"/>
                <a:gd name="T14" fmla="*/ 0 w 96"/>
                <a:gd name="T15" fmla="*/ 992 h 993"/>
                <a:gd name="T16" fmla="*/ 0 w 96"/>
                <a:gd name="T17" fmla="*/ 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3">
                  <a:moveTo>
                    <a:pt x="0" y="0"/>
                  </a:moveTo>
                  <a:lnTo>
                    <a:pt x="0" y="0"/>
                  </a:lnTo>
                  <a:lnTo>
                    <a:pt x="95" y="0"/>
                  </a:lnTo>
                  <a:lnTo>
                    <a:pt x="95" y="0"/>
                  </a:lnTo>
                  <a:lnTo>
                    <a:pt x="95" y="992"/>
                  </a:lnTo>
                  <a:lnTo>
                    <a:pt x="95" y="992"/>
                  </a:lnTo>
                  <a:lnTo>
                    <a:pt x="0" y="992"/>
                  </a:lnTo>
                  <a:lnTo>
                    <a:pt x="0" y="992"/>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9" name="Freeform 23"/>
            <p:cNvSpPr>
              <a:spLocks noChangeArrowheads="1"/>
            </p:cNvSpPr>
            <p:nvPr/>
          </p:nvSpPr>
          <p:spPr bwMode="auto">
            <a:xfrm>
              <a:off x="5780088" y="4556125"/>
              <a:ext cx="34925" cy="357188"/>
            </a:xfrm>
            <a:custGeom>
              <a:avLst/>
              <a:gdLst>
                <a:gd name="T0" fmla="*/ 96 w 97"/>
                <a:gd name="T1" fmla="*/ 0 h 993"/>
                <a:gd name="T2" fmla="*/ 96 w 97"/>
                <a:gd name="T3" fmla="*/ 0 h 993"/>
                <a:gd name="T4" fmla="*/ 96 w 97"/>
                <a:gd name="T5" fmla="*/ 992 h 993"/>
                <a:gd name="T6" fmla="*/ 96 w 97"/>
                <a:gd name="T7" fmla="*/ 992 h 993"/>
                <a:gd name="T8" fmla="*/ 0 w 97"/>
                <a:gd name="T9" fmla="*/ 992 h 993"/>
                <a:gd name="T10" fmla="*/ 0 w 97"/>
                <a:gd name="T11" fmla="*/ 992 h 993"/>
                <a:gd name="T12" fmla="*/ 0 w 97"/>
                <a:gd name="T13" fmla="*/ 0 h 993"/>
                <a:gd name="T14" fmla="*/ 0 w 97"/>
                <a:gd name="T15" fmla="*/ 0 h 993"/>
                <a:gd name="T16" fmla="*/ 96 w 97"/>
                <a:gd name="T17" fmla="*/ 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3">
                  <a:moveTo>
                    <a:pt x="96" y="0"/>
                  </a:moveTo>
                  <a:lnTo>
                    <a:pt x="96" y="0"/>
                  </a:lnTo>
                  <a:lnTo>
                    <a:pt x="96" y="992"/>
                  </a:lnTo>
                  <a:lnTo>
                    <a:pt x="96" y="992"/>
                  </a:lnTo>
                  <a:lnTo>
                    <a:pt x="0" y="992"/>
                  </a:lnTo>
                  <a:lnTo>
                    <a:pt x="0" y="992"/>
                  </a:lnTo>
                  <a:lnTo>
                    <a:pt x="0" y="0"/>
                  </a:lnTo>
                  <a:lnTo>
                    <a:pt x="0" y="0"/>
                  </a:lnTo>
                  <a:lnTo>
                    <a:pt x="96"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0" name="Freeform 24"/>
            <p:cNvSpPr>
              <a:spLocks noChangeArrowheads="1"/>
            </p:cNvSpPr>
            <p:nvPr/>
          </p:nvSpPr>
          <p:spPr bwMode="auto">
            <a:xfrm>
              <a:off x="5456238" y="4556125"/>
              <a:ext cx="31750" cy="357188"/>
            </a:xfrm>
            <a:custGeom>
              <a:avLst/>
              <a:gdLst>
                <a:gd name="T0" fmla="*/ 0 w 89"/>
                <a:gd name="T1" fmla="*/ 0 h 993"/>
                <a:gd name="T2" fmla="*/ 0 w 89"/>
                <a:gd name="T3" fmla="*/ 0 h 993"/>
                <a:gd name="T4" fmla="*/ 88 w 89"/>
                <a:gd name="T5" fmla="*/ 0 h 993"/>
                <a:gd name="T6" fmla="*/ 88 w 89"/>
                <a:gd name="T7" fmla="*/ 0 h 993"/>
                <a:gd name="T8" fmla="*/ 88 w 89"/>
                <a:gd name="T9" fmla="*/ 55 h 993"/>
                <a:gd name="T10" fmla="*/ 88 w 89"/>
                <a:gd name="T11" fmla="*/ 55 h 993"/>
                <a:gd name="T12" fmla="*/ 88 w 89"/>
                <a:gd name="T13" fmla="*/ 913 h 993"/>
                <a:gd name="T14" fmla="*/ 88 w 89"/>
                <a:gd name="T15" fmla="*/ 913 h 993"/>
                <a:gd name="T16" fmla="*/ 88 w 89"/>
                <a:gd name="T17" fmla="*/ 969 h 993"/>
                <a:gd name="T18" fmla="*/ 79 w 89"/>
                <a:gd name="T19" fmla="*/ 977 h 993"/>
                <a:gd name="T20" fmla="*/ 79 w 89"/>
                <a:gd name="T21" fmla="*/ 992 h 993"/>
                <a:gd name="T22" fmla="*/ 63 w 89"/>
                <a:gd name="T23" fmla="*/ 992 h 993"/>
                <a:gd name="T24" fmla="*/ 48 w 89"/>
                <a:gd name="T25" fmla="*/ 992 h 993"/>
                <a:gd name="T26" fmla="*/ 0 w 89"/>
                <a:gd name="T27" fmla="*/ 985 h 993"/>
                <a:gd name="T28" fmla="*/ 0 w 89"/>
                <a:gd name="T29" fmla="*/ 985 h 993"/>
                <a:gd name="T30" fmla="*/ 0 w 89"/>
                <a:gd name="T31" fmla="*/ 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 h="993">
                  <a:moveTo>
                    <a:pt x="0" y="0"/>
                  </a:moveTo>
                  <a:lnTo>
                    <a:pt x="0" y="0"/>
                  </a:lnTo>
                  <a:lnTo>
                    <a:pt x="88" y="0"/>
                  </a:lnTo>
                  <a:lnTo>
                    <a:pt x="88" y="0"/>
                  </a:lnTo>
                  <a:lnTo>
                    <a:pt x="88" y="55"/>
                  </a:lnTo>
                  <a:lnTo>
                    <a:pt x="88" y="55"/>
                  </a:lnTo>
                  <a:lnTo>
                    <a:pt x="88" y="913"/>
                  </a:lnTo>
                  <a:lnTo>
                    <a:pt x="88" y="913"/>
                  </a:lnTo>
                  <a:lnTo>
                    <a:pt x="88" y="969"/>
                  </a:lnTo>
                  <a:lnTo>
                    <a:pt x="79" y="977"/>
                  </a:lnTo>
                  <a:lnTo>
                    <a:pt x="79" y="992"/>
                  </a:lnTo>
                  <a:lnTo>
                    <a:pt x="63" y="992"/>
                  </a:lnTo>
                  <a:lnTo>
                    <a:pt x="48" y="992"/>
                  </a:lnTo>
                  <a:lnTo>
                    <a:pt x="0" y="985"/>
                  </a:lnTo>
                  <a:lnTo>
                    <a:pt x="0" y="985"/>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1" name="Freeform 25"/>
            <p:cNvSpPr>
              <a:spLocks noChangeArrowheads="1"/>
            </p:cNvSpPr>
            <p:nvPr/>
          </p:nvSpPr>
          <p:spPr bwMode="auto">
            <a:xfrm>
              <a:off x="5715000" y="4556125"/>
              <a:ext cx="34925" cy="357188"/>
            </a:xfrm>
            <a:custGeom>
              <a:avLst/>
              <a:gdLst>
                <a:gd name="T0" fmla="*/ 95 w 96"/>
                <a:gd name="T1" fmla="*/ 992 h 993"/>
                <a:gd name="T2" fmla="*/ 95 w 96"/>
                <a:gd name="T3" fmla="*/ 992 h 993"/>
                <a:gd name="T4" fmla="*/ 0 w 96"/>
                <a:gd name="T5" fmla="*/ 992 h 993"/>
                <a:gd name="T6" fmla="*/ 0 w 96"/>
                <a:gd name="T7" fmla="*/ 992 h 993"/>
                <a:gd name="T8" fmla="*/ 0 w 96"/>
                <a:gd name="T9" fmla="*/ 0 h 993"/>
                <a:gd name="T10" fmla="*/ 0 w 96"/>
                <a:gd name="T11" fmla="*/ 0 h 993"/>
                <a:gd name="T12" fmla="*/ 95 w 96"/>
                <a:gd name="T13" fmla="*/ 0 h 993"/>
                <a:gd name="T14" fmla="*/ 95 w 96"/>
                <a:gd name="T15" fmla="*/ 0 h 993"/>
                <a:gd name="T16" fmla="*/ 95 w 96"/>
                <a:gd name="T17" fmla="*/ 992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3">
                  <a:moveTo>
                    <a:pt x="95" y="992"/>
                  </a:moveTo>
                  <a:lnTo>
                    <a:pt x="95" y="992"/>
                  </a:lnTo>
                  <a:lnTo>
                    <a:pt x="0" y="992"/>
                  </a:lnTo>
                  <a:lnTo>
                    <a:pt x="0" y="992"/>
                  </a:lnTo>
                  <a:lnTo>
                    <a:pt x="0" y="0"/>
                  </a:lnTo>
                  <a:lnTo>
                    <a:pt x="0" y="0"/>
                  </a:lnTo>
                  <a:lnTo>
                    <a:pt x="95" y="0"/>
                  </a:lnTo>
                  <a:lnTo>
                    <a:pt x="95" y="0"/>
                  </a:lnTo>
                  <a:lnTo>
                    <a:pt x="95" y="99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2" name="Freeform 26"/>
            <p:cNvSpPr>
              <a:spLocks noChangeArrowheads="1"/>
            </p:cNvSpPr>
            <p:nvPr/>
          </p:nvSpPr>
          <p:spPr bwMode="auto">
            <a:xfrm>
              <a:off x="5651500" y="4556125"/>
              <a:ext cx="31750" cy="357188"/>
            </a:xfrm>
            <a:custGeom>
              <a:avLst/>
              <a:gdLst>
                <a:gd name="T0" fmla="*/ 87 w 88"/>
                <a:gd name="T1" fmla="*/ 992 h 993"/>
                <a:gd name="T2" fmla="*/ 87 w 88"/>
                <a:gd name="T3" fmla="*/ 992 h 993"/>
                <a:gd name="T4" fmla="*/ 0 w 88"/>
                <a:gd name="T5" fmla="*/ 992 h 993"/>
                <a:gd name="T6" fmla="*/ 0 w 88"/>
                <a:gd name="T7" fmla="*/ 992 h 993"/>
                <a:gd name="T8" fmla="*/ 0 w 88"/>
                <a:gd name="T9" fmla="*/ 0 h 993"/>
                <a:gd name="T10" fmla="*/ 0 w 88"/>
                <a:gd name="T11" fmla="*/ 0 h 993"/>
                <a:gd name="T12" fmla="*/ 87 w 88"/>
                <a:gd name="T13" fmla="*/ 0 h 993"/>
                <a:gd name="T14" fmla="*/ 87 w 88"/>
                <a:gd name="T15" fmla="*/ 0 h 993"/>
                <a:gd name="T16" fmla="*/ 87 w 88"/>
                <a:gd name="T17" fmla="*/ 992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3">
                  <a:moveTo>
                    <a:pt x="87" y="992"/>
                  </a:moveTo>
                  <a:lnTo>
                    <a:pt x="87" y="992"/>
                  </a:lnTo>
                  <a:lnTo>
                    <a:pt x="0" y="992"/>
                  </a:lnTo>
                  <a:lnTo>
                    <a:pt x="0" y="992"/>
                  </a:lnTo>
                  <a:lnTo>
                    <a:pt x="0" y="0"/>
                  </a:lnTo>
                  <a:lnTo>
                    <a:pt x="0" y="0"/>
                  </a:lnTo>
                  <a:lnTo>
                    <a:pt x="87" y="0"/>
                  </a:lnTo>
                  <a:lnTo>
                    <a:pt x="87" y="0"/>
                  </a:lnTo>
                  <a:lnTo>
                    <a:pt x="87" y="99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4" name="Freeform 27"/>
            <p:cNvSpPr>
              <a:spLocks noChangeArrowheads="1"/>
            </p:cNvSpPr>
            <p:nvPr/>
          </p:nvSpPr>
          <p:spPr bwMode="auto">
            <a:xfrm>
              <a:off x="5584825" y="4556125"/>
              <a:ext cx="31750" cy="357188"/>
            </a:xfrm>
            <a:custGeom>
              <a:avLst/>
              <a:gdLst>
                <a:gd name="T0" fmla="*/ 0 w 89"/>
                <a:gd name="T1" fmla="*/ 0 h 993"/>
                <a:gd name="T2" fmla="*/ 0 w 89"/>
                <a:gd name="T3" fmla="*/ 0 h 993"/>
                <a:gd name="T4" fmla="*/ 88 w 89"/>
                <a:gd name="T5" fmla="*/ 0 h 993"/>
                <a:gd name="T6" fmla="*/ 88 w 89"/>
                <a:gd name="T7" fmla="*/ 0 h 993"/>
                <a:gd name="T8" fmla="*/ 88 w 89"/>
                <a:gd name="T9" fmla="*/ 992 h 993"/>
                <a:gd name="T10" fmla="*/ 88 w 89"/>
                <a:gd name="T11" fmla="*/ 992 h 993"/>
                <a:gd name="T12" fmla="*/ 0 w 89"/>
                <a:gd name="T13" fmla="*/ 992 h 993"/>
                <a:gd name="T14" fmla="*/ 0 w 89"/>
                <a:gd name="T15" fmla="*/ 992 h 993"/>
                <a:gd name="T16" fmla="*/ 0 w 89"/>
                <a:gd name="T17" fmla="*/ 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3">
                  <a:moveTo>
                    <a:pt x="0" y="0"/>
                  </a:moveTo>
                  <a:lnTo>
                    <a:pt x="0" y="0"/>
                  </a:lnTo>
                  <a:lnTo>
                    <a:pt x="88" y="0"/>
                  </a:lnTo>
                  <a:lnTo>
                    <a:pt x="88" y="0"/>
                  </a:lnTo>
                  <a:lnTo>
                    <a:pt x="88" y="992"/>
                  </a:lnTo>
                  <a:lnTo>
                    <a:pt x="88" y="992"/>
                  </a:lnTo>
                  <a:lnTo>
                    <a:pt x="0" y="992"/>
                  </a:lnTo>
                  <a:lnTo>
                    <a:pt x="0" y="992"/>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6" name="Freeform 28"/>
            <p:cNvSpPr>
              <a:spLocks noChangeArrowheads="1"/>
            </p:cNvSpPr>
            <p:nvPr/>
          </p:nvSpPr>
          <p:spPr bwMode="auto">
            <a:xfrm>
              <a:off x="5780088" y="5054600"/>
              <a:ext cx="34925" cy="354013"/>
            </a:xfrm>
            <a:custGeom>
              <a:avLst/>
              <a:gdLst>
                <a:gd name="T0" fmla="*/ 0 w 97"/>
                <a:gd name="T1" fmla="*/ 0 h 985"/>
                <a:gd name="T2" fmla="*/ 0 w 97"/>
                <a:gd name="T3" fmla="*/ 0 h 985"/>
                <a:gd name="T4" fmla="*/ 96 w 97"/>
                <a:gd name="T5" fmla="*/ 0 h 985"/>
                <a:gd name="T6" fmla="*/ 96 w 97"/>
                <a:gd name="T7" fmla="*/ 0 h 985"/>
                <a:gd name="T8" fmla="*/ 96 w 97"/>
                <a:gd name="T9" fmla="*/ 984 h 985"/>
                <a:gd name="T10" fmla="*/ 96 w 97"/>
                <a:gd name="T11" fmla="*/ 984 h 985"/>
                <a:gd name="T12" fmla="*/ 0 w 97"/>
                <a:gd name="T13" fmla="*/ 984 h 985"/>
                <a:gd name="T14" fmla="*/ 0 w 97"/>
                <a:gd name="T15" fmla="*/ 984 h 985"/>
                <a:gd name="T16" fmla="*/ 0 w 97"/>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85">
                  <a:moveTo>
                    <a:pt x="0" y="0"/>
                  </a:moveTo>
                  <a:lnTo>
                    <a:pt x="0" y="0"/>
                  </a:lnTo>
                  <a:lnTo>
                    <a:pt x="96" y="0"/>
                  </a:lnTo>
                  <a:lnTo>
                    <a:pt x="96" y="0"/>
                  </a:lnTo>
                  <a:lnTo>
                    <a:pt x="96" y="984"/>
                  </a:lnTo>
                  <a:lnTo>
                    <a:pt x="96"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7" name="Freeform 29"/>
            <p:cNvSpPr>
              <a:spLocks noChangeArrowheads="1"/>
            </p:cNvSpPr>
            <p:nvPr/>
          </p:nvSpPr>
          <p:spPr bwMode="auto">
            <a:xfrm>
              <a:off x="5715000" y="5054600"/>
              <a:ext cx="34925" cy="354013"/>
            </a:xfrm>
            <a:custGeom>
              <a:avLst/>
              <a:gdLst>
                <a:gd name="T0" fmla="*/ 95 w 96"/>
                <a:gd name="T1" fmla="*/ 984 h 985"/>
                <a:gd name="T2" fmla="*/ 95 w 96"/>
                <a:gd name="T3" fmla="*/ 984 h 985"/>
                <a:gd name="T4" fmla="*/ 0 w 96"/>
                <a:gd name="T5" fmla="*/ 984 h 985"/>
                <a:gd name="T6" fmla="*/ 0 w 96"/>
                <a:gd name="T7" fmla="*/ 984 h 985"/>
                <a:gd name="T8" fmla="*/ 0 w 96"/>
                <a:gd name="T9" fmla="*/ 0 h 985"/>
                <a:gd name="T10" fmla="*/ 0 w 96"/>
                <a:gd name="T11" fmla="*/ 0 h 985"/>
                <a:gd name="T12" fmla="*/ 95 w 96"/>
                <a:gd name="T13" fmla="*/ 0 h 985"/>
                <a:gd name="T14" fmla="*/ 95 w 96"/>
                <a:gd name="T15" fmla="*/ 0 h 985"/>
                <a:gd name="T16" fmla="*/ 95 w 96"/>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95" y="984"/>
                  </a:moveTo>
                  <a:lnTo>
                    <a:pt x="95" y="984"/>
                  </a:lnTo>
                  <a:lnTo>
                    <a:pt x="0" y="984"/>
                  </a:lnTo>
                  <a:lnTo>
                    <a:pt x="0" y="984"/>
                  </a:lnTo>
                  <a:lnTo>
                    <a:pt x="0" y="0"/>
                  </a:lnTo>
                  <a:lnTo>
                    <a:pt x="0" y="0"/>
                  </a:lnTo>
                  <a:lnTo>
                    <a:pt x="95" y="0"/>
                  </a:lnTo>
                  <a:lnTo>
                    <a:pt x="95" y="0"/>
                  </a:lnTo>
                  <a:lnTo>
                    <a:pt x="95"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8" name="Freeform 30"/>
            <p:cNvSpPr>
              <a:spLocks noChangeArrowheads="1"/>
            </p:cNvSpPr>
            <p:nvPr/>
          </p:nvSpPr>
          <p:spPr bwMode="auto">
            <a:xfrm>
              <a:off x="5456238" y="5054600"/>
              <a:ext cx="31750" cy="354013"/>
            </a:xfrm>
            <a:custGeom>
              <a:avLst/>
              <a:gdLst>
                <a:gd name="T0" fmla="*/ 0 w 89"/>
                <a:gd name="T1" fmla="*/ 0 h 985"/>
                <a:gd name="T2" fmla="*/ 0 w 89"/>
                <a:gd name="T3" fmla="*/ 0 h 985"/>
                <a:gd name="T4" fmla="*/ 88 w 89"/>
                <a:gd name="T5" fmla="*/ 0 h 985"/>
                <a:gd name="T6" fmla="*/ 88 w 89"/>
                <a:gd name="T7" fmla="*/ 0 h 985"/>
                <a:gd name="T8" fmla="*/ 88 w 89"/>
                <a:gd name="T9" fmla="*/ 984 h 985"/>
                <a:gd name="T10" fmla="*/ 88 w 89"/>
                <a:gd name="T11" fmla="*/ 984 h 985"/>
                <a:gd name="T12" fmla="*/ 0 w 89"/>
                <a:gd name="T13" fmla="*/ 984 h 985"/>
                <a:gd name="T14" fmla="*/ 0 w 89"/>
                <a:gd name="T15" fmla="*/ 984 h 985"/>
                <a:gd name="T16" fmla="*/ 0 w 89"/>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85">
                  <a:moveTo>
                    <a:pt x="0" y="0"/>
                  </a:moveTo>
                  <a:lnTo>
                    <a:pt x="0" y="0"/>
                  </a:lnTo>
                  <a:lnTo>
                    <a:pt x="88" y="0"/>
                  </a:lnTo>
                  <a:lnTo>
                    <a:pt x="88" y="0"/>
                  </a:lnTo>
                  <a:lnTo>
                    <a:pt x="88" y="984"/>
                  </a:lnTo>
                  <a:lnTo>
                    <a:pt x="88"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9" name="Freeform 31"/>
            <p:cNvSpPr>
              <a:spLocks noChangeArrowheads="1"/>
            </p:cNvSpPr>
            <p:nvPr/>
          </p:nvSpPr>
          <p:spPr bwMode="auto">
            <a:xfrm>
              <a:off x="5519738" y="5054600"/>
              <a:ext cx="34925" cy="354013"/>
            </a:xfrm>
            <a:custGeom>
              <a:avLst/>
              <a:gdLst>
                <a:gd name="T0" fmla="*/ 95 w 96"/>
                <a:gd name="T1" fmla="*/ 0 h 985"/>
                <a:gd name="T2" fmla="*/ 95 w 96"/>
                <a:gd name="T3" fmla="*/ 0 h 985"/>
                <a:gd name="T4" fmla="*/ 95 w 96"/>
                <a:gd name="T5" fmla="*/ 984 h 985"/>
                <a:gd name="T6" fmla="*/ 95 w 96"/>
                <a:gd name="T7" fmla="*/ 984 h 985"/>
                <a:gd name="T8" fmla="*/ 0 w 96"/>
                <a:gd name="T9" fmla="*/ 984 h 985"/>
                <a:gd name="T10" fmla="*/ 0 w 96"/>
                <a:gd name="T11" fmla="*/ 984 h 985"/>
                <a:gd name="T12" fmla="*/ 0 w 96"/>
                <a:gd name="T13" fmla="*/ 0 h 985"/>
                <a:gd name="T14" fmla="*/ 0 w 96"/>
                <a:gd name="T15" fmla="*/ 0 h 985"/>
                <a:gd name="T16" fmla="*/ 95 w 96"/>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95" y="0"/>
                  </a:moveTo>
                  <a:lnTo>
                    <a:pt x="95" y="0"/>
                  </a:lnTo>
                  <a:lnTo>
                    <a:pt x="95" y="984"/>
                  </a:lnTo>
                  <a:lnTo>
                    <a:pt x="95" y="984"/>
                  </a:lnTo>
                  <a:lnTo>
                    <a:pt x="0" y="984"/>
                  </a:lnTo>
                  <a:lnTo>
                    <a:pt x="0" y="984"/>
                  </a:lnTo>
                  <a:lnTo>
                    <a:pt x="0" y="0"/>
                  </a:lnTo>
                  <a:lnTo>
                    <a:pt x="0" y="0"/>
                  </a:lnTo>
                  <a:lnTo>
                    <a:pt x="9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0" name="Freeform 32"/>
            <p:cNvSpPr>
              <a:spLocks noChangeArrowheads="1"/>
            </p:cNvSpPr>
            <p:nvPr/>
          </p:nvSpPr>
          <p:spPr bwMode="auto">
            <a:xfrm>
              <a:off x="5651500" y="5054600"/>
              <a:ext cx="31750" cy="354013"/>
            </a:xfrm>
            <a:custGeom>
              <a:avLst/>
              <a:gdLst>
                <a:gd name="T0" fmla="*/ 0 w 88"/>
                <a:gd name="T1" fmla="*/ 0 h 985"/>
                <a:gd name="T2" fmla="*/ 0 w 88"/>
                <a:gd name="T3" fmla="*/ 0 h 985"/>
                <a:gd name="T4" fmla="*/ 87 w 88"/>
                <a:gd name="T5" fmla="*/ 0 h 985"/>
                <a:gd name="T6" fmla="*/ 87 w 88"/>
                <a:gd name="T7" fmla="*/ 0 h 985"/>
                <a:gd name="T8" fmla="*/ 87 w 88"/>
                <a:gd name="T9" fmla="*/ 984 h 985"/>
                <a:gd name="T10" fmla="*/ 87 w 88"/>
                <a:gd name="T11" fmla="*/ 984 h 985"/>
                <a:gd name="T12" fmla="*/ 0 w 88"/>
                <a:gd name="T13" fmla="*/ 984 h 985"/>
                <a:gd name="T14" fmla="*/ 0 w 88"/>
                <a:gd name="T15" fmla="*/ 984 h 985"/>
                <a:gd name="T16" fmla="*/ 0 w 88"/>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0" y="0"/>
                  </a:moveTo>
                  <a:lnTo>
                    <a:pt x="0" y="0"/>
                  </a:lnTo>
                  <a:lnTo>
                    <a:pt x="87" y="0"/>
                  </a:lnTo>
                  <a:lnTo>
                    <a:pt x="87" y="0"/>
                  </a:lnTo>
                  <a:lnTo>
                    <a:pt x="87" y="984"/>
                  </a:lnTo>
                  <a:lnTo>
                    <a:pt x="87"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1" name="Freeform 33"/>
            <p:cNvSpPr>
              <a:spLocks noChangeArrowheads="1"/>
            </p:cNvSpPr>
            <p:nvPr/>
          </p:nvSpPr>
          <p:spPr bwMode="auto">
            <a:xfrm>
              <a:off x="5584825" y="5054600"/>
              <a:ext cx="31750" cy="354013"/>
            </a:xfrm>
            <a:custGeom>
              <a:avLst/>
              <a:gdLst>
                <a:gd name="T0" fmla="*/ 0 w 89"/>
                <a:gd name="T1" fmla="*/ 0 h 985"/>
                <a:gd name="T2" fmla="*/ 0 w 89"/>
                <a:gd name="T3" fmla="*/ 0 h 985"/>
                <a:gd name="T4" fmla="*/ 88 w 89"/>
                <a:gd name="T5" fmla="*/ 0 h 985"/>
                <a:gd name="T6" fmla="*/ 88 w 89"/>
                <a:gd name="T7" fmla="*/ 0 h 985"/>
                <a:gd name="T8" fmla="*/ 88 w 89"/>
                <a:gd name="T9" fmla="*/ 984 h 985"/>
                <a:gd name="T10" fmla="*/ 88 w 89"/>
                <a:gd name="T11" fmla="*/ 984 h 985"/>
                <a:gd name="T12" fmla="*/ 0 w 89"/>
                <a:gd name="T13" fmla="*/ 984 h 985"/>
                <a:gd name="T14" fmla="*/ 0 w 89"/>
                <a:gd name="T15" fmla="*/ 984 h 985"/>
                <a:gd name="T16" fmla="*/ 0 w 89"/>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85">
                  <a:moveTo>
                    <a:pt x="0" y="0"/>
                  </a:moveTo>
                  <a:lnTo>
                    <a:pt x="0" y="0"/>
                  </a:lnTo>
                  <a:lnTo>
                    <a:pt x="88" y="0"/>
                  </a:lnTo>
                  <a:lnTo>
                    <a:pt x="88" y="0"/>
                  </a:lnTo>
                  <a:lnTo>
                    <a:pt x="88" y="984"/>
                  </a:lnTo>
                  <a:lnTo>
                    <a:pt x="88"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4" name="Freeform 34"/>
            <p:cNvSpPr>
              <a:spLocks noChangeArrowheads="1"/>
            </p:cNvSpPr>
            <p:nvPr/>
          </p:nvSpPr>
          <p:spPr bwMode="auto">
            <a:xfrm>
              <a:off x="5087938" y="5548313"/>
              <a:ext cx="34925" cy="357187"/>
            </a:xfrm>
            <a:custGeom>
              <a:avLst/>
              <a:gdLst>
                <a:gd name="T0" fmla="*/ 96 w 97"/>
                <a:gd name="T1" fmla="*/ 993 h 994"/>
                <a:gd name="T2" fmla="*/ 96 w 97"/>
                <a:gd name="T3" fmla="*/ 993 h 994"/>
                <a:gd name="T4" fmla="*/ 0 w 97"/>
                <a:gd name="T5" fmla="*/ 993 h 994"/>
                <a:gd name="T6" fmla="*/ 0 w 97"/>
                <a:gd name="T7" fmla="*/ 993 h 994"/>
                <a:gd name="T8" fmla="*/ 0 w 97"/>
                <a:gd name="T9" fmla="*/ 0 h 994"/>
                <a:gd name="T10" fmla="*/ 0 w 97"/>
                <a:gd name="T11" fmla="*/ 0 h 994"/>
                <a:gd name="T12" fmla="*/ 96 w 97"/>
                <a:gd name="T13" fmla="*/ 0 h 994"/>
                <a:gd name="T14" fmla="*/ 96 w 97"/>
                <a:gd name="T15" fmla="*/ 0 h 994"/>
                <a:gd name="T16" fmla="*/ 96 w 97"/>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96" y="993"/>
                  </a:moveTo>
                  <a:lnTo>
                    <a:pt x="96" y="993"/>
                  </a:lnTo>
                  <a:lnTo>
                    <a:pt x="0" y="993"/>
                  </a:lnTo>
                  <a:lnTo>
                    <a:pt x="0" y="993"/>
                  </a:lnTo>
                  <a:lnTo>
                    <a:pt x="0" y="0"/>
                  </a:lnTo>
                  <a:lnTo>
                    <a:pt x="0" y="0"/>
                  </a:lnTo>
                  <a:lnTo>
                    <a:pt x="96" y="0"/>
                  </a:lnTo>
                  <a:lnTo>
                    <a:pt x="96" y="0"/>
                  </a:lnTo>
                  <a:lnTo>
                    <a:pt x="96"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5" name="Freeform 35"/>
            <p:cNvSpPr>
              <a:spLocks noChangeArrowheads="1"/>
            </p:cNvSpPr>
            <p:nvPr/>
          </p:nvSpPr>
          <p:spPr bwMode="auto">
            <a:xfrm>
              <a:off x="5022850" y="5548313"/>
              <a:ext cx="34925" cy="357187"/>
            </a:xfrm>
            <a:custGeom>
              <a:avLst/>
              <a:gdLst>
                <a:gd name="T0" fmla="*/ 0 w 96"/>
                <a:gd name="T1" fmla="*/ 0 h 994"/>
                <a:gd name="T2" fmla="*/ 0 w 96"/>
                <a:gd name="T3" fmla="*/ 0 h 994"/>
                <a:gd name="T4" fmla="*/ 95 w 96"/>
                <a:gd name="T5" fmla="*/ 0 h 994"/>
                <a:gd name="T6" fmla="*/ 95 w 96"/>
                <a:gd name="T7" fmla="*/ 0 h 994"/>
                <a:gd name="T8" fmla="*/ 95 w 96"/>
                <a:gd name="T9" fmla="*/ 993 h 994"/>
                <a:gd name="T10" fmla="*/ 95 w 96"/>
                <a:gd name="T11" fmla="*/ 993 h 994"/>
                <a:gd name="T12" fmla="*/ 0 w 96"/>
                <a:gd name="T13" fmla="*/ 993 h 994"/>
                <a:gd name="T14" fmla="*/ 0 w 96"/>
                <a:gd name="T15" fmla="*/ 993 h 994"/>
                <a:gd name="T16" fmla="*/ 0 w 96"/>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0" y="0"/>
                  </a:moveTo>
                  <a:lnTo>
                    <a:pt x="0" y="0"/>
                  </a:lnTo>
                  <a:lnTo>
                    <a:pt x="95" y="0"/>
                  </a:lnTo>
                  <a:lnTo>
                    <a:pt x="95" y="0"/>
                  </a:lnTo>
                  <a:lnTo>
                    <a:pt x="95" y="993"/>
                  </a:lnTo>
                  <a:lnTo>
                    <a:pt x="95"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6" name="Freeform 36"/>
            <p:cNvSpPr>
              <a:spLocks noChangeArrowheads="1"/>
            </p:cNvSpPr>
            <p:nvPr/>
          </p:nvSpPr>
          <p:spPr bwMode="auto">
            <a:xfrm>
              <a:off x="5153025"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7" name="Freeform 37"/>
            <p:cNvSpPr>
              <a:spLocks noChangeArrowheads="1"/>
            </p:cNvSpPr>
            <p:nvPr/>
          </p:nvSpPr>
          <p:spPr bwMode="auto">
            <a:xfrm>
              <a:off x="5219700"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8" name="Freeform 38"/>
            <p:cNvSpPr>
              <a:spLocks noChangeArrowheads="1"/>
            </p:cNvSpPr>
            <p:nvPr/>
          </p:nvSpPr>
          <p:spPr bwMode="auto">
            <a:xfrm>
              <a:off x="5284788" y="5548313"/>
              <a:ext cx="31750" cy="357187"/>
            </a:xfrm>
            <a:custGeom>
              <a:avLst/>
              <a:gdLst>
                <a:gd name="T0" fmla="*/ 88 w 89"/>
                <a:gd name="T1" fmla="*/ 993 h 994"/>
                <a:gd name="T2" fmla="*/ 88 w 89"/>
                <a:gd name="T3" fmla="*/ 993 h 994"/>
                <a:gd name="T4" fmla="*/ 0 w 89"/>
                <a:gd name="T5" fmla="*/ 993 h 994"/>
                <a:gd name="T6" fmla="*/ 0 w 89"/>
                <a:gd name="T7" fmla="*/ 993 h 994"/>
                <a:gd name="T8" fmla="*/ 0 w 89"/>
                <a:gd name="T9" fmla="*/ 0 h 994"/>
                <a:gd name="T10" fmla="*/ 0 w 89"/>
                <a:gd name="T11" fmla="*/ 0 h 994"/>
                <a:gd name="T12" fmla="*/ 88 w 89"/>
                <a:gd name="T13" fmla="*/ 0 h 994"/>
                <a:gd name="T14" fmla="*/ 88 w 89"/>
                <a:gd name="T15" fmla="*/ 0 h 994"/>
                <a:gd name="T16" fmla="*/ 88 w 89"/>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88" y="993"/>
                  </a:moveTo>
                  <a:lnTo>
                    <a:pt x="88" y="993"/>
                  </a:lnTo>
                  <a:lnTo>
                    <a:pt x="0" y="993"/>
                  </a:lnTo>
                  <a:lnTo>
                    <a:pt x="0" y="993"/>
                  </a:lnTo>
                  <a:lnTo>
                    <a:pt x="0" y="0"/>
                  </a:lnTo>
                  <a:lnTo>
                    <a:pt x="0" y="0"/>
                  </a:lnTo>
                  <a:lnTo>
                    <a:pt x="88" y="0"/>
                  </a:lnTo>
                  <a:lnTo>
                    <a:pt x="88" y="0"/>
                  </a:lnTo>
                  <a:lnTo>
                    <a:pt x="88"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9" name="Freeform 39"/>
            <p:cNvSpPr>
              <a:spLocks noChangeArrowheads="1"/>
            </p:cNvSpPr>
            <p:nvPr/>
          </p:nvSpPr>
          <p:spPr bwMode="auto">
            <a:xfrm>
              <a:off x="4959350" y="5548313"/>
              <a:ext cx="31750" cy="357187"/>
            </a:xfrm>
            <a:custGeom>
              <a:avLst/>
              <a:gdLst>
                <a:gd name="T0" fmla="*/ 0 w 88"/>
                <a:gd name="T1" fmla="*/ 993 h 994"/>
                <a:gd name="T2" fmla="*/ 0 w 88"/>
                <a:gd name="T3" fmla="*/ 993 h 994"/>
                <a:gd name="T4" fmla="*/ 0 w 88"/>
                <a:gd name="T5" fmla="*/ 0 h 994"/>
                <a:gd name="T6" fmla="*/ 0 w 88"/>
                <a:gd name="T7" fmla="*/ 0 h 994"/>
                <a:gd name="T8" fmla="*/ 87 w 88"/>
                <a:gd name="T9" fmla="*/ 0 h 994"/>
                <a:gd name="T10" fmla="*/ 87 w 88"/>
                <a:gd name="T11" fmla="*/ 0 h 994"/>
                <a:gd name="T12" fmla="*/ 87 w 88"/>
                <a:gd name="T13" fmla="*/ 993 h 994"/>
                <a:gd name="T14" fmla="*/ 87 w 88"/>
                <a:gd name="T15" fmla="*/ 993 h 994"/>
                <a:gd name="T16" fmla="*/ 0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993"/>
                  </a:moveTo>
                  <a:lnTo>
                    <a:pt x="0" y="993"/>
                  </a:lnTo>
                  <a:lnTo>
                    <a:pt x="0" y="0"/>
                  </a:lnTo>
                  <a:lnTo>
                    <a:pt x="0" y="0"/>
                  </a:lnTo>
                  <a:lnTo>
                    <a:pt x="87" y="0"/>
                  </a:lnTo>
                  <a:lnTo>
                    <a:pt x="87" y="0"/>
                  </a:lnTo>
                  <a:lnTo>
                    <a:pt x="87" y="993"/>
                  </a:lnTo>
                  <a:lnTo>
                    <a:pt x="87" y="993"/>
                  </a:lnTo>
                  <a:lnTo>
                    <a:pt x="0"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0" name="Freeform 40"/>
            <p:cNvSpPr>
              <a:spLocks noChangeArrowheads="1"/>
            </p:cNvSpPr>
            <p:nvPr/>
          </p:nvSpPr>
          <p:spPr bwMode="auto">
            <a:xfrm>
              <a:off x="6211888" y="5548313"/>
              <a:ext cx="34925" cy="357187"/>
            </a:xfrm>
            <a:custGeom>
              <a:avLst/>
              <a:gdLst>
                <a:gd name="T0" fmla="*/ 0 w 96"/>
                <a:gd name="T1" fmla="*/ 0 h 994"/>
                <a:gd name="T2" fmla="*/ 0 w 96"/>
                <a:gd name="T3" fmla="*/ 0 h 994"/>
                <a:gd name="T4" fmla="*/ 95 w 96"/>
                <a:gd name="T5" fmla="*/ 0 h 994"/>
                <a:gd name="T6" fmla="*/ 95 w 96"/>
                <a:gd name="T7" fmla="*/ 0 h 994"/>
                <a:gd name="T8" fmla="*/ 95 w 96"/>
                <a:gd name="T9" fmla="*/ 993 h 994"/>
                <a:gd name="T10" fmla="*/ 95 w 96"/>
                <a:gd name="T11" fmla="*/ 993 h 994"/>
                <a:gd name="T12" fmla="*/ 0 w 96"/>
                <a:gd name="T13" fmla="*/ 993 h 994"/>
                <a:gd name="T14" fmla="*/ 0 w 96"/>
                <a:gd name="T15" fmla="*/ 993 h 994"/>
                <a:gd name="T16" fmla="*/ 0 w 96"/>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0" y="0"/>
                  </a:moveTo>
                  <a:lnTo>
                    <a:pt x="0" y="0"/>
                  </a:lnTo>
                  <a:lnTo>
                    <a:pt x="95" y="0"/>
                  </a:lnTo>
                  <a:lnTo>
                    <a:pt x="95" y="0"/>
                  </a:lnTo>
                  <a:lnTo>
                    <a:pt x="95" y="993"/>
                  </a:lnTo>
                  <a:lnTo>
                    <a:pt x="95"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1" name="Freeform 41"/>
            <p:cNvSpPr>
              <a:spLocks noChangeArrowheads="1"/>
            </p:cNvSpPr>
            <p:nvPr/>
          </p:nvSpPr>
          <p:spPr bwMode="auto">
            <a:xfrm>
              <a:off x="6145213" y="5548313"/>
              <a:ext cx="34925" cy="357187"/>
            </a:xfrm>
            <a:custGeom>
              <a:avLst/>
              <a:gdLst>
                <a:gd name="T0" fmla="*/ 0 w 97"/>
                <a:gd name="T1" fmla="*/ 0 h 994"/>
                <a:gd name="T2" fmla="*/ 0 w 97"/>
                <a:gd name="T3" fmla="*/ 0 h 994"/>
                <a:gd name="T4" fmla="*/ 96 w 97"/>
                <a:gd name="T5" fmla="*/ 0 h 994"/>
                <a:gd name="T6" fmla="*/ 96 w 97"/>
                <a:gd name="T7" fmla="*/ 0 h 994"/>
                <a:gd name="T8" fmla="*/ 96 w 97"/>
                <a:gd name="T9" fmla="*/ 993 h 994"/>
                <a:gd name="T10" fmla="*/ 96 w 97"/>
                <a:gd name="T11" fmla="*/ 993 h 994"/>
                <a:gd name="T12" fmla="*/ 0 w 97"/>
                <a:gd name="T13" fmla="*/ 993 h 994"/>
                <a:gd name="T14" fmla="*/ 0 w 97"/>
                <a:gd name="T15" fmla="*/ 993 h 994"/>
                <a:gd name="T16" fmla="*/ 0 w 97"/>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0" y="0"/>
                  </a:moveTo>
                  <a:lnTo>
                    <a:pt x="0" y="0"/>
                  </a:lnTo>
                  <a:lnTo>
                    <a:pt x="96" y="0"/>
                  </a:lnTo>
                  <a:lnTo>
                    <a:pt x="96" y="0"/>
                  </a:lnTo>
                  <a:lnTo>
                    <a:pt x="96" y="993"/>
                  </a:lnTo>
                  <a:lnTo>
                    <a:pt x="96"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2" name="Freeform 42"/>
            <p:cNvSpPr>
              <a:spLocks noChangeArrowheads="1"/>
            </p:cNvSpPr>
            <p:nvPr/>
          </p:nvSpPr>
          <p:spPr bwMode="auto">
            <a:xfrm>
              <a:off x="6083300"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3" name="Freeform 43"/>
            <p:cNvSpPr>
              <a:spLocks noChangeArrowheads="1"/>
            </p:cNvSpPr>
            <p:nvPr/>
          </p:nvSpPr>
          <p:spPr bwMode="auto">
            <a:xfrm>
              <a:off x="6016625"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4" name="Freeform 44"/>
            <p:cNvSpPr>
              <a:spLocks noChangeArrowheads="1"/>
            </p:cNvSpPr>
            <p:nvPr/>
          </p:nvSpPr>
          <p:spPr bwMode="auto">
            <a:xfrm>
              <a:off x="6276975"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5" name="Freeform 45"/>
            <p:cNvSpPr>
              <a:spLocks noChangeArrowheads="1"/>
            </p:cNvSpPr>
            <p:nvPr/>
          </p:nvSpPr>
          <p:spPr bwMode="auto">
            <a:xfrm>
              <a:off x="5954713" y="5548313"/>
              <a:ext cx="31750" cy="357187"/>
            </a:xfrm>
            <a:custGeom>
              <a:avLst/>
              <a:gdLst>
                <a:gd name="T0" fmla="*/ 87 w 88"/>
                <a:gd name="T1" fmla="*/ 0 h 994"/>
                <a:gd name="T2" fmla="*/ 87 w 88"/>
                <a:gd name="T3" fmla="*/ 0 h 994"/>
                <a:gd name="T4" fmla="*/ 87 w 88"/>
                <a:gd name="T5" fmla="*/ 993 h 994"/>
                <a:gd name="T6" fmla="*/ 87 w 88"/>
                <a:gd name="T7" fmla="*/ 993 h 994"/>
                <a:gd name="T8" fmla="*/ 0 w 88"/>
                <a:gd name="T9" fmla="*/ 993 h 994"/>
                <a:gd name="T10" fmla="*/ 0 w 88"/>
                <a:gd name="T11" fmla="*/ 993 h 994"/>
                <a:gd name="T12" fmla="*/ 0 w 88"/>
                <a:gd name="T13" fmla="*/ 0 h 994"/>
                <a:gd name="T14" fmla="*/ 0 w 88"/>
                <a:gd name="T15" fmla="*/ 0 h 994"/>
                <a:gd name="T16" fmla="*/ 87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0"/>
                  </a:moveTo>
                  <a:lnTo>
                    <a:pt x="87" y="0"/>
                  </a:lnTo>
                  <a:lnTo>
                    <a:pt x="87" y="993"/>
                  </a:lnTo>
                  <a:lnTo>
                    <a:pt x="87" y="993"/>
                  </a:lnTo>
                  <a:lnTo>
                    <a:pt x="0" y="993"/>
                  </a:lnTo>
                  <a:lnTo>
                    <a:pt x="0" y="993"/>
                  </a:lnTo>
                  <a:lnTo>
                    <a:pt x="0" y="0"/>
                  </a:lnTo>
                  <a:lnTo>
                    <a:pt x="0" y="0"/>
                  </a:lnTo>
                  <a:lnTo>
                    <a:pt x="87"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6" name="Freeform 46"/>
            <p:cNvSpPr>
              <a:spLocks noChangeArrowheads="1"/>
            </p:cNvSpPr>
            <p:nvPr/>
          </p:nvSpPr>
          <p:spPr bwMode="auto">
            <a:xfrm>
              <a:off x="4722813" y="5548313"/>
              <a:ext cx="34925" cy="357187"/>
            </a:xfrm>
            <a:custGeom>
              <a:avLst/>
              <a:gdLst>
                <a:gd name="T0" fmla="*/ 96 w 97"/>
                <a:gd name="T1" fmla="*/ 993 h 994"/>
                <a:gd name="T2" fmla="*/ 96 w 97"/>
                <a:gd name="T3" fmla="*/ 993 h 994"/>
                <a:gd name="T4" fmla="*/ 0 w 97"/>
                <a:gd name="T5" fmla="*/ 993 h 994"/>
                <a:gd name="T6" fmla="*/ 0 w 97"/>
                <a:gd name="T7" fmla="*/ 993 h 994"/>
                <a:gd name="T8" fmla="*/ 0 w 97"/>
                <a:gd name="T9" fmla="*/ 0 h 994"/>
                <a:gd name="T10" fmla="*/ 0 w 97"/>
                <a:gd name="T11" fmla="*/ 0 h 994"/>
                <a:gd name="T12" fmla="*/ 96 w 97"/>
                <a:gd name="T13" fmla="*/ 0 h 994"/>
                <a:gd name="T14" fmla="*/ 96 w 97"/>
                <a:gd name="T15" fmla="*/ 0 h 994"/>
                <a:gd name="T16" fmla="*/ 96 w 97"/>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96" y="993"/>
                  </a:moveTo>
                  <a:lnTo>
                    <a:pt x="96" y="993"/>
                  </a:lnTo>
                  <a:lnTo>
                    <a:pt x="0" y="993"/>
                  </a:lnTo>
                  <a:lnTo>
                    <a:pt x="0" y="993"/>
                  </a:lnTo>
                  <a:lnTo>
                    <a:pt x="0" y="0"/>
                  </a:lnTo>
                  <a:lnTo>
                    <a:pt x="0" y="0"/>
                  </a:lnTo>
                  <a:lnTo>
                    <a:pt x="96" y="0"/>
                  </a:lnTo>
                  <a:lnTo>
                    <a:pt x="96" y="0"/>
                  </a:lnTo>
                  <a:lnTo>
                    <a:pt x="96"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7" name="Freeform 47"/>
            <p:cNvSpPr>
              <a:spLocks noChangeArrowheads="1"/>
            </p:cNvSpPr>
            <p:nvPr/>
          </p:nvSpPr>
          <p:spPr bwMode="auto">
            <a:xfrm>
              <a:off x="4657725" y="5548313"/>
              <a:ext cx="34925" cy="357187"/>
            </a:xfrm>
            <a:custGeom>
              <a:avLst/>
              <a:gdLst>
                <a:gd name="T0" fmla="*/ 95 w 96"/>
                <a:gd name="T1" fmla="*/ 993 h 994"/>
                <a:gd name="T2" fmla="*/ 95 w 96"/>
                <a:gd name="T3" fmla="*/ 993 h 994"/>
                <a:gd name="T4" fmla="*/ 0 w 96"/>
                <a:gd name="T5" fmla="*/ 993 h 994"/>
                <a:gd name="T6" fmla="*/ 0 w 96"/>
                <a:gd name="T7" fmla="*/ 993 h 994"/>
                <a:gd name="T8" fmla="*/ 0 w 96"/>
                <a:gd name="T9" fmla="*/ 0 h 994"/>
                <a:gd name="T10" fmla="*/ 0 w 96"/>
                <a:gd name="T11" fmla="*/ 0 h 994"/>
                <a:gd name="T12" fmla="*/ 95 w 96"/>
                <a:gd name="T13" fmla="*/ 0 h 994"/>
                <a:gd name="T14" fmla="*/ 95 w 96"/>
                <a:gd name="T15" fmla="*/ 0 h 994"/>
                <a:gd name="T16" fmla="*/ 95 w 96"/>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95" y="993"/>
                  </a:moveTo>
                  <a:lnTo>
                    <a:pt x="95" y="993"/>
                  </a:lnTo>
                  <a:lnTo>
                    <a:pt x="0" y="993"/>
                  </a:lnTo>
                  <a:lnTo>
                    <a:pt x="0" y="993"/>
                  </a:lnTo>
                  <a:lnTo>
                    <a:pt x="0" y="0"/>
                  </a:lnTo>
                  <a:lnTo>
                    <a:pt x="0" y="0"/>
                  </a:lnTo>
                  <a:lnTo>
                    <a:pt x="95" y="0"/>
                  </a:lnTo>
                  <a:lnTo>
                    <a:pt x="95" y="0"/>
                  </a:lnTo>
                  <a:lnTo>
                    <a:pt x="95"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8" name="Freeform 48"/>
            <p:cNvSpPr>
              <a:spLocks noChangeArrowheads="1"/>
            </p:cNvSpPr>
            <p:nvPr/>
          </p:nvSpPr>
          <p:spPr bwMode="auto">
            <a:xfrm>
              <a:off x="4591050" y="5548313"/>
              <a:ext cx="34925" cy="357187"/>
            </a:xfrm>
            <a:custGeom>
              <a:avLst/>
              <a:gdLst>
                <a:gd name="T0" fmla="*/ 0 w 96"/>
                <a:gd name="T1" fmla="*/ 0 h 994"/>
                <a:gd name="T2" fmla="*/ 0 w 96"/>
                <a:gd name="T3" fmla="*/ 0 h 994"/>
                <a:gd name="T4" fmla="*/ 95 w 96"/>
                <a:gd name="T5" fmla="*/ 0 h 994"/>
                <a:gd name="T6" fmla="*/ 95 w 96"/>
                <a:gd name="T7" fmla="*/ 0 h 994"/>
                <a:gd name="T8" fmla="*/ 95 w 96"/>
                <a:gd name="T9" fmla="*/ 993 h 994"/>
                <a:gd name="T10" fmla="*/ 95 w 96"/>
                <a:gd name="T11" fmla="*/ 993 h 994"/>
                <a:gd name="T12" fmla="*/ 0 w 96"/>
                <a:gd name="T13" fmla="*/ 993 h 994"/>
                <a:gd name="T14" fmla="*/ 0 w 96"/>
                <a:gd name="T15" fmla="*/ 993 h 994"/>
                <a:gd name="T16" fmla="*/ 0 w 96"/>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0" y="0"/>
                  </a:moveTo>
                  <a:lnTo>
                    <a:pt x="0" y="0"/>
                  </a:lnTo>
                  <a:lnTo>
                    <a:pt x="95" y="0"/>
                  </a:lnTo>
                  <a:lnTo>
                    <a:pt x="95" y="0"/>
                  </a:lnTo>
                  <a:lnTo>
                    <a:pt x="95" y="993"/>
                  </a:lnTo>
                  <a:lnTo>
                    <a:pt x="95"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9" name="Freeform 49"/>
            <p:cNvSpPr>
              <a:spLocks noChangeArrowheads="1"/>
            </p:cNvSpPr>
            <p:nvPr/>
          </p:nvSpPr>
          <p:spPr bwMode="auto">
            <a:xfrm>
              <a:off x="4525963" y="5548313"/>
              <a:ext cx="34925" cy="357187"/>
            </a:xfrm>
            <a:custGeom>
              <a:avLst/>
              <a:gdLst>
                <a:gd name="T0" fmla="*/ 96 w 97"/>
                <a:gd name="T1" fmla="*/ 993 h 994"/>
                <a:gd name="T2" fmla="*/ 96 w 97"/>
                <a:gd name="T3" fmla="*/ 993 h 994"/>
                <a:gd name="T4" fmla="*/ 0 w 97"/>
                <a:gd name="T5" fmla="*/ 993 h 994"/>
                <a:gd name="T6" fmla="*/ 0 w 97"/>
                <a:gd name="T7" fmla="*/ 993 h 994"/>
                <a:gd name="T8" fmla="*/ 0 w 97"/>
                <a:gd name="T9" fmla="*/ 0 h 994"/>
                <a:gd name="T10" fmla="*/ 0 w 97"/>
                <a:gd name="T11" fmla="*/ 0 h 994"/>
                <a:gd name="T12" fmla="*/ 96 w 97"/>
                <a:gd name="T13" fmla="*/ 0 h 994"/>
                <a:gd name="T14" fmla="*/ 96 w 97"/>
                <a:gd name="T15" fmla="*/ 0 h 994"/>
                <a:gd name="T16" fmla="*/ 96 w 97"/>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96" y="993"/>
                  </a:moveTo>
                  <a:lnTo>
                    <a:pt x="96" y="993"/>
                  </a:lnTo>
                  <a:lnTo>
                    <a:pt x="0" y="993"/>
                  </a:lnTo>
                  <a:lnTo>
                    <a:pt x="0" y="993"/>
                  </a:lnTo>
                  <a:lnTo>
                    <a:pt x="0" y="0"/>
                  </a:lnTo>
                  <a:lnTo>
                    <a:pt x="0" y="0"/>
                  </a:lnTo>
                  <a:lnTo>
                    <a:pt x="96" y="0"/>
                  </a:lnTo>
                  <a:lnTo>
                    <a:pt x="96" y="0"/>
                  </a:lnTo>
                  <a:lnTo>
                    <a:pt x="96"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0" name="Freeform 50"/>
            <p:cNvSpPr>
              <a:spLocks noChangeArrowheads="1"/>
            </p:cNvSpPr>
            <p:nvPr/>
          </p:nvSpPr>
          <p:spPr bwMode="auto">
            <a:xfrm>
              <a:off x="4462463"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1" name="Freeform 51"/>
            <p:cNvSpPr>
              <a:spLocks noChangeArrowheads="1"/>
            </p:cNvSpPr>
            <p:nvPr/>
          </p:nvSpPr>
          <p:spPr bwMode="auto">
            <a:xfrm>
              <a:off x="4787900"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2" name="Freeform 53"/>
            <p:cNvSpPr>
              <a:spLocks noChangeArrowheads="1"/>
            </p:cNvSpPr>
            <p:nvPr/>
          </p:nvSpPr>
          <p:spPr bwMode="auto">
            <a:xfrm>
              <a:off x="5087938" y="5054600"/>
              <a:ext cx="34925" cy="354013"/>
            </a:xfrm>
            <a:custGeom>
              <a:avLst/>
              <a:gdLst>
                <a:gd name="T0" fmla="*/ 0 w 97"/>
                <a:gd name="T1" fmla="*/ 0 h 985"/>
                <a:gd name="T2" fmla="*/ 0 w 97"/>
                <a:gd name="T3" fmla="*/ 0 h 985"/>
                <a:gd name="T4" fmla="*/ 96 w 97"/>
                <a:gd name="T5" fmla="*/ 0 h 985"/>
                <a:gd name="T6" fmla="*/ 96 w 97"/>
                <a:gd name="T7" fmla="*/ 0 h 985"/>
                <a:gd name="T8" fmla="*/ 96 w 97"/>
                <a:gd name="T9" fmla="*/ 984 h 985"/>
                <a:gd name="T10" fmla="*/ 96 w 97"/>
                <a:gd name="T11" fmla="*/ 984 h 985"/>
                <a:gd name="T12" fmla="*/ 0 w 97"/>
                <a:gd name="T13" fmla="*/ 984 h 985"/>
                <a:gd name="T14" fmla="*/ 0 w 97"/>
                <a:gd name="T15" fmla="*/ 984 h 985"/>
                <a:gd name="T16" fmla="*/ 0 w 97"/>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85">
                  <a:moveTo>
                    <a:pt x="0" y="0"/>
                  </a:moveTo>
                  <a:lnTo>
                    <a:pt x="0" y="0"/>
                  </a:lnTo>
                  <a:lnTo>
                    <a:pt x="96" y="0"/>
                  </a:lnTo>
                  <a:lnTo>
                    <a:pt x="96" y="0"/>
                  </a:lnTo>
                  <a:lnTo>
                    <a:pt x="96" y="984"/>
                  </a:lnTo>
                  <a:lnTo>
                    <a:pt x="96"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3" name="Freeform 54"/>
            <p:cNvSpPr>
              <a:spLocks noChangeArrowheads="1"/>
            </p:cNvSpPr>
            <p:nvPr/>
          </p:nvSpPr>
          <p:spPr bwMode="auto">
            <a:xfrm>
              <a:off x="5153025" y="5054600"/>
              <a:ext cx="34925" cy="354013"/>
            </a:xfrm>
            <a:custGeom>
              <a:avLst/>
              <a:gdLst>
                <a:gd name="T0" fmla="*/ 0 w 96"/>
                <a:gd name="T1" fmla="*/ 0 h 985"/>
                <a:gd name="T2" fmla="*/ 0 w 96"/>
                <a:gd name="T3" fmla="*/ 0 h 985"/>
                <a:gd name="T4" fmla="*/ 95 w 96"/>
                <a:gd name="T5" fmla="*/ 0 h 985"/>
                <a:gd name="T6" fmla="*/ 95 w 96"/>
                <a:gd name="T7" fmla="*/ 0 h 985"/>
                <a:gd name="T8" fmla="*/ 95 w 96"/>
                <a:gd name="T9" fmla="*/ 984 h 985"/>
                <a:gd name="T10" fmla="*/ 95 w 96"/>
                <a:gd name="T11" fmla="*/ 984 h 985"/>
                <a:gd name="T12" fmla="*/ 0 w 96"/>
                <a:gd name="T13" fmla="*/ 984 h 985"/>
                <a:gd name="T14" fmla="*/ 0 w 96"/>
                <a:gd name="T15" fmla="*/ 984 h 985"/>
                <a:gd name="T16" fmla="*/ 0 w 96"/>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0" y="0"/>
                  </a:moveTo>
                  <a:lnTo>
                    <a:pt x="0" y="0"/>
                  </a:lnTo>
                  <a:lnTo>
                    <a:pt x="95" y="0"/>
                  </a:lnTo>
                  <a:lnTo>
                    <a:pt x="95" y="0"/>
                  </a:lnTo>
                  <a:lnTo>
                    <a:pt x="95" y="984"/>
                  </a:lnTo>
                  <a:lnTo>
                    <a:pt x="95"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4" name="Freeform 55"/>
            <p:cNvSpPr>
              <a:spLocks noChangeArrowheads="1"/>
            </p:cNvSpPr>
            <p:nvPr/>
          </p:nvSpPr>
          <p:spPr bwMode="auto">
            <a:xfrm>
              <a:off x="5219700" y="5054600"/>
              <a:ext cx="31750" cy="354013"/>
            </a:xfrm>
            <a:custGeom>
              <a:avLst/>
              <a:gdLst>
                <a:gd name="T0" fmla="*/ 87 w 88"/>
                <a:gd name="T1" fmla="*/ 984 h 985"/>
                <a:gd name="T2" fmla="*/ 87 w 88"/>
                <a:gd name="T3" fmla="*/ 984 h 985"/>
                <a:gd name="T4" fmla="*/ 0 w 88"/>
                <a:gd name="T5" fmla="*/ 984 h 985"/>
                <a:gd name="T6" fmla="*/ 0 w 88"/>
                <a:gd name="T7" fmla="*/ 984 h 985"/>
                <a:gd name="T8" fmla="*/ 0 w 88"/>
                <a:gd name="T9" fmla="*/ 0 h 985"/>
                <a:gd name="T10" fmla="*/ 0 w 88"/>
                <a:gd name="T11" fmla="*/ 0 h 985"/>
                <a:gd name="T12" fmla="*/ 87 w 88"/>
                <a:gd name="T13" fmla="*/ 0 h 985"/>
                <a:gd name="T14" fmla="*/ 87 w 88"/>
                <a:gd name="T15" fmla="*/ 0 h 985"/>
                <a:gd name="T16" fmla="*/ 87 w 88"/>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87" y="984"/>
                  </a:moveTo>
                  <a:lnTo>
                    <a:pt x="87" y="984"/>
                  </a:lnTo>
                  <a:lnTo>
                    <a:pt x="0" y="984"/>
                  </a:lnTo>
                  <a:lnTo>
                    <a:pt x="0" y="984"/>
                  </a:lnTo>
                  <a:lnTo>
                    <a:pt x="0" y="0"/>
                  </a:lnTo>
                  <a:lnTo>
                    <a:pt x="0" y="0"/>
                  </a:lnTo>
                  <a:lnTo>
                    <a:pt x="87" y="0"/>
                  </a:lnTo>
                  <a:lnTo>
                    <a:pt x="87" y="0"/>
                  </a:lnTo>
                  <a:lnTo>
                    <a:pt x="87"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5" name="Freeform 57"/>
            <p:cNvSpPr>
              <a:spLocks noChangeArrowheads="1"/>
            </p:cNvSpPr>
            <p:nvPr/>
          </p:nvSpPr>
          <p:spPr bwMode="auto">
            <a:xfrm>
              <a:off x="5284788" y="5054600"/>
              <a:ext cx="31750" cy="354013"/>
            </a:xfrm>
            <a:custGeom>
              <a:avLst/>
              <a:gdLst>
                <a:gd name="T0" fmla="*/ 0 w 89"/>
                <a:gd name="T1" fmla="*/ 984 h 985"/>
                <a:gd name="T2" fmla="*/ 0 w 89"/>
                <a:gd name="T3" fmla="*/ 984 h 985"/>
                <a:gd name="T4" fmla="*/ 0 w 89"/>
                <a:gd name="T5" fmla="*/ 0 h 985"/>
                <a:gd name="T6" fmla="*/ 0 w 89"/>
                <a:gd name="T7" fmla="*/ 0 h 985"/>
                <a:gd name="T8" fmla="*/ 88 w 89"/>
                <a:gd name="T9" fmla="*/ 0 h 985"/>
                <a:gd name="T10" fmla="*/ 88 w 89"/>
                <a:gd name="T11" fmla="*/ 0 h 985"/>
                <a:gd name="T12" fmla="*/ 88 w 89"/>
                <a:gd name="T13" fmla="*/ 984 h 985"/>
                <a:gd name="T14" fmla="*/ 88 w 89"/>
                <a:gd name="T15" fmla="*/ 984 h 985"/>
                <a:gd name="T16" fmla="*/ 0 w 89"/>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85">
                  <a:moveTo>
                    <a:pt x="0" y="984"/>
                  </a:moveTo>
                  <a:lnTo>
                    <a:pt x="0" y="984"/>
                  </a:lnTo>
                  <a:lnTo>
                    <a:pt x="0" y="0"/>
                  </a:lnTo>
                  <a:lnTo>
                    <a:pt x="0" y="0"/>
                  </a:lnTo>
                  <a:lnTo>
                    <a:pt x="88" y="0"/>
                  </a:lnTo>
                  <a:lnTo>
                    <a:pt x="88" y="0"/>
                  </a:lnTo>
                  <a:lnTo>
                    <a:pt x="88" y="984"/>
                  </a:lnTo>
                  <a:lnTo>
                    <a:pt x="88" y="984"/>
                  </a:lnTo>
                  <a:lnTo>
                    <a:pt x="0"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6" name="Freeform 64"/>
            <p:cNvSpPr>
              <a:spLocks noChangeArrowheads="1"/>
            </p:cNvSpPr>
            <p:nvPr/>
          </p:nvSpPr>
          <p:spPr bwMode="auto">
            <a:xfrm>
              <a:off x="4745038" y="6675438"/>
              <a:ext cx="168275" cy="169862"/>
            </a:xfrm>
            <a:custGeom>
              <a:avLst/>
              <a:gdLst>
                <a:gd name="T0" fmla="*/ 310 w 469"/>
                <a:gd name="T1" fmla="*/ 16 h 470"/>
                <a:gd name="T2" fmla="*/ 310 w 469"/>
                <a:gd name="T3" fmla="*/ 16 h 470"/>
                <a:gd name="T4" fmla="*/ 285 w 469"/>
                <a:gd name="T5" fmla="*/ 64 h 470"/>
                <a:gd name="T6" fmla="*/ 270 w 469"/>
                <a:gd name="T7" fmla="*/ 103 h 470"/>
                <a:gd name="T8" fmla="*/ 277 w 469"/>
                <a:gd name="T9" fmla="*/ 135 h 470"/>
                <a:gd name="T10" fmla="*/ 302 w 469"/>
                <a:gd name="T11" fmla="*/ 166 h 470"/>
                <a:gd name="T12" fmla="*/ 302 w 469"/>
                <a:gd name="T13" fmla="*/ 166 h 470"/>
                <a:gd name="T14" fmla="*/ 333 w 469"/>
                <a:gd name="T15" fmla="*/ 191 h 470"/>
                <a:gd name="T16" fmla="*/ 366 w 469"/>
                <a:gd name="T17" fmla="*/ 191 h 470"/>
                <a:gd name="T18" fmla="*/ 405 w 469"/>
                <a:gd name="T19" fmla="*/ 183 h 470"/>
                <a:gd name="T20" fmla="*/ 453 w 469"/>
                <a:gd name="T21" fmla="*/ 159 h 470"/>
                <a:gd name="T22" fmla="*/ 453 w 469"/>
                <a:gd name="T23" fmla="*/ 159 h 470"/>
                <a:gd name="T24" fmla="*/ 460 w 469"/>
                <a:gd name="T25" fmla="*/ 183 h 470"/>
                <a:gd name="T26" fmla="*/ 468 w 469"/>
                <a:gd name="T27" fmla="*/ 214 h 470"/>
                <a:gd name="T28" fmla="*/ 468 w 469"/>
                <a:gd name="T29" fmla="*/ 255 h 470"/>
                <a:gd name="T30" fmla="*/ 460 w 469"/>
                <a:gd name="T31" fmla="*/ 286 h 470"/>
                <a:gd name="T32" fmla="*/ 453 w 469"/>
                <a:gd name="T33" fmla="*/ 326 h 470"/>
                <a:gd name="T34" fmla="*/ 437 w 469"/>
                <a:gd name="T35" fmla="*/ 357 h 470"/>
                <a:gd name="T36" fmla="*/ 412 w 469"/>
                <a:gd name="T37" fmla="*/ 390 h 470"/>
                <a:gd name="T38" fmla="*/ 389 w 469"/>
                <a:gd name="T39" fmla="*/ 413 h 470"/>
                <a:gd name="T40" fmla="*/ 389 w 469"/>
                <a:gd name="T41" fmla="*/ 413 h 470"/>
                <a:gd name="T42" fmla="*/ 357 w 469"/>
                <a:gd name="T43" fmla="*/ 436 h 470"/>
                <a:gd name="T44" fmla="*/ 318 w 469"/>
                <a:gd name="T45" fmla="*/ 453 h 470"/>
                <a:gd name="T46" fmla="*/ 277 w 469"/>
                <a:gd name="T47" fmla="*/ 469 h 470"/>
                <a:gd name="T48" fmla="*/ 238 w 469"/>
                <a:gd name="T49" fmla="*/ 469 h 470"/>
                <a:gd name="T50" fmla="*/ 198 w 469"/>
                <a:gd name="T51" fmla="*/ 469 h 470"/>
                <a:gd name="T52" fmla="*/ 159 w 469"/>
                <a:gd name="T53" fmla="*/ 461 h 470"/>
                <a:gd name="T54" fmla="*/ 119 w 469"/>
                <a:gd name="T55" fmla="*/ 445 h 470"/>
                <a:gd name="T56" fmla="*/ 87 w 469"/>
                <a:gd name="T57" fmla="*/ 421 h 470"/>
                <a:gd name="T58" fmla="*/ 87 w 469"/>
                <a:gd name="T59" fmla="*/ 421 h 470"/>
                <a:gd name="T60" fmla="*/ 55 w 469"/>
                <a:gd name="T61" fmla="*/ 390 h 470"/>
                <a:gd name="T62" fmla="*/ 32 w 469"/>
                <a:gd name="T63" fmla="*/ 357 h 470"/>
                <a:gd name="T64" fmla="*/ 15 w 469"/>
                <a:gd name="T65" fmla="*/ 326 h 470"/>
                <a:gd name="T66" fmla="*/ 0 w 469"/>
                <a:gd name="T67" fmla="*/ 286 h 470"/>
                <a:gd name="T68" fmla="*/ 0 w 469"/>
                <a:gd name="T69" fmla="*/ 247 h 470"/>
                <a:gd name="T70" fmla="*/ 0 w 469"/>
                <a:gd name="T71" fmla="*/ 207 h 470"/>
                <a:gd name="T72" fmla="*/ 7 w 469"/>
                <a:gd name="T73" fmla="*/ 166 h 470"/>
                <a:gd name="T74" fmla="*/ 24 w 469"/>
                <a:gd name="T75" fmla="*/ 127 h 470"/>
                <a:gd name="T76" fmla="*/ 24 w 469"/>
                <a:gd name="T77" fmla="*/ 127 h 470"/>
                <a:gd name="T78" fmla="*/ 48 w 469"/>
                <a:gd name="T79" fmla="*/ 87 h 470"/>
                <a:gd name="T80" fmla="*/ 79 w 469"/>
                <a:gd name="T81" fmla="*/ 64 h 470"/>
                <a:gd name="T82" fmla="*/ 111 w 469"/>
                <a:gd name="T83" fmla="*/ 31 h 470"/>
                <a:gd name="T84" fmla="*/ 150 w 469"/>
                <a:gd name="T85" fmla="*/ 16 h 470"/>
                <a:gd name="T86" fmla="*/ 190 w 469"/>
                <a:gd name="T87" fmla="*/ 8 h 470"/>
                <a:gd name="T88" fmla="*/ 231 w 469"/>
                <a:gd name="T89" fmla="*/ 0 h 470"/>
                <a:gd name="T90" fmla="*/ 270 w 469"/>
                <a:gd name="T91" fmla="*/ 8 h 470"/>
                <a:gd name="T92" fmla="*/ 310 w 469"/>
                <a:gd name="T93" fmla="*/ 1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9" h="470">
                  <a:moveTo>
                    <a:pt x="310" y="16"/>
                  </a:moveTo>
                  <a:lnTo>
                    <a:pt x="310" y="16"/>
                  </a:lnTo>
                  <a:lnTo>
                    <a:pt x="285" y="64"/>
                  </a:lnTo>
                  <a:lnTo>
                    <a:pt x="270" y="103"/>
                  </a:lnTo>
                  <a:lnTo>
                    <a:pt x="277" y="135"/>
                  </a:lnTo>
                  <a:lnTo>
                    <a:pt x="302" y="166"/>
                  </a:lnTo>
                  <a:lnTo>
                    <a:pt x="302" y="166"/>
                  </a:lnTo>
                  <a:lnTo>
                    <a:pt x="333" y="191"/>
                  </a:lnTo>
                  <a:lnTo>
                    <a:pt x="366" y="191"/>
                  </a:lnTo>
                  <a:lnTo>
                    <a:pt x="405" y="183"/>
                  </a:lnTo>
                  <a:lnTo>
                    <a:pt x="453" y="159"/>
                  </a:lnTo>
                  <a:lnTo>
                    <a:pt x="453" y="159"/>
                  </a:lnTo>
                  <a:lnTo>
                    <a:pt x="460" y="183"/>
                  </a:lnTo>
                  <a:lnTo>
                    <a:pt x="468" y="214"/>
                  </a:lnTo>
                  <a:lnTo>
                    <a:pt x="468" y="255"/>
                  </a:lnTo>
                  <a:lnTo>
                    <a:pt x="460" y="286"/>
                  </a:lnTo>
                  <a:lnTo>
                    <a:pt x="453" y="326"/>
                  </a:lnTo>
                  <a:lnTo>
                    <a:pt x="437" y="357"/>
                  </a:lnTo>
                  <a:lnTo>
                    <a:pt x="412" y="390"/>
                  </a:lnTo>
                  <a:lnTo>
                    <a:pt x="389" y="413"/>
                  </a:lnTo>
                  <a:lnTo>
                    <a:pt x="389" y="413"/>
                  </a:lnTo>
                  <a:lnTo>
                    <a:pt x="357" y="436"/>
                  </a:lnTo>
                  <a:lnTo>
                    <a:pt x="318" y="453"/>
                  </a:lnTo>
                  <a:lnTo>
                    <a:pt x="277" y="469"/>
                  </a:lnTo>
                  <a:lnTo>
                    <a:pt x="238" y="469"/>
                  </a:lnTo>
                  <a:lnTo>
                    <a:pt x="198" y="469"/>
                  </a:lnTo>
                  <a:lnTo>
                    <a:pt x="159" y="461"/>
                  </a:lnTo>
                  <a:lnTo>
                    <a:pt x="119" y="445"/>
                  </a:lnTo>
                  <a:lnTo>
                    <a:pt x="87" y="421"/>
                  </a:lnTo>
                  <a:lnTo>
                    <a:pt x="87" y="421"/>
                  </a:lnTo>
                  <a:lnTo>
                    <a:pt x="55" y="390"/>
                  </a:lnTo>
                  <a:lnTo>
                    <a:pt x="32" y="357"/>
                  </a:lnTo>
                  <a:lnTo>
                    <a:pt x="15" y="326"/>
                  </a:lnTo>
                  <a:lnTo>
                    <a:pt x="0" y="286"/>
                  </a:lnTo>
                  <a:lnTo>
                    <a:pt x="0" y="247"/>
                  </a:lnTo>
                  <a:lnTo>
                    <a:pt x="0" y="207"/>
                  </a:lnTo>
                  <a:lnTo>
                    <a:pt x="7" y="166"/>
                  </a:lnTo>
                  <a:lnTo>
                    <a:pt x="24" y="127"/>
                  </a:lnTo>
                  <a:lnTo>
                    <a:pt x="24" y="127"/>
                  </a:lnTo>
                  <a:lnTo>
                    <a:pt x="48" y="87"/>
                  </a:lnTo>
                  <a:lnTo>
                    <a:pt x="79" y="64"/>
                  </a:lnTo>
                  <a:lnTo>
                    <a:pt x="111" y="31"/>
                  </a:lnTo>
                  <a:lnTo>
                    <a:pt x="150" y="16"/>
                  </a:lnTo>
                  <a:lnTo>
                    <a:pt x="190" y="8"/>
                  </a:lnTo>
                  <a:lnTo>
                    <a:pt x="231" y="0"/>
                  </a:lnTo>
                  <a:lnTo>
                    <a:pt x="270" y="8"/>
                  </a:lnTo>
                  <a:lnTo>
                    <a:pt x="310" y="1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7" name="Freeform 52"/>
            <p:cNvSpPr>
              <a:spLocks noChangeArrowheads="1"/>
            </p:cNvSpPr>
            <p:nvPr/>
          </p:nvSpPr>
          <p:spPr bwMode="auto">
            <a:xfrm>
              <a:off x="5022850" y="5054600"/>
              <a:ext cx="34925" cy="354013"/>
            </a:xfrm>
            <a:custGeom>
              <a:avLst/>
              <a:gdLst>
                <a:gd name="T0" fmla="*/ 0 w 96"/>
                <a:gd name="T1" fmla="*/ 984 h 985"/>
                <a:gd name="T2" fmla="*/ 0 w 96"/>
                <a:gd name="T3" fmla="*/ 984 h 985"/>
                <a:gd name="T4" fmla="*/ 0 w 96"/>
                <a:gd name="T5" fmla="*/ 0 h 985"/>
                <a:gd name="T6" fmla="*/ 0 w 96"/>
                <a:gd name="T7" fmla="*/ 0 h 985"/>
                <a:gd name="T8" fmla="*/ 95 w 96"/>
                <a:gd name="T9" fmla="*/ 0 h 985"/>
                <a:gd name="T10" fmla="*/ 95 w 96"/>
                <a:gd name="T11" fmla="*/ 0 h 985"/>
                <a:gd name="T12" fmla="*/ 95 w 96"/>
                <a:gd name="T13" fmla="*/ 984 h 985"/>
                <a:gd name="T14" fmla="*/ 95 w 96"/>
                <a:gd name="T15" fmla="*/ 984 h 985"/>
                <a:gd name="T16" fmla="*/ 0 w 96"/>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0" y="984"/>
                  </a:moveTo>
                  <a:lnTo>
                    <a:pt x="0" y="984"/>
                  </a:lnTo>
                  <a:lnTo>
                    <a:pt x="0" y="0"/>
                  </a:lnTo>
                  <a:lnTo>
                    <a:pt x="0" y="0"/>
                  </a:lnTo>
                  <a:lnTo>
                    <a:pt x="95" y="0"/>
                  </a:lnTo>
                  <a:lnTo>
                    <a:pt x="95" y="0"/>
                  </a:lnTo>
                  <a:lnTo>
                    <a:pt x="95" y="984"/>
                  </a:lnTo>
                  <a:lnTo>
                    <a:pt x="95" y="984"/>
                  </a:lnTo>
                  <a:lnTo>
                    <a:pt x="0"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8" name="Freeform 56"/>
            <p:cNvSpPr>
              <a:spLocks noChangeArrowheads="1"/>
            </p:cNvSpPr>
            <p:nvPr/>
          </p:nvSpPr>
          <p:spPr bwMode="auto">
            <a:xfrm>
              <a:off x="4959350" y="5054600"/>
              <a:ext cx="31750" cy="354013"/>
            </a:xfrm>
            <a:custGeom>
              <a:avLst/>
              <a:gdLst>
                <a:gd name="T0" fmla="*/ 87 w 88"/>
                <a:gd name="T1" fmla="*/ 984 h 985"/>
                <a:gd name="T2" fmla="*/ 87 w 88"/>
                <a:gd name="T3" fmla="*/ 984 h 985"/>
                <a:gd name="T4" fmla="*/ 0 w 88"/>
                <a:gd name="T5" fmla="*/ 984 h 985"/>
                <a:gd name="T6" fmla="*/ 0 w 88"/>
                <a:gd name="T7" fmla="*/ 984 h 985"/>
                <a:gd name="T8" fmla="*/ 0 w 88"/>
                <a:gd name="T9" fmla="*/ 0 h 985"/>
                <a:gd name="T10" fmla="*/ 0 w 88"/>
                <a:gd name="T11" fmla="*/ 0 h 985"/>
                <a:gd name="T12" fmla="*/ 87 w 88"/>
                <a:gd name="T13" fmla="*/ 0 h 985"/>
                <a:gd name="T14" fmla="*/ 87 w 88"/>
                <a:gd name="T15" fmla="*/ 0 h 985"/>
                <a:gd name="T16" fmla="*/ 87 w 88"/>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87" y="984"/>
                  </a:moveTo>
                  <a:lnTo>
                    <a:pt x="87" y="984"/>
                  </a:lnTo>
                  <a:lnTo>
                    <a:pt x="0" y="984"/>
                  </a:lnTo>
                  <a:lnTo>
                    <a:pt x="0" y="984"/>
                  </a:lnTo>
                  <a:lnTo>
                    <a:pt x="0" y="0"/>
                  </a:lnTo>
                  <a:lnTo>
                    <a:pt x="0" y="0"/>
                  </a:lnTo>
                  <a:lnTo>
                    <a:pt x="87" y="0"/>
                  </a:lnTo>
                  <a:lnTo>
                    <a:pt x="87" y="0"/>
                  </a:lnTo>
                  <a:lnTo>
                    <a:pt x="87"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9" name="Freeform 58"/>
            <p:cNvSpPr>
              <a:spLocks noChangeArrowheads="1"/>
            </p:cNvSpPr>
            <p:nvPr/>
          </p:nvSpPr>
          <p:spPr bwMode="auto">
            <a:xfrm>
              <a:off x="4527550" y="5054600"/>
              <a:ext cx="31750" cy="354013"/>
            </a:xfrm>
            <a:custGeom>
              <a:avLst/>
              <a:gdLst>
                <a:gd name="T0" fmla="*/ 88 w 89"/>
                <a:gd name="T1" fmla="*/ 984 h 985"/>
                <a:gd name="T2" fmla="*/ 88 w 89"/>
                <a:gd name="T3" fmla="*/ 984 h 985"/>
                <a:gd name="T4" fmla="*/ 0 w 89"/>
                <a:gd name="T5" fmla="*/ 984 h 985"/>
                <a:gd name="T6" fmla="*/ 0 w 89"/>
                <a:gd name="T7" fmla="*/ 984 h 985"/>
                <a:gd name="T8" fmla="*/ 0 w 89"/>
                <a:gd name="T9" fmla="*/ 0 h 985"/>
                <a:gd name="T10" fmla="*/ 0 w 89"/>
                <a:gd name="T11" fmla="*/ 0 h 985"/>
                <a:gd name="T12" fmla="*/ 88 w 89"/>
                <a:gd name="T13" fmla="*/ 0 h 985"/>
                <a:gd name="T14" fmla="*/ 88 w 89"/>
                <a:gd name="T15" fmla="*/ 0 h 985"/>
                <a:gd name="T16" fmla="*/ 88 w 89"/>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85">
                  <a:moveTo>
                    <a:pt x="88" y="984"/>
                  </a:moveTo>
                  <a:lnTo>
                    <a:pt x="88" y="984"/>
                  </a:lnTo>
                  <a:lnTo>
                    <a:pt x="0" y="984"/>
                  </a:lnTo>
                  <a:lnTo>
                    <a:pt x="0" y="984"/>
                  </a:lnTo>
                  <a:lnTo>
                    <a:pt x="0" y="0"/>
                  </a:lnTo>
                  <a:lnTo>
                    <a:pt x="0" y="0"/>
                  </a:lnTo>
                  <a:lnTo>
                    <a:pt x="88" y="0"/>
                  </a:lnTo>
                  <a:lnTo>
                    <a:pt x="88" y="0"/>
                  </a:lnTo>
                  <a:lnTo>
                    <a:pt x="88"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0" name="Freeform 59"/>
            <p:cNvSpPr>
              <a:spLocks noChangeArrowheads="1"/>
            </p:cNvSpPr>
            <p:nvPr/>
          </p:nvSpPr>
          <p:spPr bwMode="auto">
            <a:xfrm>
              <a:off x="4591050" y="5054600"/>
              <a:ext cx="34925" cy="354013"/>
            </a:xfrm>
            <a:custGeom>
              <a:avLst/>
              <a:gdLst>
                <a:gd name="T0" fmla="*/ 95 w 96"/>
                <a:gd name="T1" fmla="*/ 984 h 985"/>
                <a:gd name="T2" fmla="*/ 95 w 96"/>
                <a:gd name="T3" fmla="*/ 984 h 985"/>
                <a:gd name="T4" fmla="*/ 0 w 96"/>
                <a:gd name="T5" fmla="*/ 984 h 985"/>
                <a:gd name="T6" fmla="*/ 0 w 96"/>
                <a:gd name="T7" fmla="*/ 984 h 985"/>
                <a:gd name="T8" fmla="*/ 0 w 96"/>
                <a:gd name="T9" fmla="*/ 0 h 985"/>
                <a:gd name="T10" fmla="*/ 0 w 96"/>
                <a:gd name="T11" fmla="*/ 0 h 985"/>
                <a:gd name="T12" fmla="*/ 95 w 96"/>
                <a:gd name="T13" fmla="*/ 0 h 985"/>
                <a:gd name="T14" fmla="*/ 95 w 96"/>
                <a:gd name="T15" fmla="*/ 0 h 985"/>
                <a:gd name="T16" fmla="*/ 95 w 96"/>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95" y="984"/>
                  </a:moveTo>
                  <a:lnTo>
                    <a:pt x="95" y="984"/>
                  </a:lnTo>
                  <a:lnTo>
                    <a:pt x="0" y="984"/>
                  </a:lnTo>
                  <a:lnTo>
                    <a:pt x="0" y="984"/>
                  </a:lnTo>
                  <a:lnTo>
                    <a:pt x="0" y="0"/>
                  </a:lnTo>
                  <a:lnTo>
                    <a:pt x="0" y="0"/>
                  </a:lnTo>
                  <a:lnTo>
                    <a:pt x="95" y="0"/>
                  </a:lnTo>
                  <a:lnTo>
                    <a:pt x="95" y="0"/>
                  </a:lnTo>
                  <a:lnTo>
                    <a:pt x="95"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1" name="Freeform 60"/>
            <p:cNvSpPr>
              <a:spLocks noChangeArrowheads="1"/>
            </p:cNvSpPr>
            <p:nvPr/>
          </p:nvSpPr>
          <p:spPr bwMode="auto">
            <a:xfrm>
              <a:off x="4657725" y="5054600"/>
              <a:ext cx="34925" cy="354013"/>
            </a:xfrm>
            <a:custGeom>
              <a:avLst/>
              <a:gdLst>
                <a:gd name="T0" fmla="*/ 0 w 96"/>
                <a:gd name="T1" fmla="*/ 984 h 985"/>
                <a:gd name="T2" fmla="*/ 0 w 96"/>
                <a:gd name="T3" fmla="*/ 984 h 985"/>
                <a:gd name="T4" fmla="*/ 0 w 96"/>
                <a:gd name="T5" fmla="*/ 0 h 985"/>
                <a:gd name="T6" fmla="*/ 0 w 96"/>
                <a:gd name="T7" fmla="*/ 0 h 985"/>
                <a:gd name="T8" fmla="*/ 95 w 96"/>
                <a:gd name="T9" fmla="*/ 0 h 985"/>
                <a:gd name="T10" fmla="*/ 95 w 96"/>
                <a:gd name="T11" fmla="*/ 0 h 985"/>
                <a:gd name="T12" fmla="*/ 95 w 96"/>
                <a:gd name="T13" fmla="*/ 984 h 985"/>
                <a:gd name="T14" fmla="*/ 95 w 96"/>
                <a:gd name="T15" fmla="*/ 984 h 985"/>
                <a:gd name="T16" fmla="*/ 0 w 96"/>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0" y="984"/>
                  </a:moveTo>
                  <a:lnTo>
                    <a:pt x="0" y="984"/>
                  </a:lnTo>
                  <a:lnTo>
                    <a:pt x="0" y="0"/>
                  </a:lnTo>
                  <a:lnTo>
                    <a:pt x="0" y="0"/>
                  </a:lnTo>
                  <a:lnTo>
                    <a:pt x="95" y="0"/>
                  </a:lnTo>
                  <a:lnTo>
                    <a:pt x="95" y="0"/>
                  </a:lnTo>
                  <a:lnTo>
                    <a:pt x="95" y="984"/>
                  </a:lnTo>
                  <a:lnTo>
                    <a:pt x="95" y="984"/>
                  </a:lnTo>
                  <a:lnTo>
                    <a:pt x="0"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2" name="Freeform 61"/>
            <p:cNvSpPr>
              <a:spLocks noChangeArrowheads="1"/>
            </p:cNvSpPr>
            <p:nvPr/>
          </p:nvSpPr>
          <p:spPr bwMode="auto">
            <a:xfrm>
              <a:off x="4722813" y="5054600"/>
              <a:ext cx="34925" cy="354013"/>
            </a:xfrm>
            <a:custGeom>
              <a:avLst/>
              <a:gdLst>
                <a:gd name="T0" fmla="*/ 96 w 97"/>
                <a:gd name="T1" fmla="*/ 984 h 985"/>
                <a:gd name="T2" fmla="*/ 96 w 97"/>
                <a:gd name="T3" fmla="*/ 984 h 985"/>
                <a:gd name="T4" fmla="*/ 0 w 97"/>
                <a:gd name="T5" fmla="*/ 984 h 985"/>
                <a:gd name="T6" fmla="*/ 0 w 97"/>
                <a:gd name="T7" fmla="*/ 984 h 985"/>
                <a:gd name="T8" fmla="*/ 0 w 97"/>
                <a:gd name="T9" fmla="*/ 0 h 985"/>
                <a:gd name="T10" fmla="*/ 0 w 97"/>
                <a:gd name="T11" fmla="*/ 0 h 985"/>
                <a:gd name="T12" fmla="*/ 96 w 97"/>
                <a:gd name="T13" fmla="*/ 0 h 985"/>
                <a:gd name="T14" fmla="*/ 96 w 97"/>
                <a:gd name="T15" fmla="*/ 0 h 985"/>
                <a:gd name="T16" fmla="*/ 96 w 97"/>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85">
                  <a:moveTo>
                    <a:pt x="96" y="984"/>
                  </a:moveTo>
                  <a:lnTo>
                    <a:pt x="96" y="984"/>
                  </a:lnTo>
                  <a:lnTo>
                    <a:pt x="0" y="984"/>
                  </a:lnTo>
                  <a:lnTo>
                    <a:pt x="0" y="984"/>
                  </a:lnTo>
                  <a:lnTo>
                    <a:pt x="0" y="0"/>
                  </a:lnTo>
                  <a:lnTo>
                    <a:pt x="0" y="0"/>
                  </a:lnTo>
                  <a:lnTo>
                    <a:pt x="96" y="0"/>
                  </a:lnTo>
                  <a:lnTo>
                    <a:pt x="96" y="0"/>
                  </a:lnTo>
                  <a:lnTo>
                    <a:pt x="96"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3" name="Freeform 62"/>
            <p:cNvSpPr>
              <a:spLocks noChangeArrowheads="1"/>
            </p:cNvSpPr>
            <p:nvPr/>
          </p:nvSpPr>
          <p:spPr bwMode="auto">
            <a:xfrm>
              <a:off x="4787900" y="5054600"/>
              <a:ext cx="31750" cy="354013"/>
            </a:xfrm>
            <a:custGeom>
              <a:avLst/>
              <a:gdLst>
                <a:gd name="T0" fmla="*/ 87 w 88"/>
                <a:gd name="T1" fmla="*/ 984 h 985"/>
                <a:gd name="T2" fmla="*/ 87 w 88"/>
                <a:gd name="T3" fmla="*/ 984 h 985"/>
                <a:gd name="T4" fmla="*/ 0 w 88"/>
                <a:gd name="T5" fmla="*/ 984 h 985"/>
                <a:gd name="T6" fmla="*/ 0 w 88"/>
                <a:gd name="T7" fmla="*/ 984 h 985"/>
                <a:gd name="T8" fmla="*/ 0 w 88"/>
                <a:gd name="T9" fmla="*/ 0 h 985"/>
                <a:gd name="T10" fmla="*/ 0 w 88"/>
                <a:gd name="T11" fmla="*/ 0 h 985"/>
                <a:gd name="T12" fmla="*/ 87 w 88"/>
                <a:gd name="T13" fmla="*/ 0 h 985"/>
                <a:gd name="T14" fmla="*/ 87 w 88"/>
                <a:gd name="T15" fmla="*/ 0 h 985"/>
                <a:gd name="T16" fmla="*/ 87 w 88"/>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87" y="984"/>
                  </a:moveTo>
                  <a:lnTo>
                    <a:pt x="87" y="984"/>
                  </a:lnTo>
                  <a:lnTo>
                    <a:pt x="0" y="984"/>
                  </a:lnTo>
                  <a:lnTo>
                    <a:pt x="0" y="984"/>
                  </a:lnTo>
                  <a:lnTo>
                    <a:pt x="0" y="0"/>
                  </a:lnTo>
                  <a:lnTo>
                    <a:pt x="0" y="0"/>
                  </a:lnTo>
                  <a:lnTo>
                    <a:pt x="87" y="0"/>
                  </a:lnTo>
                  <a:lnTo>
                    <a:pt x="87" y="0"/>
                  </a:lnTo>
                  <a:lnTo>
                    <a:pt x="87"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4" name="Freeform 63"/>
            <p:cNvSpPr>
              <a:spLocks noChangeArrowheads="1"/>
            </p:cNvSpPr>
            <p:nvPr/>
          </p:nvSpPr>
          <p:spPr bwMode="auto">
            <a:xfrm>
              <a:off x="4462463" y="5054600"/>
              <a:ext cx="31750" cy="354013"/>
            </a:xfrm>
            <a:custGeom>
              <a:avLst/>
              <a:gdLst>
                <a:gd name="T0" fmla="*/ 0 w 88"/>
                <a:gd name="T1" fmla="*/ 0 h 985"/>
                <a:gd name="T2" fmla="*/ 0 w 88"/>
                <a:gd name="T3" fmla="*/ 0 h 985"/>
                <a:gd name="T4" fmla="*/ 87 w 88"/>
                <a:gd name="T5" fmla="*/ 0 h 985"/>
                <a:gd name="T6" fmla="*/ 87 w 88"/>
                <a:gd name="T7" fmla="*/ 0 h 985"/>
                <a:gd name="T8" fmla="*/ 87 w 88"/>
                <a:gd name="T9" fmla="*/ 984 h 985"/>
                <a:gd name="T10" fmla="*/ 87 w 88"/>
                <a:gd name="T11" fmla="*/ 984 h 985"/>
                <a:gd name="T12" fmla="*/ 0 w 88"/>
                <a:gd name="T13" fmla="*/ 984 h 985"/>
                <a:gd name="T14" fmla="*/ 0 w 88"/>
                <a:gd name="T15" fmla="*/ 984 h 985"/>
                <a:gd name="T16" fmla="*/ 0 w 88"/>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0" y="0"/>
                  </a:moveTo>
                  <a:lnTo>
                    <a:pt x="0" y="0"/>
                  </a:lnTo>
                  <a:lnTo>
                    <a:pt x="87" y="0"/>
                  </a:lnTo>
                  <a:lnTo>
                    <a:pt x="87" y="0"/>
                  </a:lnTo>
                  <a:lnTo>
                    <a:pt x="87" y="984"/>
                  </a:lnTo>
                  <a:lnTo>
                    <a:pt x="87"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48" name="Group 247"/>
          <p:cNvGrpSpPr/>
          <p:nvPr/>
        </p:nvGrpSpPr>
        <p:grpSpPr>
          <a:xfrm>
            <a:off x="2995708" y="5650640"/>
            <a:ext cx="433176" cy="327474"/>
            <a:chOff x="2095500" y="20638"/>
            <a:chExt cx="3116263" cy="2355850"/>
          </a:xfrm>
          <a:noFill/>
        </p:grpSpPr>
        <p:sp>
          <p:nvSpPr>
            <p:cNvPr id="249" name="Freeform 65"/>
            <p:cNvSpPr>
              <a:spLocks noChangeArrowheads="1"/>
            </p:cNvSpPr>
            <p:nvPr/>
          </p:nvSpPr>
          <p:spPr bwMode="auto">
            <a:xfrm>
              <a:off x="2095500" y="20638"/>
              <a:ext cx="3116263" cy="2355850"/>
            </a:xfrm>
            <a:custGeom>
              <a:avLst/>
              <a:gdLst>
                <a:gd name="T0" fmla="*/ 8654 w 8655"/>
                <a:gd name="T1" fmla="*/ 5446 h 6543"/>
                <a:gd name="T2" fmla="*/ 8654 w 8655"/>
                <a:gd name="T3" fmla="*/ 0 h 6543"/>
                <a:gd name="T4" fmla="*/ 0 w 8655"/>
                <a:gd name="T5" fmla="*/ 0 h 6543"/>
                <a:gd name="T6" fmla="*/ 0 w 8655"/>
                <a:gd name="T7" fmla="*/ 5446 h 6543"/>
                <a:gd name="T8" fmla="*/ 4074 w 8655"/>
                <a:gd name="T9" fmla="*/ 5446 h 6543"/>
                <a:gd name="T10" fmla="*/ 4074 w 8655"/>
                <a:gd name="T11" fmla="*/ 5994 h 6543"/>
                <a:gd name="T12" fmla="*/ 2693 w 8655"/>
                <a:gd name="T13" fmla="*/ 5994 h 6543"/>
                <a:gd name="T14" fmla="*/ 2693 w 8655"/>
                <a:gd name="T15" fmla="*/ 6542 h 6543"/>
                <a:gd name="T16" fmla="*/ 5964 w 8655"/>
                <a:gd name="T17" fmla="*/ 6542 h 6543"/>
                <a:gd name="T18" fmla="*/ 5964 w 8655"/>
                <a:gd name="T19" fmla="*/ 5994 h 6543"/>
                <a:gd name="T20" fmla="*/ 4614 w 8655"/>
                <a:gd name="T21" fmla="*/ 5994 h 6543"/>
                <a:gd name="T22" fmla="*/ 4614 w 8655"/>
                <a:gd name="T23" fmla="*/ 5446 h 6543"/>
                <a:gd name="T24" fmla="*/ 8654 w 8655"/>
                <a:gd name="T25" fmla="*/ 5446 h 6543"/>
                <a:gd name="T26" fmla="*/ 548 w 8655"/>
                <a:gd name="T27" fmla="*/ 4899 h 6543"/>
                <a:gd name="T28" fmla="*/ 548 w 8655"/>
                <a:gd name="T29" fmla="*/ 548 h 6543"/>
                <a:gd name="T30" fmla="*/ 8107 w 8655"/>
                <a:gd name="T31" fmla="*/ 548 h 6543"/>
                <a:gd name="T32" fmla="*/ 8107 w 8655"/>
                <a:gd name="T33" fmla="*/ 4899 h 6543"/>
                <a:gd name="T34" fmla="*/ 548 w 8655"/>
                <a:gd name="T35" fmla="*/ 4899 h 6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55" h="6543">
                  <a:moveTo>
                    <a:pt x="8654" y="5446"/>
                  </a:moveTo>
                  <a:lnTo>
                    <a:pt x="8654" y="0"/>
                  </a:lnTo>
                  <a:lnTo>
                    <a:pt x="0" y="0"/>
                  </a:lnTo>
                  <a:lnTo>
                    <a:pt x="0" y="5446"/>
                  </a:lnTo>
                  <a:lnTo>
                    <a:pt x="4074" y="5446"/>
                  </a:lnTo>
                  <a:lnTo>
                    <a:pt x="4074" y="5994"/>
                  </a:lnTo>
                  <a:lnTo>
                    <a:pt x="2693" y="5994"/>
                  </a:lnTo>
                  <a:lnTo>
                    <a:pt x="2693" y="6542"/>
                  </a:lnTo>
                  <a:lnTo>
                    <a:pt x="5964" y="6542"/>
                  </a:lnTo>
                  <a:lnTo>
                    <a:pt x="5964" y="5994"/>
                  </a:lnTo>
                  <a:lnTo>
                    <a:pt x="4614" y="5994"/>
                  </a:lnTo>
                  <a:lnTo>
                    <a:pt x="4614" y="5446"/>
                  </a:lnTo>
                  <a:lnTo>
                    <a:pt x="8654" y="5446"/>
                  </a:lnTo>
                  <a:close/>
                  <a:moveTo>
                    <a:pt x="548" y="4899"/>
                  </a:moveTo>
                  <a:lnTo>
                    <a:pt x="548" y="548"/>
                  </a:lnTo>
                  <a:lnTo>
                    <a:pt x="8107" y="548"/>
                  </a:lnTo>
                  <a:lnTo>
                    <a:pt x="8107" y="4899"/>
                  </a:lnTo>
                  <a:lnTo>
                    <a:pt x="548" y="489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0" name="Freeform 66"/>
            <p:cNvSpPr>
              <a:spLocks noChangeArrowheads="1"/>
            </p:cNvSpPr>
            <p:nvPr/>
          </p:nvSpPr>
          <p:spPr bwMode="auto">
            <a:xfrm>
              <a:off x="3127375" y="349250"/>
              <a:ext cx="1054100" cy="1249363"/>
            </a:xfrm>
            <a:custGeom>
              <a:avLst/>
              <a:gdLst>
                <a:gd name="T0" fmla="*/ 2898 w 2930"/>
                <a:gd name="T1" fmla="*/ 826 h 3470"/>
                <a:gd name="T2" fmla="*/ 2898 w 2930"/>
                <a:gd name="T3" fmla="*/ 826 h 3470"/>
                <a:gd name="T4" fmla="*/ 2890 w 2930"/>
                <a:gd name="T5" fmla="*/ 818 h 3470"/>
                <a:gd name="T6" fmla="*/ 1485 w 2930"/>
                <a:gd name="T7" fmla="*/ 8 h 3470"/>
                <a:gd name="T8" fmla="*/ 1485 w 2930"/>
                <a:gd name="T9" fmla="*/ 8 h 3470"/>
                <a:gd name="T10" fmla="*/ 1461 w 2930"/>
                <a:gd name="T11" fmla="*/ 0 h 3470"/>
                <a:gd name="T12" fmla="*/ 1437 w 2930"/>
                <a:gd name="T13" fmla="*/ 8 h 3470"/>
                <a:gd name="T14" fmla="*/ 32 w 2930"/>
                <a:gd name="T15" fmla="*/ 818 h 3470"/>
                <a:gd name="T16" fmla="*/ 32 w 2930"/>
                <a:gd name="T17" fmla="*/ 818 h 3470"/>
                <a:gd name="T18" fmla="*/ 23 w 2930"/>
                <a:gd name="T19" fmla="*/ 826 h 3470"/>
                <a:gd name="T20" fmla="*/ 23 w 2930"/>
                <a:gd name="T21" fmla="*/ 826 h 3470"/>
                <a:gd name="T22" fmla="*/ 0 w 2930"/>
                <a:gd name="T23" fmla="*/ 842 h 3470"/>
                <a:gd name="T24" fmla="*/ 0 w 2930"/>
                <a:gd name="T25" fmla="*/ 873 h 3470"/>
                <a:gd name="T26" fmla="*/ 0 w 2930"/>
                <a:gd name="T27" fmla="*/ 2597 h 3470"/>
                <a:gd name="T28" fmla="*/ 0 w 2930"/>
                <a:gd name="T29" fmla="*/ 2597 h 3470"/>
                <a:gd name="T30" fmla="*/ 0 w 2930"/>
                <a:gd name="T31" fmla="*/ 2620 h 3470"/>
                <a:gd name="T32" fmla="*/ 23 w 2930"/>
                <a:gd name="T33" fmla="*/ 2644 h 3470"/>
                <a:gd name="T34" fmla="*/ 1437 w 2930"/>
                <a:gd name="T35" fmla="*/ 3461 h 3470"/>
                <a:gd name="T36" fmla="*/ 1437 w 2930"/>
                <a:gd name="T37" fmla="*/ 3461 h 3470"/>
                <a:gd name="T38" fmla="*/ 1461 w 2930"/>
                <a:gd name="T39" fmla="*/ 3469 h 3470"/>
                <a:gd name="T40" fmla="*/ 1461 w 2930"/>
                <a:gd name="T41" fmla="*/ 3469 h 3470"/>
                <a:gd name="T42" fmla="*/ 1485 w 2930"/>
                <a:gd name="T43" fmla="*/ 3461 h 3470"/>
                <a:gd name="T44" fmla="*/ 2898 w 2930"/>
                <a:gd name="T45" fmla="*/ 2644 h 3470"/>
                <a:gd name="T46" fmla="*/ 2898 w 2930"/>
                <a:gd name="T47" fmla="*/ 2644 h 3470"/>
                <a:gd name="T48" fmla="*/ 2922 w 2930"/>
                <a:gd name="T49" fmla="*/ 2620 h 3470"/>
                <a:gd name="T50" fmla="*/ 2929 w 2930"/>
                <a:gd name="T51" fmla="*/ 2597 h 3470"/>
                <a:gd name="T52" fmla="*/ 2929 w 2930"/>
                <a:gd name="T53" fmla="*/ 865 h 3470"/>
                <a:gd name="T54" fmla="*/ 2929 w 2930"/>
                <a:gd name="T55" fmla="*/ 865 h 3470"/>
                <a:gd name="T56" fmla="*/ 2922 w 2930"/>
                <a:gd name="T57" fmla="*/ 842 h 3470"/>
                <a:gd name="T58" fmla="*/ 2898 w 2930"/>
                <a:gd name="T59" fmla="*/ 826 h 3470"/>
                <a:gd name="T60" fmla="*/ 2565 w 2930"/>
                <a:gd name="T61" fmla="*/ 985 h 3470"/>
                <a:gd name="T62" fmla="*/ 1461 w 2930"/>
                <a:gd name="T63" fmla="*/ 1627 h 3470"/>
                <a:gd name="T64" fmla="*/ 357 w 2930"/>
                <a:gd name="T65" fmla="*/ 985 h 3470"/>
                <a:gd name="T66" fmla="*/ 1461 w 2930"/>
                <a:gd name="T67" fmla="*/ 350 h 3470"/>
                <a:gd name="T68" fmla="*/ 2565 w 2930"/>
                <a:gd name="T69" fmla="*/ 985 h 3470"/>
                <a:gd name="T70" fmla="*/ 2620 w 2930"/>
                <a:gd name="T71" fmla="*/ 1310 h 3470"/>
                <a:gd name="T72" fmla="*/ 2620 w 2930"/>
                <a:gd name="T73" fmla="*/ 2445 h 3470"/>
                <a:gd name="T74" fmla="*/ 1620 w 2930"/>
                <a:gd name="T75" fmla="*/ 3033 h 3470"/>
                <a:gd name="T76" fmla="*/ 1620 w 2930"/>
                <a:gd name="T77" fmla="*/ 1889 h 3470"/>
                <a:gd name="T78" fmla="*/ 2620 w 2930"/>
                <a:gd name="T79" fmla="*/ 1310 h 3470"/>
                <a:gd name="T80" fmla="*/ 1309 w 2930"/>
                <a:gd name="T81" fmla="*/ 1889 h 3470"/>
                <a:gd name="T82" fmla="*/ 1309 w 2930"/>
                <a:gd name="T83" fmla="*/ 3033 h 3470"/>
                <a:gd name="T84" fmla="*/ 302 w 2930"/>
                <a:gd name="T85" fmla="*/ 2445 h 3470"/>
                <a:gd name="T86" fmla="*/ 302 w 2930"/>
                <a:gd name="T87" fmla="*/ 1310 h 3470"/>
                <a:gd name="T88" fmla="*/ 1309 w 2930"/>
                <a:gd name="T89" fmla="*/ 1889 h 3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30" h="3470">
                  <a:moveTo>
                    <a:pt x="2898" y="826"/>
                  </a:moveTo>
                  <a:lnTo>
                    <a:pt x="2898" y="826"/>
                  </a:lnTo>
                  <a:lnTo>
                    <a:pt x="2890" y="818"/>
                  </a:lnTo>
                  <a:lnTo>
                    <a:pt x="1485" y="8"/>
                  </a:lnTo>
                  <a:lnTo>
                    <a:pt x="1485" y="8"/>
                  </a:lnTo>
                  <a:lnTo>
                    <a:pt x="1461" y="0"/>
                  </a:lnTo>
                  <a:lnTo>
                    <a:pt x="1437" y="8"/>
                  </a:lnTo>
                  <a:lnTo>
                    <a:pt x="32" y="818"/>
                  </a:lnTo>
                  <a:lnTo>
                    <a:pt x="32" y="818"/>
                  </a:lnTo>
                  <a:lnTo>
                    <a:pt x="23" y="826"/>
                  </a:lnTo>
                  <a:lnTo>
                    <a:pt x="23" y="826"/>
                  </a:lnTo>
                  <a:lnTo>
                    <a:pt x="0" y="842"/>
                  </a:lnTo>
                  <a:lnTo>
                    <a:pt x="0" y="873"/>
                  </a:lnTo>
                  <a:lnTo>
                    <a:pt x="0" y="2597"/>
                  </a:lnTo>
                  <a:lnTo>
                    <a:pt x="0" y="2597"/>
                  </a:lnTo>
                  <a:lnTo>
                    <a:pt x="0" y="2620"/>
                  </a:lnTo>
                  <a:lnTo>
                    <a:pt x="23" y="2644"/>
                  </a:lnTo>
                  <a:lnTo>
                    <a:pt x="1437" y="3461"/>
                  </a:lnTo>
                  <a:lnTo>
                    <a:pt x="1437" y="3461"/>
                  </a:lnTo>
                  <a:lnTo>
                    <a:pt x="1461" y="3469"/>
                  </a:lnTo>
                  <a:lnTo>
                    <a:pt x="1461" y="3469"/>
                  </a:lnTo>
                  <a:lnTo>
                    <a:pt x="1485" y="3461"/>
                  </a:lnTo>
                  <a:lnTo>
                    <a:pt x="2898" y="2644"/>
                  </a:lnTo>
                  <a:lnTo>
                    <a:pt x="2898" y="2644"/>
                  </a:lnTo>
                  <a:lnTo>
                    <a:pt x="2922" y="2620"/>
                  </a:lnTo>
                  <a:lnTo>
                    <a:pt x="2929" y="2597"/>
                  </a:lnTo>
                  <a:lnTo>
                    <a:pt x="2929" y="865"/>
                  </a:lnTo>
                  <a:lnTo>
                    <a:pt x="2929" y="865"/>
                  </a:lnTo>
                  <a:lnTo>
                    <a:pt x="2922" y="842"/>
                  </a:lnTo>
                  <a:lnTo>
                    <a:pt x="2898" y="826"/>
                  </a:lnTo>
                  <a:close/>
                  <a:moveTo>
                    <a:pt x="2565" y="985"/>
                  </a:moveTo>
                  <a:lnTo>
                    <a:pt x="1461" y="1627"/>
                  </a:lnTo>
                  <a:lnTo>
                    <a:pt x="357" y="985"/>
                  </a:lnTo>
                  <a:lnTo>
                    <a:pt x="1461" y="350"/>
                  </a:lnTo>
                  <a:lnTo>
                    <a:pt x="2565" y="985"/>
                  </a:lnTo>
                  <a:close/>
                  <a:moveTo>
                    <a:pt x="2620" y="1310"/>
                  </a:moveTo>
                  <a:lnTo>
                    <a:pt x="2620" y="2445"/>
                  </a:lnTo>
                  <a:lnTo>
                    <a:pt x="1620" y="3033"/>
                  </a:lnTo>
                  <a:lnTo>
                    <a:pt x="1620" y="1889"/>
                  </a:lnTo>
                  <a:lnTo>
                    <a:pt x="2620" y="1310"/>
                  </a:lnTo>
                  <a:close/>
                  <a:moveTo>
                    <a:pt x="1309" y="1889"/>
                  </a:moveTo>
                  <a:lnTo>
                    <a:pt x="1309" y="3033"/>
                  </a:lnTo>
                  <a:lnTo>
                    <a:pt x="302" y="2445"/>
                  </a:lnTo>
                  <a:lnTo>
                    <a:pt x="302" y="1310"/>
                  </a:lnTo>
                  <a:lnTo>
                    <a:pt x="1309" y="188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16" name="Rectangle 115">
            <a:extLst>
              <a:ext uri="{FF2B5EF4-FFF2-40B4-BE49-F238E27FC236}">
                <a16:creationId xmlns:a16="http://schemas.microsoft.com/office/drawing/2014/main" id="{D0A32857-E4F2-40CC-BB62-8FE3568EB6F0}"/>
              </a:ext>
            </a:extLst>
          </p:cNvPr>
          <p:cNvSpPr/>
          <p:nvPr/>
        </p:nvSpPr>
        <p:spPr>
          <a:xfrm>
            <a:off x="554076" y="5744961"/>
            <a:ext cx="889779" cy="331899"/>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Trusted</a:t>
            </a:r>
          </a:p>
        </p:txBody>
      </p:sp>
      <p:sp>
        <p:nvSpPr>
          <p:cNvPr id="133" name="Rectangle 132">
            <a:extLst>
              <a:ext uri="{FF2B5EF4-FFF2-40B4-BE49-F238E27FC236}">
                <a16:creationId xmlns:a16="http://schemas.microsoft.com/office/drawing/2014/main" id="{587D7066-8B06-48F6-9D9D-CE8DB483B2C3}"/>
              </a:ext>
            </a:extLst>
          </p:cNvPr>
          <p:cNvSpPr/>
          <p:nvPr/>
        </p:nvSpPr>
        <p:spPr>
          <a:xfrm>
            <a:off x="214024" y="4423914"/>
            <a:ext cx="1590664" cy="452590"/>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2353" b="0" i="0" u="none" strike="noStrike" kern="0" cap="none" spc="49"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Intelligent</a:t>
            </a:r>
          </a:p>
        </p:txBody>
      </p:sp>
      <p:sp>
        <p:nvSpPr>
          <p:cNvPr id="135" name="Rectangle 134">
            <a:extLst>
              <a:ext uri="{FF2B5EF4-FFF2-40B4-BE49-F238E27FC236}">
                <a16:creationId xmlns:a16="http://schemas.microsoft.com/office/drawing/2014/main" id="{E01FCFB5-BFC8-40DA-8851-C75F6FE1147A}"/>
              </a:ext>
            </a:extLst>
          </p:cNvPr>
          <p:cNvSpPr/>
          <p:nvPr/>
        </p:nvSpPr>
        <p:spPr>
          <a:xfrm>
            <a:off x="600013" y="3102867"/>
            <a:ext cx="818686" cy="333617"/>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Hybrid</a:t>
            </a:r>
          </a:p>
        </p:txBody>
      </p:sp>
      <p:sp>
        <p:nvSpPr>
          <p:cNvPr id="143" name="Rectangle 142">
            <a:extLst>
              <a:ext uri="{FF2B5EF4-FFF2-40B4-BE49-F238E27FC236}">
                <a16:creationId xmlns:a16="http://schemas.microsoft.com/office/drawing/2014/main" id="{6ACC106D-0B3A-451A-97C3-CBECB9DA5404}"/>
              </a:ext>
            </a:extLst>
          </p:cNvPr>
          <p:cNvSpPr/>
          <p:nvPr/>
        </p:nvSpPr>
        <p:spPr>
          <a:xfrm>
            <a:off x="412719" y="1791255"/>
            <a:ext cx="1193275" cy="333617"/>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Productive</a:t>
            </a:r>
          </a:p>
        </p:txBody>
      </p:sp>
      <p:sp>
        <p:nvSpPr>
          <p:cNvPr id="175" name="Freeform 174"/>
          <p:cNvSpPr>
            <a:spLocks noChangeArrowheads="1"/>
          </p:cNvSpPr>
          <p:nvPr/>
        </p:nvSpPr>
        <p:spPr bwMode="auto">
          <a:xfrm>
            <a:off x="768595" y="5091515"/>
            <a:ext cx="471273" cy="466323"/>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1"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28674" y="3704531"/>
            <a:ext cx="371476" cy="55151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93"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00949" y="1160459"/>
            <a:ext cx="431098" cy="43109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194" name="Group 193">
            <a:extLst>
              <a:ext uri="{FF2B5EF4-FFF2-40B4-BE49-F238E27FC236}">
                <a16:creationId xmlns:a16="http://schemas.microsoft.com/office/drawing/2014/main" id="{D5637843-A804-4566-8EA5-DA973F5E429A}"/>
              </a:ext>
            </a:extLst>
          </p:cNvPr>
          <p:cNvGrpSpPr/>
          <p:nvPr/>
        </p:nvGrpSpPr>
        <p:grpSpPr>
          <a:xfrm>
            <a:off x="775290" y="2524056"/>
            <a:ext cx="451261" cy="440761"/>
            <a:chOff x="2088630" y="3287843"/>
            <a:chExt cx="429718" cy="419725"/>
          </a:xfrm>
          <a:noFill/>
        </p:grpSpPr>
        <p:sp>
          <p:nvSpPr>
            <p:cNvPr id="195" name="Rectangle 194">
              <a:extLst>
                <a:ext uri="{FF2B5EF4-FFF2-40B4-BE49-F238E27FC236}">
                  <a16:creationId xmlns:a16="http://schemas.microsoft.com/office/drawing/2014/main" id="{CB04EC4A-920F-43A1-8283-7054C2DD5EB6}"/>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96" name="Rectangle 195">
              <a:extLst>
                <a:ext uri="{FF2B5EF4-FFF2-40B4-BE49-F238E27FC236}">
                  <a16:creationId xmlns:a16="http://schemas.microsoft.com/office/drawing/2014/main" id="{F4465575-ED05-4AB7-8C13-4BAC0922F7E1}"/>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176" name="Rectangle 175">
            <a:extLst>
              <a:ext uri="{FF2B5EF4-FFF2-40B4-BE49-F238E27FC236}">
                <a16:creationId xmlns:a16="http://schemas.microsoft.com/office/drawing/2014/main" id="{3096C259-C620-4D7B-A502-3C867B5885A8}"/>
              </a:ext>
            </a:extLst>
          </p:cNvPr>
          <p:cNvSpPr/>
          <p:nvPr/>
        </p:nvSpPr>
        <p:spPr bwMode="auto">
          <a:xfrm>
            <a:off x="4162731" y="4792033"/>
            <a:ext cx="1697744" cy="3159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45720" rIns="0" bIns="45720" numCol="1" rtlCol="0" anchor="ctr" anchorCtr="0" compatLnSpc="1">
            <a:prstTxWarp prst="textNoShape">
              <a:avLst/>
            </a:prstTxWarp>
          </a:bodyPr>
          <a:lstStyle/>
          <a:p>
            <a:pPr marL="0" marR="0" lvl="0" indent="0" algn="l" defTabSz="914102" rtl="0" eaLnBrk="1" fontAlgn="base" latinLnBrk="0" hangingPunct="1">
              <a:lnSpc>
                <a:spcPct val="90000"/>
              </a:lnSpc>
              <a:spcBef>
                <a:spcPts val="294"/>
              </a:spcBef>
              <a:spcAft>
                <a:spcPts val="588"/>
              </a:spcAft>
              <a:buClrTx/>
              <a:buSzTx/>
              <a:buFontTx/>
              <a:buNone/>
              <a:tabLst/>
              <a:defRPr/>
            </a:pPr>
            <a:r>
              <a:rPr kumimoji="0" lang="en-US" sz="1568" b="1" i="0" u="none" strike="noStrike" kern="0" cap="none" spc="0" normalizeH="0" baseline="0" noProof="0" dirty="0">
                <a:ln>
                  <a:noFill/>
                </a:ln>
                <a:gradFill>
                  <a:gsLst>
                    <a:gs pos="0">
                      <a:srgbClr val="353535"/>
                    </a:gs>
                    <a:gs pos="100000">
                      <a:srgbClr val="353535"/>
                    </a:gs>
                  </a:gsLst>
                  <a:lin ang="5400000" scaled="0"/>
                </a:gradFill>
                <a:effectLst/>
                <a:uLnTx/>
                <a:uFillTx/>
                <a:latin typeface="Segoe UI" charset="0"/>
                <a:ea typeface="Segoe UI" charset="0"/>
                <a:cs typeface="Segoe UI" charset="0"/>
              </a:rPr>
              <a:t>Azure Machine Learning</a:t>
            </a:r>
          </a:p>
        </p:txBody>
      </p:sp>
      <p:cxnSp>
        <p:nvCxnSpPr>
          <p:cNvPr id="180" name="Straight Connector 179">
            <a:extLst>
              <a:ext uri="{FF2B5EF4-FFF2-40B4-BE49-F238E27FC236}">
                <a16:creationId xmlns:a16="http://schemas.microsoft.com/office/drawing/2014/main" id="{A5BF6C24-357B-4B4B-A782-A25B80DC9450}"/>
              </a:ext>
            </a:extLst>
          </p:cNvPr>
          <p:cNvCxnSpPr>
            <a:cxnSpLocks/>
          </p:cNvCxnSpPr>
          <p:nvPr/>
        </p:nvCxnSpPr>
        <p:spPr>
          <a:xfrm flipH="1" flipV="1">
            <a:off x="1954222" y="5542175"/>
            <a:ext cx="1262335" cy="255342"/>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1" name="Straight Connector 200">
            <a:extLst>
              <a:ext uri="{FF2B5EF4-FFF2-40B4-BE49-F238E27FC236}">
                <a16:creationId xmlns:a16="http://schemas.microsoft.com/office/drawing/2014/main" id="{AF4B0242-F145-4D93-B056-692E1E0A28E1}"/>
              </a:ext>
            </a:extLst>
          </p:cNvPr>
          <p:cNvCxnSpPr>
            <a:cxnSpLocks/>
          </p:cNvCxnSpPr>
          <p:nvPr/>
        </p:nvCxnSpPr>
        <p:spPr>
          <a:xfrm flipV="1">
            <a:off x="2894528" y="4023005"/>
            <a:ext cx="1099404" cy="438300"/>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2" name="Straight Connector 201">
            <a:extLst>
              <a:ext uri="{FF2B5EF4-FFF2-40B4-BE49-F238E27FC236}">
                <a16:creationId xmlns:a16="http://schemas.microsoft.com/office/drawing/2014/main" id="{96EE2FFA-D5AB-41E7-B27C-FCB5DF0AE7D3}"/>
              </a:ext>
            </a:extLst>
          </p:cNvPr>
          <p:cNvCxnSpPr>
            <a:cxnSpLocks/>
          </p:cNvCxnSpPr>
          <p:nvPr/>
        </p:nvCxnSpPr>
        <p:spPr>
          <a:xfrm flipH="1">
            <a:off x="3950102" y="4001090"/>
            <a:ext cx="47481" cy="1051921"/>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8" name="Straight Connector 207">
            <a:extLst>
              <a:ext uri="{FF2B5EF4-FFF2-40B4-BE49-F238E27FC236}">
                <a16:creationId xmlns:a16="http://schemas.microsoft.com/office/drawing/2014/main" id="{F6FCAC69-FEB2-40A8-A2EC-F03E9343F87F}"/>
              </a:ext>
            </a:extLst>
          </p:cNvPr>
          <p:cNvCxnSpPr>
            <a:cxnSpLocks/>
          </p:cNvCxnSpPr>
          <p:nvPr/>
        </p:nvCxnSpPr>
        <p:spPr>
          <a:xfrm flipH="1">
            <a:off x="3219600" y="5156347"/>
            <a:ext cx="643577" cy="63812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9" name="Straight Connector 208">
            <a:extLst>
              <a:ext uri="{FF2B5EF4-FFF2-40B4-BE49-F238E27FC236}">
                <a16:creationId xmlns:a16="http://schemas.microsoft.com/office/drawing/2014/main" id="{68947A17-B899-4D5A-B05D-28166BB9816E}"/>
              </a:ext>
            </a:extLst>
          </p:cNvPr>
          <p:cNvCxnSpPr>
            <a:cxnSpLocks/>
          </p:cNvCxnSpPr>
          <p:nvPr/>
        </p:nvCxnSpPr>
        <p:spPr>
          <a:xfrm>
            <a:off x="3950101" y="5074926"/>
            <a:ext cx="942346" cy="723196"/>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10" name="Straight Connector 209">
            <a:extLst>
              <a:ext uri="{FF2B5EF4-FFF2-40B4-BE49-F238E27FC236}">
                <a16:creationId xmlns:a16="http://schemas.microsoft.com/office/drawing/2014/main" id="{11D12DB0-8BDD-42D8-B0A7-892C0F2202AD}"/>
              </a:ext>
            </a:extLst>
          </p:cNvPr>
          <p:cNvCxnSpPr>
            <a:cxnSpLocks/>
          </p:cNvCxnSpPr>
          <p:nvPr/>
        </p:nvCxnSpPr>
        <p:spPr>
          <a:xfrm flipH="1">
            <a:off x="4870532" y="5071273"/>
            <a:ext cx="964262" cy="726849"/>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12" name="Straight Connector 211">
            <a:extLst>
              <a:ext uri="{FF2B5EF4-FFF2-40B4-BE49-F238E27FC236}">
                <a16:creationId xmlns:a16="http://schemas.microsoft.com/office/drawing/2014/main" id="{76E0AD83-380E-4DD4-B1AC-6E88B29A97EB}"/>
              </a:ext>
            </a:extLst>
          </p:cNvPr>
          <p:cNvCxnSpPr>
            <a:cxnSpLocks/>
          </p:cNvCxnSpPr>
          <p:nvPr/>
        </p:nvCxnSpPr>
        <p:spPr>
          <a:xfrm flipH="1" flipV="1">
            <a:off x="1954222" y="3723850"/>
            <a:ext cx="932091" cy="737459"/>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nvGrpSpPr>
          <p:cNvPr id="247" name="Group 246">
            <a:extLst>
              <a:ext uri="{FF2B5EF4-FFF2-40B4-BE49-F238E27FC236}">
                <a16:creationId xmlns:a16="http://schemas.microsoft.com/office/drawing/2014/main" id="{1AC62FCE-A32D-4CBE-A525-9557D7D8CDDA}"/>
              </a:ext>
            </a:extLst>
          </p:cNvPr>
          <p:cNvGrpSpPr/>
          <p:nvPr/>
        </p:nvGrpSpPr>
        <p:grpSpPr>
          <a:xfrm>
            <a:off x="3681707" y="4788828"/>
            <a:ext cx="545684" cy="545685"/>
            <a:chOff x="2724596" y="4691998"/>
            <a:chExt cx="593351" cy="593351"/>
          </a:xfrm>
        </p:grpSpPr>
        <p:sp>
          <p:nvSpPr>
            <p:cNvPr id="251" name="Oval 250">
              <a:extLst>
                <a:ext uri="{FF2B5EF4-FFF2-40B4-BE49-F238E27FC236}">
                  <a16:creationId xmlns:a16="http://schemas.microsoft.com/office/drawing/2014/main" id="{5A32FFBD-B132-426A-9535-BCDE9A880763}"/>
                </a:ext>
              </a:extLst>
            </p:cNvPr>
            <p:cNvSpPr/>
            <p:nvPr/>
          </p:nvSpPr>
          <p:spPr bwMode="auto">
            <a:xfrm>
              <a:off x="2724596" y="4691998"/>
              <a:ext cx="593351" cy="593351"/>
            </a:xfrm>
            <a:prstGeom prst="ellipse">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52" name="Graphic 6">
              <a:extLst>
                <a:ext uri="{FF2B5EF4-FFF2-40B4-BE49-F238E27FC236}">
                  <a16:creationId xmlns:a16="http://schemas.microsoft.com/office/drawing/2014/main" id="{8CF6053D-BF33-42B9-BBE4-E9318ABE318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70159" y="4825879"/>
              <a:ext cx="281856" cy="300587"/>
            </a:xfrm>
            <a:prstGeom prst="rect">
              <a:avLst/>
            </a:prstGeom>
            <a:ln w="19050">
              <a:noFill/>
            </a:ln>
          </p:spPr>
        </p:pic>
      </p:grpSp>
      <p:cxnSp>
        <p:nvCxnSpPr>
          <p:cNvPr id="142" name="Straight Connector 141">
            <a:extLst>
              <a:ext uri="{FF2B5EF4-FFF2-40B4-BE49-F238E27FC236}">
                <a16:creationId xmlns:a16="http://schemas.microsoft.com/office/drawing/2014/main" id="{22491D93-6F6D-4B02-911C-3F451CE91E22}"/>
              </a:ext>
            </a:extLst>
          </p:cNvPr>
          <p:cNvCxnSpPr>
            <a:cxnSpLocks/>
          </p:cNvCxnSpPr>
          <p:nvPr/>
        </p:nvCxnSpPr>
        <p:spPr>
          <a:xfrm>
            <a:off x="1954222" y="487"/>
            <a:ext cx="0" cy="6888317"/>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11" name="Straight Connector 210">
            <a:extLst>
              <a:ext uri="{FF2B5EF4-FFF2-40B4-BE49-F238E27FC236}">
                <a16:creationId xmlns:a16="http://schemas.microsoft.com/office/drawing/2014/main" id="{2BE9F79E-A741-4C16-A7DE-01DB5115E965}"/>
              </a:ext>
            </a:extLst>
          </p:cNvPr>
          <p:cNvCxnSpPr>
            <a:cxnSpLocks/>
          </p:cNvCxnSpPr>
          <p:nvPr/>
        </p:nvCxnSpPr>
        <p:spPr>
          <a:xfrm>
            <a:off x="5842098" y="5078579"/>
            <a:ext cx="857569" cy="79163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77" name="Straight Connector 176">
            <a:extLst>
              <a:ext uri="{FF2B5EF4-FFF2-40B4-BE49-F238E27FC236}">
                <a16:creationId xmlns:a16="http://schemas.microsoft.com/office/drawing/2014/main" id="{69A29850-6261-4D0D-B27D-D2CE65BA3D03}"/>
              </a:ext>
            </a:extLst>
          </p:cNvPr>
          <p:cNvCxnSpPr>
            <a:cxnSpLocks/>
          </p:cNvCxnSpPr>
          <p:nvPr/>
        </p:nvCxnSpPr>
        <p:spPr>
          <a:xfrm flipH="1" flipV="1">
            <a:off x="6426676" y="-18822"/>
            <a:ext cx="262401" cy="1713128"/>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78" name="Straight Connector 177">
            <a:extLst>
              <a:ext uri="{FF2B5EF4-FFF2-40B4-BE49-F238E27FC236}">
                <a16:creationId xmlns:a16="http://schemas.microsoft.com/office/drawing/2014/main" id="{A5928457-67B3-43E2-A8F9-8210F7B77E0D}"/>
              </a:ext>
            </a:extLst>
          </p:cNvPr>
          <p:cNvCxnSpPr>
            <a:cxnSpLocks/>
          </p:cNvCxnSpPr>
          <p:nvPr/>
        </p:nvCxnSpPr>
        <p:spPr>
          <a:xfrm>
            <a:off x="8981779" y="2695971"/>
            <a:ext cx="1668535" cy="1094560"/>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79" name="Straight Connector 178">
            <a:extLst>
              <a:ext uri="{FF2B5EF4-FFF2-40B4-BE49-F238E27FC236}">
                <a16:creationId xmlns:a16="http://schemas.microsoft.com/office/drawing/2014/main" id="{F4F8A8E8-B748-48F4-AE20-37E57996CCE8}"/>
              </a:ext>
            </a:extLst>
          </p:cNvPr>
          <p:cNvCxnSpPr>
            <a:cxnSpLocks/>
          </p:cNvCxnSpPr>
          <p:nvPr/>
        </p:nvCxnSpPr>
        <p:spPr>
          <a:xfrm>
            <a:off x="3716728" y="2496095"/>
            <a:ext cx="508308" cy="614838"/>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2" name="Straight Connector 181">
            <a:extLst>
              <a:ext uri="{FF2B5EF4-FFF2-40B4-BE49-F238E27FC236}">
                <a16:creationId xmlns:a16="http://schemas.microsoft.com/office/drawing/2014/main" id="{35B1AA9B-3053-469A-BE76-711D93651688}"/>
              </a:ext>
            </a:extLst>
          </p:cNvPr>
          <p:cNvCxnSpPr>
            <a:cxnSpLocks/>
          </p:cNvCxnSpPr>
          <p:nvPr/>
        </p:nvCxnSpPr>
        <p:spPr>
          <a:xfrm>
            <a:off x="10733521" y="2219988"/>
            <a:ext cx="1458479" cy="547445"/>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3" name="Straight Connector 182">
            <a:extLst>
              <a:ext uri="{FF2B5EF4-FFF2-40B4-BE49-F238E27FC236}">
                <a16:creationId xmlns:a16="http://schemas.microsoft.com/office/drawing/2014/main" id="{1B3B99FF-AE98-46C6-97CB-FB39EE945FFE}"/>
              </a:ext>
            </a:extLst>
          </p:cNvPr>
          <p:cNvCxnSpPr>
            <a:cxnSpLocks/>
          </p:cNvCxnSpPr>
          <p:nvPr/>
        </p:nvCxnSpPr>
        <p:spPr>
          <a:xfrm>
            <a:off x="10435936" y="1344271"/>
            <a:ext cx="298288" cy="864426"/>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4" name="Straight Connector 183">
            <a:extLst>
              <a:ext uri="{FF2B5EF4-FFF2-40B4-BE49-F238E27FC236}">
                <a16:creationId xmlns:a16="http://schemas.microsoft.com/office/drawing/2014/main" id="{992D2410-9319-424D-85D0-CA9F7B908C29}"/>
              </a:ext>
            </a:extLst>
          </p:cNvPr>
          <p:cNvCxnSpPr>
            <a:cxnSpLocks/>
          </p:cNvCxnSpPr>
          <p:nvPr/>
        </p:nvCxnSpPr>
        <p:spPr>
          <a:xfrm flipH="1" flipV="1">
            <a:off x="2514444" y="2316512"/>
            <a:ext cx="1232721" cy="206976"/>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5" name="Straight Connector 184">
            <a:extLst>
              <a:ext uri="{FF2B5EF4-FFF2-40B4-BE49-F238E27FC236}">
                <a16:creationId xmlns:a16="http://schemas.microsoft.com/office/drawing/2014/main" id="{D6B812CD-8ADA-4FA6-9F8E-9BB2E0B21180}"/>
              </a:ext>
            </a:extLst>
          </p:cNvPr>
          <p:cNvCxnSpPr>
            <a:cxnSpLocks/>
          </p:cNvCxnSpPr>
          <p:nvPr/>
        </p:nvCxnSpPr>
        <p:spPr>
          <a:xfrm flipV="1">
            <a:off x="2514444" y="1485568"/>
            <a:ext cx="1266201" cy="82790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6" name="Straight Connector 185">
            <a:extLst>
              <a:ext uri="{FF2B5EF4-FFF2-40B4-BE49-F238E27FC236}">
                <a16:creationId xmlns:a16="http://schemas.microsoft.com/office/drawing/2014/main" id="{EB859D37-F115-48C0-A41F-35976F245644}"/>
              </a:ext>
            </a:extLst>
          </p:cNvPr>
          <p:cNvCxnSpPr>
            <a:cxnSpLocks/>
          </p:cNvCxnSpPr>
          <p:nvPr/>
        </p:nvCxnSpPr>
        <p:spPr>
          <a:xfrm flipV="1">
            <a:off x="3772435" y="1485568"/>
            <a:ext cx="1379421" cy="5980"/>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7" name="Straight Connector 186">
            <a:extLst>
              <a:ext uri="{FF2B5EF4-FFF2-40B4-BE49-F238E27FC236}">
                <a16:creationId xmlns:a16="http://schemas.microsoft.com/office/drawing/2014/main" id="{91378466-45F6-4E4B-8072-6983C18DDDBD}"/>
              </a:ext>
            </a:extLst>
          </p:cNvPr>
          <p:cNvCxnSpPr>
            <a:cxnSpLocks/>
          </p:cNvCxnSpPr>
          <p:nvPr/>
        </p:nvCxnSpPr>
        <p:spPr>
          <a:xfrm flipV="1">
            <a:off x="5142726" y="-58484"/>
            <a:ext cx="742002" cy="1544052"/>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8" name="Straight Connector 187">
            <a:extLst>
              <a:ext uri="{FF2B5EF4-FFF2-40B4-BE49-F238E27FC236}">
                <a16:creationId xmlns:a16="http://schemas.microsoft.com/office/drawing/2014/main" id="{680710C2-4368-4D83-AE1A-3F622F232562}"/>
              </a:ext>
            </a:extLst>
          </p:cNvPr>
          <p:cNvCxnSpPr>
            <a:cxnSpLocks/>
          </p:cNvCxnSpPr>
          <p:nvPr/>
        </p:nvCxnSpPr>
        <p:spPr>
          <a:xfrm flipV="1">
            <a:off x="9495415" y="1348532"/>
            <a:ext cx="938693" cy="383512"/>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9" name="Straight Connector 188">
            <a:extLst>
              <a:ext uri="{FF2B5EF4-FFF2-40B4-BE49-F238E27FC236}">
                <a16:creationId xmlns:a16="http://schemas.microsoft.com/office/drawing/2014/main" id="{EBA3E0FE-3E21-41A5-8306-0B97C22BC36B}"/>
              </a:ext>
            </a:extLst>
          </p:cNvPr>
          <p:cNvCxnSpPr>
            <a:cxnSpLocks/>
          </p:cNvCxnSpPr>
          <p:nvPr/>
        </p:nvCxnSpPr>
        <p:spPr>
          <a:xfrm flipH="1" flipV="1">
            <a:off x="8677438" y="1477272"/>
            <a:ext cx="803369" cy="265731"/>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0" name="Straight Connector 189">
            <a:extLst>
              <a:ext uri="{FF2B5EF4-FFF2-40B4-BE49-F238E27FC236}">
                <a16:creationId xmlns:a16="http://schemas.microsoft.com/office/drawing/2014/main" id="{BF6EAC73-190F-4AFA-BCA7-1E1406D3E461}"/>
              </a:ext>
            </a:extLst>
          </p:cNvPr>
          <p:cNvCxnSpPr>
            <a:cxnSpLocks/>
          </p:cNvCxnSpPr>
          <p:nvPr/>
        </p:nvCxnSpPr>
        <p:spPr>
          <a:xfrm flipV="1">
            <a:off x="10437762" y="-4571"/>
            <a:ext cx="476511" cy="136771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7" name="Straight Connector 196">
            <a:extLst>
              <a:ext uri="{FF2B5EF4-FFF2-40B4-BE49-F238E27FC236}">
                <a16:creationId xmlns:a16="http://schemas.microsoft.com/office/drawing/2014/main" id="{1DDE171A-6960-42C1-BD87-3872A32740C6}"/>
              </a:ext>
            </a:extLst>
          </p:cNvPr>
          <p:cNvCxnSpPr>
            <a:cxnSpLocks/>
          </p:cNvCxnSpPr>
          <p:nvPr/>
        </p:nvCxnSpPr>
        <p:spPr>
          <a:xfrm>
            <a:off x="9142745" y="4971467"/>
            <a:ext cx="381990" cy="1053139"/>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8" name="Straight Connector 197">
            <a:extLst>
              <a:ext uri="{FF2B5EF4-FFF2-40B4-BE49-F238E27FC236}">
                <a16:creationId xmlns:a16="http://schemas.microsoft.com/office/drawing/2014/main" id="{053A8A91-A9CC-4828-B77E-9EB54BDF6484}"/>
              </a:ext>
            </a:extLst>
          </p:cNvPr>
          <p:cNvCxnSpPr>
            <a:cxnSpLocks/>
          </p:cNvCxnSpPr>
          <p:nvPr/>
        </p:nvCxnSpPr>
        <p:spPr>
          <a:xfrm flipV="1">
            <a:off x="9526258" y="5579201"/>
            <a:ext cx="1217495" cy="449971"/>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9" name="Straight Connector 198">
            <a:extLst>
              <a:ext uri="{FF2B5EF4-FFF2-40B4-BE49-F238E27FC236}">
                <a16:creationId xmlns:a16="http://schemas.microsoft.com/office/drawing/2014/main" id="{D9EDB5EA-2AF8-4026-B718-643685FC7094}"/>
              </a:ext>
            </a:extLst>
          </p:cNvPr>
          <p:cNvCxnSpPr>
            <a:cxnSpLocks/>
          </p:cNvCxnSpPr>
          <p:nvPr/>
        </p:nvCxnSpPr>
        <p:spPr>
          <a:xfrm flipV="1">
            <a:off x="7974705" y="4958122"/>
            <a:ext cx="1187746" cy="903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0" name="Straight Connector 199">
            <a:extLst>
              <a:ext uri="{FF2B5EF4-FFF2-40B4-BE49-F238E27FC236}">
                <a16:creationId xmlns:a16="http://schemas.microsoft.com/office/drawing/2014/main" id="{FC63F150-5092-419E-B4A9-FB9A8E978B9A}"/>
              </a:ext>
            </a:extLst>
          </p:cNvPr>
          <p:cNvCxnSpPr>
            <a:cxnSpLocks/>
          </p:cNvCxnSpPr>
          <p:nvPr/>
        </p:nvCxnSpPr>
        <p:spPr>
          <a:xfrm>
            <a:off x="10772118" y="5579201"/>
            <a:ext cx="1419882" cy="194325"/>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3" name="Straight Connector 202">
            <a:extLst>
              <a:ext uri="{FF2B5EF4-FFF2-40B4-BE49-F238E27FC236}">
                <a16:creationId xmlns:a16="http://schemas.microsoft.com/office/drawing/2014/main" id="{D3603773-3F70-43A7-ABA7-290FF9B9E577}"/>
              </a:ext>
            </a:extLst>
          </p:cNvPr>
          <p:cNvCxnSpPr>
            <a:cxnSpLocks/>
          </p:cNvCxnSpPr>
          <p:nvPr/>
        </p:nvCxnSpPr>
        <p:spPr>
          <a:xfrm flipH="1">
            <a:off x="8988452" y="1743002"/>
            <a:ext cx="510008" cy="917929"/>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1" name="Group 10"/>
          <p:cNvGrpSpPr/>
          <p:nvPr/>
        </p:nvGrpSpPr>
        <p:grpSpPr>
          <a:xfrm>
            <a:off x="6192944" y="1491285"/>
            <a:ext cx="2483999" cy="1082662"/>
            <a:chOff x="6192944" y="1491285"/>
            <a:chExt cx="2483999" cy="1082662"/>
          </a:xfrm>
        </p:grpSpPr>
        <p:cxnSp>
          <p:nvCxnSpPr>
            <p:cNvPr id="192" name="Straight Connector 191">
              <a:extLst>
                <a:ext uri="{FF2B5EF4-FFF2-40B4-BE49-F238E27FC236}">
                  <a16:creationId xmlns:a16="http://schemas.microsoft.com/office/drawing/2014/main" id="{C8EE2429-B37C-4303-971F-50F082E5F27E}"/>
                </a:ext>
              </a:extLst>
            </p:cNvPr>
            <p:cNvCxnSpPr>
              <a:cxnSpLocks/>
            </p:cNvCxnSpPr>
            <p:nvPr/>
          </p:nvCxnSpPr>
          <p:spPr>
            <a:xfrm flipV="1">
              <a:off x="6192944" y="1753947"/>
              <a:ext cx="511618" cy="820000"/>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1" name="Straight Connector 190">
              <a:extLst>
                <a:ext uri="{FF2B5EF4-FFF2-40B4-BE49-F238E27FC236}">
                  <a16:creationId xmlns:a16="http://schemas.microsoft.com/office/drawing/2014/main" id="{B9933E74-2E10-4B2E-9B5A-284F5875FF6E}"/>
                </a:ext>
              </a:extLst>
            </p:cNvPr>
            <p:cNvCxnSpPr>
              <a:cxnSpLocks/>
            </p:cNvCxnSpPr>
            <p:nvPr/>
          </p:nvCxnSpPr>
          <p:spPr>
            <a:xfrm flipH="1">
              <a:off x="8096195" y="1491285"/>
              <a:ext cx="580748" cy="975219"/>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4" name="Straight Connector 203">
              <a:extLst>
                <a:ext uri="{FF2B5EF4-FFF2-40B4-BE49-F238E27FC236}">
                  <a16:creationId xmlns:a16="http://schemas.microsoft.com/office/drawing/2014/main" id="{6164DFD3-B6B4-4480-87BC-AA0F2B3EBDB4}"/>
                </a:ext>
              </a:extLst>
            </p:cNvPr>
            <p:cNvCxnSpPr>
              <a:cxnSpLocks/>
            </p:cNvCxnSpPr>
            <p:nvPr/>
          </p:nvCxnSpPr>
          <p:spPr>
            <a:xfrm>
              <a:off x="6704562" y="1753947"/>
              <a:ext cx="1392225" cy="71243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cxnSp>
        <p:nvCxnSpPr>
          <p:cNvPr id="205" name="Straight Connector 204">
            <a:extLst>
              <a:ext uri="{FF2B5EF4-FFF2-40B4-BE49-F238E27FC236}">
                <a16:creationId xmlns:a16="http://schemas.microsoft.com/office/drawing/2014/main" id="{1F05EA8F-643E-462C-B599-5B30C221E298}"/>
              </a:ext>
            </a:extLst>
          </p:cNvPr>
          <p:cNvCxnSpPr>
            <a:cxnSpLocks/>
          </p:cNvCxnSpPr>
          <p:nvPr/>
        </p:nvCxnSpPr>
        <p:spPr>
          <a:xfrm flipH="1" flipV="1">
            <a:off x="8091447" y="634995"/>
            <a:ext cx="592348" cy="854922"/>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6" name="Straight Connector 205">
            <a:extLst>
              <a:ext uri="{FF2B5EF4-FFF2-40B4-BE49-F238E27FC236}">
                <a16:creationId xmlns:a16="http://schemas.microsoft.com/office/drawing/2014/main" id="{7A2AFCD4-3975-4CF5-9A04-0C4C3BB7D305}"/>
              </a:ext>
            </a:extLst>
          </p:cNvPr>
          <p:cNvCxnSpPr>
            <a:cxnSpLocks/>
          </p:cNvCxnSpPr>
          <p:nvPr/>
        </p:nvCxnSpPr>
        <p:spPr>
          <a:xfrm flipH="1">
            <a:off x="10673908" y="1978741"/>
            <a:ext cx="1567751" cy="1785718"/>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7" name="Straight Connector 206">
            <a:extLst>
              <a:ext uri="{FF2B5EF4-FFF2-40B4-BE49-F238E27FC236}">
                <a16:creationId xmlns:a16="http://schemas.microsoft.com/office/drawing/2014/main" id="{AA503B7B-7589-4648-B273-5952F362EF73}"/>
              </a:ext>
            </a:extLst>
          </p:cNvPr>
          <p:cNvCxnSpPr>
            <a:cxnSpLocks/>
          </p:cNvCxnSpPr>
          <p:nvPr/>
        </p:nvCxnSpPr>
        <p:spPr>
          <a:xfrm flipV="1">
            <a:off x="9328414" y="3777181"/>
            <a:ext cx="1335250" cy="547522"/>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13" name="Straight Connector 212">
            <a:extLst>
              <a:ext uri="{FF2B5EF4-FFF2-40B4-BE49-F238E27FC236}">
                <a16:creationId xmlns:a16="http://schemas.microsoft.com/office/drawing/2014/main" id="{390A30F9-6F46-4471-A4AB-3F823E4D49AE}"/>
              </a:ext>
            </a:extLst>
          </p:cNvPr>
          <p:cNvCxnSpPr>
            <a:cxnSpLocks/>
          </p:cNvCxnSpPr>
          <p:nvPr/>
        </p:nvCxnSpPr>
        <p:spPr>
          <a:xfrm flipH="1" flipV="1">
            <a:off x="3388380" y="611361"/>
            <a:ext cx="382375" cy="883340"/>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14" name="Rectangle 213">
            <a:extLst>
              <a:ext uri="{FF2B5EF4-FFF2-40B4-BE49-F238E27FC236}">
                <a16:creationId xmlns:a16="http://schemas.microsoft.com/office/drawing/2014/main" id="{6BBCB851-E6EE-4C48-9545-DDAB86416409}"/>
              </a:ext>
            </a:extLst>
          </p:cNvPr>
          <p:cNvSpPr/>
          <p:nvPr/>
        </p:nvSpPr>
        <p:spPr bwMode="auto">
          <a:xfrm>
            <a:off x="4267982" y="3414462"/>
            <a:ext cx="5629864" cy="58486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367" rtl="0" eaLnBrk="1" fontAlgn="base" latinLnBrk="0" hangingPunct="1">
              <a:lnSpc>
                <a:spcPct val="90000"/>
              </a:lnSpc>
              <a:spcBef>
                <a:spcPct val="0"/>
              </a:spcBef>
              <a:spcAft>
                <a:spcPct val="0"/>
              </a:spcAft>
              <a:buClrTx/>
              <a:buSzTx/>
              <a:buFontTx/>
              <a:buNone/>
              <a:tabLst/>
              <a:defRPr/>
            </a:pPr>
            <a:r>
              <a:rPr kumimoji="0" lang="en-US" sz="4000" b="0" i="0" u="none" strike="noStrike" kern="0" cap="none" spc="49" normalizeH="0" baseline="0" noProof="0" dirty="0">
                <a:ln w="3175">
                  <a:noFill/>
                </a:ln>
                <a:solidFill>
                  <a:srgbClr val="505050"/>
                </a:solidFill>
                <a:effectLst/>
                <a:uLnTx/>
                <a:uFillTx/>
                <a:latin typeface="Segoe UI Light" panose="020B0502040204020203" pitchFamily="34" charset="0"/>
                <a:ea typeface="+mn-ea"/>
                <a:cs typeface="Segoe UI Light" panose="020B0502040204020203" pitchFamily="34" charset="0"/>
              </a:rPr>
              <a:t>AI for every developer and every scenario</a:t>
            </a:r>
          </a:p>
        </p:txBody>
      </p:sp>
      <p:sp>
        <p:nvSpPr>
          <p:cNvPr id="215" name="Rectangle 214">
            <a:extLst>
              <a:ext uri="{FF2B5EF4-FFF2-40B4-BE49-F238E27FC236}">
                <a16:creationId xmlns:a16="http://schemas.microsoft.com/office/drawing/2014/main" id="{4DFD79B8-5E30-4B9A-A109-9000A347CB8C}"/>
              </a:ext>
            </a:extLst>
          </p:cNvPr>
          <p:cNvSpPr/>
          <p:nvPr/>
        </p:nvSpPr>
        <p:spPr bwMode="auto">
          <a:xfrm>
            <a:off x="4005258" y="2460715"/>
            <a:ext cx="1792210" cy="18402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45720" rIns="0" bIns="45720" numCol="1" rtlCol="0" anchor="ctr" anchorCtr="0" compatLnSpc="1">
            <a:prstTxWarp prst="textNoShape">
              <a:avLst/>
            </a:prstTxWarp>
          </a:bodyPr>
          <a:lstStyle/>
          <a:p>
            <a:pPr marL="0" marR="0" lvl="0" indent="0" algn="l" defTabSz="914102" rtl="0" eaLnBrk="1" fontAlgn="base" latinLnBrk="0" hangingPunct="1">
              <a:lnSpc>
                <a:spcPct val="90000"/>
              </a:lnSpc>
              <a:spcBef>
                <a:spcPts val="294"/>
              </a:spcBef>
              <a:spcAft>
                <a:spcPts val="588"/>
              </a:spcAft>
              <a:buClrTx/>
              <a:buSzTx/>
              <a:buFontTx/>
              <a:buNone/>
              <a:tabLst/>
              <a:defRPr/>
            </a:pPr>
            <a:r>
              <a:rPr kumimoji="0" lang="en-US" sz="1400" b="1" i="0" u="none" strike="noStrike" kern="0" cap="none" spc="0" normalizeH="0" baseline="0" noProof="0" dirty="0">
                <a:ln>
                  <a:noFill/>
                </a:ln>
                <a:gradFill>
                  <a:gsLst>
                    <a:gs pos="0">
                      <a:srgbClr val="353535"/>
                    </a:gs>
                    <a:gs pos="100000">
                      <a:srgbClr val="353535"/>
                    </a:gs>
                  </a:gsLst>
                  <a:lin ang="5400000" scaled="0"/>
                </a:gradFill>
                <a:effectLst/>
                <a:uLnTx/>
                <a:uFillTx/>
                <a:latin typeface="Segoe UI" charset="0"/>
                <a:ea typeface="Segoe UI" charset="0"/>
                <a:cs typeface="Segoe UI" charset="0"/>
              </a:rPr>
              <a:t>Language APIs</a:t>
            </a:r>
          </a:p>
        </p:txBody>
      </p:sp>
      <p:sp>
        <p:nvSpPr>
          <p:cNvPr id="216" name="Rectangle 215">
            <a:extLst>
              <a:ext uri="{FF2B5EF4-FFF2-40B4-BE49-F238E27FC236}">
                <a16:creationId xmlns:a16="http://schemas.microsoft.com/office/drawing/2014/main" id="{E4FB5653-CF94-4BA6-860A-DE4DA312692F}"/>
              </a:ext>
            </a:extLst>
          </p:cNvPr>
          <p:cNvSpPr/>
          <p:nvPr/>
        </p:nvSpPr>
        <p:spPr bwMode="auto">
          <a:xfrm>
            <a:off x="7004901" y="1429462"/>
            <a:ext cx="1603025" cy="27314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45720" rIns="0" bIns="45720" numCol="1" rtlCol="0" anchor="ctr" anchorCtr="0" compatLnSpc="1">
            <a:prstTxWarp prst="textNoShape">
              <a:avLst/>
            </a:prstTxWarp>
          </a:bodyPr>
          <a:lstStyle/>
          <a:p>
            <a:pPr marL="0" marR="0" lvl="0" indent="0" algn="l" defTabSz="914102" rtl="0" eaLnBrk="1" fontAlgn="base" latinLnBrk="0" hangingPunct="1">
              <a:lnSpc>
                <a:spcPct val="90000"/>
              </a:lnSpc>
              <a:spcBef>
                <a:spcPts val="294"/>
              </a:spcBef>
              <a:spcAft>
                <a:spcPts val="588"/>
              </a:spcAft>
              <a:buClrTx/>
              <a:buSzTx/>
              <a:buFontTx/>
              <a:buNone/>
              <a:tabLst/>
              <a:defRPr/>
            </a:pPr>
            <a:r>
              <a:rPr kumimoji="0" lang="en-US" sz="1400" b="1" i="0" u="none" strike="noStrike" kern="0" cap="none" spc="0" normalizeH="0" baseline="0" noProof="0" dirty="0">
                <a:ln>
                  <a:noFill/>
                </a:ln>
                <a:gradFill>
                  <a:gsLst>
                    <a:gs pos="0">
                      <a:srgbClr val="353535"/>
                    </a:gs>
                    <a:gs pos="100000">
                      <a:srgbClr val="353535"/>
                    </a:gs>
                  </a:gsLst>
                  <a:lin ang="5400000" scaled="0"/>
                </a:gradFill>
                <a:effectLst/>
                <a:uLnTx/>
                <a:uFillTx/>
                <a:latin typeface="Segoe UI" charset="0"/>
                <a:ea typeface="Segoe UI" charset="0"/>
                <a:cs typeface="Segoe UI" charset="0"/>
              </a:rPr>
              <a:t>Machine Learning  Workbench</a:t>
            </a:r>
          </a:p>
        </p:txBody>
      </p:sp>
      <p:sp>
        <p:nvSpPr>
          <p:cNvPr id="217" name="Rectangle 216">
            <a:extLst>
              <a:ext uri="{FF2B5EF4-FFF2-40B4-BE49-F238E27FC236}">
                <a16:creationId xmlns:a16="http://schemas.microsoft.com/office/drawing/2014/main" id="{4BAE5B5A-7588-4834-A162-6D8F82233F8F}"/>
              </a:ext>
            </a:extLst>
          </p:cNvPr>
          <p:cNvSpPr/>
          <p:nvPr/>
        </p:nvSpPr>
        <p:spPr bwMode="auto">
          <a:xfrm>
            <a:off x="6965073" y="5670641"/>
            <a:ext cx="1562413" cy="23330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45720" rIns="0" bIns="45720" numCol="1" rtlCol="0" anchor="ctr" anchorCtr="0" compatLnSpc="1">
            <a:prstTxWarp prst="textNoShape">
              <a:avLst/>
            </a:prstTxWarp>
          </a:bodyPr>
          <a:lstStyle/>
          <a:p>
            <a:pPr marL="0" marR="0" lvl="0" indent="0" algn="l" defTabSz="914102" rtl="0" eaLnBrk="1" fontAlgn="base" latinLnBrk="0" hangingPunct="1">
              <a:lnSpc>
                <a:spcPct val="90000"/>
              </a:lnSpc>
              <a:spcBef>
                <a:spcPts val="294"/>
              </a:spcBef>
              <a:spcAft>
                <a:spcPts val="588"/>
              </a:spcAft>
              <a:buClrTx/>
              <a:buSzTx/>
              <a:buFontTx/>
              <a:buNone/>
              <a:tabLst/>
              <a:defRPr/>
            </a:pPr>
            <a:r>
              <a:rPr kumimoji="0" lang="en-US" sz="1400" b="1" i="0" u="none" strike="noStrike" kern="0" cap="none" spc="0" normalizeH="0" baseline="0" noProof="0" dirty="0">
                <a:ln>
                  <a:noFill/>
                </a:ln>
                <a:gradFill>
                  <a:gsLst>
                    <a:gs pos="0">
                      <a:srgbClr val="353535"/>
                    </a:gs>
                    <a:gs pos="100000">
                      <a:srgbClr val="353535"/>
                    </a:gs>
                  </a:gsLst>
                  <a:lin ang="5400000" scaled="0"/>
                </a:gradFill>
                <a:effectLst/>
                <a:uLnTx/>
                <a:uFillTx/>
                <a:latin typeface="Segoe UI" charset="0"/>
                <a:ea typeface="Segoe UI" charset="0"/>
                <a:cs typeface="Segoe UI" charset="0"/>
              </a:rPr>
              <a:t>Azure Bot </a:t>
            </a:r>
            <a:br>
              <a:rPr kumimoji="0" lang="en-US" sz="1400" b="1" i="0" u="none" strike="noStrike" kern="0" cap="none" spc="0" normalizeH="0" baseline="0" noProof="0" dirty="0">
                <a:ln>
                  <a:noFill/>
                </a:ln>
                <a:gradFill>
                  <a:gsLst>
                    <a:gs pos="0">
                      <a:srgbClr val="353535"/>
                    </a:gs>
                    <a:gs pos="100000">
                      <a:srgbClr val="353535"/>
                    </a:gs>
                  </a:gsLst>
                  <a:lin ang="5400000" scaled="0"/>
                </a:gradFill>
                <a:effectLst/>
                <a:uLnTx/>
                <a:uFillTx/>
                <a:latin typeface="Segoe UI" charset="0"/>
                <a:ea typeface="Segoe UI" charset="0"/>
                <a:cs typeface="Segoe UI" charset="0"/>
              </a:rPr>
            </a:br>
            <a:r>
              <a:rPr kumimoji="0" lang="en-US" sz="1400" b="1" i="0" u="none" strike="noStrike" kern="0" cap="none" spc="0" normalizeH="0" baseline="0" noProof="0" dirty="0">
                <a:ln>
                  <a:noFill/>
                </a:ln>
                <a:gradFill>
                  <a:gsLst>
                    <a:gs pos="0">
                      <a:srgbClr val="353535"/>
                    </a:gs>
                    <a:gs pos="100000">
                      <a:srgbClr val="353535"/>
                    </a:gs>
                  </a:gsLst>
                  <a:lin ang="5400000" scaled="0"/>
                </a:gradFill>
                <a:effectLst/>
                <a:uLnTx/>
                <a:uFillTx/>
                <a:latin typeface="Segoe UI" charset="0"/>
                <a:ea typeface="Segoe UI" charset="0"/>
                <a:cs typeface="Segoe UI" charset="0"/>
              </a:rPr>
              <a:t>Service</a:t>
            </a:r>
          </a:p>
        </p:txBody>
      </p:sp>
      <p:sp>
        <p:nvSpPr>
          <p:cNvPr id="218" name="Rectangle 217">
            <a:extLst>
              <a:ext uri="{FF2B5EF4-FFF2-40B4-BE49-F238E27FC236}">
                <a16:creationId xmlns:a16="http://schemas.microsoft.com/office/drawing/2014/main" id="{15A7EC1F-33B7-4A9A-9743-C98D391447BA}"/>
              </a:ext>
            </a:extLst>
          </p:cNvPr>
          <p:cNvSpPr/>
          <p:nvPr/>
        </p:nvSpPr>
        <p:spPr bwMode="auto">
          <a:xfrm>
            <a:off x="9257489" y="2572922"/>
            <a:ext cx="1562413" cy="23330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45720" rIns="0" bIns="45720" numCol="1" rtlCol="0" anchor="ctr" anchorCtr="0" compatLnSpc="1">
            <a:prstTxWarp prst="textNoShape">
              <a:avLst/>
            </a:prstTxWarp>
          </a:bodyPr>
          <a:lstStyle/>
          <a:p>
            <a:pPr marL="0" marR="0" lvl="0" indent="0" algn="l" defTabSz="914102" rtl="0" eaLnBrk="1" fontAlgn="base" latinLnBrk="0" hangingPunct="1">
              <a:lnSpc>
                <a:spcPct val="90000"/>
              </a:lnSpc>
              <a:spcBef>
                <a:spcPts val="294"/>
              </a:spcBef>
              <a:spcAft>
                <a:spcPts val="588"/>
              </a:spcAft>
              <a:buClrTx/>
              <a:buSzTx/>
              <a:buFontTx/>
              <a:buNone/>
              <a:tabLst/>
              <a:defRPr/>
            </a:pPr>
            <a:r>
              <a:rPr kumimoji="0" lang="en-US" sz="1400" b="1" i="0" u="none" strike="noStrike" kern="0" cap="none" spc="0" normalizeH="0" baseline="0" noProof="0" dirty="0">
                <a:ln>
                  <a:noFill/>
                </a:ln>
                <a:gradFill>
                  <a:gsLst>
                    <a:gs pos="0">
                      <a:srgbClr val="353535"/>
                    </a:gs>
                    <a:gs pos="100000">
                      <a:srgbClr val="353535"/>
                    </a:gs>
                  </a:gsLst>
                  <a:lin ang="5400000" scaled="0"/>
                </a:gradFill>
                <a:effectLst/>
                <a:uLnTx/>
                <a:uFillTx/>
                <a:latin typeface="Segoe UI" charset="0"/>
                <a:ea typeface="Segoe UI" charset="0"/>
                <a:cs typeface="Segoe UI" charset="0"/>
              </a:rPr>
              <a:t>Azure SQL DB</a:t>
            </a:r>
          </a:p>
        </p:txBody>
      </p:sp>
      <p:sp>
        <p:nvSpPr>
          <p:cNvPr id="219" name="Rectangle 218">
            <a:extLst>
              <a:ext uri="{FF2B5EF4-FFF2-40B4-BE49-F238E27FC236}">
                <a16:creationId xmlns:a16="http://schemas.microsoft.com/office/drawing/2014/main" id="{5AD2C4CA-6F8C-45B6-929C-1F86605DE043}"/>
              </a:ext>
            </a:extLst>
          </p:cNvPr>
          <p:cNvSpPr/>
          <p:nvPr/>
        </p:nvSpPr>
        <p:spPr bwMode="auto">
          <a:xfrm>
            <a:off x="9416270" y="4876503"/>
            <a:ext cx="1642591" cy="20278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45720" rIns="0" bIns="45720" numCol="1" rtlCol="0" anchor="ctr" anchorCtr="0" compatLnSpc="1">
            <a:prstTxWarp prst="textNoShape">
              <a:avLst/>
            </a:prstTxWarp>
          </a:bodyPr>
          <a:lstStyle/>
          <a:p>
            <a:pPr marL="0" marR="0" lvl="0" indent="0" algn="l" defTabSz="914102" rtl="0" eaLnBrk="1" fontAlgn="base" latinLnBrk="0" hangingPunct="1">
              <a:lnSpc>
                <a:spcPct val="90000"/>
              </a:lnSpc>
              <a:spcBef>
                <a:spcPts val="294"/>
              </a:spcBef>
              <a:spcAft>
                <a:spcPts val="588"/>
              </a:spcAft>
              <a:buClrTx/>
              <a:buSzTx/>
              <a:buFontTx/>
              <a:buNone/>
              <a:tabLst/>
              <a:defRPr/>
            </a:pPr>
            <a:r>
              <a:rPr kumimoji="0" lang="en-US" sz="1400" b="1" i="0" u="none" strike="noStrike" kern="0" cap="none" spc="0" normalizeH="0" baseline="0" noProof="0" dirty="0">
                <a:ln>
                  <a:noFill/>
                </a:ln>
                <a:gradFill>
                  <a:gsLst>
                    <a:gs pos="0">
                      <a:srgbClr val="353535"/>
                    </a:gs>
                    <a:gs pos="100000">
                      <a:srgbClr val="353535"/>
                    </a:gs>
                  </a:gsLst>
                  <a:lin ang="5400000" scaled="0"/>
                </a:gradFill>
                <a:effectLst/>
                <a:uLnTx/>
                <a:uFillTx/>
                <a:latin typeface="Segoe UI" charset="0"/>
                <a:ea typeface="Segoe UI" charset="0"/>
                <a:cs typeface="Segoe UI" charset="0"/>
              </a:rPr>
              <a:t>Vison API</a:t>
            </a:r>
          </a:p>
        </p:txBody>
      </p:sp>
      <p:sp>
        <p:nvSpPr>
          <p:cNvPr id="221" name="Oval 220">
            <a:extLst>
              <a:ext uri="{FF2B5EF4-FFF2-40B4-BE49-F238E27FC236}">
                <a16:creationId xmlns:a16="http://schemas.microsoft.com/office/drawing/2014/main" id="{EAB920A8-7852-4DA5-8120-CFBBE9B86EAC}"/>
              </a:ext>
            </a:extLst>
          </p:cNvPr>
          <p:cNvSpPr/>
          <p:nvPr/>
        </p:nvSpPr>
        <p:spPr bwMode="auto">
          <a:xfrm>
            <a:off x="5059178" y="1404069"/>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22" name="Oval 221">
            <a:extLst>
              <a:ext uri="{FF2B5EF4-FFF2-40B4-BE49-F238E27FC236}">
                <a16:creationId xmlns:a16="http://schemas.microsoft.com/office/drawing/2014/main" id="{F93FB01C-4442-4911-98F4-8C7C2BC608D0}"/>
              </a:ext>
            </a:extLst>
          </p:cNvPr>
          <p:cNvSpPr/>
          <p:nvPr/>
        </p:nvSpPr>
        <p:spPr bwMode="auto">
          <a:xfrm>
            <a:off x="3689317" y="1415311"/>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23" name="Oval 222">
            <a:extLst>
              <a:ext uri="{FF2B5EF4-FFF2-40B4-BE49-F238E27FC236}">
                <a16:creationId xmlns:a16="http://schemas.microsoft.com/office/drawing/2014/main" id="{8A7DF072-E22B-4707-AEE8-F15B5F804F92}"/>
              </a:ext>
            </a:extLst>
          </p:cNvPr>
          <p:cNvSpPr/>
          <p:nvPr/>
        </p:nvSpPr>
        <p:spPr bwMode="auto">
          <a:xfrm>
            <a:off x="2426456" y="2226485"/>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29" name="Oval 228">
            <a:extLst>
              <a:ext uri="{FF2B5EF4-FFF2-40B4-BE49-F238E27FC236}">
                <a16:creationId xmlns:a16="http://schemas.microsoft.com/office/drawing/2014/main" id="{D04E57A9-2B37-48B8-9B6A-98512BABC1AA}"/>
              </a:ext>
            </a:extLst>
          </p:cNvPr>
          <p:cNvSpPr/>
          <p:nvPr/>
        </p:nvSpPr>
        <p:spPr bwMode="auto">
          <a:xfrm>
            <a:off x="9443664" y="5936536"/>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30" name="Oval 229">
            <a:extLst>
              <a:ext uri="{FF2B5EF4-FFF2-40B4-BE49-F238E27FC236}">
                <a16:creationId xmlns:a16="http://schemas.microsoft.com/office/drawing/2014/main" id="{63C773EE-B210-49D0-9654-E0BFF48C8393}"/>
              </a:ext>
            </a:extLst>
          </p:cNvPr>
          <p:cNvSpPr/>
          <p:nvPr/>
        </p:nvSpPr>
        <p:spPr bwMode="auto">
          <a:xfrm>
            <a:off x="10677377" y="5502786"/>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31" name="Oval 230">
            <a:extLst>
              <a:ext uri="{FF2B5EF4-FFF2-40B4-BE49-F238E27FC236}">
                <a16:creationId xmlns:a16="http://schemas.microsoft.com/office/drawing/2014/main" id="{2D043D74-B456-4891-A0C4-561ED377B692}"/>
              </a:ext>
            </a:extLst>
          </p:cNvPr>
          <p:cNvSpPr/>
          <p:nvPr/>
        </p:nvSpPr>
        <p:spPr bwMode="auto">
          <a:xfrm>
            <a:off x="9255551" y="4239419"/>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32" name="Oval 231">
            <a:extLst>
              <a:ext uri="{FF2B5EF4-FFF2-40B4-BE49-F238E27FC236}">
                <a16:creationId xmlns:a16="http://schemas.microsoft.com/office/drawing/2014/main" id="{06C56956-F446-4759-A378-945FA46ABB23}"/>
              </a:ext>
            </a:extLst>
          </p:cNvPr>
          <p:cNvSpPr/>
          <p:nvPr/>
        </p:nvSpPr>
        <p:spPr bwMode="auto">
          <a:xfrm>
            <a:off x="10573125" y="3701756"/>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33" name="Oval 232">
            <a:extLst>
              <a:ext uri="{FF2B5EF4-FFF2-40B4-BE49-F238E27FC236}">
                <a16:creationId xmlns:a16="http://schemas.microsoft.com/office/drawing/2014/main" id="{B4B6A5DF-871D-4287-8CD1-B963E8F43411}"/>
              </a:ext>
            </a:extLst>
          </p:cNvPr>
          <p:cNvSpPr/>
          <p:nvPr/>
        </p:nvSpPr>
        <p:spPr bwMode="auto">
          <a:xfrm>
            <a:off x="9390433" y="1657396"/>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34" name="Oval 233">
            <a:extLst>
              <a:ext uri="{FF2B5EF4-FFF2-40B4-BE49-F238E27FC236}">
                <a16:creationId xmlns:a16="http://schemas.microsoft.com/office/drawing/2014/main" id="{EA836D92-A19F-49DA-ADCA-69DF257D5539}"/>
              </a:ext>
            </a:extLst>
          </p:cNvPr>
          <p:cNvSpPr/>
          <p:nvPr/>
        </p:nvSpPr>
        <p:spPr bwMode="auto">
          <a:xfrm>
            <a:off x="10332771" y="1273697"/>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35" name="Oval 234">
            <a:extLst>
              <a:ext uri="{FF2B5EF4-FFF2-40B4-BE49-F238E27FC236}">
                <a16:creationId xmlns:a16="http://schemas.microsoft.com/office/drawing/2014/main" id="{8AFDC006-065A-421E-B3D4-8301C05C49F2}"/>
              </a:ext>
            </a:extLst>
          </p:cNvPr>
          <p:cNvSpPr/>
          <p:nvPr/>
        </p:nvSpPr>
        <p:spPr bwMode="auto">
          <a:xfrm>
            <a:off x="8596307" y="1401840"/>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36" name="Oval 235">
            <a:extLst>
              <a:ext uri="{FF2B5EF4-FFF2-40B4-BE49-F238E27FC236}">
                <a16:creationId xmlns:a16="http://schemas.microsoft.com/office/drawing/2014/main" id="{1CF4CBCC-62A1-4532-A3DF-3CCC488044EF}"/>
              </a:ext>
            </a:extLst>
          </p:cNvPr>
          <p:cNvSpPr/>
          <p:nvPr/>
        </p:nvSpPr>
        <p:spPr bwMode="auto">
          <a:xfrm>
            <a:off x="8008182" y="2384662"/>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37" name="Oval 236">
            <a:extLst>
              <a:ext uri="{FF2B5EF4-FFF2-40B4-BE49-F238E27FC236}">
                <a16:creationId xmlns:a16="http://schemas.microsoft.com/office/drawing/2014/main" id="{C90EEB26-8712-453C-9553-F87F556BE15C}"/>
              </a:ext>
            </a:extLst>
          </p:cNvPr>
          <p:cNvSpPr/>
          <p:nvPr/>
        </p:nvSpPr>
        <p:spPr bwMode="auto">
          <a:xfrm>
            <a:off x="6098933" y="2494417"/>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38" name="Oval 237">
            <a:extLst>
              <a:ext uri="{FF2B5EF4-FFF2-40B4-BE49-F238E27FC236}">
                <a16:creationId xmlns:a16="http://schemas.microsoft.com/office/drawing/2014/main" id="{8D557CAB-8AC7-40ED-897F-104780503736}"/>
              </a:ext>
            </a:extLst>
          </p:cNvPr>
          <p:cNvSpPr/>
          <p:nvPr/>
        </p:nvSpPr>
        <p:spPr bwMode="auto">
          <a:xfrm>
            <a:off x="7899986" y="4879521"/>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39" name="Oval 238">
            <a:extLst>
              <a:ext uri="{FF2B5EF4-FFF2-40B4-BE49-F238E27FC236}">
                <a16:creationId xmlns:a16="http://schemas.microsoft.com/office/drawing/2014/main" id="{31A2B650-0507-4540-9830-1F7DB3BCC4B5}"/>
              </a:ext>
            </a:extLst>
          </p:cNvPr>
          <p:cNvSpPr/>
          <p:nvPr/>
        </p:nvSpPr>
        <p:spPr bwMode="auto">
          <a:xfrm>
            <a:off x="10650405" y="2136870"/>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40" name="Oval 239">
            <a:extLst>
              <a:ext uri="{FF2B5EF4-FFF2-40B4-BE49-F238E27FC236}">
                <a16:creationId xmlns:a16="http://schemas.microsoft.com/office/drawing/2014/main" id="{E0A7A4B2-329B-45DA-907B-4BE14BAAAF1F}"/>
              </a:ext>
            </a:extLst>
          </p:cNvPr>
          <p:cNvSpPr/>
          <p:nvPr/>
        </p:nvSpPr>
        <p:spPr bwMode="auto">
          <a:xfrm>
            <a:off x="4173635" y="3070971"/>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41" name="Oval 240">
            <a:extLst>
              <a:ext uri="{FF2B5EF4-FFF2-40B4-BE49-F238E27FC236}">
                <a16:creationId xmlns:a16="http://schemas.microsoft.com/office/drawing/2014/main" id="{FD9DCF15-5F7B-4DFF-A0AA-861751AF3AC7}"/>
              </a:ext>
            </a:extLst>
          </p:cNvPr>
          <p:cNvSpPr/>
          <p:nvPr/>
        </p:nvSpPr>
        <p:spPr bwMode="auto">
          <a:xfrm>
            <a:off x="3320131" y="524513"/>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42" name="Oval 241">
            <a:extLst>
              <a:ext uri="{FF2B5EF4-FFF2-40B4-BE49-F238E27FC236}">
                <a16:creationId xmlns:a16="http://schemas.microsoft.com/office/drawing/2014/main" id="{332E5D2F-25A0-40CC-8235-60FABA9627D6}"/>
              </a:ext>
            </a:extLst>
          </p:cNvPr>
          <p:cNvSpPr/>
          <p:nvPr/>
        </p:nvSpPr>
        <p:spPr bwMode="auto">
          <a:xfrm>
            <a:off x="8021095" y="584260"/>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43" name="Oval 242">
            <a:extLst>
              <a:ext uri="{FF2B5EF4-FFF2-40B4-BE49-F238E27FC236}">
                <a16:creationId xmlns:a16="http://schemas.microsoft.com/office/drawing/2014/main" id="{86E6C728-1B2B-4F4E-8076-9E58740D43D9}"/>
              </a:ext>
            </a:extLst>
          </p:cNvPr>
          <p:cNvSpPr/>
          <p:nvPr/>
        </p:nvSpPr>
        <p:spPr bwMode="auto">
          <a:xfrm>
            <a:off x="11637173" y="2500409"/>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45" name="Oval 244">
            <a:extLst>
              <a:ext uri="{FF2B5EF4-FFF2-40B4-BE49-F238E27FC236}">
                <a16:creationId xmlns:a16="http://schemas.microsoft.com/office/drawing/2014/main" id="{320BEBA8-B3B6-4832-884A-CDE003AD799B}"/>
              </a:ext>
            </a:extLst>
          </p:cNvPr>
          <p:cNvSpPr/>
          <p:nvPr/>
        </p:nvSpPr>
        <p:spPr bwMode="auto">
          <a:xfrm>
            <a:off x="3457410" y="2303444"/>
            <a:ext cx="545684" cy="545685"/>
          </a:xfrm>
          <a:prstGeom prst="ellipse">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54" name="Group 253">
            <a:extLst>
              <a:ext uri="{FF2B5EF4-FFF2-40B4-BE49-F238E27FC236}">
                <a16:creationId xmlns:a16="http://schemas.microsoft.com/office/drawing/2014/main" id="{A12305F9-6ACD-47DB-924E-0B0A5B7B5FEC}"/>
              </a:ext>
            </a:extLst>
          </p:cNvPr>
          <p:cNvGrpSpPr/>
          <p:nvPr/>
        </p:nvGrpSpPr>
        <p:grpSpPr>
          <a:xfrm>
            <a:off x="6444329" y="1433056"/>
            <a:ext cx="545684" cy="545685"/>
            <a:chOff x="5728538" y="1043093"/>
            <a:chExt cx="593351" cy="593351"/>
          </a:xfrm>
        </p:grpSpPr>
        <p:sp>
          <p:nvSpPr>
            <p:cNvPr id="255" name="Oval 254">
              <a:extLst>
                <a:ext uri="{FF2B5EF4-FFF2-40B4-BE49-F238E27FC236}">
                  <a16:creationId xmlns:a16="http://schemas.microsoft.com/office/drawing/2014/main" id="{778C2DAB-8D53-4BC1-B1D3-E214B696B9BB}"/>
                </a:ext>
              </a:extLst>
            </p:cNvPr>
            <p:cNvSpPr/>
            <p:nvPr/>
          </p:nvSpPr>
          <p:spPr bwMode="auto">
            <a:xfrm>
              <a:off x="5728538" y="1043093"/>
              <a:ext cx="593351" cy="593351"/>
            </a:xfrm>
            <a:prstGeom prst="ellipse">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56" name="Graphic 10">
              <a:extLst>
                <a:ext uri="{FF2B5EF4-FFF2-40B4-BE49-F238E27FC236}">
                  <a16:creationId xmlns:a16="http://schemas.microsoft.com/office/drawing/2014/main" id="{7E32E91E-98E2-485A-81FE-1BEE4A8B021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52724" y="1170780"/>
              <a:ext cx="346922" cy="346922"/>
            </a:xfrm>
            <a:prstGeom prst="rect">
              <a:avLst/>
            </a:prstGeom>
            <a:ln w="19050">
              <a:noFill/>
            </a:ln>
          </p:spPr>
        </p:pic>
      </p:grpSp>
      <p:grpSp>
        <p:nvGrpSpPr>
          <p:cNvPr id="257" name="Group 256">
            <a:extLst>
              <a:ext uri="{FF2B5EF4-FFF2-40B4-BE49-F238E27FC236}">
                <a16:creationId xmlns:a16="http://schemas.microsoft.com/office/drawing/2014/main" id="{BF28DE39-D14A-4EC2-B1B7-DEBBA7696F26}"/>
              </a:ext>
            </a:extLst>
          </p:cNvPr>
          <p:cNvGrpSpPr/>
          <p:nvPr/>
        </p:nvGrpSpPr>
        <p:grpSpPr>
          <a:xfrm>
            <a:off x="8708845" y="2415651"/>
            <a:ext cx="545684" cy="545685"/>
            <a:chOff x="8190863" y="2111520"/>
            <a:chExt cx="593351" cy="593351"/>
          </a:xfrm>
        </p:grpSpPr>
        <p:sp>
          <p:nvSpPr>
            <p:cNvPr id="258" name="Oval 257">
              <a:extLst>
                <a:ext uri="{FF2B5EF4-FFF2-40B4-BE49-F238E27FC236}">
                  <a16:creationId xmlns:a16="http://schemas.microsoft.com/office/drawing/2014/main" id="{A62B6485-B159-47C1-8A9E-8C5A6D70FBF0}"/>
                </a:ext>
              </a:extLst>
            </p:cNvPr>
            <p:cNvSpPr/>
            <p:nvPr/>
          </p:nvSpPr>
          <p:spPr bwMode="auto">
            <a:xfrm>
              <a:off x="8190863" y="2111520"/>
              <a:ext cx="593351" cy="593351"/>
            </a:xfrm>
            <a:prstGeom prst="ellipse">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59" name="Graphic 12">
              <a:extLst>
                <a:ext uri="{FF2B5EF4-FFF2-40B4-BE49-F238E27FC236}">
                  <a16:creationId xmlns:a16="http://schemas.microsoft.com/office/drawing/2014/main" id="{533E072D-3401-4B1E-97BA-55F7562B713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13032" y="2215551"/>
              <a:ext cx="363727" cy="363727"/>
            </a:xfrm>
            <a:prstGeom prst="rect">
              <a:avLst/>
            </a:prstGeom>
            <a:ln w="19050">
              <a:noFill/>
            </a:ln>
          </p:spPr>
        </p:pic>
      </p:grpSp>
      <p:grpSp>
        <p:nvGrpSpPr>
          <p:cNvPr id="260" name="Group 259">
            <a:extLst>
              <a:ext uri="{FF2B5EF4-FFF2-40B4-BE49-F238E27FC236}">
                <a16:creationId xmlns:a16="http://schemas.microsoft.com/office/drawing/2014/main" id="{1F70C5DF-CDF7-470F-9CD1-4857F08F3E05}"/>
              </a:ext>
            </a:extLst>
          </p:cNvPr>
          <p:cNvGrpSpPr/>
          <p:nvPr/>
        </p:nvGrpSpPr>
        <p:grpSpPr>
          <a:xfrm>
            <a:off x="8865668" y="4688716"/>
            <a:ext cx="545684" cy="545685"/>
            <a:chOff x="8361385" y="4583141"/>
            <a:chExt cx="593351" cy="593351"/>
          </a:xfrm>
        </p:grpSpPr>
        <p:sp>
          <p:nvSpPr>
            <p:cNvPr id="261" name="Oval 260">
              <a:extLst>
                <a:ext uri="{FF2B5EF4-FFF2-40B4-BE49-F238E27FC236}">
                  <a16:creationId xmlns:a16="http://schemas.microsoft.com/office/drawing/2014/main" id="{17E5B98D-F92C-4670-936A-518C9746B73F}"/>
                </a:ext>
              </a:extLst>
            </p:cNvPr>
            <p:cNvSpPr/>
            <p:nvPr/>
          </p:nvSpPr>
          <p:spPr bwMode="auto">
            <a:xfrm>
              <a:off x="8361385" y="4583141"/>
              <a:ext cx="593351" cy="593351"/>
            </a:xfrm>
            <a:prstGeom prst="ellipse">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62" name="Graphic 16">
              <a:extLst>
                <a:ext uri="{FF2B5EF4-FFF2-40B4-BE49-F238E27FC236}">
                  <a16:creationId xmlns:a16="http://schemas.microsoft.com/office/drawing/2014/main" id="{3CD21262-A8FA-496A-91C0-58834EF4F22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447642" y="4662266"/>
              <a:ext cx="420836" cy="420836"/>
            </a:xfrm>
            <a:prstGeom prst="rect">
              <a:avLst/>
            </a:prstGeom>
            <a:ln w="19050">
              <a:noFill/>
            </a:ln>
          </p:spPr>
        </p:pic>
      </p:grpSp>
      <p:sp>
        <p:nvSpPr>
          <p:cNvPr id="224" name="Oval 223">
            <a:extLst>
              <a:ext uri="{FF2B5EF4-FFF2-40B4-BE49-F238E27FC236}">
                <a16:creationId xmlns:a16="http://schemas.microsoft.com/office/drawing/2014/main" id="{97C1CF48-B70C-4084-9691-FD4D29D9C252}"/>
              </a:ext>
            </a:extLst>
          </p:cNvPr>
          <p:cNvSpPr/>
          <p:nvPr/>
        </p:nvSpPr>
        <p:spPr bwMode="auto">
          <a:xfrm>
            <a:off x="3913838" y="3928325"/>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25" name="Oval 224">
            <a:extLst>
              <a:ext uri="{FF2B5EF4-FFF2-40B4-BE49-F238E27FC236}">
                <a16:creationId xmlns:a16="http://schemas.microsoft.com/office/drawing/2014/main" id="{F1435DF1-2486-4849-9E10-06F32328C4E4}"/>
              </a:ext>
            </a:extLst>
          </p:cNvPr>
          <p:cNvSpPr/>
          <p:nvPr/>
        </p:nvSpPr>
        <p:spPr bwMode="auto">
          <a:xfrm>
            <a:off x="2809912" y="4378260"/>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26" name="Oval 225">
            <a:extLst>
              <a:ext uri="{FF2B5EF4-FFF2-40B4-BE49-F238E27FC236}">
                <a16:creationId xmlns:a16="http://schemas.microsoft.com/office/drawing/2014/main" id="{0D93F79E-B4ED-4747-9CC9-EC5367B6D9FD}"/>
              </a:ext>
            </a:extLst>
          </p:cNvPr>
          <p:cNvSpPr/>
          <p:nvPr/>
        </p:nvSpPr>
        <p:spPr bwMode="auto">
          <a:xfrm>
            <a:off x="3138174" y="5704175"/>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27" name="Oval 226">
            <a:extLst>
              <a:ext uri="{FF2B5EF4-FFF2-40B4-BE49-F238E27FC236}">
                <a16:creationId xmlns:a16="http://schemas.microsoft.com/office/drawing/2014/main" id="{49F6F503-EF2E-4056-BED3-03B64630B1A5}"/>
              </a:ext>
            </a:extLst>
          </p:cNvPr>
          <p:cNvSpPr/>
          <p:nvPr/>
        </p:nvSpPr>
        <p:spPr bwMode="auto">
          <a:xfrm>
            <a:off x="4787449" y="5704175"/>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28" name="Oval 227">
            <a:extLst>
              <a:ext uri="{FF2B5EF4-FFF2-40B4-BE49-F238E27FC236}">
                <a16:creationId xmlns:a16="http://schemas.microsoft.com/office/drawing/2014/main" id="{51AF311B-B5FE-4B00-AD1E-CA3E4D730DEF}"/>
              </a:ext>
            </a:extLst>
          </p:cNvPr>
          <p:cNvSpPr/>
          <p:nvPr/>
        </p:nvSpPr>
        <p:spPr bwMode="auto">
          <a:xfrm>
            <a:off x="5739208" y="4994518"/>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20" name="Oval 219">
            <a:extLst>
              <a:ext uri="{FF2B5EF4-FFF2-40B4-BE49-F238E27FC236}">
                <a16:creationId xmlns:a16="http://schemas.microsoft.com/office/drawing/2014/main" id="{9EF9D1C0-8935-44D5-A69F-29870BBC89A2}"/>
              </a:ext>
            </a:extLst>
          </p:cNvPr>
          <p:cNvSpPr/>
          <p:nvPr/>
        </p:nvSpPr>
        <p:spPr bwMode="auto">
          <a:xfrm>
            <a:off x="6412131" y="5513369"/>
            <a:ext cx="545684" cy="545685"/>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53" name="Graphic 8">
            <a:extLst>
              <a:ext uri="{FF2B5EF4-FFF2-40B4-BE49-F238E27FC236}">
                <a16:creationId xmlns:a16="http://schemas.microsoft.com/office/drawing/2014/main" id="{71B0CD82-6EB0-4518-975E-278C340C89C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512560" y="5617955"/>
            <a:ext cx="353031" cy="353031"/>
          </a:xfrm>
          <a:prstGeom prst="rect">
            <a:avLst/>
          </a:prstGeom>
          <a:ln w="19050">
            <a:noFill/>
          </a:ln>
        </p:spPr>
      </p:pic>
      <p:grpSp>
        <p:nvGrpSpPr>
          <p:cNvPr id="265" name="Group 264"/>
          <p:cNvGrpSpPr/>
          <p:nvPr/>
        </p:nvGrpSpPr>
        <p:grpSpPr>
          <a:xfrm>
            <a:off x="5628388" y="2974328"/>
            <a:ext cx="1422018" cy="1422018"/>
            <a:chOff x="6281109" y="2959784"/>
            <a:chExt cx="1422018" cy="1422018"/>
          </a:xfrm>
          <a:noFill/>
        </p:grpSpPr>
        <p:sp>
          <p:nvSpPr>
            <p:cNvPr id="266" name="Oval 265">
              <a:extLst>
                <a:ext uri="{FF2B5EF4-FFF2-40B4-BE49-F238E27FC236}">
                  <a16:creationId xmlns:a16="http://schemas.microsoft.com/office/drawing/2014/main" id="{5A32FFBD-B132-426A-9535-BCDE9A880763}"/>
                </a:ext>
              </a:extLst>
            </p:cNvPr>
            <p:cNvSpPr/>
            <p:nvPr/>
          </p:nvSpPr>
          <p:spPr bwMode="auto">
            <a:xfrm>
              <a:off x="6281109" y="2959784"/>
              <a:ext cx="1422018" cy="142201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7" name="Rectangle 266"/>
            <p:cNvSpPr/>
            <p:nvPr/>
          </p:nvSpPr>
          <p:spPr>
            <a:xfrm>
              <a:off x="6354132" y="3326364"/>
              <a:ext cx="1290097" cy="615553"/>
            </a:xfrm>
            <a:prstGeom prst="rect">
              <a:avLst/>
            </a:prstGeom>
            <a:grp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400" b="0" i="0" u="none" strike="noStrike" kern="0" cap="none" spc="49" normalizeH="0" baseline="0" noProof="0" dirty="0">
                  <a:ln w="3175">
                    <a:noFill/>
                  </a:ln>
                  <a:solidFill>
                    <a:srgbClr val="FFFFFF">
                      <a:alpha val="0"/>
                    </a:srgbClr>
                  </a:solidFill>
                  <a:effectLst/>
                  <a:uLnTx/>
                  <a:uFillTx/>
                  <a:latin typeface="Segoe UI Light" panose="020B0502040204020203" pitchFamily="34" charset="0"/>
                  <a:ea typeface="+mn-ea"/>
                  <a:cs typeface="Segoe UI Light" panose="020B0502040204020203" pitchFamily="34" charset="0"/>
                </a:rPr>
                <a:t>Azure</a:t>
              </a:r>
              <a:endParaRPr kumimoji="0" lang="en-US" sz="3400" b="0" i="0" u="none" strike="noStrike" kern="1200" cap="none" spc="0" normalizeH="0" baseline="0" noProof="0" dirty="0">
                <a:ln>
                  <a:noFill/>
                </a:ln>
                <a:solidFill>
                  <a:srgbClr val="FFFFFF">
                    <a:alpha val="0"/>
                  </a:srgbClr>
                </a:solidFill>
                <a:effectLst/>
                <a:uLnTx/>
                <a:uFillTx/>
                <a:latin typeface="Segoe UI"/>
                <a:ea typeface="+mn-ea"/>
                <a:cs typeface="+mn-cs"/>
              </a:endParaRPr>
            </a:p>
          </p:txBody>
        </p:sp>
      </p:grpSp>
      <p:grpSp>
        <p:nvGrpSpPr>
          <p:cNvPr id="273" name="Group 272"/>
          <p:cNvGrpSpPr>
            <a:grpSpLocks noChangeAspect="1"/>
          </p:cNvGrpSpPr>
          <p:nvPr/>
        </p:nvGrpSpPr>
        <p:grpSpPr>
          <a:xfrm>
            <a:off x="3552217" y="2403233"/>
            <a:ext cx="381317" cy="292830"/>
            <a:chOff x="7356475" y="-1781175"/>
            <a:chExt cx="1958978" cy="1497013"/>
          </a:xfrm>
          <a:solidFill>
            <a:schemeClr val="bg1"/>
          </a:solidFill>
        </p:grpSpPr>
        <p:sp>
          <p:nvSpPr>
            <p:cNvPr id="274" name="Freeform 25"/>
            <p:cNvSpPr>
              <a:spLocks/>
            </p:cNvSpPr>
            <p:nvPr/>
          </p:nvSpPr>
          <p:spPr bwMode="auto">
            <a:xfrm>
              <a:off x="8029575" y="-676275"/>
              <a:ext cx="855662" cy="392113"/>
            </a:xfrm>
            <a:custGeom>
              <a:avLst/>
              <a:gdLst>
                <a:gd name="T0" fmla="*/ 72 w 201"/>
                <a:gd name="T1" fmla="*/ 75 h 92"/>
                <a:gd name="T2" fmla="*/ 9 w 201"/>
                <a:gd name="T3" fmla="*/ 58 h 92"/>
                <a:gd name="T4" fmla="*/ 0 w 201"/>
                <a:gd name="T5" fmla="*/ 72 h 92"/>
                <a:gd name="T6" fmla="*/ 72 w 201"/>
                <a:gd name="T7" fmla="*/ 92 h 92"/>
                <a:gd name="T8" fmla="*/ 201 w 201"/>
                <a:gd name="T9" fmla="*/ 7 h 92"/>
                <a:gd name="T10" fmla="*/ 185 w 201"/>
                <a:gd name="T11" fmla="*/ 0 h 92"/>
                <a:gd name="T12" fmla="*/ 72 w 201"/>
                <a:gd name="T13" fmla="*/ 75 h 92"/>
              </a:gdLst>
              <a:ahLst/>
              <a:cxnLst>
                <a:cxn ang="0">
                  <a:pos x="T0" y="T1"/>
                </a:cxn>
                <a:cxn ang="0">
                  <a:pos x="T2" y="T3"/>
                </a:cxn>
                <a:cxn ang="0">
                  <a:pos x="T4" y="T5"/>
                </a:cxn>
                <a:cxn ang="0">
                  <a:pos x="T6" y="T7"/>
                </a:cxn>
                <a:cxn ang="0">
                  <a:pos x="T8" y="T9"/>
                </a:cxn>
                <a:cxn ang="0">
                  <a:pos x="T10" y="T11"/>
                </a:cxn>
                <a:cxn ang="0">
                  <a:pos x="T12" y="T13"/>
                </a:cxn>
              </a:cxnLst>
              <a:rect l="0" t="0" r="r" b="b"/>
              <a:pathLst>
                <a:path w="201" h="92">
                  <a:moveTo>
                    <a:pt x="72" y="75"/>
                  </a:moveTo>
                  <a:cubicBezTo>
                    <a:pt x="50" y="75"/>
                    <a:pt x="28" y="69"/>
                    <a:pt x="9" y="58"/>
                  </a:cubicBezTo>
                  <a:cubicBezTo>
                    <a:pt x="0" y="72"/>
                    <a:pt x="0" y="72"/>
                    <a:pt x="0" y="72"/>
                  </a:cubicBezTo>
                  <a:cubicBezTo>
                    <a:pt x="22" y="85"/>
                    <a:pt x="47" y="92"/>
                    <a:pt x="72" y="92"/>
                  </a:cubicBezTo>
                  <a:cubicBezTo>
                    <a:pt x="129" y="92"/>
                    <a:pt x="179" y="59"/>
                    <a:pt x="201" y="7"/>
                  </a:cubicBezTo>
                  <a:cubicBezTo>
                    <a:pt x="185" y="0"/>
                    <a:pt x="185" y="0"/>
                    <a:pt x="185" y="0"/>
                  </a:cubicBezTo>
                  <a:cubicBezTo>
                    <a:pt x="166" y="46"/>
                    <a:pt x="122" y="75"/>
                    <a:pt x="72"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75" name="Freeform 26"/>
            <p:cNvSpPr>
              <a:spLocks noEditPoints="1"/>
            </p:cNvSpPr>
            <p:nvPr/>
          </p:nvSpPr>
          <p:spPr bwMode="auto">
            <a:xfrm>
              <a:off x="7394578" y="-1470025"/>
              <a:ext cx="1920875" cy="1027112"/>
            </a:xfrm>
            <a:custGeom>
              <a:avLst/>
              <a:gdLst>
                <a:gd name="T0" fmla="*/ 435 w 451"/>
                <a:gd name="T1" fmla="*/ 71 h 241"/>
                <a:gd name="T2" fmla="*/ 346 w 451"/>
                <a:gd name="T3" fmla="*/ 38 h 241"/>
                <a:gd name="T4" fmla="*/ 346 w 451"/>
                <a:gd name="T5" fmla="*/ 55 h 241"/>
                <a:gd name="T6" fmla="*/ 419 w 451"/>
                <a:gd name="T7" fmla="*/ 76 h 241"/>
                <a:gd name="T8" fmla="*/ 360 w 451"/>
                <a:gd name="T9" fmla="*/ 144 h 241"/>
                <a:gd name="T10" fmla="*/ 360 w 451"/>
                <a:gd name="T11" fmla="*/ 139 h 241"/>
                <a:gd name="T12" fmla="*/ 221 w 451"/>
                <a:gd name="T13" fmla="*/ 0 h 241"/>
                <a:gd name="T14" fmla="*/ 82 w 451"/>
                <a:gd name="T15" fmla="*/ 139 h 241"/>
                <a:gd name="T16" fmla="*/ 110 w 451"/>
                <a:gd name="T17" fmla="*/ 223 h 241"/>
                <a:gd name="T18" fmla="*/ 91 w 451"/>
                <a:gd name="T19" fmla="*/ 224 h 241"/>
                <a:gd name="T20" fmla="*/ 24 w 451"/>
                <a:gd name="T21" fmla="*/ 202 h 241"/>
                <a:gd name="T22" fmla="*/ 69 w 451"/>
                <a:gd name="T23" fmla="*/ 143 h 241"/>
                <a:gd name="T24" fmla="*/ 60 w 451"/>
                <a:gd name="T25" fmla="*/ 129 h 241"/>
                <a:gd name="T26" fmla="*/ 7 w 451"/>
                <a:gd name="T27" fmla="*/ 207 h 241"/>
                <a:gd name="T28" fmla="*/ 91 w 451"/>
                <a:gd name="T29" fmla="*/ 241 h 241"/>
                <a:gd name="T30" fmla="*/ 92 w 451"/>
                <a:gd name="T31" fmla="*/ 241 h 241"/>
                <a:gd name="T32" fmla="*/ 245 w 451"/>
                <a:gd name="T33" fmla="*/ 214 h 241"/>
                <a:gd name="T34" fmla="*/ 435 w 451"/>
                <a:gd name="T35" fmla="*/ 71 h 241"/>
                <a:gd name="T36" fmla="*/ 338 w 451"/>
                <a:gd name="T37" fmla="*/ 103 h 241"/>
                <a:gd name="T38" fmla="*/ 318 w 451"/>
                <a:gd name="T39" fmla="*/ 110 h 241"/>
                <a:gd name="T40" fmla="*/ 223 w 451"/>
                <a:gd name="T41" fmla="*/ 110 h 241"/>
                <a:gd name="T42" fmla="*/ 206 w 451"/>
                <a:gd name="T43" fmla="*/ 104 h 241"/>
                <a:gd name="T44" fmla="*/ 199 w 451"/>
                <a:gd name="T45" fmla="*/ 87 h 241"/>
                <a:gd name="T46" fmla="*/ 206 w 451"/>
                <a:gd name="T47" fmla="*/ 70 h 241"/>
                <a:gd name="T48" fmla="*/ 223 w 451"/>
                <a:gd name="T49" fmla="*/ 63 h 241"/>
                <a:gd name="T50" fmla="*/ 238 w 451"/>
                <a:gd name="T51" fmla="*/ 63 h 241"/>
                <a:gd name="T52" fmla="*/ 240 w 451"/>
                <a:gd name="T53" fmla="*/ 48 h 241"/>
                <a:gd name="T54" fmla="*/ 251 w 451"/>
                <a:gd name="T55" fmla="*/ 26 h 241"/>
                <a:gd name="T56" fmla="*/ 256 w 451"/>
                <a:gd name="T57" fmla="*/ 22 h 241"/>
                <a:gd name="T58" fmla="*/ 338 w 451"/>
                <a:gd name="T59" fmla="*/ 103 h 241"/>
                <a:gd name="T60" fmla="*/ 106 w 451"/>
                <a:gd name="T61" fmla="*/ 100 h 241"/>
                <a:gd name="T62" fmla="*/ 106 w 451"/>
                <a:gd name="T63" fmla="*/ 100 h 241"/>
                <a:gd name="T64" fmla="*/ 138 w 451"/>
                <a:gd name="T65" fmla="*/ 119 h 241"/>
                <a:gd name="T66" fmla="*/ 142 w 451"/>
                <a:gd name="T67" fmla="*/ 127 h 241"/>
                <a:gd name="T68" fmla="*/ 151 w 451"/>
                <a:gd name="T69" fmla="*/ 128 h 241"/>
                <a:gd name="T70" fmla="*/ 182 w 451"/>
                <a:gd name="T71" fmla="*/ 161 h 241"/>
                <a:gd name="T72" fmla="*/ 150 w 451"/>
                <a:gd name="T73" fmla="*/ 193 h 241"/>
                <a:gd name="T74" fmla="*/ 111 w 451"/>
                <a:gd name="T75" fmla="*/ 193 h 241"/>
                <a:gd name="T76" fmla="*/ 99 w 451"/>
                <a:gd name="T77" fmla="*/ 139 h 241"/>
                <a:gd name="T78" fmla="*/ 106 w 451"/>
                <a:gd name="T79" fmla="*/ 100 h 241"/>
                <a:gd name="T80" fmla="*/ 131 w 451"/>
                <a:gd name="T81" fmla="*/ 222 h 241"/>
                <a:gd name="T82" fmla="*/ 122 w 451"/>
                <a:gd name="T83" fmla="*/ 210 h 241"/>
                <a:gd name="T84" fmla="*/ 150 w 451"/>
                <a:gd name="T85" fmla="*/ 210 h 241"/>
                <a:gd name="T86" fmla="*/ 199 w 451"/>
                <a:gd name="T87" fmla="*/ 161 h 241"/>
                <a:gd name="T88" fmla="*/ 153 w 451"/>
                <a:gd name="T89" fmla="*/ 111 h 241"/>
                <a:gd name="T90" fmla="*/ 113 w 451"/>
                <a:gd name="T91" fmla="*/ 83 h 241"/>
                <a:gd name="T92" fmla="*/ 221 w 451"/>
                <a:gd name="T93" fmla="*/ 17 h 241"/>
                <a:gd name="T94" fmla="*/ 235 w 451"/>
                <a:gd name="T95" fmla="*/ 18 h 241"/>
                <a:gd name="T96" fmla="*/ 223 w 451"/>
                <a:gd name="T97" fmla="*/ 46 h 241"/>
                <a:gd name="T98" fmla="*/ 194 w 451"/>
                <a:gd name="T99" fmla="*/ 58 h 241"/>
                <a:gd name="T100" fmla="*/ 182 w 451"/>
                <a:gd name="T101" fmla="*/ 87 h 241"/>
                <a:gd name="T102" fmla="*/ 194 w 451"/>
                <a:gd name="T103" fmla="*/ 116 h 241"/>
                <a:gd name="T104" fmla="*/ 223 w 451"/>
                <a:gd name="T105" fmla="*/ 127 h 241"/>
                <a:gd name="T106" fmla="*/ 318 w 451"/>
                <a:gd name="T107" fmla="*/ 127 h 241"/>
                <a:gd name="T108" fmla="*/ 342 w 451"/>
                <a:gd name="T109" fmla="*/ 121 h 241"/>
                <a:gd name="T110" fmla="*/ 343 w 451"/>
                <a:gd name="T111" fmla="*/ 139 h 241"/>
                <a:gd name="T112" fmla="*/ 342 w 451"/>
                <a:gd name="T113" fmla="*/ 154 h 241"/>
                <a:gd name="T114" fmla="*/ 240 w 451"/>
                <a:gd name="T115" fmla="*/ 198 h 241"/>
                <a:gd name="T116" fmla="*/ 131 w 451"/>
                <a:gd name="T117" fmla="*/ 222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1" h="241">
                  <a:moveTo>
                    <a:pt x="435" y="71"/>
                  </a:moveTo>
                  <a:cubicBezTo>
                    <a:pt x="428" y="49"/>
                    <a:pt x="396" y="37"/>
                    <a:pt x="346" y="38"/>
                  </a:cubicBezTo>
                  <a:cubicBezTo>
                    <a:pt x="346" y="55"/>
                    <a:pt x="346" y="55"/>
                    <a:pt x="346" y="55"/>
                  </a:cubicBezTo>
                  <a:cubicBezTo>
                    <a:pt x="387" y="54"/>
                    <a:pt x="415" y="62"/>
                    <a:pt x="419" y="76"/>
                  </a:cubicBezTo>
                  <a:cubicBezTo>
                    <a:pt x="424" y="92"/>
                    <a:pt x="402" y="118"/>
                    <a:pt x="360" y="144"/>
                  </a:cubicBezTo>
                  <a:cubicBezTo>
                    <a:pt x="360" y="142"/>
                    <a:pt x="360" y="141"/>
                    <a:pt x="360" y="139"/>
                  </a:cubicBezTo>
                  <a:cubicBezTo>
                    <a:pt x="360" y="63"/>
                    <a:pt x="298" y="0"/>
                    <a:pt x="221" y="0"/>
                  </a:cubicBezTo>
                  <a:cubicBezTo>
                    <a:pt x="145" y="0"/>
                    <a:pt x="82" y="63"/>
                    <a:pt x="82" y="139"/>
                  </a:cubicBezTo>
                  <a:cubicBezTo>
                    <a:pt x="82" y="170"/>
                    <a:pt x="92" y="199"/>
                    <a:pt x="110" y="223"/>
                  </a:cubicBezTo>
                  <a:cubicBezTo>
                    <a:pt x="104" y="224"/>
                    <a:pt x="97" y="224"/>
                    <a:pt x="91" y="224"/>
                  </a:cubicBezTo>
                  <a:cubicBezTo>
                    <a:pt x="53" y="224"/>
                    <a:pt x="28" y="216"/>
                    <a:pt x="24" y="202"/>
                  </a:cubicBezTo>
                  <a:cubicBezTo>
                    <a:pt x="19" y="188"/>
                    <a:pt x="36" y="166"/>
                    <a:pt x="69" y="143"/>
                  </a:cubicBezTo>
                  <a:cubicBezTo>
                    <a:pt x="60" y="129"/>
                    <a:pt x="60" y="129"/>
                    <a:pt x="60" y="129"/>
                  </a:cubicBezTo>
                  <a:cubicBezTo>
                    <a:pt x="18" y="158"/>
                    <a:pt x="0" y="185"/>
                    <a:pt x="7" y="207"/>
                  </a:cubicBezTo>
                  <a:cubicBezTo>
                    <a:pt x="14" y="229"/>
                    <a:pt x="43" y="241"/>
                    <a:pt x="91" y="241"/>
                  </a:cubicBezTo>
                  <a:cubicBezTo>
                    <a:pt x="91" y="241"/>
                    <a:pt x="91" y="241"/>
                    <a:pt x="92" y="241"/>
                  </a:cubicBezTo>
                  <a:cubicBezTo>
                    <a:pt x="135" y="241"/>
                    <a:pt x="190" y="231"/>
                    <a:pt x="245" y="214"/>
                  </a:cubicBezTo>
                  <a:cubicBezTo>
                    <a:pt x="349" y="181"/>
                    <a:pt x="451" y="120"/>
                    <a:pt x="435" y="71"/>
                  </a:cubicBezTo>
                  <a:close/>
                  <a:moveTo>
                    <a:pt x="338" y="103"/>
                  </a:moveTo>
                  <a:cubicBezTo>
                    <a:pt x="332" y="108"/>
                    <a:pt x="325" y="110"/>
                    <a:pt x="318" y="110"/>
                  </a:cubicBezTo>
                  <a:cubicBezTo>
                    <a:pt x="223" y="110"/>
                    <a:pt x="223" y="110"/>
                    <a:pt x="223" y="110"/>
                  </a:cubicBezTo>
                  <a:cubicBezTo>
                    <a:pt x="216" y="110"/>
                    <a:pt x="210" y="108"/>
                    <a:pt x="206" y="104"/>
                  </a:cubicBezTo>
                  <a:cubicBezTo>
                    <a:pt x="202" y="99"/>
                    <a:pt x="199" y="93"/>
                    <a:pt x="199" y="87"/>
                  </a:cubicBezTo>
                  <a:cubicBezTo>
                    <a:pt x="199" y="81"/>
                    <a:pt x="202" y="75"/>
                    <a:pt x="206" y="70"/>
                  </a:cubicBezTo>
                  <a:cubicBezTo>
                    <a:pt x="211" y="66"/>
                    <a:pt x="217" y="63"/>
                    <a:pt x="223" y="63"/>
                  </a:cubicBezTo>
                  <a:cubicBezTo>
                    <a:pt x="238" y="63"/>
                    <a:pt x="238" y="63"/>
                    <a:pt x="238" y="63"/>
                  </a:cubicBezTo>
                  <a:cubicBezTo>
                    <a:pt x="240" y="48"/>
                    <a:pt x="240" y="48"/>
                    <a:pt x="240" y="48"/>
                  </a:cubicBezTo>
                  <a:cubicBezTo>
                    <a:pt x="241" y="40"/>
                    <a:pt x="245" y="32"/>
                    <a:pt x="251" y="26"/>
                  </a:cubicBezTo>
                  <a:cubicBezTo>
                    <a:pt x="253" y="25"/>
                    <a:pt x="254" y="23"/>
                    <a:pt x="256" y="22"/>
                  </a:cubicBezTo>
                  <a:cubicBezTo>
                    <a:pt x="295" y="34"/>
                    <a:pt x="326" y="65"/>
                    <a:pt x="338" y="103"/>
                  </a:cubicBezTo>
                  <a:close/>
                  <a:moveTo>
                    <a:pt x="106" y="100"/>
                  </a:moveTo>
                  <a:cubicBezTo>
                    <a:pt x="106" y="100"/>
                    <a:pt x="106" y="100"/>
                    <a:pt x="106" y="100"/>
                  </a:cubicBezTo>
                  <a:cubicBezTo>
                    <a:pt x="119" y="100"/>
                    <a:pt x="132" y="108"/>
                    <a:pt x="138" y="119"/>
                  </a:cubicBezTo>
                  <a:cubicBezTo>
                    <a:pt x="142" y="127"/>
                    <a:pt x="142" y="127"/>
                    <a:pt x="142" y="127"/>
                  </a:cubicBezTo>
                  <a:cubicBezTo>
                    <a:pt x="151" y="128"/>
                    <a:pt x="151" y="128"/>
                    <a:pt x="151" y="128"/>
                  </a:cubicBezTo>
                  <a:cubicBezTo>
                    <a:pt x="169" y="130"/>
                    <a:pt x="182" y="144"/>
                    <a:pt x="182" y="161"/>
                  </a:cubicBezTo>
                  <a:cubicBezTo>
                    <a:pt x="182" y="178"/>
                    <a:pt x="167" y="193"/>
                    <a:pt x="150" y="193"/>
                  </a:cubicBezTo>
                  <a:cubicBezTo>
                    <a:pt x="111" y="193"/>
                    <a:pt x="111" y="193"/>
                    <a:pt x="111" y="193"/>
                  </a:cubicBezTo>
                  <a:cubicBezTo>
                    <a:pt x="103" y="176"/>
                    <a:pt x="99" y="158"/>
                    <a:pt x="99" y="139"/>
                  </a:cubicBezTo>
                  <a:cubicBezTo>
                    <a:pt x="99" y="125"/>
                    <a:pt x="101" y="112"/>
                    <a:pt x="106" y="100"/>
                  </a:cubicBezTo>
                  <a:close/>
                  <a:moveTo>
                    <a:pt x="131" y="222"/>
                  </a:moveTo>
                  <a:cubicBezTo>
                    <a:pt x="128" y="218"/>
                    <a:pt x="124" y="214"/>
                    <a:pt x="122" y="210"/>
                  </a:cubicBezTo>
                  <a:cubicBezTo>
                    <a:pt x="150" y="210"/>
                    <a:pt x="150" y="210"/>
                    <a:pt x="150" y="210"/>
                  </a:cubicBezTo>
                  <a:cubicBezTo>
                    <a:pt x="177" y="210"/>
                    <a:pt x="199" y="187"/>
                    <a:pt x="199" y="161"/>
                  </a:cubicBezTo>
                  <a:cubicBezTo>
                    <a:pt x="199" y="135"/>
                    <a:pt x="180" y="114"/>
                    <a:pt x="153" y="111"/>
                  </a:cubicBezTo>
                  <a:cubicBezTo>
                    <a:pt x="145" y="96"/>
                    <a:pt x="129" y="85"/>
                    <a:pt x="113" y="83"/>
                  </a:cubicBezTo>
                  <a:cubicBezTo>
                    <a:pt x="133" y="44"/>
                    <a:pt x="174" y="17"/>
                    <a:pt x="221" y="17"/>
                  </a:cubicBezTo>
                  <a:cubicBezTo>
                    <a:pt x="226" y="17"/>
                    <a:pt x="231" y="17"/>
                    <a:pt x="235" y="18"/>
                  </a:cubicBezTo>
                  <a:cubicBezTo>
                    <a:pt x="228" y="26"/>
                    <a:pt x="224" y="36"/>
                    <a:pt x="223" y="46"/>
                  </a:cubicBezTo>
                  <a:cubicBezTo>
                    <a:pt x="212" y="46"/>
                    <a:pt x="202" y="51"/>
                    <a:pt x="194" y="58"/>
                  </a:cubicBezTo>
                  <a:cubicBezTo>
                    <a:pt x="186" y="66"/>
                    <a:pt x="182" y="76"/>
                    <a:pt x="182" y="87"/>
                  </a:cubicBezTo>
                  <a:cubicBezTo>
                    <a:pt x="182" y="98"/>
                    <a:pt x="186" y="108"/>
                    <a:pt x="194" y="116"/>
                  </a:cubicBezTo>
                  <a:cubicBezTo>
                    <a:pt x="201" y="123"/>
                    <a:pt x="212" y="127"/>
                    <a:pt x="223" y="127"/>
                  </a:cubicBezTo>
                  <a:cubicBezTo>
                    <a:pt x="318" y="127"/>
                    <a:pt x="318" y="127"/>
                    <a:pt x="318" y="127"/>
                  </a:cubicBezTo>
                  <a:cubicBezTo>
                    <a:pt x="327" y="127"/>
                    <a:pt x="335" y="125"/>
                    <a:pt x="342" y="121"/>
                  </a:cubicBezTo>
                  <a:cubicBezTo>
                    <a:pt x="343" y="127"/>
                    <a:pt x="343" y="133"/>
                    <a:pt x="343" y="139"/>
                  </a:cubicBezTo>
                  <a:cubicBezTo>
                    <a:pt x="343" y="144"/>
                    <a:pt x="343" y="149"/>
                    <a:pt x="342" y="154"/>
                  </a:cubicBezTo>
                  <a:cubicBezTo>
                    <a:pt x="314" y="170"/>
                    <a:pt x="280" y="185"/>
                    <a:pt x="240" y="198"/>
                  </a:cubicBezTo>
                  <a:cubicBezTo>
                    <a:pt x="202" y="210"/>
                    <a:pt x="164" y="218"/>
                    <a:pt x="131" y="2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76" name="Freeform 27"/>
            <p:cNvSpPr>
              <a:spLocks noEditPoints="1"/>
            </p:cNvSpPr>
            <p:nvPr/>
          </p:nvSpPr>
          <p:spPr bwMode="auto">
            <a:xfrm>
              <a:off x="8974138" y="-569913"/>
              <a:ext cx="280987" cy="277813"/>
            </a:xfrm>
            <a:custGeom>
              <a:avLst/>
              <a:gdLst>
                <a:gd name="T0" fmla="*/ 33 w 66"/>
                <a:gd name="T1" fmla="*/ 0 h 65"/>
                <a:gd name="T2" fmla="*/ 0 w 66"/>
                <a:gd name="T3" fmla="*/ 33 h 65"/>
                <a:gd name="T4" fmla="*/ 33 w 66"/>
                <a:gd name="T5" fmla="*/ 65 h 65"/>
                <a:gd name="T6" fmla="*/ 66 w 66"/>
                <a:gd name="T7" fmla="*/ 33 h 65"/>
                <a:gd name="T8" fmla="*/ 33 w 66"/>
                <a:gd name="T9" fmla="*/ 0 h 65"/>
                <a:gd name="T10" fmla="*/ 33 w 66"/>
                <a:gd name="T11" fmla="*/ 48 h 65"/>
                <a:gd name="T12" fmla="*/ 17 w 66"/>
                <a:gd name="T13" fmla="*/ 33 h 65"/>
                <a:gd name="T14" fmla="*/ 33 w 66"/>
                <a:gd name="T15" fmla="*/ 17 h 65"/>
                <a:gd name="T16" fmla="*/ 49 w 66"/>
                <a:gd name="T17" fmla="*/ 33 h 65"/>
                <a:gd name="T18" fmla="*/ 33 w 66"/>
                <a:gd name="T19" fmla="*/ 4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5">
                  <a:moveTo>
                    <a:pt x="33" y="0"/>
                  </a:moveTo>
                  <a:cubicBezTo>
                    <a:pt x="15" y="0"/>
                    <a:pt x="0" y="15"/>
                    <a:pt x="0" y="33"/>
                  </a:cubicBezTo>
                  <a:cubicBezTo>
                    <a:pt x="0" y="51"/>
                    <a:pt x="15" y="65"/>
                    <a:pt x="33" y="65"/>
                  </a:cubicBezTo>
                  <a:cubicBezTo>
                    <a:pt x="51" y="65"/>
                    <a:pt x="66" y="51"/>
                    <a:pt x="66" y="33"/>
                  </a:cubicBezTo>
                  <a:cubicBezTo>
                    <a:pt x="66" y="15"/>
                    <a:pt x="51" y="0"/>
                    <a:pt x="33" y="0"/>
                  </a:cubicBezTo>
                  <a:close/>
                  <a:moveTo>
                    <a:pt x="33" y="48"/>
                  </a:moveTo>
                  <a:cubicBezTo>
                    <a:pt x="24" y="48"/>
                    <a:pt x="17" y="41"/>
                    <a:pt x="17" y="33"/>
                  </a:cubicBezTo>
                  <a:cubicBezTo>
                    <a:pt x="17" y="24"/>
                    <a:pt x="24" y="17"/>
                    <a:pt x="33" y="17"/>
                  </a:cubicBezTo>
                  <a:cubicBezTo>
                    <a:pt x="42" y="17"/>
                    <a:pt x="49" y="24"/>
                    <a:pt x="49" y="33"/>
                  </a:cubicBezTo>
                  <a:cubicBezTo>
                    <a:pt x="49" y="41"/>
                    <a:pt x="42" y="48"/>
                    <a:pt x="3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77" name="Freeform 28"/>
            <p:cNvSpPr>
              <a:spLocks noEditPoints="1"/>
            </p:cNvSpPr>
            <p:nvPr/>
          </p:nvSpPr>
          <p:spPr bwMode="auto">
            <a:xfrm>
              <a:off x="8620125" y="-1781175"/>
              <a:ext cx="341312" cy="341313"/>
            </a:xfrm>
            <a:custGeom>
              <a:avLst/>
              <a:gdLst>
                <a:gd name="T0" fmla="*/ 40 w 80"/>
                <a:gd name="T1" fmla="*/ 80 h 80"/>
                <a:gd name="T2" fmla="*/ 80 w 80"/>
                <a:gd name="T3" fmla="*/ 40 h 80"/>
                <a:gd name="T4" fmla="*/ 40 w 80"/>
                <a:gd name="T5" fmla="*/ 0 h 80"/>
                <a:gd name="T6" fmla="*/ 0 w 80"/>
                <a:gd name="T7" fmla="*/ 40 h 80"/>
                <a:gd name="T8" fmla="*/ 40 w 80"/>
                <a:gd name="T9" fmla="*/ 80 h 80"/>
                <a:gd name="T10" fmla="*/ 40 w 80"/>
                <a:gd name="T11" fmla="*/ 17 h 80"/>
                <a:gd name="T12" fmla="*/ 63 w 80"/>
                <a:gd name="T13" fmla="*/ 40 h 80"/>
                <a:gd name="T14" fmla="*/ 40 w 80"/>
                <a:gd name="T15" fmla="*/ 63 h 80"/>
                <a:gd name="T16" fmla="*/ 17 w 80"/>
                <a:gd name="T17" fmla="*/ 40 h 80"/>
                <a:gd name="T18" fmla="*/ 40 w 80"/>
                <a:gd name="T19" fmla="*/ 1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62" y="80"/>
                    <a:pt x="80" y="62"/>
                    <a:pt x="80" y="40"/>
                  </a:cubicBezTo>
                  <a:cubicBezTo>
                    <a:pt x="80" y="18"/>
                    <a:pt x="62" y="0"/>
                    <a:pt x="40" y="0"/>
                  </a:cubicBezTo>
                  <a:cubicBezTo>
                    <a:pt x="18" y="0"/>
                    <a:pt x="0" y="18"/>
                    <a:pt x="0" y="40"/>
                  </a:cubicBezTo>
                  <a:cubicBezTo>
                    <a:pt x="0" y="62"/>
                    <a:pt x="18" y="80"/>
                    <a:pt x="40" y="80"/>
                  </a:cubicBezTo>
                  <a:close/>
                  <a:moveTo>
                    <a:pt x="40" y="17"/>
                  </a:moveTo>
                  <a:cubicBezTo>
                    <a:pt x="53" y="17"/>
                    <a:pt x="63" y="28"/>
                    <a:pt x="63" y="40"/>
                  </a:cubicBezTo>
                  <a:cubicBezTo>
                    <a:pt x="63" y="53"/>
                    <a:pt x="53" y="63"/>
                    <a:pt x="40" y="63"/>
                  </a:cubicBezTo>
                  <a:cubicBezTo>
                    <a:pt x="28" y="63"/>
                    <a:pt x="17" y="53"/>
                    <a:pt x="17" y="40"/>
                  </a:cubicBezTo>
                  <a:cubicBezTo>
                    <a:pt x="17" y="28"/>
                    <a:pt x="28" y="17"/>
                    <a:pt x="4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78" name="Freeform 29"/>
            <p:cNvSpPr>
              <a:spLocks noEditPoints="1"/>
            </p:cNvSpPr>
            <p:nvPr/>
          </p:nvSpPr>
          <p:spPr bwMode="auto">
            <a:xfrm>
              <a:off x="7356475" y="-1735138"/>
              <a:ext cx="574675" cy="576263"/>
            </a:xfrm>
            <a:custGeom>
              <a:avLst/>
              <a:gdLst>
                <a:gd name="T0" fmla="*/ 59 w 135"/>
                <a:gd name="T1" fmla="*/ 135 h 135"/>
                <a:gd name="T2" fmla="*/ 76 w 135"/>
                <a:gd name="T3" fmla="*/ 135 h 135"/>
                <a:gd name="T4" fmla="*/ 135 w 135"/>
                <a:gd name="T5" fmla="*/ 76 h 135"/>
                <a:gd name="T6" fmla="*/ 135 w 135"/>
                <a:gd name="T7" fmla="*/ 59 h 135"/>
                <a:gd name="T8" fmla="*/ 76 w 135"/>
                <a:gd name="T9" fmla="*/ 0 h 135"/>
                <a:gd name="T10" fmla="*/ 59 w 135"/>
                <a:gd name="T11" fmla="*/ 0 h 135"/>
                <a:gd name="T12" fmla="*/ 0 w 135"/>
                <a:gd name="T13" fmla="*/ 59 h 135"/>
                <a:gd name="T14" fmla="*/ 0 w 135"/>
                <a:gd name="T15" fmla="*/ 76 h 135"/>
                <a:gd name="T16" fmla="*/ 59 w 135"/>
                <a:gd name="T17" fmla="*/ 135 h 135"/>
                <a:gd name="T18" fmla="*/ 68 w 135"/>
                <a:gd name="T19" fmla="*/ 35 h 135"/>
                <a:gd name="T20" fmla="*/ 100 w 135"/>
                <a:gd name="T21" fmla="*/ 67 h 135"/>
                <a:gd name="T22" fmla="*/ 68 w 135"/>
                <a:gd name="T23" fmla="*/ 100 h 135"/>
                <a:gd name="T24" fmla="*/ 35 w 135"/>
                <a:gd name="T25" fmla="*/ 67 h 135"/>
                <a:gd name="T26" fmla="*/ 68 w 135"/>
                <a:gd name="T27" fmla="*/ 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5" h="135">
                  <a:moveTo>
                    <a:pt x="59" y="135"/>
                  </a:moveTo>
                  <a:cubicBezTo>
                    <a:pt x="76" y="135"/>
                    <a:pt x="76" y="135"/>
                    <a:pt x="76" y="135"/>
                  </a:cubicBezTo>
                  <a:cubicBezTo>
                    <a:pt x="76" y="102"/>
                    <a:pt x="103" y="76"/>
                    <a:pt x="135" y="76"/>
                  </a:cubicBezTo>
                  <a:cubicBezTo>
                    <a:pt x="135" y="59"/>
                    <a:pt x="135" y="59"/>
                    <a:pt x="135" y="59"/>
                  </a:cubicBezTo>
                  <a:cubicBezTo>
                    <a:pt x="103" y="59"/>
                    <a:pt x="76" y="33"/>
                    <a:pt x="76" y="0"/>
                  </a:cubicBezTo>
                  <a:cubicBezTo>
                    <a:pt x="59" y="0"/>
                    <a:pt x="59" y="0"/>
                    <a:pt x="59" y="0"/>
                  </a:cubicBezTo>
                  <a:cubicBezTo>
                    <a:pt x="59" y="33"/>
                    <a:pt x="33" y="59"/>
                    <a:pt x="0" y="59"/>
                  </a:cubicBezTo>
                  <a:cubicBezTo>
                    <a:pt x="0" y="76"/>
                    <a:pt x="0" y="76"/>
                    <a:pt x="0" y="76"/>
                  </a:cubicBezTo>
                  <a:cubicBezTo>
                    <a:pt x="33" y="76"/>
                    <a:pt x="59" y="102"/>
                    <a:pt x="59" y="135"/>
                  </a:cubicBezTo>
                  <a:close/>
                  <a:moveTo>
                    <a:pt x="68" y="35"/>
                  </a:moveTo>
                  <a:cubicBezTo>
                    <a:pt x="75" y="49"/>
                    <a:pt x="86" y="60"/>
                    <a:pt x="100" y="67"/>
                  </a:cubicBezTo>
                  <a:cubicBezTo>
                    <a:pt x="86" y="75"/>
                    <a:pt x="75" y="86"/>
                    <a:pt x="68" y="100"/>
                  </a:cubicBezTo>
                  <a:cubicBezTo>
                    <a:pt x="60" y="86"/>
                    <a:pt x="49" y="75"/>
                    <a:pt x="35" y="67"/>
                  </a:cubicBezTo>
                  <a:cubicBezTo>
                    <a:pt x="49" y="60"/>
                    <a:pt x="60" y="49"/>
                    <a:pt x="68"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874759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0">
  <p:cSld>
    <p:bg>
      <p:bgPr>
        <a:solidFill>
          <a:srgbClr val="F2F2F2"/>
        </a:solidFill>
        <a:effectLst/>
      </p:bgPr>
    </p:bg>
    <p:spTree>
      <p:nvGrpSpPr>
        <p:cNvPr id="1" name=""/>
        <p:cNvGrpSpPr/>
        <p:nvPr/>
      </p:nvGrpSpPr>
      <p:grpSpPr>
        <a:xfrm>
          <a:off x="0" y="0"/>
          <a:ext cx="0" cy="0"/>
          <a:chOff x="0" y="0"/>
          <a:chExt cx="0" cy="0"/>
        </a:xfrm>
      </p:grpSpPr>
      <p:sp>
        <p:nvSpPr>
          <p:cNvPr id="116" name="Rectangle 115">
            <a:extLst>
              <a:ext uri="{FF2B5EF4-FFF2-40B4-BE49-F238E27FC236}">
                <a16:creationId xmlns:a16="http://schemas.microsoft.com/office/drawing/2014/main" id="{D0A32857-E4F2-40CC-BB62-8FE3568EB6F0}"/>
              </a:ext>
            </a:extLst>
          </p:cNvPr>
          <p:cNvSpPr/>
          <p:nvPr/>
        </p:nvSpPr>
        <p:spPr>
          <a:xfrm>
            <a:off x="554076" y="5744961"/>
            <a:ext cx="889779" cy="331899"/>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Trusted</a:t>
            </a:r>
          </a:p>
        </p:txBody>
      </p:sp>
      <p:sp>
        <p:nvSpPr>
          <p:cNvPr id="133" name="Rectangle 132">
            <a:extLst>
              <a:ext uri="{FF2B5EF4-FFF2-40B4-BE49-F238E27FC236}">
                <a16:creationId xmlns:a16="http://schemas.microsoft.com/office/drawing/2014/main" id="{587D7066-8B06-48F6-9D9D-CE8DB483B2C3}"/>
              </a:ext>
            </a:extLst>
          </p:cNvPr>
          <p:cNvSpPr/>
          <p:nvPr/>
        </p:nvSpPr>
        <p:spPr>
          <a:xfrm>
            <a:off x="214024" y="4423914"/>
            <a:ext cx="1590664" cy="452590"/>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2353" b="0" i="0" u="none" strike="noStrike" kern="0" cap="none" spc="49"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Intelligent</a:t>
            </a:r>
          </a:p>
        </p:txBody>
      </p:sp>
      <p:sp>
        <p:nvSpPr>
          <p:cNvPr id="135" name="Rectangle 134">
            <a:extLst>
              <a:ext uri="{FF2B5EF4-FFF2-40B4-BE49-F238E27FC236}">
                <a16:creationId xmlns:a16="http://schemas.microsoft.com/office/drawing/2014/main" id="{E01FCFB5-BFC8-40DA-8851-C75F6FE1147A}"/>
              </a:ext>
            </a:extLst>
          </p:cNvPr>
          <p:cNvSpPr/>
          <p:nvPr/>
        </p:nvSpPr>
        <p:spPr>
          <a:xfrm>
            <a:off x="600013" y="3102867"/>
            <a:ext cx="818686" cy="333617"/>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Hybrid</a:t>
            </a:r>
          </a:p>
        </p:txBody>
      </p:sp>
      <p:sp>
        <p:nvSpPr>
          <p:cNvPr id="143" name="Rectangle 142">
            <a:extLst>
              <a:ext uri="{FF2B5EF4-FFF2-40B4-BE49-F238E27FC236}">
                <a16:creationId xmlns:a16="http://schemas.microsoft.com/office/drawing/2014/main" id="{6ACC106D-0B3A-451A-97C3-CBECB9DA5404}"/>
              </a:ext>
            </a:extLst>
          </p:cNvPr>
          <p:cNvSpPr/>
          <p:nvPr/>
        </p:nvSpPr>
        <p:spPr>
          <a:xfrm>
            <a:off x="412719" y="1791255"/>
            <a:ext cx="1193275" cy="333617"/>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Productive</a:t>
            </a:r>
          </a:p>
        </p:txBody>
      </p:sp>
      <p:sp>
        <p:nvSpPr>
          <p:cNvPr id="175" name="Freeform 174"/>
          <p:cNvSpPr>
            <a:spLocks noChangeArrowheads="1"/>
          </p:cNvSpPr>
          <p:nvPr/>
        </p:nvSpPr>
        <p:spPr bwMode="auto">
          <a:xfrm>
            <a:off x="768595" y="5091515"/>
            <a:ext cx="471273" cy="466323"/>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1"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28674" y="3704531"/>
            <a:ext cx="371476" cy="55151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93"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00949" y="1160459"/>
            <a:ext cx="431098" cy="43109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194" name="Group 193">
            <a:extLst>
              <a:ext uri="{FF2B5EF4-FFF2-40B4-BE49-F238E27FC236}">
                <a16:creationId xmlns:a16="http://schemas.microsoft.com/office/drawing/2014/main" id="{D5637843-A804-4566-8EA5-DA973F5E429A}"/>
              </a:ext>
            </a:extLst>
          </p:cNvPr>
          <p:cNvGrpSpPr/>
          <p:nvPr/>
        </p:nvGrpSpPr>
        <p:grpSpPr>
          <a:xfrm>
            <a:off x="775290" y="2524056"/>
            <a:ext cx="451261" cy="440761"/>
            <a:chOff x="2088630" y="3287843"/>
            <a:chExt cx="429718" cy="419725"/>
          </a:xfrm>
          <a:noFill/>
        </p:grpSpPr>
        <p:sp>
          <p:nvSpPr>
            <p:cNvPr id="195" name="Rectangle 194">
              <a:extLst>
                <a:ext uri="{FF2B5EF4-FFF2-40B4-BE49-F238E27FC236}">
                  <a16:creationId xmlns:a16="http://schemas.microsoft.com/office/drawing/2014/main" id="{CB04EC4A-920F-43A1-8283-7054C2DD5EB6}"/>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96" name="Rectangle 195">
              <a:extLst>
                <a:ext uri="{FF2B5EF4-FFF2-40B4-BE49-F238E27FC236}">
                  <a16:creationId xmlns:a16="http://schemas.microsoft.com/office/drawing/2014/main" id="{F4465575-ED05-4AB7-8C13-4BAC0922F7E1}"/>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4" name="AutoShape 2" descr="https://azurecomcdn.azureedge.net/cvt-0ad50a2fef9968bb2919adafc388149b558a6b382a760e3050caf9e5a40ef415/images/page/services/machine-learning-services/workbench.svg"/>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cxnSp>
        <p:nvCxnSpPr>
          <p:cNvPr id="142" name="Straight Connector 141">
            <a:extLst>
              <a:ext uri="{FF2B5EF4-FFF2-40B4-BE49-F238E27FC236}">
                <a16:creationId xmlns:a16="http://schemas.microsoft.com/office/drawing/2014/main" id="{22491D93-6F6D-4B02-911C-3F451CE91E22}"/>
              </a:ext>
            </a:extLst>
          </p:cNvPr>
          <p:cNvCxnSpPr>
            <a:cxnSpLocks/>
          </p:cNvCxnSpPr>
          <p:nvPr/>
        </p:nvCxnSpPr>
        <p:spPr>
          <a:xfrm>
            <a:off x="1954222" y="490"/>
            <a:ext cx="0" cy="6888317"/>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3" name="TextBox 2"/>
          <p:cNvSpPr txBox="1"/>
          <p:nvPr/>
        </p:nvSpPr>
        <p:spPr>
          <a:xfrm>
            <a:off x="2195833" y="3590219"/>
            <a:ext cx="3298214" cy="92640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a:ea typeface="Segoe UI Light" charset="0"/>
                <a:cs typeface="Segoe UI Light" charset="0"/>
              </a:rPr>
              <a:t>Customizable services</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Segoe UI Light" charset="0"/>
                <a:cs typeface="Segoe UI Light" charset="0"/>
              </a:rPr>
              <a:t>VS, ML STUB, Tensor, Caffe</a:t>
            </a:r>
          </a:p>
        </p:txBody>
      </p:sp>
      <p:sp>
        <p:nvSpPr>
          <p:cNvPr id="109" name="TextBox 108"/>
          <p:cNvSpPr txBox="1"/>
          <p:nvPr/>
        </p:nvSpPr>
        <p:spPr>
          <a:xfrm>
            <a:off x="8265311" y="3590219"/>
            <a:ext cx="3675527" cy="92640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a:ea typeface="Segoe UI Light" charset="0"/>
                <a:cs typeface="Segoe UI Light" charset="0"/>
              </a:rPr>
              <a:t>Infrastructure and compute</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Segoe UI Light" charset="0"/>
                <a:cs typeface="Segoe UI Light" charset="0"/>
              </a:rPr>
              <a:t>CPU, GPU, FPGA</a:t>
            </a:r>
          </a:p>
        </p:txBody>
      </p:sp>
      <p:sp>
        <p:nvSpPr>
          <p:cNvPr id="112" name="TextBox 111"/>
          <p:cNvSpPr txBox="1"/>
          <p:nvPr/>
        </p:nvSpPr>
        <p:spPr>
          <a:xfrm>
            <a:off x="4909409" y="3590219"/>
            <a:ext cx="3678513" cy="92640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a:ea typeface="Segoe UI Light" charset="0"/>
                <a:cs typeface="Segoe UI Light" charset="0"/>
              </a:rPr>
              <a:t>Tools </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Segoe UI Light" charset="0"/>
                <a:cs typeface="Segoe UI Light" charset="0"/>
              </a:rPr>
              <a:t>Bots, Cognitive, ML</a:t>
            </a:r>
          </a:p>
        </p:txBody>
      </p:sp>
      <p:grpSp>
        <p:nvGrpSpPr>
          <p:cNvPr id="6" name="Group 5"/>
          <p:cNvGrpSpPr/>
          <p:nvPr/>
        </p:nvGrpSpPr>
        <p:grpSpPr>
          <a:xfrm>
            <a:off x="6357443" y="2586072"/>
            <a:ext cx="782444" cy="805790"/>
            <a:chOff x="8555045" y="2751388"/>
            <a:chExt cx="476312" cy="490524"/>
          </a:xfrm>
          <a:solidFill>
            <a:srgbClr val="001F54"/>
          </a:solidFill>
        </p:grpSpPr>
        <p:sp>
          <p:nvSpPr>
            <p:cNvPr id="97" name="Freeform 1"/>
            <p:cNvSpPr>
              <a:spLocks noChangeArrowheads="1"/>
            </p:cNvSpPr>
            <p:nvPr/>
          </p:nvSpPr>
          <p:spPr bwMode="auto">
            <a:xfrm>
              <a:off x="8555045" y="2751388"/>
              <a:ext cx="476312" cy="490524"/>
            </a:xfrm>
            <a:custGeom>
              <a:avLst/>
              <a:gdLst>
                <a:gd name="T0" fmla="*/ 111 w 8416"/>
                <a:gd name="T1" fmla="*/ 7718 h 8980"/>
                <a:gd name="T2" fmla="*/ 333 w 8416"/>
                <a:gd name="T3" fmla="*/ 8804 h 8980"/>
                <a:gd name="T4" fmla="*/ 8074 w 8416"/>
                <a:gd name="T5" fmla="*/ 8804 h 8980"/>
                <a:gd name="T6" fmla="*/ 8304 w 8416"/>
                <a:gd name="T7" fmla="*/ 7718 h 8980"/>
                <a:gd name="T8" fmla="*/ 7526 w 8416"/>
                <a:gd name="T9" fmla="*/ 7986 h 8980"/>
                <a:gd name="T10" fmla="*/ 7693 w 8416"/>
                <a:gd name="T11" fmla="*/ 8463 h 8980"/>
                <a:gd name="T12" fmla="*/ 7375 w 8416"/>
                <a:gd name="T13" fmla="*/ 8487 h 8980"/>
                <a:gd name="T14" fmla="*/ 8002 w 8416"/>
                <a:gd name="T15" fmla="*/ 8074 h 8980"/>
                <a:gd name="T16" fmla="*/ 7820 w 8416"/>
                <a:gd name="T17" fmla="*/ 8455 h 8980"/>
                <a:gd name="T18" fmla="*/ 7526 w 8416"/>
                <a:gd name="T19" fmla="*/ 7876 h 8980"/>
                <a:gd name="T20" fmla="*/ 7248 w 8416"/>
                <a:gd name="T21" fmla="*/ 8495 h 8980"/>
                <a:gd name="T22" fmla="*/ 6470 w 8416"/>
                <a:gd name="T23" fmla="*/ 8408 h 8980"/>
                <a:gd name="T24" fmla="*/ 6121 w 8416"/>
                <a:gd name="T25" fmla="*/ 7876 h 8980"/>
                <a:gd name="T26" fmla="*/ 5930 w 8416"/>
                <a:gd name="T27" fmla="*/ 8535 h 8980"/>
                <a:gd name="T28" fmla="*/ 5136 w 8416"/>
                <a:gd name="T29" fmla="*/ 8161 h 8980"/>
                <a:gd name="T30" fmla="*/ 4723 w 8416"/>
                <a:gd name="T31" fmla="*/ 7892 h 8980"/>
                <a:gd name="T32" fmla="*/ 4596 w 8416"/>
                <a:gd name="T33" fmla="*/ 8566 h 8980"/>
                <a:gd name="T34" fmla="*/ 3714 w 8416"/>
                <a:gd name="T35" fmla="*/ 8161 h 8980"/>
                <a:gd name="T36" fmla="*/ 3596 w 8416"/>
                <a:gd name="T37" fmla="*/ 6868 h 8980"/>
                <a:gd name="T38" fmla="*/ 4549 w 8416"/>
                <a:gd name="T39" fmla="*/ 6074 h 8980"/>
                <a:gd name="T40" fmla="*/ 5001 w 8416"/>
                <a:gd name="T41" fmla="*/ 6312 h 8980"/>
                <a:gd name="T42" fmla="*/ 5898 w 8416"/>
                <a:gd name="T43" fmla="*/ 6074 h 8980"/>
                <a:gd name="T44" fmla="*/ 6287 w 8416"/>
                <a:gd name="T45" fmla="*/ 6336 h 8980"/>
                <a:gd name="T46" fmla="*/ 563 w 8416"/>
                <a:gd name="T47" fmla="*/ 8439 h 8980"/>
                <a:gd name="T48" fmla="*/ 738 w 8416"/>
                <a:gd name="T49" fmla="*/ 7986 h 8980"/>
                <a:gd name="T50" fmla="*/ 881 w 8416"/>
                <a:gd name="T51" fmla="*/ 8502 h 8980"/>
                <a:gd name="T52" fmla="*/ 570 w 8416"/>
                <a:gd name="T53" fmla="*/ 7923 h 8980"/>
                <a:gd name="T54" fmla="*/ 412 w 8416"/>
                <a:gd name="T55" fmla="*/ 8058 h 8980"/>
                <a:gd name="T56" fmla="*/ 1793 w 8416"/>
                <a:gd name="T57" fmla="*/ 5836 h 8980"/>
                <a:gd name="T58" fmla="*/ 2127 w 8416"/>
                <a:gd name="T59" fmla="*/ 6352 h 8980"/>
                <a:gd name="T60" fmla="*/ 2810 w 8416"/>
                <a:gd name="T61" fmla="*/ 5836 h 8980"/>
                <a:gd name="T62" fmla="*/ 3191 w 8416"/>
                <a:gd name="T63" fmla="*/ 6812 h 8980"/>
                <a:gd name="T64" fmla="*/ 2715 w 8416"/>
                <a:gd name="T65" fmla="*/ 6900 h 8980"/>
                <a:gd name="T66" fmla="*/ 2985 w 8416"/>
                <a:gd name="T67" fmla="*/ 7551 h 8980"/>
                <a:gd name="T68" fmla="*/ 2365 w 8416"/>
                <a:gd name="T69" fmla="*/ 8408 h 8980"/>
                <a:gd name="T70" fmla="*/ 2015 w 8416"/>
                <a:gd name="T71" fmla="*/ 7876 h 8980"/>
                <a:gd name="T72" fmla="*/ 1826 w 8416"/>
                <a:gd name="T73" fmla="*/ 8535 h 8980"/>
                <a:gd name="T74" fmla="*/ 1031 w 8416"/>
                <a:gd name="T75" fmla="*/ 8161 h 8980"/>
                <a:gd name="T76" fmla="*/ 6351 w 8416"/>
                <a:gd name="T77" fmla="*/ 6074 h 8980"/>
                <a:gd name="T78" fmla="*/ 6113 w 8416"/>
                <a:gd name="T79" fmla="*/ 6233 h 8980"/>
                <a:gd name="T80" fmla="*/ 5009 w 8416"/>
                <a:gd name="T81" fmla="*/ 6106 h 8980"/>
                <a:gd name="T82" fmla="*/ 4715 w 8416"/>
                <a:gd name="T83" fmla="*/ 6193 h 8980"/>
                <a:gd name="T84" fmla="*/ 3246 w 8416"/>
                <a:gd name="T85" fmla="*/ 5836 h 8980"/>
                <a:gd name="T86" fmla="*/ 2142 w 8416"/>
                <a:gd name="T87" fmla="*/ 6233 h 8980"/>
                <a:gd name="T88" fmla="*/ 1913 w 8416"/>
                <a:gd name="T89" fmla="*/ 5836 h 8980"/>
                <a:gd name="T90" fmla="*/ 3326 w 8416"/>
                <a:gd name="T91" fmla="*/ 8550 h 8980"/>
                <a:gd name="T92" fmla="*/ 3326 w 8416"/>
                <a:gd name="T93" fmla="*/ 8018 h 8980"/>
                <a:gd name="T94" fmla="*/ 3596 w 8416"/>
                <a:gd name="T95" fmla="*/ 8161 h 8980"/>
                <a:gd name="T96" fmla="*/ 2945 w 8416"/>
                <a:gd name="T97" fmla="*/ 7424 h 8980"/>
                <a:gd name="T98" fmla="*/ 2833 w 8416"/>
                <a:gd name="T99" fmla="*/ 6916 h 8980"/>
                <a:gd name="T100" fmla="*/ 1913 w 8416"/>
                <a:gd name="T101" fmla="*/ 8408 h 8980"/>
                <a:gd name="T102" fmla="*/ 2111 w 8416"/>
                <a:gd name="T103" fmla="*/ 7995 h 8980"/>
                <a:gd name="T104" fmla="*/ 2231 w 8416"/>
                <a:gd name="T105" fmla="*/ 8487 h 8980"/>
                <a:gd name="T106" fmla="*/ 4659 w 8416"/>
                <a:gd name="T107" fmla="*/ 8408 h 8980"/>
                <a:gd name="T108" fmla="*/ 4874 w 8416"/>
                <a:gd name="T109" fmla="*/ 7995 h 8980"/>
                <a:gd name="T110" fmla="*/ 4993 w 8416"/>
                <a:gd name="T111" fmla="*/ 8487 h 8980"/>
                <a:gd name="T112" fmla="*/ 4667 w 8416"/>
                <a:gd name="T113" fmla="*/ 8431 h 8980"/>
                <a:gd name="T114" fmla="*/ 6177 w 8416"/>
                <a:gd name="T115" fmla="*/ 7986 h 8980"/>
                <a:gd name="T116" fmla="*/ 6351 w 8416"/>
                <a:gd name="T117" fmla="*/ 8431 h 8980"/>
                <a:gd name="T118" fmla="*/ 6017 w 8416"/>
                <a:gd name="T119" fmla="*/ 8431 h 8980"/>
                <a:gd name="T120" fmla="*/ 2476 w 8416"/>
                <a:gd name="T121" fmla="*/ 1136 h 8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16" h="8980">
                  <a:moveTo>
                    <a:pt x="8304" y="7718"/>
                  </a:moveTo>
                  <a:lnTo>
                    <a:pt x="5811" y="3248"/>
                  </a:lnTo>
                  <a:lnTo>
                    <a:pt x="5811" y="1541"/>
                  </a:lnTo>
                  <a:lnTo>
                    <a:pt x="6343" y="1541"/>
                  </a:lnTo>
                  <a:lnTo>
                    <a:pt x="6343" y="0"/>
                  </a:lnTo>
                  <a:lnTo>
                    <a:pt x="2071" y="0"/>
                  </a:lnTo>
                  <a:lnTo>
                    <a:pt x="2071" y="1541"/>
                  </a:lnTo>
                  <a:lnTo>
                    <a:pt x="2603" y="1541"/>
                  </a:lnTo>
                  <a:lnTo>
                    <a:pt x="2603" y="3248"/>
                  </a:lnTo>
                  <a:lnTo>
                    <a:pt x="1293" y="5590"/>
                  </a:lnTo>
                  <a:lnTo>
                    <a:pt x="111" y="7718"/>
                  </a:lnTo>
                  <a:lnTo>
                    <a:pt x="111" y="7718"/>
                  </a:lnTo>
                  <a:lnTo>
                    <a:pt x="64" y="7821"/>
                  </a:lnTo>
                  <a:lnTo>
                    <a:pt x="24" y="7923"/>
                  </a:lnTo>
                  <a:lnTo>
                    <a:pt x="8" y="8026"/>
                  </a:lnTo>
                  <a:lnTo>
                    <a:pt x="0" y="8138"/>
                  </a:lnTo>
                  <a:lnTo>
                    <a:pt x="8" y="8248"/>
                  </a:lnTo>
                  <a:lnTo>
                    <a:pt x="31" y="8352"/>
                  </a:lnTo>
                  <a:lnTo>
                    <a:pt x="64" y="8455"/>
                  </a:lnTo>
                  <a:lnTo>
                    <a:pt x="119" y="8558"/>
                  </a:lnTo>
                  <a:lnTo>
                    <a:pt x="119" y="8558"/>
                  </a:lnTo>
                  <a:lnTo>
                    <a:pt x="181" y="8653"/>
                  </a:lnTo>
                  <a:lnTo>
                    <a:pt x="253" y="8733"/>
                  </a:lnTo>
                  <a:lnTo>
                    <a:pt x="333" y="8804"/>
                  </a:lnTo>
                  <a:lnTo>
                    <a:pt x="428" y="8867"/>
                  </a:lnTo>
                  <a:lnTo>
                    <a:pt x="523" y="8915"/>
                  </a:lnTo>
                  <a:lnTo>
                    <a:pt x="626" y="8948"/>
                  </a:lnTo>
                  <a:lnTo>
                    <a:pt x="738" y="8971"/>
                  </a:lnTo>
                  <a:lnTo>
                    <a:pt x="848" y="8979"/>
                  </a:lnTo>
                  <a:lnTo>
                    <a:pt x="7566" y="8979"/>
                  </a:lnTo>
                  <a:lnTo>
                    <a:pt x="7566" y="8979"/>
                  </a:lnTo>
                  <a:lnTo>
                    <a:pt x="7677" y="8971"/>
                  </a:lnTo>
                  <a:lnTo>
                    <a:pt x="7788" y="8948"/>
                  </a:lnTo>
                  <a:lnTo>
                    <a:pt x="7892" y="8915"/>
                  </a:lnTo>
                  <a:lnTo>
                    <a:pt x="7986" y="8867"/>
                  </a:lnTo>
                  <a:lnTo>
                    <a:pt x="8074" y="8804"/>
                  </a:lnTo>
                  <a:lnTo>
                    <a:pt x="8162" y="8733"/>
                  </a:lnTo>
                  <a:lnTo>
                    <a:pt x="8233" y="8653"/>
                  </a:lnTo>
                  <a:lnTo>
                    <a:pt x="8297" y="8558"/>
                  </a:lnTo>
                  <a:lnTo>
                    <a:pt x="8297" y="8558"/>
                  </a:lnTo>
                  <a:lnTo>
                    <a:pt x="8343" y="8455"/>
                  </a:lnTo>
                  <a:lnTo>
                    <a:pt x="8384" y="8352"/>
                  </a:lnTo>
                  <a:lnTo>
                    <a:pt x="8407" y="8248"/>
                  </a:lnTo>
                  <a:lnTo>
                    <a:pt x="8415" y="8138"/>
                  </a:lnTo>
                  <a:lnTo>
                    <a:pt x="8407" y="8026"/>
                  </a:lnTo>
                  <a:lnTo>
                    <a:pt x="8384" y="7923"/>
                  </a:lnTo>
                  <a:lnTo>
                    <a:pt x="8352" y="7821"/>
                  </a:lnTo>
                  <a:lnTo>
                    <a:pt x="8304" y="7718"/>
                  </a:lnTo>
                  <a:close/>
                  <a:moveTo>
                    <a:pt x="7352" y="8408"/>
                  </a:moveTo>
                  <a:lnTo>
                    <a:pt x="7352" y="8161"/>
                  </a:lnTo>
                  <a:lnTo>
                    <a:pt x="7352" y="8161"/>
                  </a:lnTo>
                  <a:lnTo>
                    <a:pt x="7352" y="8121"/>
                  </a:lnTo>
                  <a:lnTo>
                    <a:pt x="7367" y="8090"/>
                  </a:lnTo>
                  <a:lnTo>
                    <a:pt x="7383" y="8066"/>
                  </a:lnTo>
                  <a:lnTo>
                    <a:pt x="7399" y="8042"/>
                  </a:lnTo>
                  <a:lnTo>
                    <a:pt x="7431" y="8018"/>
                  </a:lnTo>
                  <a:lnTo>
                    <a:pt x="7454" y="8003"/>
                  </a:lnTo>
                  <a:lnTo>
                    <a:pt x="7494" y="7995"/>
                  </a:lnTo>
                  <a:lnTo>
                    <a:pt x="7526" y="7986"/>
                  </a:lnTo>
                  <a:lnTo>
                    <a:pt x="7526" y="7986"/>
                  </a:lnTo>
                  <a:lnTo>
                    <a:pt x="7558" y="7995"/>
                  </a:lnTo>
                  <a:lnTo>
                    <a:pt x="7589" y="8003"/>
                  </a:lnTo>
                  <a:lnTo>
                    <a:pt x="7622" y="8018"/>
                  </a:lnTo>
                  <a:lnTo>
                    <a:pt x="7645" y="8042"/>
                  </a:lnTo>
                  <a:lnTo>
                    <a:pt x="7669" y="8066"/>
                  </a:lnTo>
                  <a:lnTo>
                    <a:pt x="7685" y="8090"/>
                  </a:lnTo>
                  <a:lnTo>
                    <a:pt x="7701" y="8121"/>
                  </a:lnTo>
                  <a:lnTo>
                    <a:pt x="7701" y="8161"/>
                  </a:lnTo>
                  <a:lnTo>
                    <a:pt x="7701" y="8408"/>
                  </a:lnTo>
                  <a:lnTo>
                    <a:pt x="7701" y="8408"/>
                  </a:lnTo>
                  <a:lnTo>
                    <a:pt x="7701" y="8431"/>
                  </a:lnTo>
                  <a:lnTo>
                    <a:pt x="7693" y="8463"/>
                  </a:lnTo>
                  <a:lnTo>
                    <a:pt x="7677" y="8487"/>
                  </a:lnTo>
                  <a:lnTo>
                    <a:pt x="7661" y="8510"/>
                  </a:lnTo>
                  <a:lnTo>
                    <a:pt x="7622" y="8550"/>
                  </a:lnTo>
                  <a:lnTo>
                    <a:pt x="7566" y="8566"/>
                  </a:lnTo>
                  <a:lnTo>
                    <a:pt x="7566" y="8566"/>
                  </a:lnTo>
                  <a:lnTo>
                    <a:pt x="7566" y="8566"/>
                  </a:lnTo>
                  <a:lnTo>
                    <a:pt x="7487" y="8566"/>
                  </a:lnTo>
                  <a:lnTo>
                    <a:pt x="7487" y="8566"/>
                  </a:lnTo>
                  <a:lnTo>
                    <a:pt x="7454" y="8558"/>
                  </a:lnTo>
                  <a:lnTo>
                    <a:pt x="7431" y="8550"/>
                  </a:lnTo>
                  <a:lnTo>
                    <a:pt x="7391" y="8510"/>
                  </a:lnTo>
                  <a:lnTo>
                    <a:pt x="7375" y="8487"/>
                  </a:lnTo>
                  <a:lnTo>
                    <a:pt x="7359" y="8463"/>
                  </a:lnTo>
                  <a:lnTo>
                    <a:pt x="7352" y="8431"/>
                  </a:lnTo>
                  <a:lnTo>
                    <a:pt x="7352" y="8408"/>
                  </a:lnTo>
                  <a:close/>
                  <a:moveTo>
                    <a:pt x="6796" y="5844"/>
                  </a:moveTo>
                  <a:lnTo>
                    <a:pt x="6796" y="6288"/>
                  </a:lnTo>
                  <a:lnTo>
                    <a:pt x="6906" y="6288"/>
                  </a:lnTo>
                  <a:lnTo>
                    <a:pt x="6906" y="6058"/>
                  </a:lnTo>
                  <a:lnTo>
                    <a:pt x="7947" y="7916"/>
                  </a:lnTo>
                  <a:lnTo>
                    <a:pt x="7947" y="7916"/>
                  </a:lnTo>
                  <a:lnTo>
                    <a:pt x="7971" y="7970"/>
                  </a:lnTo>
                  <a:lnTo>
                    <a:pt x="7994" y="8018"/>
                  </a:lnTo>
                  <a:lnTo>
                    <a:pt x="8002" y="8074"/>
                  </a:lnTo>
                  <a:lnTo>
                    <a:pt x="8002" y="8138"/>
                  </a:lnTo>
                  <a:lnTo>
                    <a:pt x="8002" y="8193"/>
                  </a:lnTo>
                  <a:lnTo>
                    <a:pt x="7986" y="8248"/>
                  </a:lnTo>
                  <a:lnTo>
                    <a:pt x="7971" y="8296"/>
                  </a:lnTo>
                  <a:lnTo>
                    <a:pt x="7947" y="8352"/>
                  </a:lnTo>
                  <a:lnTo>
                    <a:pt x="7947" y="8352"/>
                  </a:lnTo>
                  <a:lnTo>
                    <a:pt x="7915" y="8391"/>
                  </a:lnTo>
                  <a:lnTo>
                    <a:pt x="7884" y="8431"/>
                  </a:lnTo>
                  <a:lnTo>
                    <a:pt x="7844" y="8471"/>
                  </a:lnTo>
                  <a:lnTo>
                    <a:pt x="7804" y="8495"/>
                  </a:lnTo>
                  <a:lnTo>
                    <a:pt x="7804" y="8495"/>
                  </a:lnTo>
                  <a:lnTo>
                    <a:pt x="7820" y="8455"/>
                  </a:lnTo>
                  <a:lnTo>
                    <a:pt x="7820" y="8408"/>
                  </a:lnTo>
                  <a:lnTo>
                    <a:pt x="7820" y="8161"/>
                  </a:lnTo>
                  <a:lnTo>
                    <a:pt x="7820" y="8161"/>
                  </a:lnTo>
                  <a:lnTo>
                    <a:pt x="7812" y="8105"/>
                  </a:lnTo>
                  <a:lnTo>
                    <a:pt x="7796" y="8050"/>
                  </a:lnTo>
                  <a:lnTo>
                    <a:pt x="7772" y="8003"/>
                  </a:lnTo>
                  <a:lnTo>
                    <a:pt x="7732" y="7963"/>
                  </a:lnTo>
                  <a:lnTo>
                    <a:pt x="7693" y="7923"/>
                  </a:lnTo>
                  <a:lnTo>
                    <a:pt x="7637" y="7900"/>
                  </a:lnTo>
                  <a:lnTo>
                    <a:pt x="7581" y="7876"/>
                  </a:lnTo>
                  <a:lnTo>
                    <a:pt x="7526" y="7876"/>
                  </a:lnTo>
                  <a:lnTo>
                    <a:pt x="7526" y="7876"/>
                  </a:lnTo>
                  <a:lnTo>
                    <a:pt x="7471" y="7876"/>
                  </a:lnTo>
                  <a:lnTo>
                    <a:pt x="7415" y="7892"/>
                  </a:lnTo>
                  <a:lnTo>
                    <a:pt x="7359" y="7923"/>
                  </a:lnTo>
                  <a:lnTo>
                    <a:pt x="7319" y="7955"/>
                  </a:lnTo>
                  <a:lnTo>
                    <a:pt x="7280" y="8003"/>
                  </a:lnTo>
                  <a:lnTo>
                    <a:pt x="7256" y="8050"/>
                  </a:lnTo>
                  <a:lnTo>
                    <a:pt x="7240" y="8105"/>
                  </a:lnTo>
                  <a:lnTo>
                    <a:pt x="7232" y="8161"/>
                  </a:lnTo>
                  <a:lnTo>
                    <a:pt x="7232" y="8408"/>
                  </a:lnTo>
                  <a:lnTo>
                    <a:pt x="7232" y="8408"/>
                  </a:lnTo>
                  <a:lnTo>
                    <a:pt x="7240" y="8447"/>
                  </a:lnTo>
                  <a:lnTo>
                    <a:pt x="7248" y="8495"/>
                  </a:lnTo>
                  <a:lnTo>
                    <a:pt x="7265" y="8535"/>
                  </a:lnTo>
                  <a:lnTo>
                    <a:pt x="7288" y="8566"/>
                  </a:lnTo>
                  <a:lnTo>
                    <a:pt x="6906" y="8566"/>
                  </a:lnTo>
                  <a:lnTo>
                    <a:pt x="6906" y="7931"/>
                  </a:lnTo>
                  <a:lnTo>
                    <a:pt x="6796" y="7931"/>
                  </a:lnTo>
                  <a:lnTo>
                    <a:pt x="6796" y="8566"/>
                  </a:lnTo>
                  <a:lnTo>
                    <a:pt x="6414" y="8566"/>
                  </a:lnTo>
                  <a:lnTo>
                    <a:pt x="6414" y="8566"/>
                  </a:lnTo>
                  <a:lnTo>
                    <a:pt x="6438" y="8535"/>
                  </a:lnTo>
                  <a:lnTo>
                    <a:pt x="6455" y="8495"/>
                  </a:lnTo>
                  <a:lnTo>
                    <a:pt x="6470" y="8447"/>
                  </a:lnTo>
                  <a:lnTo>
                    <a:pt x="6470" y="8408"/>
                  </a:lnTo>
                  <a:lnTo>
                    <a:pt x="6470" y="8161"/>
                  </a:lnTo>
                  <a:lnTo>
                    <a:pt x="6470" y="8161"/>
                  </a:lnTo>
                  <a:lnTo>
                    <a:pt x="6462" y="8105"/>
                  </a:lnTo>
                  <a:lnTo>
                    <a:pt x="6447" y="8050"/>
                  </a:lnTo>
                  <a:lnTo>
                    <a:pt x="6422" y="8003"/>
                  </a:lnTo>
                  <a:lnTo>
                    <a:pt x="6383" y="7955"/>
                  </a:lnTo>
                  <a:lnTo>
                    <a:pt x="6343" y="7923"/>
                  </a:lnTo>
                  <a:lnTo>
                    <a:pt x="6295" y="7892"/>
                  </a:lnTo>
                  <a:lnTo>
                    <a:pt x="6240" y="7876"/>
                  </a:lnTo>
                  <a:lnTo>
                    <a:pt x="6177" y="7876"/>
                  </a:lnTo>
                  <a:lnTo>
                    <a:pt x="6177" y="7876"/>
                  </a:lnTo>
                  <a:lnTo>
                    <a:pt x="6121" y="7876"/>
                  </a:lnTo>
                  <a:lnTo>
                    <a:pt x="6065" y="7900"/>
                  </a:lnTo>
                  <a:lnTo>
                    <a:pt x="6017" y="7923"/>
                  </a:lnTo>
                  <a:lnTo>
                    <a:pt x="5978" y="7955"/>
                  </a:lnTo>
                  <a:lnTo>
                    <a:pt x="5946" y="8003"/>
                  </a:lnTo>
                  <a:lnTo>
                    <a:pt x="5922" y="8050"/>
                  </a:lnTo>
                  <a:lnTo>
                    <a:pt x="5907" y="8105"/>
                  </a:lnTo>
                  <a:lnTo>
                    <a:pt x="5898" y="8161"/>
                  </a:lnTo>
                  <a:lnTo>
                    <a:pt x="5898" y="8408"/>
                  </a:lnTo>
                  <a:lnTo>
                    <a:pt x="5898" y="8408"/>
                  </a:lnTo>
                  <a:lnTo>
                    <a:pt x="5898" y="8447"/>
                  </a:lnTo>
                  <a:lnTo>
                    <a:pt x="5915" y="8495"/>
                  </a:lnTo>
                  <a:lnTo>
                    <a:pt x="5930" y="8535"/>
                  </a:lnTo>
                  <a:lnTo>
                    <a:pt x="5946" y="8566"/>
                  </a:lnTo>
                  <a:lnTo>
                    <a:pt x="5573" y="8566"/>
                  </a:lnTo>
                  <a:lnTo>
                    <a:pt x="5573" y="7931"/>
                  </a:lnTo>
                  <a:lnTo>
                    <a:pt x="5454" y="7931"/>
                  </a:lnTo>
                  <a:lnTo>
                    <a:pt x="5454" y="8566"/>
                  </a:lnTo>
                  <a:lnTo>
                    <a:pt x="5080" y="8566"/>
                  </a:lnTo>
                  <a:lnTo>
                    <a:pt x="5080" y="8566"/>
                  </a:lnTo>
                  <a:lnTo>
                    <a:pt x="5105" y="8535"/>
                  </a:lnTo>
                  <a:lnTo>
                    <a:pt x="5120" y="8495"/>
                  </a:lnTo>
                  <a:lnTo>
                    <a:pt x="5128" y="8447"/>
                  </a:lnTo>
                  <a:lnTo>
                    <a:pt x="5136" y="8408"/>
                  </a:lnTo>
                  <a:lnTo>
                    <a:pt x="5136" y="8161"/>
                  </a:lnTo>
                  <a:lnTo>
                    <a:pt x="5136" y="8161"/>
                  </a:lnTo>
                  <a:lnTo>
                    <a:pt x="5128" y="8105"/>
                  </a:lnTo>
                  <a:lnTo>
                    <a:pt x="5112" y="8050"/>
                  </a:lnTo>
                  <a:lnTo>
                    <a:pt x="5080" y="8003"/>
                  </a:lnTo>
                  <a:lnTo>
                    <a:pt x="5049" y="7955"/>
                  </a:lnTo>
                  <a:lnTo>
                    <a:pt x="5001" y="7923"/>
                  </a:lnTo>
                  <a:lnTo>
                    <a:pt x="4954" y="7892"/>
                  </a:lnTo>
                  <a:lnTo>
                    <a:pt x="4898" y="7876"/>
                  </a:lnTo>
                  <a:lnTo>
                    <a:pt x="4842" y="7876"/>
                  </a:lnTo>
                  <a:lnTo>
                    <a:pt x="4842" y="7876"/>
                  </a:lnTo>
                  <a:lnTo>
                    <a:pt x="4779" y="7876"/>
                  </a:lnTo>
                  <a:lnTo>
                    <a:pt x="4723" y="7892"/>
                  </a:lnTo>
                  <a:lnTo>
                    <a:pt x="4676" y="7923"/>
                  </a:lnTo>
                  <a:lnTo>
                    <a:pt x="4628" y="7955"/>
                  </a:lnTo>
                  <a:lnTo>
                    <a:pt x="4596" y="8003"/>
                  </a:lnTo>
                  <a:lnTo>
                    <a:pt x="4565" y="8050"/>
                  </a:lnTo>
                  <a:lnTo>
                    <a:pt x="4549" y="8105"/>
                  </a:lnTo>
                  <a:lnTo>
                    <a:pt x="4549" y="8161"/>
                  </a:lnTo>
                  <a:lnTo>
                    <a:pt x="4549" y="8408"/>
                  </a:lnTo>
                  <a:lnTo>
                    <a:pt x="4549" y="8408"/>
                  </a:lnTo>
                  <a:lnTo>
                    <a:pt x="4549" y="8447"/>
                  </a:lnTo>
                  <a:lnTo>
                    <a:pt x="4557" y="8495"/>
                  </a:lnTo>
                  <a:lnTo>
                    <a:pt x="4572" y="8535"/>
                  </a:lnTo>
                  <a:lnTo>
                    <a:pt x="4596" y="8566"/>
                  </a:lnTo>
                  <a:lnTo>
                    <a:pt x="4223" y="8566"/>
                  </a:lnTo>
                  <a:lnTo>
                    <a:pt x="4223" y="7931"/>
                  </a:lnTo>
                  <a:lnTo>
                    <a:pt x="4104" y="7931"/>
                  </a:lnTo>
                  <a:lnTo>
                    <a:pt x="4104" y="8566"/>
                  </a:lnTo>
                  <a:lnTo>
                    <a:pt x="3660" y="8566"/>
                  </a:lnTo>
                  <a:lnTo>
                    <a:pt x="3660" y="8566"/>
                  </a:lnTo>
                  <a:lnTo>
                    <a:pt x="3683" y="8535"/>
                  </a:lnTo>
                  <a:lnTo>
                    <a:pt x="3699" y="8487"/>
                  </a:lnTo>
                  <a:lnTo>
                    <a:pt x="3714" y="8447"/>
                  </a:lnTo>
                  <a:lnTo>
                    <a:pt x="3714" y="8408"/>
                  </a:lnTo>
                  <a:lnTo>
                    <a:pt x="3714" y="8161"/>
                  </a:lnTo>
                  <a:lnTo>
                    <a:pt x="3714" y="8161"/>
                  </a:lnTo>
                  <a:lnTo>
                    <a:pt x="3707" y="8105"/>
                  </a:lnTo>
                  <a:lnTo>
                    <a:pt x="3691" y="8050"/>
                  </a:lnTo>
                  <a:lnTo>
                    <a:pt x="3668" y="8003"/>
                  </a:lnTo>
                  <a:lnTo>
                    <a:pt x="3627" y="7963"/>
                  </a:lnTo>
                  <a:lnTo>
                    <a:pt x="3588" y="7923"/>
                  </a:lnTo>
                  <a:lnTo>
                    <a:pt x="3533" y="7900"/>
                  </a:lnTo>
                  <a:lnTo>
                    <a:pt x="3477" y="7876"/>
                  </a:lnTo>
                  <a:lnTo>
                    <a:pt x="3421" y="7876"/>
                  </a:lnTo>
                  <a:lnTo>
                    <a:pt x="3421" y="7876"/>
                  </a:lnTo>
                  <a:lnTo>
                    <a:pt x="3365" y="7876"/>
                  </a:lnTo>
                  <a:lnTo>
                    <a:pt x="3309" y="7892"/>
                  </a:lnTo>
                  <a:lnTo>
                    <a:pt x="3596" y="6868"/>
                  </a:lnTo>
                  <a:lnTo>
                    <a:pt x="3596" y="7472"/>
                  </a:lnTo>
                  <a:lnTo>
                    <a:pt x="3714" y="7472"/>
                  </a:lnTo>
                  <a:lnTo>
                    <a:pt x="3714" y="6789"/>
                  </a:lnTo>
                  <a:lnTo>
                    <a:pt x="3620" y="6789"/>
                  </a:lnTo>
                  <a:lnTo>
                    <a:pt x="3890" y="5836"/>
                  </a:lnTo>
                  <a:lnTo>
                    <a:pt x="4104" y="5836"/>
                  </a:lnTo>
                  <a:lnTo>
                    <a:pt x="4104" y="6288"/>
                  </a:lnTo>
                  <a:lnTo>
                    <a:pt x="4223" y="6288"/>
                  </a:lnTo>
                  <a:lnTo>
                    <a:pt x="4223" y="5836"/>
                  </a:lnTo>
                  <a:lnTo>
                    <a:pt x="4549" y="5836"/>
                  </a:lnTo>
                  <a:lnTo>
                    <a:pt x="4549" y="6074"/>
                  </a:lnTo>
                  <a:lnTo>
                    <a:pt x="4549" y="6074"/>
                  </a:lnTo>
                  <a:lnTo>
                    <a:pt x="4549" y="6129"/>
                  </a:lnTo>
                  <a:lnTo>
                    <a:pt x="4572" y="6185"/>
                  </a:lnTo>
                  <a:lnTo>
                    <a:pt x="4596" y="6233"/>
                  </a:lnTo>
                  <a:lnTo>
                    <a:pt x="4636" y="6272"/>
                  </a:lnTo>
                  <a:lnTo>
                    <a:pt x="4676" y="6312"/>
                  </a:lnTo>
                  <a:lnTo>
                    <a:pt x="4731" y="6336"/>
                  </a:lnTo>
                  <a:lnTo>
                    <a:pt x="4779" y="6352"/>
                  </a:lnTo>
                  <a:lnTo>
                    <a:pt x="4842" y="6360"/>
                  </a:lnTo>
                  <a:lnTo>
                    <a:pt x="4842" y="6360"/>
                  </a:lnTo>
                  <a:lnTo>
                    <a:pt x="4898" y="6352"/>
                  </a:lnTo>
                  <a:lnTo>
                    <a:pt x="4954" y="6336"/>
                  </a:lnTo>
                  <a:lnTo>
                    <a:pt x="5001" y="6312"/>
                  </a:lnTo>
                  <a:lnTo>
                    <a:pt x="5049" y="6272"/>
                  </a:lnTo>
                  <a:lnTo>
                    <a:pt x="5080" y="6233"/>
                  </a:lnTo>
                  <a:lnTo>
                    <a:pt x="5112" y="6185"/>
                  </a:lnTo>
                  <a:lnTo>
                    <a:pt x="5128" y="6129"/>
                  </a:lnTo>
                  <a:lnTo>
                    <a:pt x="5136" y="6074"/>
                  </a:lnTo>
                  <a:lnTo>
                    <a:pt x="5136" y="5836"/>
                  </a:lnTo>
                  <a:lnTo>
                    <a:pt x="5454" y="5836"/>
                  </a:lnTo>
                  <a:lnTo>
                    <a:pt x="5454" y="6288"/>
                  </a:lnTo>
                  <a:lnTo>
                    <a:pt x="5573" y="6288"/>
                  </a:lnTo>
                  <a:lnTo>
                    <a:pt x="5573" y="5836"/>
                  </a:lnTo>
                  <a:lnTo>
                    <a:pt x="5898" y="5836"/>
                  </a:lnTo>
                  <a:lnTo>
                    <a:pt x="5898" y="6074"/>
                  </a:lnTo>
                  <a:lnTo>
                    <a:pt x="5898" y="6074"/>
                  </a:lnTo>
                  <a:lnTo>
                    <a:pt x="5907" y="6129"/>
                  </a:lnTo>
                  <a:lnTo>
                    <a:pt x="5922" y="6185"/>
                  </a:lnTo>
                  <a:lnTo>
                    <a:pt x="5946" y="6233"/>
                  </a:lnTo>
                  <a:lnTo>
                    <a:pt x="5986" y="6272"/>
                  </a:lnTo>
                  <a:lnTo>
                    <a:pt x="6025" y="6312"/>
                  </a:lnTo>
                  <a:lnTo>
                    <a:pt x="6073" y="6336"/>
                  </a:lnTo>
                  <a:lnTo>
                    <a:pt x="6121" y="6352"/>
                  </a:lnTo>
                  <a:lnTo>
                    <a:pt x="6177" y="6360"/>
                  </a:lnTo>
                  <a:lnTo>
                    <a:pt x="6177" y="6360"/>
                  </a:lnTo>
                  <a:lnTo>
                    <a:pt x="6231" y="6352"/>
                  </a:lnTo>
                  <a:lnTo>
                    <a:pt x="6287" y="6336"/>
                  </a:lnTo>
                  <a:lnTo>
                    <a:pt x="6335" y="6312"/>
                  </a:lnTo>
                  <a:lnTo>
                    <a:pt x="6383" y="6272"/>
                  </a:lnTo>
                  <a:lnTo>
                    <a:pt x="6414" y="6233"/>
                  </a:lnTo>
                  <a:lnTo>
                    <a:pt x="6447" y="6185"/>
                  </a:lnTo>
                  <a:lnTo>
                    <a:pt x="6462" y="6129"/>
                  </a:lnTo>
                  <a:lnTo>
                    <a:pt x="6470" y="6074"/>
                  </a:lnTo>
                  <a:lnTo>
                    <a:pt x="6470" y="5836"/>
                  </a:lnTo>
                  <a:lnTo>
                    <a:pt x="6788" y="5836"/>
                  </a:lnTo>
                  <a:lnTo>
                    <a:pt x="6796" y="5844"/>
                  </a:lnTo>
                  <a:close/>
                  <a:moveTo>
                    <a:pt x="570" y="8471"/>
                  </a:moveTo>
                  <a:lnTo>
                    <a:pt x="570" y="8471"/>
                  </a:lnTo>
                  <a:lnTo>
                    <a:pt x="563" y="8439"/>
                  </a:lnTo>
                  <a:lnTo>
                    <a:pt x="555" y="8408"/>
                  </a:lnTo>
                  <a:lnTo>
                    <a:pt x="555" y="8161"/>
                  </a:lnTo>
                  <a:lnTo>
                    <a:pt x="555" y="8161"/>
                  </a:lnTo>
                  <a:lnTo>
                    <a:pt x="563" y="8121"/>
                  </a:lnTo>
                  <a:lnTo>
                    <a:pt x="570" y="8090"/>
                  </a:lnTo>
                  <a:lnTo>
                    <a:pt x="586" y="8066"/>
                  </a:lnTo>
                  <a:lnTo>
                    <a:pt x="611" y="8042"/>
                  </a:lnTo>
                  <a:lnTo>
                    <a:pt x="634" y="8018"/>
                  </a:lnTo>
                  <a:lnTo>
                    <a:pt x="666" y="8003"/>
                  </a:lnTo>
                  <a:lnTo>
                    <a:pt x="698" y="7995"/>
                  </a:lnTo>
                  <a:lnTo>
                    <a:pt x="738" y="7986"/>
                  </a:lnTo>
                  <a:lnTo>
                    <a:pt x="738" y="7986"/>
                  </a:lnTo>
                  <a:lnTo>
                    <a:pt x="769" y="7995"/>
                  </a:lnTo>
                  <a:lnTo>
                    <a:pt x="801" y="8003"/>
                  </a:lnTo>
                  <a:lnTo>
                    <a:pt x="833" y="8018"/>
                  </a:lnTo>
                  <a:lnTo>
                    <a:pt x="864" y="8042"/>
                  </a:lnTo>
                  <a:lnTo>
                    <a:pt x="881" y="8066"/>
                  </a:lnTo>
                  <a:lnTo>
                    <a:pt x="896" y="8090"/>
                  </a:lnTo>
                  <a:lnTo>
                    <a:pt x="904" y="8121"/>
                  </a:lnTo>
                  <a:lnTo>
                    <a:pt x="912" y="8161"/>
                  </a:lnTo>
                  <a:lnTo>
                    <a:pt x="912" y="8408"/>
                  </a:lnTo>
                  <a:lnTo>
                    <a:pt x="912" y="8408"/>
                  </a:lnTo>
                  <a:lnTo>
                    <a:pt x="904" y="8455"/>
                  </a:lnTo>
                  <a:lnTo>
                    <a:pt x="881" y="8502"/>
                  </a:lnTo>
                  <a:lnTo>
                    <a:pt x="840" y="8543"/>
                  </a:lnTo>
                  <a:lnTo>
                    <a:pt x="792" y="8566"/>
                  </a:lnTo>
                  <a:lnTo>
                    <a:pt x="792" y="8566"/>
                  </a:lnTo>
                  <a:lnTo>
                    <a:pt x="729" y="8550"/>
                  </a:lnTo>
                  <a:lnTo>
                    <a:pt x="674" y="8535"/>
                  </a:lnTo>
                  <a:lnTo>
                    <a:pt x="618" y="8502"/>
                  </a:lnTo>
                  <a:lnTo>
                    <a:pt x="570" y="8471"/>
                  </a:lnTo>
                  <a:close/>
                  <a:moveTo>
                    <a:pt x="738" y="7876"/>
                  </a:moveTo>
                  <a:lnTo>
                    <a:pt x="738" y="7876"/>
                  </a:lnTo>
                  <a:lnTo>
                    <a:pt x="674" y="7876"/>
                  </a:lnTo>
                  <a:lnTo>
                    <a:pt x="618" y="7892"/>
                  </a:lnTo>
                  <a:lnTo>
                    <a:pt x="570" y="7923"/>
                  </a:lnTo>
                  <a:lnTo>
                    <a:pt x="523" y="7955"/>
                  </a:lnTo>
                  <a:lnTo>
                    <a:pt x="491" y="8003"/>
                  </a:lnTo>
                  <a:lnTo>
                    <a:pt x="468" y="8050"/>
                  </a:lnTo>
                  <a:lnTo>
                    <a:pt x="443" y="8105"/>
                  </a:lnTo>
                  <a:lnTo>
                    <a:pt x="443" y="8161"/>
                  </a:lnTo>
                  <a:lnTo>
                    <a:pt x="443" y="8296"/>
                  </a:lnTo>
                  <a:lnTo>
                    <a:pt x="443" y="8296"/>
                  </a:lnTo>
                  <a:lnTo>
                    <a:pt x="428" y="8248"/>
                  </a:lnTo>
                  <a:lnTo>
                    <a:pt x="412" y="8201"/>
                  </a:lnTo>
                  <a:lnTo>
                    <a:pt x="412" y="8153"/>
                  </a:lnTo>
                  <a:lnTo>
                    <a:pt x="412" y="8105"/>
                  </a:lnTo>
                  <a:lnTo>
                    <a:pt x="412" y="8058"/>
                  </a:lnTo>
                  <a:lnTo>
                    <a:pt x="428" y="8010"/>
                  </a:lnTo>
                  <a:lnTo>
                    <a:pt x="443" y="7963"/>
                  </a:lnTo>
                  <a:lnTo>
                    <a:pt x="468" y="7916"/>
                  </a:lnTo>
                  <a:lnTo>
                    <a:pt x="912" y="7114"/>
                  </a:lnTo>
                  <a:lnTo>
                    <a:pt x="912" y="7472"/>
                  </a:lnTo>
                  <a:lnTo>
                    <a:pt x="1031" y="7472"/>
                  </a:lnTo>
                  <a:lnTo>
                    <a:pt x="1031" y="6900"/>
                  </a:lnTo>
                  <a:lnTo>
                    <a:pt x="1373" y="6288"/>
                  </a:lnTo>
                  <a:lnTo>
                    <a:pt x="1467" y="6288"/>
                  </a:lnTo>
                  <a:lnTo>
                    <a:pt x="1467" y="6114"/>
                  </a:lnTo>
                  <a:lnTo>
                    <a:pt x="1627" y="5836"/>
                  </a:lnTo>
                  <a:lnTo>
                    <a:pt x="1793" y="5836"/>
                  </a:lnTo>
                  <a:lnTo>
                    <a:pt x="1793" y="6074"/>
                  </a:lnTo>
                  <a:lnTo>
                    <a:pt x="1793" y="6074"/>
                  </a:lnTo>
                  <a:lnTo>
                    <a:pt x="1801" y="6129"/>
                  </a:lnTo>
                  <a:lnTo>
                    <a:pt x="1817" y="6185"/>
                  </a:lnTo>
                  <a:lnTo>
                    <a:pt x="1841" y="6233"/>
                  </a:lnTo>
                  <a:lnTo>
                    <a:pt x="1880" y="6272"/>
                  </a:lnTo>
                  <a:lnTo>
                    <a:pt x="1920" y="6312"/>
                  </a:lnTo>
                  <a:lnTo>
                    <a:pt x="1968" y="6336"/>
                  </a:lnTo>
                  <a:lnTo>
                    <a:pt x="2015" y="6352"/>
                  </a:lnTo>
                  <a:lnTo>
                    <a:pt x="2071" y="6360"/>
                  </a:lnTo>
                  <a:lnTo>
                    <a:pt x="2071" y="6360"/>
                  </a:lnTo>
                  <a:lnTo>
                    <a:pt x="2127" y="6352"/>
                  </a:lnTo>
                  <a:lnTo>
                    <a:pt x="2183" y="6336"/>
                  </a:lnTo>
                  <a:lnTo>
                    <a:pt x="2231" y="6312"/>
                  </a:lnTo>
                  <a:lnTo>
                    <a:pt x="2277" y="6272"/>
                  </a:lnTo>
                  <a:lnTo>
                    <a:pt x="2318" y="6233"/>
                  </a:lnTo>
                  <a:lnTo>
                    <a:pt x="2341" y="6185"/>
                  </a:lnTo>
                  <a:lnTo>
                    <a:pt x="2357" y="6129"/>
                  </a:lnTo>
                  <a:lnTo>
                    <a:pt x="2365" y="6074"/>
                  </a:lnTo>
                  <a:lnTo>
                    <a:pt x="2365" y="5836"/>
                  </a:lnTo>
                  <a:lnTo>
                    <a:pt x="2690" y="5836"/>
                  </a:lnTo>
                  <a:lnTo>
                    <a:pt x="2690" y="6288"/>
                  </a:lnTo>
                  <a:lnTo>
                    <a:pt x="2810" y="6288"/>
                  </a:lnTo>
                  <a:lnTo>
                    <a:pt x="2810" y="5836"/>
                  </a:lnTo>
                  <a:lnTo>
                    <a:pt x="3128" y="5836"/>
                  </a:lnTo>
                  <a:lnTo>
                    <a:pt x="3128" y="6074"/>
                  </a:lnTo>
                  <a:lnTo>
                    <a:pt x="3128" y="6074"/>
                  </a:lnTo>
                  <a:lnTo>
                    <a:pt x="3135" y="6122"/>
                  </a:lnTo>
                  <a:lnTo>
                    <a:pt x="3143" y="6162"/>
                  </a:lnTo>
                  <a:lnTo>
                    <a:pt x="3159" y="6201"/>
                  </a:lnTo>
                  <a:lnTo>
                    <a:pt x="3183" y="6241"/>
                  </a:lnTo>
                  <a:lnTo>
                    <a:pt x="3215" y="6272"/>
                  </a:lnTo>
                  <a:lnTo>
                    <a:pt x="3246" y="6297"/>
                  </a:lnTo>
                  <a:lnTo>
                    <a:pt x="3286" y="6320"/>
                  </a:lnTo>
                  <a:lnTo>
                    <a:pt x="3326" y="6344"/>
                  </a:lnTo>
                  <a:lnTo>
                    <a:pt x="3191" y="6812"/>
                  </a:lnTo>
                  <a:lnTo>
                    <a:pt x="3191" y="6812"/>
                  </a:lnTo>
                  <a:lnTo>
                    <a:pt x="3143" y="6781"/>
                  </a:lnTo>
                  <a:lnTo>
                    <a:pt x="3095" y="6756"/>
                  </a:lnTo>
                  <a:lnTo>
                    <a:pt x="3040" y="6733"/>
                  </a:lnTo>
                  <a:lnTo>
                    <a:pt x="2985" y="6733"/>
                  </a:lnTo>
                  <a:lnTo>
                    <a:pt x="2985" y="6733"/>
                  </a:lnTo>
                  <a:lnTo>
                    <a:pt x="2921" y="6733"/>
                  </a:lnTo>
                  <a:lnTo>
                    <a:pt x="2865" y="6749"/>
                  </a:lnTo>
                  <a:lnTo>
                    <a:pt x="2817" y="6781"/>
                  </a:lnTo>
                  <a:lnTo>
                    <a:pt x="2778" y="6812"/>
                  </a:lnTo>
                  <a:lnTo>
                    <a:pt x="2738" y="6852"/>
                  </a:lnTo>
                  <a:lnTo>
                    <a:pt x="2715" y="6900"/>
                  </a:lnTo>
                  <a:lnTo>
                    <a:pt x="2690" y="6947"/>
                  </a:lnTo>
                  <a:lnTo>
                    <a:pt x="2690" y="7003"/>
                  </a:lnTo>
                  <a:lnTo>
                    <a:pt x="2690" y="7257"/>
                  </a:lnTo>
                  <a:lnTo>
                    <a:pt x="2690" y="7257"/>
                  </a:lnTo>
                  <a:lnTo>
                    <a:pt x="2698" y="7321"/>
                  </a:lnTo>
                  <a:lnTo>
                    <a:pt x="2715" y="7368"/>
                  </a:lnTo>
                  <a:lnTo>
                    <a:pt x="2738" y="7416"/>
                  </a:lnTo>
                  <a:lnTo>
                    <a:pt x="2778" y="7464"/>
                  </a:lnTo>
                  <a:lnTo>
                    <a:pt x="2817" y="7495"/>
                  </a:lnTo>
                  <a:lnTo>
                    <a:pt x="2873" y="7527"/>
                  </a:lnTo>
                  <a:lnTo>
                    <a:pt x="2921" y="7543"/>
                  </a:lnTo>
                  <a:lnTo>
                    <a:pt x="2985" y="7551"/>
                  </a:lnTo>
                  <a:lnTo>
                    <a:pt x="2985" y="7551"/>
                  </a:lnTo>
                  <a:lnTo>
                    <a:pt x="2985" y="7551"/>
                  </a:lnTo>
                  <a:lnTo>
                    <a:pt x="2810" y="8185"/>
                  </a:lnTo>
                  <a:lnTo>
                    <a:pt x="2810" y="7931"/>
                  </a:lnTo>
                  <a:lnTo>
                    <a:pt x="2690" y="7931"/>
                  </a:lnTo>
                  <a:lnTo>
                    <a:pt x="2690" y="8566"/>
                  </a:lnTo>
                  <a:lnTo>
                    <a:pt x="2310" y="8566"/>
                  </a:lnTo>
                  <a:lnTo>
                    <a:pt x="2310" y="8566"/>
                  </a:lnTo>
                  <a:lnTo>
                    <a:pt x="2333" y="8535"/>
                  </a:lnTo>
                  <a:lnTo>
                    <a:pt x="2349" y="8495"/>
                  </a:lnTo>
                  <a:lnTo>
                    <a:pt x="2365" y="8447"/>
                  </a:lnTo>
                  <a:lnTo>
                    <a:pt x="2365" y="8408"/>
                  </a:lnTo>
                  <a:lnTo>
                    <a:pt x="2365" y="8161"/>
                  </a:lnTo>
                  <a:lnTo>
                    <a:pt x="2365" y="8161"/>
                  </a:lnTo>
                  <a:lnTo>
                    <a:pt x="2357" y="8105"/>
                  </a:lnTo>
                  <a:lnTo>
                    <a:pt x="2341" y="8050"/>
                  </a:lnTo>
                  <a:lnTo>
                    <a:pt x="2318" y="8003"/>
                  </a:lnTo>
                  <a:lnTo>
                    <a:pt x="2277" y="7955"/>
                  </a:lnTo>
                  <a:lnTo>
                    <a:pt x="2238" y="7923"/>
                  </a:lnTo>
                  <a:lnTo>
                    <a:pt x="2190" y="7892"/>
                  </a:lnTo>
                  <a:lnTo>
                    <a:pt x="2135" y="7876"/>
                  </a:lnTo>
                  <a:lnTo>
                    <a:pt x="2071" y="7876"/>
                  </a:lnTo>
                  <a:lnTo>
                    <a:pt x="2071" y="7876"/>
                  </a:lnTo>
                  <a:lnTo>
                    <a:pt x="2015" y="7876"/>
                  </a:lnTo>
                  <a:lnTo>
                    <a:pt x="1961" y="7900"/>
                  </a:lnTo>
                  <a:lnTo>
                    <a:pt x="1913" y="7923"/>
                  </a:lnTo>
                  <a:lnTo>
                    <a:pt x="1872" y="7955"/>
                  </a:lnTo>
                  <a:lnTo>
                    <a:pt x="1841" y="8003"/>
                  </a:lnTo>
                  <a:lnTo>
                    <a:pt x="1817" y="8050"/>
                  </a:lnTo>
                  <a:lnTo>
                    <a:pt x="1801" y="8105"/>
                  </a:lnTo>
                  <a:lnTo>
                    <a:pt x="1793" y="8161"/>
                  </a:lnTo>
                  <a:lnTo>
                    <a:pt x="1793" y="8408"/>
                  </a:lnTo>
                  <a:lnTo>
                    <a:pt x="1793" y="8408"/>
                  </a:lnTo>
                  <a:lnTo>
                    <a:pt x="1793" y="8447"/>
                  </a:lnTo>
                  <a:lnTo>
                    <a:pt x="1809" y="8495"/>
                  </a:lnTo>
                  <a:lnTo>
                    <a:pt x="1826" y="8535"/>
                  </a:lnTo>
                  <a:lnTo>
                    <a:pt x="1841" y="8566"/>
                  </a:lnTo>
                  <a:lnTo>
                    <a:pt x="1467" y="8566"/>
                  </a:lnTo>
                  <a:lnTo>
                    <a:pt x="1467" y="7931"/>
                  </a:lnTo>
                  <a:lnTo>
                    <a:pt x="1349" y="7931"/>
                  </a:lnTo>
                  <a:lnTo>
                    <a:pt x="1349" y="8566"/>
                  </a:lnTo>
                  <a:lnTo>
                    <a:pt x="975" y="8566"/>
                  </a:lnTo>
                  <a:lnTo>
                    <a:pt x="975" y="8566"/>
                  </a:lnTo>
                  <a:lnTo>
                    <a:pt x="999" y="8535"/>
                  </a:lnTo>
                  <a:lnTo>
                    <a:pt x="1016" y="8495"/>
                  </a:lnTo>
                  <a:lnTo>
                    <a:pt x="1023" y="8447"/>
                  </a:lnTo>
                  <a:lnTo>
                    <a:pt x="1031" y="8408"/>
                  </a:lnTo>
                  <a:lnTo>
                    <a:pt x="1031" y="8161"/>
                  </a:lnTo>
                  <a:lnTo>
                    <a:pt x="1031" y="8161"/>
                  </a:lnTo>
                  <a:lnTo>
                    <a:pt x="1023" y="8105"/>
                  </a:lnTo>
                  <a:lnTo>
                    <a:pt x="1008" y="8050"/>
                  </a:lnTo>
                  <a:lnTo>
                    <a:pt x="975" y="8003"/>
                  </a:lnTo>
                  <a:lnTo>
                    <a:pt x="944" y="7955"/>
                  </a:lnTo>
                  <a:lnTo>
                    <a:pt x="896" y="7923"/>
                  </a:lnTo>
                  <a:lnTo>
                    <a:pt x="848" y="7892"/>
                  </a:lnTo>
                  <a:lnTo>
                    <a:pt x="792" y="7876"/>
                  </a:lnTo>
                  <a:lnTo>
                    <a:pt x="738" y="7876"/>
                  </a:lnTo>
                  <a:close/>
                  <a:moveTo>
                    <a:pt x="6017" y="5836"/>
                  </a:moveTo>
                  <a:lnTo>
                    <a:pt x="6351" y="5836"/>
                  </a:lnTo>
                  <a:lnTo>
                    <a:pt x="6351" y="6074"/>
                  </a:lnTo>
                  <a:lnTo>
                    <a:pt x="6351" y="6074"/>
                  </a:lnTo>
                  <a:lnTo>
                    <a:pt x="6351" y="6106"/>
                  </a:lnTo>
                  <a:lnTo>
                    <a:pt x="6343" y="6137"/>
                  </a:lnTo>
                  <a:lnTo>
                    <a:pt x="6327" y="6162"/>
                  </a:lnTo>
                  <a:lnTo>
                    <a:pt x="6303" y="6193"/>
                  </a:lnTo>
                  <a:lnTo>
                    <a:pt x="6279" y="6209"/>
                  </a:lnTo>
                  <a:lnTo>
                    <a:pt x="6248" y="6233"/>
                  </a:lnTo>
                  <a:lnTo>
                    <a:pt x="6216" y="6241"/>
                  </a:lnTo>
                  <a:lnTo>
                    <a:pt x="6177" y="6241"/>
                  </a:lnTo>
                  <a:lnTo>
                    <a:pt x="6177" y="6241"/>
                  </a:lnTo>
                  <a:lnTo>
                    <a:pt x="6144" y="6241"/>
                  </a:lnTo>
                  <a:lnTo>
                    <a:pt x="6113" y="6233"/>
                  </a:lnTo>
                  <a:lnTo>
                    <a:pt x="6089" y="6217"/>
                  </a:lnTo>
                  <a:lnTo>
                    <a:pt x="6065" y="6193"/>
                  </a:lnTo>
                  <a:lnTo>
                    <a:pt x="6042" y="6170"/>
                  </a:lnTo>
                  <a:lnTo>
                    <a:pt x="6025" y="6137"/>
                  </a:lnTo>
                  <a:lnTo>
                    <a:pt x="6017" y="6106"/>
                  </a:lnTo>
                  <a:lnTo>
                    <a:pt x="6017" y="6074"/>
                  </a:lnTo>
                  <a:lnTo>
                    <a:pt x="6017" y="5836"/>
                  </a:lnTo>
                  <a:close/>
                  <a:moveTo>
                    <a:pt x="4659" y="5836"/>
                  </a:moveTo>
                  <a:lnTo>
                    <a:pt x="5017" y="5836"/>
                  </a:lnTo>
                  <a:lnTo>
                    <a:pt x="5017" y="6074"/>
                  </a:lnTo>
                  <a:lnTo>
                    <a:pt x="5017" y="6074"/>
                  </a:lnTo>
                  <a:lnTo>
                    <a:pt x="5009" y="6106"/>
                  </a:lnTo>
                  <a:lnTo>
                    <a:pt x="5001" y="6137"/>
                  </a:lnTo>
                  <a:lnTo>
                    <a:pt x="4985" y="6162"/>
                  </a:lnTo>
                  <a:lnTo>
                    <a:pt x="4962" y="6193"/>
                  </a:lnTo>
                  <a:lnTo>
                    <a:pt x="4937" y="6209"/>
                  </a:lnTo>
                  <a:lnTo>
                    <a:pt x="4906" y="6233"/>
                  </a:lnTo>
                  <a:lnTo>
                    <a:pt x="4874" y="6241"/>
                  </a:lnTo>
                  <a:lnTo>
                    <a:pt x="4842" y="6241"/>
                  </a:lnTo>
                  <a:lnTo>
                    <a:pt x="4842" y="6241"/>
                  </a:lnTo>
                  <a:lnTo>
                    <a:pt x="4802" y="6241"/>
                  </a:lnTo>
                  <a:lnTo>
                    <a:pt x="4771" y="6233"/>
                  </a:lnTo>
                  <a:lnTo>
                    <a:pt x="4739" y="6209"/>
                  </a:lnTo>
                  <a:lnTo>
                    <a:pt x="4715" y="6193"/>
                  </a:lnTo>
                  <a:lnTo>
                    <a:pt x="4692" y="6162"/>
                  </a:lnTo>
                  <a:lnTo>
                    <a:pt x="4676" y="6137"/>
                  </a:lnTo>
                  <a:lnTo>
                    <a:pt x="4667" y="6106"/>
                  </a:lnTo>
                  <a:lnTo>
                    <a:pt x="4659" y="6074"/>
                  </a:lnTo>
                  <a:lnTo>
                    <a:pt x="4659" y="5836"/>
                  </a:lnTo>
                  <a:close/>
                  <a:moveTo>
                    <a:pt x="3357" y="6233"/>
                  </a:moveTo>
                  <a:lnTo>
                    <a:pt x="3357" y="6233"/>
                  </a:lnTo>
                  <a:lnTo>
                    <a:pt x="3309" y="6201"/>
                  </a:lnTo>
                  <a:lnTo>
                    <a:pt x="3278" y="6162"/>
                  </a:lnTo>
                  <a:lnTo>
                    <a:pt x="3255" y="6122"/>
                  </a:lnTo>
                  <a:lnTo>
                    <a:pt x="3246" y="6074"/>
                  </a:lnTo>
                  <a:lnTo>
                    <a:pt x="3246" y="5836"/>
                  </a:lnTo>
                  <a:lnTo>
                    <a:pt x="3461" y="5836"/>
                  </a:lnTo>
                  <a:lnTo>
                    <a:pt x="3357" y="6233"/>
                  </a:lnTo>
                  <a:close/>
                  <a:moveTo>
                    <a:pt x="1913" y="5836"/>
                  </a:moveTo>
                  <a:lnTo>
                    <a:pt x="2246" y="5836"/>
                  </a:lnTo>
                  <a:lnTo>
                    <a:pt x="2246" y="6074"/>
                  </a:lnTo>
                  <a:lnTo>
                    <a:pt x="2246" y="6074"/>
                  </a:lnTo>
                  <a:lnTo>
                    <a:pt x="2246" y="6106"/>
                  </a:lnTo>
                  <a:lnTo>
                    <a:pt x="2238" y="6137"/>
                  </a:lnTo>
                  <a:lnTo>
                    <a:pt x="2222" y="6162"/>
                  </a:lnTo>
                  <a:lnTo>
                    <a:pt x="2198" y="6193"/>
                  </a:lnTo>
                  <a:lnTo>
                    <a:pt x="2175" y="6209"/>
                  </a:lnTo>
                  <a:lnTo>
                    <a:pt x="2142" y="6233"/>
                  </a:lnTo>
                  <a:lnTo>
                    <a:pt x="2111" y="6241"/>
                  </a:lnTo>
                  <a:lnTo>
                    <a:pt x="2071" y="6241"/>
                  </a:lnTo>
                  <a:lnTo>
                    <a:pt x="2071" y="6241"/>
                  </a:lnTo>
                  <a:lnTo>
                    <a:pt x="2040" y="6241"/>
                  </a:lnTo>
                  <a:lnTo>
                    <a:pt x="2015" y="6233"/>
                  </a:lnTo>
                  <a:lnTo>
                    <a:pt x="1984" y="6217"/>
                  </a:lnTo>
                  <a:lnTo>
                    <a:pt x="1961" y="6193"/>
                  </a:lnTo>
                  <a:lnTo>
                    <a:pt x="1936" y="6170"/>
                  </a:lnTo>
                  <a:lnTo>
                    <a:pt x="1920" y="6137"/>
                  </a:lnTo>
                  <a:lnTo>
                    <a:pt x="1913" y="6106"/>
                  </a:lnTo>
                  <a:lnTo>
                    <a:pt x="1913" y="6074"/>
                  </a:lnTo>
                  <a:lnTo>
                    <a:pt x="1913" y="5836"/>
                  </a:lnTo>
                  <a:close/>
                  <a:moveTo>
                    <a:pt x="3596" y="8408"/>
                  </a:moveTo>
                  <a:lnTo>
                    <a:pt x="3596" y="8408"/>
                  </a:lnTo>
                  <a:lnTo>
                    <a:pt x="3596" y="8431"/>
                  </a:lnTo>
                  <a:lnTo>
                    <a:pt x="3588" y="8463"/>
                  </a:lnTo>
                  <a:lnTo>
                    <a:pt x="3572" y="8487"/>
                  </a:lnTo>
                  <a:lnTo>
                    <a:pt x="3556" y="8510"/>
                  </a:lnTo>
                  <a:lnTo>
                    <a:pt x="3516" y="8550"/>
                  </a:lnTo>
                  <a:lnTo>
                    <a:pt x="3461" y="8566"/>
                  </a:lnTo>
                  <a:lnTo>
                    <a:pt x="3381" y="8566"/>
                  </a:lnTo>
                  <a:lnTo>
                    <a:pt x="3381" y="8566"/>
                  </a:lnTo>
                  <a:lnTo>
                    <a:pt x="3350" y="8558"/>
                  </a:lnTo>
                  <a:lnTo>
                    <a:pt x="3326" y="8550"/>
                  </a:lnTo>
                  <a:lnTo>
                    <a:pt x="3286" y="8510"/>
                  </a:lnTo>
                  <a:lnTo>
                    <a:pt x="3270" y="8487"/>
                  </a:lnTo>
                  <a:lnTo>
                    <a:pt x="3255" y="8463"/>
                  </a:lnTo>
                  <a:lnTo>
                    <a:pt x="3246" y="8431"/>
                  </a:lnTo>
                  <a:lnTo>
                    <a:pt x="3246" y="8408"/>
                  </a:lnTo>
                  <a:lnTo>
                    <a:pt x="3246" y="8161"/>
                  </a:lnTo>
                  <a:lnTo>
                    <a:pt x="3246" y="8161"/>
                  </a:lnTo>
                  <a:lnTo>
                    <a:pt x="3246" y="8121"/>
                  </a:lnTo>
                  <a:lnTo>
                    <a:pt x="3263" y="8090"/>
                  </a:lnTo>
                  <a:lnTo>
                    <a:pt x="3278" y="8066"/>
                  </a:lnTo>
                  <a:lnTo>
                    <a:pt x="3294" y="8042"/>
                  </a:lnTo>
                  <a:lnTo>
                    <a:pt x="3326" y="8018"/>
                  </a:lnTo>
                  <a:lnTo>
                    <a:pt x="3350" y="8003"/>
                  </a:lnTo>
                  <a:lnTo>
                    <a:pt x="3390" y="7995"/>
                  </a:lnTo>
                  <a:lnTo>
                    <a:pt x="3421" y="7986"/>
                  </a:lnTo>
                  <a:lnTo>
                    <a:pt x="3421" y="7986"/>
                  </a:lnTo>
                  <a:lnTo>
                    <a:pt x="3453" y="7995"/>
                  </a:lnTo>
                  <a:lnTo>
                    <a:pt x="3485" y="8003"/>
                  </a:lnTo>
                  <a:lnTo>
                    <a:pt x="3516" y="8018"/>
                  </a:lnTo>
                  <a:lnTo>
                    <a:pt x="3540" y="8042"/>
                  </a:lnTo>
                  <a:lnTo>
                    <a:pt x="3564" y="8066"/>
                  </a:lnTo>
                  <a:lnTo>
                    <a:pt x="3579" y="8090"/>
                  </a:lnTo>
                  <a:lnTo>
                    <a:pt x="3596" y="8121"/>
                  </a:lnTo>
                  <a:lnTo>
                    <a:pt x="3596" y="8161"/>
                  </a:lnTo>
                  <a:lnTo>
                    <a:pt x="3596" y="8408"/>
                  </a:lnTo>
                  <a:close/>
                  <a:moveTo>
                    <a:pt x="3183" y="8566"/>
                  </a:moveTo>
                  <a:lnTo>
                    <a:pt x="3128" y="8566"/>
                  </a:lnTo>
                  <a:lnTo>
                    <a:pt x="3143" y="8495"/>
                  </a:lnTo>
                  <a:lnTo>
                    <a:pt x="3143" y="8495"/>
                  </a:lnTo>
                  <a:lnTo>
                    <a:pt x="3159" y="8535"/>
                  </a:lnTo>
                  <a:lnTo>
                    <a:pt x="3183" y="8566"/>
                  </a:lnTo>
                  <a:close/>
                  <a:moveTo>
                    <a:pt x="3016" y="7424"/>
                  </a:moveTo>
                  <a:lnTo>
                    <a:pt x="3016" y="7424"/>
                  </a:lnTo>
                  <a:lnTo>
                    <a:pt x="2985" y="7431"/>
                  </a:lnTo>
                  <a:lnTo>
                    <a:pt x="2985" y="7431"/>
                  </a:lnTo>
                  <a:lnTo>
                    <a:pt x="2945" y="7424"/>
                  </a:lnTo>
                  <a:lnTo>
                    <a:pt x="2913" y="7416"/>
                  </a:lnTo>
                  <a:lnTo>
                    <a:pt x="2881" y="7400"/>
                  </a:lnTo>
                  <a:lnTo>
                    <a:pt x="2858" y="7376"/>
                  </a:lnTo>
                  <a:lnTo>
                    <a:pt x="2833" y="7352"/>
                  </a:lnTo>
                  <a:lnTo>
                    <a:pt x="2817" y="7321"/>
                  </a:lnTo>
                  <a:lnTo>
                    <a:pt x="2810" y="7289"/>
                  </a:lnTo>
                  <a:lnTo>
                    <a:pt x="2810" y="7257"/>
                  </a:lnTo>
                  <a:lnTo>
                    <a:pt x="2810" y="7003"/>
                  </a:lnTo>
                  <a:lnTo>
                    <a:pt x="2810" y="7003"/>
                  </a:lnTo>
                  <a:lnTo>
                    <a:pt x="2810" y="6972"/>
                  </a:lnTo>
                  <a:lnTo>
                    <a:pt x="2817" y="6947"/>
                  </a:lnTo>
                  <a:lnTo>
                    <a:pt x="2833" y="6916"/>
                  </a:lnTo>
                  <a:lnTo>
                    <a:pt x="2858" y="6891"/>
                  </a:lnTo>
                  <a:lnTo>
                    <a:pt x="2881" y="6876"/>
                  </a:lnTo>
                  <a:lnTo>
                    <a:pt x="2913" y="6860"/>
                  </a:lnTo>
                  <a:lnTo>
                    <a:pt x="2945" y="6852"/>
                  </a:lnTo>
                  <a:lnTo>
                    <a:pt x="2985" y="6845"/>
                  </a:lnTo>
                  <a:lnTo>
                    <a:pt x="2985" y="6845"/>
                  </a:lnTo>
                  <a:lnTo>
                    <a:pt x="3032" y="6860"/>
                  </a:lnTo>
                  <a:lnTo>
                    <a:pt x="3087" y="6884"/>
                  </a:lnTo>
                  <a:lnTo>
                    <a:pt x="3120" y="6916"/>
                  </a:lnTo>
                  <a:lnTo>
                    <a:pt x="3151" y="6955"/>
                  </a:lnTo>
                  <a:lnTo>
                    <a:pt x="3016" y="7424"/>
                  </a:lnTo>
                  <a:close/>
                  <a:moveTo>
                    <a:pt x="1913" y="8408"/>
                  </a:moveTo>
                  <a:lnTo>
                    <a:pt x="1913" y="8161"/>
                  </a:lnTo>
                  <a:lnTo>
                    <a:pt x="1913" y="8161"/>
                  </a:lnTo>
                  <a:lnTo>
                    <a:pt x="1913" y="8130"/>
                  </a:lnTo>
                  <a:lnTo>
                    <a:pt x="1920" y="8098"/>
                  </a:lnTo>
                  <a:lnTo>
                    <a:pt x="1936" y="8066"/>
                  </a:lnTo>
                  <a:lnTo>
                    <a:pt x="1961" y="8042"/>
                  </a:lnTo>
                  <a:lnTo>
                    <a:pt x="1984" y="8018"/>
                  </a:lnTo>
                  <a:lnTo>
                    <a:pt x="2007" y="8003"/>
                  </a:lnTo>
                  <a:lnTo>
                    <a:pt x="2040" y="7995"/>
                  </a:lnTo>
                  <a:lnTo>
                    <a:pt x="2071" y="7986"/>
                  </a:lnTo>
                  <a:lnTo>
                    <a:pt x="2071" y="7986"/>
                  </a:lnTo>
                  <a:lnTo>
                    <a:pt x="2111" y="7995"/>
                  </a:lnTo>
                  <a:lnTo>
                    <a:pt x="2142" y="8003"/>
                  </a:lnTo>
                  <a:lnTo>
                    <a:pt x="2175" y="8018"/>
                  </a:lnTo>
                  <a:lnTo>
                    <a:pt x="2198" y="8042"/>
                  </a:lnTo>
                  <a:lnTo>
                    <a:pt x="2222" y="8066"/>
                  </a:lnTo>
                  <a:lnTo>
                    <a:pt x="2238" y="8090"/>
                  </a:lnTo>
                  <a:lnTo>
                    <a:pt x="2246" y="8121"/>
                  </a:lnTo>
                  <a:lnTo>
                    <a:pt x="2246" y="8161"/>
                  </a:lnTo>
                  <a:lnTo>
                    <a:pt x="2246" y="8408"/>
                  </a:lnTo>
                  <a:lnTo>
                    <a:pt x="2246" y="8408"/>
                  </a:lnTo>
                  <a:lnTo>
                    <a:pt x="2246" y="8431"/>
                  </a:lnTo>
                  <a:lnTo>
                    <a:pt x="2238" y="8463"/>
                  </a:lnTo>
                  <a:lnTo>
                    <a:pt x="2231" y="8487"/>
                  </a:lnTo>
                  <a:lnTo>
                    <a:pt x="2214" y="8510"/>
                  </a:lnTo>
                  <a:lnTo>
                    <a:pt x="2167" y="8550"/>
                  </a:lnTo>
                  <a:lnTo>
                    <a:pt x="2142" y="8558"/>
                  </a:lnTo>
                  <a:lnTo>
                    <a:pt x="2111" y="8566"/>
                  </a:lnTo>
                  <a:lnTo>
                    <a:pt x="2032" y="8566"/>
                  </a:lnTo>
                  <a:lnTo>
                    <a:pt x="2032" y="8566"/>
                  </a:lnTo>
                  <a:lnTo>
                    <a:pt x="1984" y="8543"/>
                  </a:lnTo>
                  <a:lnTo>
                    <a:pt x="1944" y="8510"/>
                  </a:lnTo>
                  <a:lnTo>
                    <a:pt x="1920" y="8463"/>
                  </a:lnTo>
                  <a:lnTo>
                    <a:pt x="1913" y="8431"/>
                  </a:lnTo>
                  <a:lnTo>
                    <a:pt x="1913" y="8408"/>
                  </a:lnTo>
                  <a:close/>
                  <a:moveTo>
                    <a:pt x="4659" y="8408"/>
                  </a:moveTo>
                  <a:lnTo>
                    <a:pt x="4659" y="8161"/>
                  </a:lnTo>
                  <a:lnTo>
                    <a:pt x="4659" y="8161"/>
                  </a:lnTo>
                  <a:lnTo>
                    <a:pt x="4667" y="8121"/>
                  </a:lnTo>
                  <a:lnTo>
                    <a:pt x="4676" y="8090"/>
                  </a:lnTo>
                  <a:lnTo>
                    <a:pt x="4692" y="8066"/>
                  </a:lnTo>
                  <a:lnTo>
                    <a:pt x="4715" y="8042"/>
                  </a:lnTo>
                  <a:lnTo>
                    <a:pt x="4739" y="8018"/>
                  </a:lnTo>
                  <a:lnTo>
                    <a:pt x="4771" y="8003"/>
                  </a:lnTo>
                  <a:lnTo>
                    <a:pt x="4802" y="7995"/>
                  </a:lnTo>
                  <a:lnTo>
                    <a:pt x="4842" y="7986"/>
                  </a:lnTo>
                  <a:lnTo>
                    <a:pt x="4842" y="7986"/>
                  </a:lnTo>
                  <a:lnTo>
                    <a:pt x="4874" y="7995"/>
                  </a:lnTo>
                  <a:lnTo>
                    <a:pt x="4906" y="8003"/>
                  </a:lnTo>
                  <a:lnTo>
                    <a:pt x="4937" y="8018"/>
                  </a:lnTo>
                  <a:lnTo>
                    <a:pt x="4962" y="8042"/>
                  </a:lnTo>
                  <a:lnTo>
                    <a:pt x="4985" y="8066"/>
                  </a:lnTo>
                  <a:lnTo>
                    <a:pt x="5001" y="8090"/>
                  </a:lnTo>
                  <a:lnTo>
                    <a:pt x="5009" y="8121"/>
                  </a:lnTo>
                  <a:lnTo>
                    <a:pt x="5017" y="8161"/>
                  </a:lnTo>
                  <a:lnTo>
                    <a:pt x="5017" y="8408"/>
                  </a:lnTo>
                  <a:lnTo>
                    <a:pt x="5017" y="8408"/>
                  </a:lnTo>
                  <a:lnTo>
                    <a:pt x="5017" y="8431"/>
                  </a:lnTo>
                  <a:lnTo>
                    <a:pt x="5009" y="8463"/>
                  </a:lnTo>
                  <a:lnTo>
                    <a:pt x="4993" y="8487"/>
                  </a:lnTo>
                  <a:lnTo>
                    <a:pt x="4977" y="8510"/>
                  </a:lnTo>
                  <a:lnTo>
                    <a:pt x="4937" y="8550"/>
                  </a:lnTo>
                  <a:lnTo>
                    <a:pt x="4914" y="8558"/>
                  </a:lnTo>
                  <a:lnTo>
                    <a:pt x="4882" y="8566"/>
                  </a:lnTo>
                  <a:lnTo>
                    <a:pt x="4794" y="8566"/>
                  </a:lnTo>
                  <a:lnTo>
                    <a:pt x="4794" y="8566"/>
                  </a:lnTo>
                  <a:lnTo>
                    <a:pt x="4771" y="8558"/>
                  </a:lnTo>
                  <a:lnTo>
                    <a:pt x="4739" y="8550"/>
                  </a:lnTo>
                  <a:lnTo>
                    <a:pt x="4700" y="8510"/>
                  </a:lnTo>
                  <a:lnTo>
                    <a:pt x="4684" y="8487"/>
                  </a:lnTo>
                  <a:lnTo>
                    <a:pt x="4676" y="8463"/>
                  </a:lnTo>
                  <a:lnTo>
                    <a:pt x="4667" y="8431"/>
                  </a:lnTo>
                  <a:lnTo>
                    <a:pt x="4659" y="8408"/>
                  </a:lnTo>
                  <a:close/>
                  <a:moveTo>
                    <a:pt x="6017" y="8408"/>
                  </a:moveTo>
                  <a:lnTo>
                    <a:pt x="6017" y="8161"/>
                  </a:lnTo>
                  <a:lnTo>
                    <a:pt x="6017" y="8161"/>
                  </a:lnTo>
                  <a:lnTo>
                    <a:pt x="6017" y="8130"/>
                  </a:lnTo>
                  <a:lnTo>
                    <a:pt x="6025" y="8098"/>
                  </a:lnTo>
                  <a:lnTo>
                    <a:pt x="6042" y="8066"/>
                  </a:lnTo>
                  <a:lnTo>
                    <a:pt x="6065" y="8042"/>
                  </a:lnTo>
                  <a:lnTo>
                    <a:pt x="6089" y="8018"/>
                  </a:lnTo>
                  <a:lnTo>
                    <a:pt x="6113" y="8003"/>
                  </a:lnTo>
                  <a:lnTo>
                    <a:pt x="6144" y="7995"/>
                  </a:lnTo>
                  <a:lnTo>
                    <a:pt x="6177" y="7986"/>
                  </a:lnTo>
                  <a:lnTo>
                    <a:pt x="6177" y="7986"/>
                  </a:lnTo>
                  <a:lnTo>
                    <a:pt x="6216" y="7995"/>
                  </a:lnTo>
                  <a:lnTo>
                    <a:pt x="6248" y="8003"/>
                  </a:lnTo>
                  <a:lnTo>
                    <a:pt x="6279" y="8018"/>
                  </a:lnTo>
                  <a:lnTo>
                    <a:pt x="6303" y="8042"/>
                  </a:lnTo>
                  <a:lnTo>
                    <a:pt x="6327" y="8066"/>
                  </a:lnTo>
                  <a:lnTo>
                    <a:pt x="6343" y="8090"/>
                  </a:lnTo>
                  <a:lnTo>
                    <a:pt x="6351" y="8121"/>
                  </a:lnTo>
                  <a:lnTo>
                    <a:pt x="6351" y="8161"/>
                  </a:lnTo>
                  <a:lnTo>
                    <a:pt x="6351" y="8408"/>
                  </a:lnTo>
                  <a:lnTo>
                    <a:pt x="6351" y="8408"/>
                  </a:lnTo>
                  <a:lnTo>
                    <a:pt x="6351" y="8431"/>
                  </a:lnTo>
                  <a:lnTo>
                    <a:pt x="6343" y="8463"/>
                  </a:lnTo>
                  <a:lnTo>
                    <a:pt x="6327" y="8487"/>
                  </a:lnTo>
                  <a:lnTo>
                    <a:pt x="6312" y="8510"/>
                  </a:lnTo>
                  <a:lnTo>
                    <a:pt x="6272" y="8550"/>
                  </a:lnTo>
                  <a:lnTo>
                    <a:pt x="6248" y="8558"/>
                  </a:lnTo>
                  <a:lnTo>
                    <a:pt x="6216" y="8566"/>
                  </a:lnTo>
                  <a:lnTo>
                    <a:pt x="6137" y="8566"/>
                  </a:lnTo>
                  <a:lnTo>
                    <a:pt x="6137" y="8566"/>
                  </a:lnTo>
                  <a:lnTo>
                    <a:pt x="6089" y="8543"/>
                  </a:lnTo>
                  <a:lnTo>
                    <a:pt x="6050" y="8510"/>
                  </a:lnTo>
                  <a:lnTo>
                    <a:pt x="6025" y="8463"/>
                  </a:lnTo>
                  <a:lnTo>
                    <a:pt x="6017" y="8431"/>
                  </a:lnTo>
                  <a:lnTo>
                    <a:pt x="6017" y="8408"/>
                  </a:lnTo>
                  <a:close/>
                  <a:moveTo>
                    <a:pt x="5930" y="413"/>
                  </a:moveTo>
                  <a:lnTo>
                    <a:pt x="5930" y="1136"/>
                  </a:lnTo>
                  <a:lnTo>
                    <a:pt x="5398" y="1136"/>
                  </a:lnTo>
                  <a:lnTo>
                    <a:pt x="5398" y="3351"/>
                  </a:lnTo>
                  <a:lnTo>
                    <a:pt x="6557" y="5423"/>
                  </a:lnTo>
                  <a:lnTo>
                    <a:pt x="3938" y="5423"/>
                  </a:lnTo>
                  <a:lnTo>
                    <a:pt x="3913" y="413"/>
                  </a:lnTo>
                  <a:lnTo>
                    <a:pt x="5930" y="413"/>
                  </a:lnTo>
                  <a:close/>
                  <a:moveTo>
                    <a:pt x="3008" y="3351"/>
                  </a:moveTo>
                  <a:lnTo>
                    <a:pt x="3008" y="1136"/>
                  </a:lnTo>
                  <a:lnTo>
                    <a:pt x="2476" y="1136"/>
                  </a:lnTo>
                  <a:lnTo>
                    <a:pt x="2476" y="413"/>
                  </a:lnTo>
                  <a:lnTo>
                    <a:pt x="3500" y="413"/>
                  </a:lnTo>
                  <a:lnTo>
                    <a:pt x="3533" y="5423"/>
                  </a:lnTo>
                  <a:lnTo>
                    <a:pt x="1857" y="5423"/>
                  </a:lnTo>
                  <a:lnTo>
                    <a:pt x="3008" y="335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8" name="Freeform 2"/>
            <p:cNvSpPr>
              <a:spLocks noChangeArrowheads="1"/>
            </p:cNvSpPr>
            <p:nvPr/>
          </p:nvSpPr>
          <p:spPr bwMode="auto">
            <a:xfrm>
              <a:off x="8939538" y="3119281"/>
              <a:ext cx="33185" cy="44812"/>
            </a:xfrm>
            <a:custGeom>
              <a:avLst/>
              <a:gdLst>
                <a:gd name="T0" fmla="*/ 293 w 588"/>
                <a:gd name="T1" fmla="*/ 818 h 819"/>
                <a:gd name="T2" fmla="*/ 405 w 588"/>
                <a:gd name="T3" fmla="*/ 794 h 819"/>
                <a:gd name="T4" fmla="*/ 492 w 588"/>
                <a:gd name="T5" fmla="*/ 731 h 819"/>
                <a:gd name="T6" fmla="*/ 563 w 588"/>
                <a:gd name="T7" fmla="*/ 635 h 819"/>
                <a:gd name="T8" fmla="*/ 587 w 588"/>
                <a:gd name="T9" fmla="*/ 524 h 819"/>
                <a:gd name="T10" fmla="*/ 587 w 588"/>
                <a:gd name="T11" fmla="*/ 270 h 819"/>
                <a:gd name="T12" fmla="*/ 563 w 588"/>
                <a:gd name="T13" fmla="*/ 167 h 819"/>
                <a:gd name="T14" fmla="*/ 492 w 588"/>
                <a:gd name="T15" fmla="*/ 79 h 819"/>
                <a:gd name="T16" fmla="*/ 405 w 588"/>
                <a:gd name="T17" fmla="*/ 16 h 819"/>
                <a:gd name="T18" fmla="*/ 293 w 588"/>
                <a:gd name="T19" fmla="*/ 0 h 819"/>
                <a:gd name="T20" fmla="*/ 230 w 588"/>
                <a:gd name="T21" fmla="*/ 0 h 819"/>
                <a:gd name="T22" fmla="*/ 127 w 588"/>
                <a:gd name="T23" fmla="*/ 48 h 819"/>
                <a:gd name="T24" fmla="*/ 47 w 588"/>
                <a:gd name="T25" fmla="*/ 119 h 819"/>
                <a:gd name="T26" fmla="*/ 0 w 588"/>
                <a:gd name="T27" fmla="*/ 214 h 819"/>
                <a:gd name="T28" fmla="*/ 0 w 588"/>
                <a:gd name="T29" fmla="*/ 524 h 819"/>
                <a:gd name="T30" fmla="*/ 0 w 588"/>
                <a:gd name="T31" fmla="*/ 588 h 819"/>
                <a:gd name="T32" fmla="*/ 47 w 588"/>
                <a:gd name="T33" fmla="*/ 683 h 819"/>
                <a:gd name="T34" fmla="*/ 127 w 588"/>
                <a:gd name="T35" fmla="*/ 762 h 819"/>
                <a:gd name="T36" fmla="*/ 230 w 588"/>
                <a:gd name="T37" fmla="*/ 810 h 819"/>
                <a:gd name="T38" fmla="*/ 110 w 588"/>
                <a:gd name="T39" fmla="*/ 270 h 819"/>
                <a:gd name="T40" fmla="*/ 118 w 588"/>
                <a:gd name="T41" fmla="*/ 239 h 819"/>
                <a:gd name="T42" fmla="*/ 143 w 588"/>
                <a:gd name="T43" fmla="*/ 183 h 819"/>
                <a:gd name="T44" fmla="*/ 190 w 588"/>
                <a:gd name="T45" fmla="*/ 143 h 819"/>
                <a:gd name="T46" fmla="*/ 253 w 588"/>
                <a:gd name="T47" fmla="*/ 119 h 819"/>
                <a:gd name="T48" fmla="*/ 293 w 588"/>
                <a:gd name="T49" fmla="*/ 112 h 819"/>
                <a:gd name="T50" fmla="*/ 357 w 588"/>
                <a:gd name="T51" fmla="*/ 127 h 819"/>
                <a:gd name="T52" fmla="*/ 413 w 588"/>
                <a:gd name="T53" fmla="*/ 167 h 819"/>
                <a:gd name="T54" fmla="*/ 452 w 588"/>
                <a:gd name="T55" fmla="*/ 214 h 819"/>
                <a:gd name="T56" fmla="*/ 469 w 588"/>
                <a:gd name="T57" fmla="*/ 270 h 819"/>
                <a:gd name="T58" fmla="*/ 469 w 588"/>
                <a:gd name="T59" fmla="*/ 524 h 819"/>
                <a:gd name="T60" fmla="*/ 452 w 588"/>
                <a:gd name="T61" fmla="*/ 588 h 819"/>
                <a:gd name="T62" fmla="*/ 413 w 588"/>
                <a:gd name="T63" fmla="*/ 643 h 819"/>
                <a:gd name="T64" fmla="*/ 357 w 588"/>
                <a:gd name="T65" fmla="*/ 683 h 819"/>
                <a:gd name="T66" fmla="*/ 293 w 588"/>
                <a:gd name="T67" fmla="*/ 698 h 819"/>
                <a:gd name="T68" fmla="*/ 253 w 588"/>
                <a:gd name="T69" fmla="*/ 691 h 819"/>
                <a:gd name="T70" fmla="*/ 190 w 588"/>
                <a:gd name="T71" fmla="*/ 667 h 819"/>
                <a:gd name="T72" fmla="*/ 143 w 588"/>
                <a:gd name="T73" fmla="*/ 619 h 819"/>
                <a:gd name="T74" fmla="*/ 118 w 588"/>
                <a:gd name="T75" fmla="*/ 556 h 819"/>
                <a:gd name="T76" fmla="*/ 110 w 588"/>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8" h="819">
                  <a:moveTo>
                    <a:pt x="293" y="818"/>
                  </a:moveTo>
                  <a:lnTo>
                    <a:pt x="293" y="818"/>
                  </a:lnTo>
                  <a:lnTo>
                    <a:pt x="349" y="810"/>
                  </a:lnTo>
                  <a:lnTo>
                    <a:pt x="405" y="794"/>
                  </a:lnTo>
                  <a:lnTo>
                    <a:pt x="452" y="762"/>
                  </a:lnTo>
                  <a:lnTo>
                    <a:pt x="492" y="731"/>
                  </a:lnTo>
                  <a:lnTo>
                    <a:pt x="531" y="683"/>
                  </a:lnTo>
                  <a:lnTo>
                    <a:pt x="563" y="635"/>
                  </a:lnTo>
                  <a:lnTo>
                    <a:pt x="579" y="580"/>
                  </a:lnTo>
                  <a:lnTo>
                    <a:pt x="587" y="524"/>
                  </a:lnTo>
                  <a:lnTo>
                    <a:pt x="587" y="270"/>
                  </a:lnTo>
                  <a:lnTo>
                    <a:pt x="587" y="270"/>
                  </a:lnTo>
                  <a:lnTo>
                    <a:pt x="579" y="214"/>
                  </a:lnTo>
                  <a:lnTo>
                    <a:pt x="563" y="167"/>
                  </a:lnTo>
                  <a:lnTo>
                    <a:pt x="531" y="119"/>
                  </a:lnTo>
                  <a:lnTo>
                    <a:pt x="492" y="79"/>
                  </a:lnTo>
                  <a:lnTo>
                    <a:pt x="452" y="48"/>
                  </a:lnTo>
                  <a:lnTo>
                    <a:pt x="405" y="16"/>
                  </a:lnTo>
                  <a:lnTo>
                    <a:pt x="349" y="0"/>
                  </a:lnTo>
                  <a:lnTo>
                    <a:pt x="293" y="0"/>
                  </a:lnTo>
                  <a:lnTo>
                    <a:pt x="293" y="0"/>
                  </a:lnTo>
                  <a:lnTo>
                    <a:pt x="230" y="0"/>
                  </a:lnTo>
                  <a:lnTo>
                    <a:pt x="174" y="16"/>
                  </a:lnTo>
                  <a:lnTo>
                    <a:pt x="127" y="48"/>
                  </a:lnTo>
                  <a:lnTo>
                    <a:pt x="87" y="79"/>
                  </a:lnTo>
                  <a:lnTo>
                    <a:pt x="47" y="119"/>
                  </a:lnTo>
                  <a:lnTo>
                    <a:pt x="23" y="167"/>
                  </a:lnTo>
                  <a:lnTo>
                    <a:pt x="0" y="214"/>
                  </a:lnTo>
                  <a:lnTo>
                    <a:pt x="0" y="270"/>
                  </a:lnTo>
                  <a:lnTo>
                    <a:pt x="0" y="524"/>
                  </a:lnTo>
                  <a:lnTo>
                    <a:pt x="0" y="524"/>
                  </a:lnTo>
                  <a:lnTo>
                    <a:pt x="0" y="588"/>
                  </a:lnTo>
                  <a:lnTo>
                    <a:pt x="23" y="635"/>
                  </a:lnTo>
                  <a:lnTo>
                    <a:pt x="47" y="683"/>
                  </a:lnTo>
                  <a:lnTo>
                    <a:pt x="87" y="731"/>
                  </a:lnTo>
                  <a:lnTo>
                    <a:pt x="127" y="762"/>
                  </a:lnTo>
                  <a:lnTo>
                    <a:pt x="182" y="794"/>
                  </a:lnTo>
                  <a:lnTo>
                    <a:pt x="230" y="810"/>
                  </a:lnTo>
                  <a:lnTo>
                    <a:pt x="293" y="818"/>
                  </a:lnTo>
                  <a:close/>
                  <a:moveTo>
                    <a:pt x="110" y="270"/>
                  </a:moveTo>
                  <a:lnTo>
                    <a:pt x="110" y="270"/>
                  </a:lnTo>
                  <a:lnTo>
                    <a:pt x="118" y="239"/>
                  </a:lnTo>
                  <a:lnTo>
                    <a:pt x="127" y="214"/>
                  </a:lnTo>
                  <a:lnTo>
                    <a:pt x="143" y="183"/>
                  </a:lnTo>
                  <a:lnTo>
                    <a:pt x="166" y="158"/>
                  </a:lnTo>
                  <a:lnTo>
                    <a:pt x="190" y="143"/>
                  </a:lnTo>
                  <a:lnTo>
                    <a:pt x="222" y="127"/>
                  </a:lnTo>
                  <a:lnTo>
                    <a:pt x="253" y="119"/>
                  </a:lnTo>
                  <a:lnTo>
                    <a:pt x="293" y="112"/>
                  </a:lnTo>
                  <a:lnTo>
                    <a:pt x="293" y="112"/>
                  </a:lnTo>
                  <a:lnTo>
                    <a:pt x="325" y="119"/>
                  </a:lnTo>
                  <a:lnTo>
                    <a:pt x="357" y="127"/>
                  </a:lnTo>
                  <a:lnTo>
                    <a:pt x="388" y="143"/>
                  </a:lnTo>
                  <a:lnTo>
                    <a:pt x="413" y="167"/>
                  </a:lnTo>
                  <a:lnTo>
                    <a:pt x="436" y="183"/>
                  </a:lnTo>
                  <a:lnTo>
                    <a:pt x="452" y="214"/>
                  </a:lnTo>
                  <a:lnTo>
                    <a:pt x="460" y="239"/>
                  </a:lnTo>
                  <a:lnTo>
                    <a:pt x="469" y="270"/>
                  </a:lnTo>
                  <a:lnTo>
                    <a:pt x="469" y="524"/>
                  </a:lnTo>
                  <a:lnTo>
                    <a:pt x="469" y="524"/>
                  </a:lnTo>
                  <a:lnTo>
                    <a:pt x="460" y="556"/>
                  </a:lnTo>
                  <a:lnTo>
                    <a:pt x="452" y="588"/>
                  </a:lnTo>
                  <a:lnTo>
                    <a:pt x="436" y="619"/>
                  </a:lnTo>
                  <a:lnTo>
                    <a:pt x="413" y="643"/>
                  </a:lnTo>
                  <a:lnTo>
                    <a:pt x="380" y="667"/>
                  </a:lnTo>
                  <a:lnTo>
                    <a:pt x="357" y="683"/>
                  </a:lnTo>
                  <a:lnTo>
                    <a:pt x="325" y="691"/>
                  </a:lnTo>
                  <a:lnTo>
                    <a:pt x="293" y="698"/>
                  </a:lnTo>
                  <a:lnTo>
                    <a:pt x="293" y="698"/>
                  </a:lnTo>
                  <a:lnTo>
                    <a:pt x="253" y="691"/>
                  </a:lnTo>
                  <a:lnTo>
                    <a:pt x="222" y="683"/>
                  </a:lnTo>
                  <a:lnTo>
                    <a:pt x="190" y="667"/>
                  </a:lnTo>
                  <a:lnTo>
                    <a:pt x="166" y="643"/>
                  </a:lnTo>
                  <a:lnTo>
                    <a:pt x="143" y="619"/>
                  </a:lnTo>
                  <a:lnTo>
                    <a:pt x="127" y="588"/>
                  </a:lnTo>
                  <a:lnTo>
                    <a:pt x="118" y="556"/>
                  </a:lnTo>
                  <a:lnTo>
                    <a:pt x="110" y="524"/>
                  </a:lnTo>
                  <a:lnTo>
                    <a:pt x="110"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9" name="Freeform 3"/>
            <p:cNvSpPr>
              <a:spLocks noChangeArrowheads="1"/>
            </p:cNvSpPr>
            <p:nvPr/>
          </p:nvSpPr>
          <p:spPr bwMode="auto">
            <a:xfrm>
              <a:off x="8838736" y="3122413"/>
              <a:ext cx="6737" cy="37344"/>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Freeform 4"/>
            <p:cNvSpPr>
              <a:spLocks noChangeArrowheads="1"/>
            </p:cNvSpPr>
            <p:nvPr/>
          </p:nvSpPr>
          <p:spPr bwMode="auto">
            <a:xfrm>
              <a:off x="8914337" y="3122413"/>
              <a:ext cx="6737" cy="37344"/>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1" name="Freeform 5"/>
            <p:cNvSpPr>
              <a:spLocks noChangeArrowheads="1"/>
            </p:cNvSpPr>
            <p:nvPr/>
          </p:nvSpPr>
          <p:spPr bwMode="auto">
            <a:xfrm>
              <a:off x="8787088" y="3119281"/>
              <a:ext cx="33434" cy="44812"/>
            </a:xfrm>
            <a:custGeom>
              <a:avLst/>
              <a:gdLst>
                <a:gd name="T0" fmla="*/ 293 w 589"/>
                <a:gd name="T1" fmla="*/ 0 h 819"/>
                <a:gd name="T2" fmla="*/ 183 w 589"/>
                <a:gd name="T3" fmla="*/ 16 h 819"/>
                <a:gd name="T4" fmla="*/ 87 w 589"/>
                <a:gd name="T5" fmla="*/ 79 h 819"/>
                <a:gd name="T6" fmla="*/ 23 w 589"/>
                <a:gd name="T7" fmla="*/ 167 h 819"/>
                <a:gd name="T8" fmla="*/ 0 w 589"/>
                <a:gd name="T9" fmla="*/ 270 h 819"/>
                <a:gd name="T10" fmla="*/ 0 w 589"/>
                <a:gd name="T11" fmla="*/ 524 h 819"/>
                <a:gd name="T12" fmla="*/ 23 w 589"/>
                <a:gd name="T13" fmla="*/ 635 h 819"/>
                <a:gd name="T14" fmla="*/ 87 w 589"/>
                <a:gd name="T15" fmla="*/ 731 h 819"/>
                <a:gd name="T16" fmla="*/ 183 w 589"/>
                <a:gd name="T17" fmla="*/ 794 h 819"/>
                <a:gd name="T18" fmla="*/ 293 w 589"/>
                <a:gd name="T19" fmla="*/ 818 h 819"/>
                <a:gd name="T20" fmla="*/ 349 w 589"/>
                <a:gd name="T21" fmla="*/ 810 h 819"/>
                <a:gd name="T22" fmla="*/ 453 w 589"/>
                <a:gd name="T23" fmla="*/ 762 h 819"/>
                <a:gd name="T24" fmla="*/ 540 w 589"/>
                <a:gd name="T25" fmla="*/ 683 h 819"/>
                <a:gd name="T26" fmla="*/ 580 w 589"/>
                <a:gd name="T27" fmla="*/ 588 h 819"/>
                <a:gd name="T28" fmla="*/ 588 w 589"/>
                <a:gd name="T29" fmla="*/ 270 h 819"/>
                <a:gd name="T30" fmla="*/ 580 w 589"/>
                <a:gd name="T31" fmla="*/ 214 h 819"/>
                <a:gd name="T32" fmla="*/ 540 w 589"/>
                <a:gd name="T33" fmla="*/ 119 h 819"/>
                <a:gd name="T34" fmla="*/ 461 w 589"/>
                <a:gd name="T35" fmla="*/ 48 h 819"/>
                <a:gd name="T36" fmla="*/ 357 w 589"/>
                <a:gd name="T37" fmla="*/ 0 h 819"/>
                <a:gd name="T38" fmla="*/ 468 w 589"/>
                <a:gd name="T39" fmla="*/ 524 h 819"/>
                <a:gd name="T40" fmla="*/ 468 w 589"/>
                <a:gd name="T41" fmla="*/ 556 h 819"/>
                <a:gd name="T42" fmla="*/ 445 w 589"/>
                <a:gd name="T43" fmla="*/ 619 h 819"/>
                <a:gd name="T44" fmla="*/ 397 w 589"/>
                <a:gd name="T45" fmla="*/ 667 h 819"/>
                <a:gd name="T46" fmla="*/ 333 w 589"/>
                <a:gd name="T47" fmla="*/ 691 h 819"/>
                <a:gd name="T48" fmla="*/ 293 w 589"/>
                <a:gd name="T49" fmla="*/ 698 h 819"/>
                <a:gd name="T50" fmla="*/ 222 w 589"/>
                <a:gd name="T51" fmla="*/ 683 h 819"/>
                <a:gd name="T52" fmla="*/ 167 w 589"/>
                <a:gd name="T53" fmla="*/ 643 h 819"/>
                <a:gd name="T54" fmla="*/ 135 w 589"/>
                <a:gd name="T55" fmla="*/ 588 h 819"/>
                <a:gd name="T56" fmla="*/ 119 w 589"/>
                <a:gd name="T57" fmla="*/ 524 h 819"/>
                <a:gd name="T58" fmla="*/ 119 w 589"/>
                <a:gd name="T59" fmla="*/ 270 h 819"/>
                <a:gd name="T60" fmla="*/ 135 w 589"/>
                <a:gd name="T61" fmla="*/ 214 h 819"/>
                <a:gd name="T62" fmla="*/ 175 w 589"/>
                <a:gd name="T63" fmla="*/ 158 h 819"/>
                <a:gd name="T64" fmla="*/ 230 w 589"/>
                <a:gd name="T65" fmla="*/ 127 h 819"/>
                <a:gd name="T66" fmla="*/ 293 w 589"/>
                <a:gd name="T67" fmla="*/ 112 h 819"/>
                <a:gd name="T68" fmla="*/ 333 w 589"/>
                <a:gd name="T69" fmla="*/ 119 h 819"/>
                <a:gd name="T70" fmla="*/ 389 w 589"/>
                <a:gd name="T71" fmla="*/ 143 h 819"/>
                <a:gd name="T72" fmla="*/ 437 w 589"/>
                <a:gd name="T73" fmla="*/ 183 h 819"/>
                <a:gd name="T74" fmla="*/ 468 w 589"/>
                <a:gd name="T75" fmla="*/ 239 h 819"/>
                <a:gd name="T76" fmla="*/ 468 w 589"/>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9" h="819">
                  <a:moveTo>
                    <a:pt x="293" y="0"/>
                  </a:moveTo>
                  <a:lnTo>
                    <a:pt x="293" y="0"/>
                  </a:lnTo>
                  <a:lnTo>
                    <a:pt x="239" y="0"/>
                  </a:lnTo>
                  <a:lnTo>
                    <a:pt x="183" y="16"/>
                  </a:lnTo>
                  <a:lnTo>
                    <a:pt x="127" y="48"/>
                  </a:lnTo>
                  <a:lnTo>
                    <a:pt x="87" y="79"/>
                  </a:lnTo>
                  <a:lnTo>
                    <a:pt x="48" y="119"/>
                  </a:lnTo>
                  <a:lnTo>
                    <a:pt x="23" y="167"/>
                  </a:lnTo>
                  <a:lnTo>
                    <a:pt x="8" y="214"/>
                  </a:lnTo>
                  <a:lnTo>
                    <a:pt x="0" y="270"/>
                  </a:lnTo>
                  <a:lnTo>
                    <a:pt x="0" y="524"/>
                  </a:lnTo>
                  <a:lnTo>
                    <a:pt x="0" y="524"/>
                  </a:lnTo>
                  <a:lnTo>
                    <a:pt x="8" y="588"/>
                  </a:lnTo>
                  <a:lnTo>
                    <a:pt x="23" y="635"/>
                  </a:lnTo>
                  <a:lnTo>
                    <a:pt x="56" y="683"/>
                  </a:lnTo>
                  <a:lnTo>
                    <a:pt x="87" y="731"/>
                  </a:lnTo>
                  <a:lnTo>
                    <a:pt x="135" y="762"/>
                  </a:lnTo>
                  <a:lnTo>
                    <a:pt x="183" y="794"/>
                  </a:lnTo>
                  <a:lnTo>
                    <a:pt x="239" y="810"/>
                  </a:lnTo>
                  <a:lnTo>
                    <a:pt x="293" y="818"/>
                  </a:lnTo>
                  <a:lnTo>
                    <a:pt x="293" y="818"/>
                  </a:lnTo>
                  <a:lnTo>
                    <a:pt x="349" y="810"/>
                  </a:lnTo>
                  <a:lnTo>
                    <a:pt x="405" y="794"/>
                  </a:lnTo>
                  <a:lnTo>
                    <a:pt x="453" y="762"/>
                  </a:lnTo>
                  <a:lnTo>
                    <a:pt x="500" y="731"/>
                  </a:lnTo>
                  <a:lnTo>
                    <a:pt x="540" y="683"/>
                  </a:lnTo>
                  <a:lnTo>
                    <a:pt x="563" y="635"/>
                  </a:lnTo>
                  <a:lnTo>
                    <a:pt x="580" y="588"/>
                  </a:lnTo>
                  <a:lnTo>
                    <a:pt x="588" y="524"/>
                  </a:lnTo>
                  <a:lnTo>
                    <a:pt x="588" y="270"/>
                  </a:lnTo>
                  <a:lnTo>
                    <a:pt x="588" y="270"/>
                  </a:lnTo>
                  <a:lnTo>
                    <a:pt x="580" y="214"/>
                  </a:lnTo>
                  <a:lnTo>
                    <a:pt x="563" y="167"/>
                  </a:lnTo>
                  <a:lnTo>
                    <a:pt x="540" y="119"/>
                  </a:lnTo>
                  <a:lnTo>
                    <a:pt x="500" y="79"/>
                  </a:lnTo>
                  <a:lnTo>
                    <a:pt x="461" y="48"/>
                  </a:lnTo>
                  <a:lnTo>
                    <a:pt x="413" y="16"/>
                  </a:lnTo>
                  <a:lnTo>
                    <a:pt x="357" y="0"/>
                  </a:lnTo>
                  <a:lnTo>
                    <a:pt x="293" y="0"/>
                  </a:lnTo>
                  <a:close/>
                  <a:moveTo>
                    <a:pt x="468" y="524"/>
                  </a:moveTo>
                  <a:lnTo>
                    <a:pt x="468" y="524"/>
                  </a:lnTo>
                  <a:lnTo>
                    <a:pt x="468" y="556"/>
                  </a:lnTo>
                  <a:lnTo>
                    <a:pt x="461" y="588"/>
                  </a:lnTo>
                  <a:lnTo>
                    <a:pt x="445" y="619"/>
                  </a:lnTo>
                  <a:lnTo>
                    <a:pt x="420" y="643"/>
                  </a:lnTo>
                  <a:lnTo>
                    <a:pt x="397" y="667"/>
                  </a:lnTo>
                  <a:lnTo>
                    <a:pt x="365" y="683"/>
                  </a:lnTo>
                  <a:lnTo>
                    <a:pt x="333" y="691"/>
                  </a:lnTo>
                  <a:lnTo>
                    <a:pt x="293" y="698"/>
                  </a:lnTo>
                  <a:lnTo>
                    <a:pt x="293" y="698"/>
                  </a:lnTo>
                  <a:lnTo>
                    <a:pt x="262" y="691"/>
                  </a:lnTo>
                  <a:lnTo>
                    <a:pt x="222" y="683"/>
                  </a:lnTo>
                  <a:lnTo>
                    <a:pt x="198" y="667"/>
                  </a:lnTo>
                  <a:lnTo>
                    <a:pt x="167" y="643"/>
                  </a:lnTo>
                  <a:lnTo>
                    <a:pt x="150" y="619"/>
                  </a:lnTo>
                  <a:lnTo>
                    <a:pt x="135" y="588"/>
                  </a:lnTo>
                  <a:lnTo>
                    <a:pt x="119" y="556"/>
                  </a:lnTo>
                  <a:lnTo>
                    <a:pt x="119" y="524"/>
                  </a:lnTo>
                  <a:lnTo>
                    <a:pt x="119" y="270"/>
                  </a:lnTo>
                  <a:lnTo>
                    <a:pt x="119" y="270"/>
                  </a:lnTo>
                  <a:lnTo>
                    <a:pt x="119" y="239"/>
                  </a:lnTo>
                  <a:lnTo>
                    <a:pt x="135" y="214"/>
                  </a:lnTo>
                  <a:lnTo>
                    <a:pt x="150" y="183"/>
                  </a:lnTo>
                  <a:lnTo>
                    <a:pt x="175" y="158"/>
                  </a:lnTo>
                  <a:lnTo>
                    <a:pt x="198" y="143"/>
                  </a:lnTo>
                  <a:lnTo>
                    <a:pt x="230" y="127"/>
                  </a:lnTo>
                  <a:lnTo>
                    <a:pt x="262" y="119"/>
                  </a:lnTo>
                  <a:lnTo>
                    <a:pt x="293" y="112"/>
                  </a:lnTo>
                  <a:lnTo>
                    <a:pt x="293" y="112"/>
                  </a:lnTo>
                  <a:lnTo>
                    <a:pt x="333" y="119"/>
                  </a:lnTo>
                  <a:lnTo>
                    <a:pt x="365" y="127"/>
                  </a:lnTo>
                  <a:lnTo>
                    <a:pt x="389" y="143"/>
                  </a:lnTo>
                  <a:lnTo>
                    <a:pt x="420" y="158"/>
                  </a:lnTo>
                  <a:lnTo>
                    <a:pt x="437" y="183"/>
                  </a:lnTo>
                  <a:lnTo>
                    <a:pt x="461" y="214"/>
                  </a:lnTo>
                  <a:lnTo>
                    <a:pt x="468" y="239"/>
                  </a:lnTo>
                  <a:lnTo>
                    <a:pt x="468" y="270"/>
                  </a:lnTo>
                  <a:lnTo>
                    <a:pt x="468"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Freeform 6"/>
            <p:cNvSpPr>
              <a:spLocks noChangeArrowheads="1"/>
            </p:cNvSpPr>
            <p:nvPr/>
          </p:nvSpPr>
          <p:spPr bwMode="auto">
            <a:xfrm>
              <a:off x="8863438" y="3119281"/>
              <a:ext cx="32436" cy="44812"/>
            </a:xfrm>
            <a:custGeom>
              <a:avLst/>
              <a:gdLst>
                <a:gd name="T0" fmla="*/ 278 w 572"/>
                <a:gd name="T1" fmla="*/ 0 h 819"/>
                <a:gd name="T2" fmla="*/ 174 w 572"/>
                <a:gd name="T3" fmla="*/ 16 h 819"/>
                <a:gd name="T4" fmla="*/ 87 w 572"/>
                <a:gd name="T5" fmla="*/ 79 h 819"/>
                <a:gd name="T6" fmla="*/ 23 w 572"/>
                <a:gd name="T7" fmla="*/ 167 h 819"/>
                <a:gd name="T8" fmla="*/ 0 w 572"/>
                <a:gd name="T9" fmla="*/ 270 h 819"/>
                <a:gd name="T10" fmla="*/ 0 w 572"/>
                <a:gd name="T11" fmla="*/ 524 h 819"/>
                <a:gd name="T12" fmla="*/ 23 w 572"/>
                <a:gd name="T13" fmla="*/ 635 h 819"/>
                <a:gd name="T14" fmla="*/ 87 w 572"/>
                <a:gd name="T15" fmla="*/ 731 h 819"/>
                <a:gd name="T16" fmla="*/ 174 w 572"/>
                <a:gd name="T17" fmla="*/ 794 h 819"/>
                <a:gd name="T18" fmla="*/ 278 w 572"/>
                <a:gd name="T19" fmla="*/ 818 h 819"/>
                <a:gd name="T20" fmla="*/ 341 w 572"/>
                <a:gd name="T21" fmla="*/ 810 h 819"/>
                <a:gd name="T22" fmla="*/ 444 w 572"/>
                <a:gd name="T23" fmla="*/ 762 h 819"/>
                <a:gd name="T24" fmla="*/ 524 w 572"/>
                <a:gd name="T25" fmla="*/ 683 h 819"/>
                <a:gd name="T26" fmla="*/ 571 w 572"/>
                <a:gd name="T27" fmla="*/ 588 h 819"/>
                <a:gd name="T28" fmla="*/ 571 w 572"/>
                <a:gd name="T29" fmla="*/ 270 h 819"/>
                <a:gd name="T30" fmla="*/ 571 w 572"/>
                <a:gd name="T31" fmla="*/ 214 h 819"/>
                <a:gd name="T32" fmla="*/ 524 w 572"/>
                <a:gd name="T33" fmla="*/ 119 h 819"/>
                <a:gd name="T34" fmla="*/ 444 w 572"/>
                <a:gd name="T35" fmla="*/ 48 h 819"/>
                <a:gd name="T36" fmla="*/ 341 w 572"/>
                <a:gd name="T37" fmla="*/ 0 h 819"/>
                <a:gd name="T38" fmla="*/ 461 w 572"/>
                <a:gd name="T39" fmla="*/ 524 h 819"/>
                <a:gd name="T40" fmla="*/ 453 w 572"/>
                <a:gd name="T41" fmla="*/ 556 h 819"/>
                <a:gd name="T42" fmla="*/ 428 w 572"/>
                <a:gd name="T43" fmla="*/ 619 h 819"/>
                <a:gd name="T44" fmla="*/ 381 w 572"/>
                <a:gd name="T45" fmla="*/ 667 h 819"/>
                <a:gd name="T46" fmla="*/ 318 w 572"/>
                <a:gd name="T47" fmla="*/ 691 h 819"/>
                <a:gd name="T48" fmla="*/ 278 w 572"/>
                <a:gd name="T49" fmla="*/ 698 h 819"/>
                <a:gd name="T50" fmla="*/ 222 w 572"/>
                <a:gd name="T51" fmla="*/ 683 h 819"/>
                <a:gd name="T52" fmla="*/ 166 w 572"/>
                <a:gd name="T53" fmla="*/ 643 h 819"/>
                <a:gd name="T54" fmla="*/ 135 w 572"/>
                <a:gd name="T55" fmla="*/ 588 h 819"/>
                <a:gd name="T56" fmla="*/ 119 w 572"/>
                <a:gd name="T57" fmla="*/ 524 h 819"/>
                <a:gd name="T58" fmla="*/ 119 w 572"/>
                <a:gd name="T59" fmla="*/ 270 h 819"/>
                <a:gd name="T60" fmla="*/ 135 w 572"/>
                <a:gd name="T61" fmla="*/ 214 h 819"/>
                <a:gd name="T62" fmla="*/ 166 w 572"/>
                <a:gd name="T63" fmla="*/ 158 h 819"/>
                <a:gd name="T64" fmla="*/ 222 w 572"/>
                <a:gd name="T65" fmla="*/ 127 h 819"/>
                <a:gd name="T66" fmla="*/ 278 w 572"/>
                <a:gd name="T67" fmla="*/ 112 h 819"/>
                <a:gd name="T68" fmla="*/ 318 w 572"/>
                <a:gd name="T69" fmla="*/ 119 h 819"/>
                <a:gd name="T70" fmla="*/ 381 w 572"/>
                <a:gd name="T71" fmla="*/ 143 h 819"/>
                <a:gd name="T72" fmla="*/ 428 w 572"/>
                <a:gd name="T73" fmla="*/ 183 h 819"/>
                <a:gd name="T74" fmla="*/ 453 w 572"/>
                <a:gd name="T75" fmla="*/ 239 h 819"/>
                <a:gd name="T76" fmla="*/ 461 w 572"/>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2" h="819">
                  <a:moveTo>
                    <a:pt x="278" y="0"/>
                  </a:moveTo>
                  <a:lnTo>
                    <a:pt x="278" y="0"/>
                  </a:lnTo>
                  <a:lnTo>
                    <a:pt x="230" y="0"/>
                  </a:lnTo>
                  <a:lnTo>
                    <a:pt x="174" y="16"/>
                  </a:lnTo>
                  <a:lnTo>
                    <a:pt x="127" y="48"/>
                  </a:lnTo>
                  <a:lnTo>
                    <a:pt x="87" y="79"/>
                  </a:lnTo>
                  <a:lnTo>
                    <a:pt x="56" y="119"/>
                  </a:lnTo>
                  <a:lnTo>
                    <a:pt x="23" y="167"/>
                  </a:lnTo>
                  <a:lnTo>
                    <a:pt x="8" y="214"/>
                  </a:lnTo>
                  <a:lnTo>
                    <a:pt x="0" y="270"/>
                  </a:lnTo>
                  <a:lnTo>
                    <a:pt x="0" y="524"/>
                  </a:lnTo>
                  <a:lnTo>
                    <a:pt x="0" y="524"/>
                  </a:lnTo>
                  <a:lnTo>
                    <a:pt x="8" y="580"/>
                  </a:lnTo>
                  <a:lnTo>
                    <a:pt x="23" y="635"/>
                  </a:lnTo>
                  <a:lnTo>
                    <a:pt x="56" y="683"/>
                  </a:lnTo>
                  <a:lnTo>
                    <a:pt x="87" y="731"/>
                  </a:lnTo>
                  <a:lnTo>
                    <a:pt x="127" y="762"/>
                  </a:lnTo>
                  <a:lnTo>
                    <a:pt x="174" y="794"/>
                  </a:lnTo>
                  <a:lnTo>
                    <a:pt x="230" y="810"/>
                  </a:lnTo>
                  <a:lnTo>
                    <a:pt x="278" y="818"/>
                  </a:lnTo>
                  <a:lnTo>
                    <a:pt x="278" y="818"/>
                  </a:lnTo>
                  <a:lnTo>
                    <a:pt x="341" y="810"/>
                  </a:lnTo>
                  <a:lnTo>
                    <a:pt x="397" y="794"/>
                  </a:lnTo>
                  <a:lnTo>
                    <a:pt x="444" y="762"/>
                  </a:lnTo>
                  <a:lnTo>
                    <a:pt x="484" y="731"/>
                  </a:lnTo>
                  <a:lnTo>
                    <a:pt x="524" y="683"/>
                  </a:lnTo>
                  <a:lnTo>
                    <a:pt x="548" y="635"/>
                  </a:lnTo>
                  <a:lnTo>
                    <a:pt x="571" y="588"/>
                  </a:lnTo>
                  <a:lnTo>
                    <a:pt x="571" y="524"/>
                  </a:lnTo>
                  <a:lnTo>
                    <a:pt x="571" y="270"/>
                  </a:lnTo>
                  <a:lnTo>
                    <a:pt x="571" y="270"/>
                  </a:lnTo>
                  <a:lnTo>
                    <a:pt x="571" y="214"/>
                  </a:lnTo>
                  <a:lnTo>
                    <a:pt x="555" y="167"/>
                  </a:lnTo>
                  <a:lnTo>
                    <a:pt x="524" y="119"/>
                  </a:lnTo>
                  <a:lnTo>
                    <a:pt x="492" y="79"/>
                  </a:lnTo>
                  <a:lnTo>
                    <a:pt x="444" y="48"/>
                  </a:lnTo>
                  <a:lnTo>
                    <a:pt x="397" y="16"/>
                  </a:lnTo>
                  <a:lnTo>
                    <a:pt x="341" y="0"/>
                  </a:lnTo>
                  <a:lnTo>
                    <a:pt x="278" y="0"/>
                  </a:lnTo>
                  <a:close/>
                  <a:moveTo>
                    <a:pt x="461" y="524"/>
                  </a:moveTo>
                  <a:lnTo>
                    <a:pt x="461" y="524"/>
                  </a:lnTo>
                  <a:lnTo>
                    <a:pt x="453" y="556"/>
                  </a:lnTo>
                  <a:lnTo>
                    <a:pt x="444" y="588"/>
                  </a:lnTo>
                  <a:lnTo>
                    <a:pt x="428" y="619"/>
                  </a:lnTo>
                  <a:lnTo>
                    <a:pt x="405" y="643"/>
                  </a:lnTo>
                  <a:lnTo>
                    <a:pt x="381" y="667"/>
                  </a:lnTo>
                  <a:lnTo>
                    <a:pt x="349" y="683"/>
                  </a:lnTo>
                  <a:lnTo>
                    <a:pt x="318" y="691"/>
                  </a:lnTo>
                  <a:lnTo>
                    <a:pt x="278" y="698"/>
                  </a:lnTo>
                  <a:lnTo>
                    <a:pt x="278" y="698"/>
                  </a:lnTo>
                  <a:lnTo>
                    <a:pt x="254" y="691"/>
                  </a:lnTo>
                  <a:lnTo>
                    <a:pt x="222" y="683"/>
                  </a:lnTo>
                  <a:lnTo>
                    <a:pt x="198" y="667"/>
                  </a:lnTo>
                  <a:lnTo>
                    <a:pt x="166" y="643"/>
                  </a:lnTo>
                  <a:lnTo>
                    <a:pt x="150" y="619"/>
                  </a:lnTo>
                  <a:lnTo>
                    <a:pt x="135" y="588"/>
                  </a:lnTo>
                  <a:lnTo>
                    <a:pt x="127" y="556"/>
                  </a:lnTo>
                  <a:lnTo>
                    <a:pt x="119" y="524"/>
                  </a:lnTo>
                  <a:lnTo>
                    <a:pt x="119" y="270"/>
                  </a:lnTo>
                  <a:lnTo>
                    <a:pt x="119" y="270"/>
                  </a:lnTo>
                  <a:lnTo>
                    <a:pt x="127" y="239"/>
                  </a:lnTo>
                  <a:lnTo>
                    <a:pt x="135" y="214"/>
                  </a:lnTo>
                  <a:lnTo>
                    <a:pt x="150" y="183"/>
                  </a:lnTo>
                  <a:lnTo>
                    <a:pt x="166" y="158"/>
                  </a:lnTo>
                  <a:lnTo>
                    <a:pt x="191" y="143"/>
                  </a:lnTo>
                  <a:lnTo>
                    <a:pt x="222" y="127"/>
                  </a:lnTo>
                  <a:lnTo>
                    <a:pt x="254" y="119"/>
                  </a:lnTo>
                  <a:lnTo>
                    <a:pt x="278" y="112"/>
                  </a:lnTo>
                  <a:lnTo>
                    <a:pt x="278" y="112"/>
                  </a:lnTo>
                  <a:lnTo>
                    <a:pt x="318" y="119"/>
                  </a:lnTo>
                  <a:lnTo>
                    <a:pt x="349" y="127"/>
                  </a:lnTo>
                  <a:lnTo>
                    <a:pt x="381" y="143"/>
                  </a:lnTo>
                  <a:lnTo>
                    <a:pt x="405" y="158"/>
                  </a:lnTo>
                  <a:lnTo>
                    <a:pt x="428" y="183"/>
                  </a:lnTo>
                  <a:lnTo>
                    <a:pt x="444" y="214"/>
                  </a:lnTo>
                  <a:lnTo>
                    <a:pt x="453" y="239"/>
                  </a:lnTo>
                  <a:lnTo>
                    <a:pt x="461" y="270"/>
                  </a:lnTo>
                  <a:lnTo>
                    <a:pt x="461"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3" name="Freeform 7"/>
            <p:cNvSpPr>
              <a:spLocks noChangeArrowheads="1"/>
            </p:cNvSpPr>
            <p:nvPr/>
          </p:nvSpPr>
          <p:spPr bwMode="auto">
            <a:xfrm>
              <a:off x="8682045" y="3122413"/>
              <a:ext cx="6737" cy="37344"/>
            </a:xfrm>
            <a:custGeom>
              <a:avLst/>
              <a:gdLst>
                <a:gd name="T0" fmla="*/ 119 w 120"/>
                <a:gd name="T1" fmla="*/ 0 h 684"/>
                <a:gd name="T2" fmla="*/ 0 w 120"/>
                <a:gd name="T3" fmla="*/ 0 h 684"/>
                <a:gd name="T4" fmla="*/ 0 w 120"/>
                <a:gd name="T5" fmla="*/ 683 h 684"/>
                <a:gd name="T6" fmla="*/ 119 w 120"/>
                <a:gd name="T7" fmla="*/ 683 h 684"/>
                <a:gd name="T8" fmla="*/ 119 w 120"/>
                <a:gd name="T9" fmla="*/ 0 h 684"/>
              </a:gdLst>
              <a:ahLst/>
              <a:cxnLst>
                <a:cxn ang="0">
                  <a:pos x="T0" y="T1"/>
                </a:cxn>
                <a:cxn ang="0">
                  <a:pos x="T2" y="T3"/>
                </a:cxn>
                <a:cxn ang="0">
                  <a:pos x="T4" y="T5"/>
                </a:cxn>
                <a:cxn ang="0">
                  <a:pos x="T6" y="T7"/>
                </a:cxn>
                <a:cxn ang="0">
                  <a:pos x="T8" y="T9"/>
                </a:cxn>
              </a:cxnLst>
              <a:rect l="0" t="0" r="r" b="b"/>
              <a:pathLst>
                <a:path w="120" h="684">
                  <a:moveTo>
                    <a:pt x="119" y="0"/>
                  </a:moveTo>
                  <a:lnTo>
                    <a:pt x="0" y="0"/>
                  </a:lnTo>
                  <a:lnTo>
                    <a:pt x="0" y="683"/>
                  </a:lnTo>
                  <a:lnTo>
                    <a:pt x="119" y="683"/>
                  </a:lnTo>
                  <a:lnTo>
                    <a:pt x="11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4" name="Freeform 8"/>
            <p:cNvSpPr>
              <a:spLocks noChangeArrowheads="1"/>
            </p:cNvSpPr>
            <p:nvPr/>
          </p:nvSpPr>
          <p:spPr bwMode="auto">
            <a:xfrm>
              <a:off x="8631145" y="3119281"/>
              <a:ext cx="32935" cy="44812"/>
            </a:xfrm>
            <a:custGeom>
              <a:avLst/>
              <a:gdLst>
                <a:gd name="T0" fmla="*/ 286 w 580"/>
                <a:gd name="T1" fmla="*/ 818 h 819"/>
                <a:gd name="T2" fmla="*/ 396 w 580"/>
                <a:gd name="T3" fmla="*/ 794 h 819"/>
                <a:gd name="T4" fmla="*/ 484 w 580"/>
                <a:gd name="T5" fmla="*/ 731 h 819"/>
                <a:gd name="T6" fmla="*/ 556 w 580"/>
                <a:gd name="T7" fmla="*/ 635 h 819"/>
                <a:gd name="T8" fmla="*/ 579 w 580"/>
                <a:gd name="T9" fmla="*/ 524 h 819"/>
                <a:gd name="T10" fmla="*/ 579 w 580"/>
                <a:gd name="T11" fmla="*/ 270 h 819"/>
                <a:gd name="T12" fmla="*/ 556 w 580"/>
                <a:gd name="T13" fmla="*/ 167 h 819"/>
                <a:gd name="T14" fmla="*/ 492 w 580"/>
                <a:gd name="T15" fmla="*/ 79 h 819"/>
                <a:gd name="T16" fmla="*/ 396 w 580"/>
                <a:gd name="T17" fmla="*/ 16 h 819"/>
                <a:gd name="T18" fmla="*/ 286 w 580"/>
                <a:gd name="T19" fmla="*/ 0 h 819"/>
                <a:gd name="T20" fmla="*/ 230 w 580"/>
                <a:gd name="T21" fmla="*/ 0 h 819"/>
                <a:gd name="T22" fmla="*/ 126 w 580"/>
                <a:gd name="T23" fmla="*/ 48 h 819"/>
                <a:gd name="T24" fmla="*/ 55 w 580"/>
                <a:gd name="T25" fmla="*/ 119 h 819"/>
                <a:gd name="T26" fmla="*/ 8 w 580"/>
                <a:gd name="T27" fmla="*/ 214 h 819"/>
                <a:gd name="T28" fmla="*/ 0 w 580"/>
                <a:gd name="T29" fmla="*/ 524 h 819"/>
                <a:gd name="T30" fmla="*/ 8 w 580"/>
                <a:gd name="T31" fmla="*/ 580 h 819"/>
                <a:gd name="T32" fmla="*/ 55 w 580"/>
                <a:gd name="T33" fmla="*/ 683 h 819"/>
                <a:gd name="T34" fmla="*/ 126 w 580"/>
                <a:gd name="T35" fmla="*/ 762 h 819"/>
                <a:gd name="T36" fmla="*/ 230 w 580"/>
                <a:gd name="T37" fmla="*/ 810 h 819"/>
                <a:gd name="T38" fmla="*/ 118 w 580"/>
                <a:gd name="T39" fmla="*/ 270 h 819"/>
                <a:gd name="T40" fmla="*/ 126 w 580"/>
                <a:gd name="T41" fmla="*/ 239 h 819"/>
                <a:gd name="T42" fmla="*/ 151 w 580"/>
                <a:gd name="T43" fmla="*/ 183 h 819"/>
                <a:gd name="T44" fmla="*/ 190 w 580"/>
                <a:gd name="T45" fmla="*/ 143 h 819"/>
                <a:gd name="T46" fmla="*/ 253 w 580"/>
                <a:gd name="T47" fmla="*/ 119 h 819"/>
                <a:gd name="T48" fmla="*/ 286 w 580"/>
                <a:gd name="T49" fmla="*/ 112 h 819"/>
                <a:gd name="T50" fmla="*/ 349 w 580"/>
                <a:gd name="T51" fmla="*/ 127 h 819"/>
                <a:gd name="T52" fmla="*/ 405 w 580"/>
                <a:gd name="T53" fmla="*/ 158 h 819"/>
                <a:gd name="T54" fmla="*/ 444 w 580"/>
                <a:gd name="T55" fmla="*/ 214 h 819"/>
                <a:gd name="T56" fmla="*/ 460 w 580"/>
                <a:gd name="T57" fmla="*/ 270 h 819"/>
                <a:gd name="T58" fmla="*/ 460 w 580"/>
                <a:gd name="T59" fmla="*/ 524 h 819"/>
                <a:gd name="T60" fmla="*/ 444 w 580"/>
                <a:gd name="T61" fmla="*/ 588 h 819"/>
                <a:gd name="T62" fmla="*/ 405 w 580"/>
                <a:gd name="T63" fmla="*/ 643 h 819"/>
                <a:gd name="T64" fmla="*/ 349 w 580"/>
                <a:gd name="T65" fmla="*/ 683 h 819"/>
                <a:gd name="T66" fmla="*/ 286 w 580"/>
                <a:gd name="T67" fmla="*/ 698 h 819"/>
                <a:gd name="T68" fmla="*/ 253 w 580"/>
                <a:gd name="T69" fmla="*/ 691 h 819"/>
                <a:gd name="T70" fmla="*/ 198 w 580"/>
                <a:gd name="T71" fmla="*/ 667 h 819"/>
                <a:gd name="T72" fmla="*/ 151 w 580"/>
                <a:gd name="T73" fmla="*/ 619 h 819"/>
                <a:gd name="T74" fmla="*/ 126 w 580"/>
                <a:gd name="T75" fmla="*/ 556 h 819"/>
                <a:gd name="T76" fmla="*/ 118 w 580"/>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0" h="819">
                  <a:moveTo>
                    <a:pt x="286" y="818"/>
                  </a:moveTo>
                  <a:lnTo>
                    <a:pt x="286" y="818"/>
                  </a:lnTo>
                  <a:lnTo>
                    <a:pt x="342" y="810"/>
                  </a:lnTo>
                  <a:lnTo>
                    <a:pt x="396" y="794"/>
                  </a:lnTo>
                  <a:lnTo>
                    <a:pt x="444" y="762"/>
                  </a:lnTo>
                  <a:lnTo>
                    <a:pt x="484" y="731"/>
                  </a:lnTo>
                  <a:lnTo>
                    <a:pt x="523" y="683"/>
                  </a:lnTo>
                  <a:lnTo>
                    <a:pt x="556" y="635"/>
                  </a:lnTo>
                  <a:lnTo>
                    <a:pt x="571" y="588"/>
                  </a:lnTo>
                  <a:lnTo>
                    <a:pt x="579" y="524"/>
                  </a:lnTo>
                  <a:lnTo>
                    <a:pt x="579" y="270"/>
                  </a:lnTo>
                  <a:lnTo>
                    <a:pt x="579" y="270"/>
                  </a:lnTo>
                  <a:lnTo>
                    <a:pt x="571" y="214"/>
                  </a:lnTo>
                  <a:lnTo>
                    <a:pt x="556" y="167"/>
                  </a:lnTo>
                  <a:lnTo>
                    <a:pt x="523" y="119"/>
                  </a:lnTo>
                  <a:lnTo>
                    <a:pt x="492" y="79"/>
                  </a:lnTo>
                  <a:lnTo>
                    <a:pt x="444" y="48"/>
                  </a:lnTo>
                  <a:lnTo>
                    <a:pt x="396" y="16"/>
                  </a:lnTo>
                  <a:lnTo>
                    <a:pt x="342" y="0"/>
                  </a:lnTo>
                  <a:lnTo>
                    <a:pt x="286" y="0"/>
                  </a:lnTo>
                  <a:lnTo>
                    <a:pt x="286" y="0"/>
                  </a:lnTo>
                  <a:lnTo>
                    <a:pt x="230" y="0"/>
                  </a:lnTo>
                  <a:lnTo>
                    <a:pt x="174" y="16"/>
                  </a:lnTo>
                  <a:lnTo>
                    <a:pt x="126" y="48"/>
                  </a:lnTo>
                  <a:lnTo>
                    <a:pt x="87" y="79"/>
                  </a:lnTo>
                  <a:lnTo>
                    <a:pt x="55" y="119"/>
                  </a:lnTo>
                  <a:lnTo>
                    <a:pt x="24" y="167"/>
                  </a:lnTo>
                  <a:lnTo>
                    <a:pt x="8" y="214"/>
                  </a:lnTo>
                  <a:lnTo>
                    <a:pt x="0" y="270"/>
                  </a:lnTo>
                  <a:lnTo>
                    <a:pt x="0" y="524"/>
                  </a:lnTo>
                  <a:lnTo>
                    <a:pt x="0" y="524"/>
                  </a:lnTo>
                  <a:lnTo>
                    <a:pt x="8" y="580"/>
                  </a:lnTo>
                  <a:lnTo>
                    <a:pt x="24" y="635"/>
                  </a:lnTo>
                  <a:lnTo>
                    <a:pt x="55" y="683"/>
                  </a:lnTo>
                  <a:lnTo>
                    <a:pt x="87" y="731"/>
                  </a:lnTo>
                  <a:lnTo>
                    <a:pt x="126" y="762"/>
                  </a:lnTo>
                  <a:lnTo>
                    <a:pt x="174" y="794"/>
                  </a:lnTo>
                  <a:lnTo>
                    <a:pt x="230" y="810"/>
                  </a:lnTo>
                  <a:lnTo>
                    <a:pt x="286" y="818"/>
                  </a:lnTo>
                  <a:close/>
                  <a:moveTo>
                    <a:pt x="118" y="270"/>
                  </a:moveTo>
                  <a:lnTo>
                    <a:pt x="118" y="270"/>
                  </a:lnTo>
                  <a:lnTo>
                    <a:pt x="126" y="239"/>
                  </a:lnTo>
                  <a:lnTo>
                    <a:pt x="135" y="214"/>
                  </a:lnTo>
                  <a:lnTo>
                    <a:pt x="151" y="183"/>
                  </a:lnTo>
                  <a:lnTo>
                    <a:pt x="166" y="158"/>
                  </a:lnTo>
                  <a:lnTo>
                    <a:pt x="190" y="143"/>
                  </a:lnTo>
                  <a:lnTo>
                    <a:pt x="222" y="127"/>
                  </a:lnTo>
                  <a:lnTo>
                    <a:pt x="253" y="119"/>
                  </a:lnTo>
                  <a:lnTo>
                    <a:pt x="286" y="112"/>
                  </a:lnTo>
                  <a:lnTo>
                    <a:pt x="286" y="112"/>
                  </a:lnTo>
                  <a:lnTo>
                    <a:pt x="317" y="119"/>
                  </a:lnTo>
                  <a:lnTo>
                    <a:pt x="349" y="127"/>
                  </a:lnTo>
                  <a:lnTo>
                    <a:pt x="381" y="143"/>
                  </a:lnTo>
                  <a:lnTo>
                    <a:pt x="405" y="158"/>
                  </a:lnTo>
                  <a:lnTo>
                    <a:pt x="429" y="183"/>
                  </a:lnTo>
                  <a:lnTo>
                    <a:pt x="444" y="214"/>
                  </a:lnTo>
                  <a:lnTo>
                    <a:pt x="452" y="239"/>
                  </a:lnTo>
                  <a:lnTo>
                    <a:pt x="460" y="270"/>
                  </a:lnTo>
                  <a:lnTo>
                    <a:pt x="460" y="524"/>
                  </a:lnTo>
                  <a:lnTo>
                    <a:pt x="460" y="524"/>
                  </a:lnTo>
                  <a:lnTo>
                    <a:pt x="452" y="556"/>
                  </a:lnTo>
                  <a:lnTo>
                    <a:pt x="444" y="588"/>
                  </a:lnTo>
                  <a:lnTo>
                    <a:pt x="429" y="619"/>
                  </a:lnTo>
                  <a:lnTo>
                    <a:pt x="405" y="643"/>
                  </a:lnTo>
                  <a:lnTo>
                    <a:pt x="381" y="667"/>
                  </a:lnTo>
                  <a:lnTo>
                    <a:pt x="349" y="683"/>
                  </a:lnTo>
                  <a:lnTo>
                    <a:pt x="317" y="691"/>
                  </a:lnTo>
                  <a:lnTo>
                    <a:pt x="286" y="698"/>
                  </a:lnTo>
                  <a:lnTo>
                    <a:pt x="286" y="698"/>
                  </a:lnTo>
                  <a:lnTo>
                    <a:pt x="253" y="691"/>
                  </a:lnTo>
                  <a:lnTo>
                    <a:pt x="222" y="683"/>
                  </a:lnTo>
                  <a:lnTo>
                    <a:pt x="198" y="667"/>
                  </a:lnTo>
                  <a:lnTo>
                    <a:pt x="174" y="643"/>
                  </a:lnTo>
                  <a:lnTo>
                    <a:pt x="151" y="619"/>
                  </a:lnTo>
                  <a:lnTo>
                    <a:pt x="135" y="588"/>
                  </a:lnTo>
                  <a:lnTo>
                    <a:pt x="126" y="556"/>
                  </a:lnTo>
                  <a:lnTo>
                    <a:pt x="118" y="524"/>
                  </a:lnTo>
                  <a:lnTo>
                    <a:pt x="118"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 name="Group 1"/>
          <p:cNvGrpSpPr/>
          <p:nvPr/>
        </p:nvGrpSpPr>
        <p:grpSpPr>
          <a:xfrm>
            <a:off x="3409871" y="2569901"/>
            <a:ext cx="870138" cy="838132"/>
            <a:chOff x="3277485" y="2324231"/>
            <a:chExt cx="529696" cy="510212"/>
          </a:xfrm>
          <a:solidFill>
            <a:srgbClr val="001F54"/>
          </a:solidFill>
        </p:grpSpPr>
        <p:sp>
          <p:nvSpPr>
            <p:cNvPr id="120" name="Freeform 67"/>
            <p:cNvSpPr>
              <a:spLocks noChangeArrowheads="1"/>
            </p:cNvSpPr>
            <p:nvPr/>
          </p:nvSpPr>
          <p:spPr bwMode="auto">
            <a:xfrm>
              <a:off x="3380075" y="2399423"/>
              <a:ext cx="128467" cy="25267"/>
            </a:xfrm>
            <a:custGeom>
              <a:avLst/>
              <a:gdLst>
                <a:gd name="T0" fmla="*/ 0 w 1859"/>
                <a:gd name="T1" fmla="*/ 365 h 366"/>
                <a:gd name="T2" fmla="*/ 0 w 1859"/>
                <a:gd name="T3" fmla="*/ 365 h 366"/>
                <a:gd name="T4" fmla="*/ 1858 w 1859"/>
                <a:gd name="T5" fmla="*/ 365 h 366"/>
                <a:gd name="T6" fmla="*/ 1858 w 1859"/>
                <a:gd name="T7" fmla="*/ 0 h 366"/>
                <a:gd name="T8" fmla="*/ 1858 w 1859"/>
                <a:gd name="T9" fmla="*/ 0 h 366"/>
                <a:gd name="T10" fmla="*/ 0 w 1859"/>
                <a:gd name="T11" fmla="*/ 0 h 366"/>
                <a:gd name="T12" fmla="*/ 0 w 1859"/>
                <a:gd name="T13" fmla="*/ 0 h 366"/>
                <a:gd name="T14" fmla="*/ 0 w 1859"/>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6">
                  <a:moveTo>
                    <a:pt x="0" y="365"/>
                  </a:moveTo>
                  <a:lnTo>
                    <a:pt x="0" y="365"/>
                  </a:lnTo>
                  <a:lnTo>
                    <a:pt x="1858" y="365"/>
                  </a:lnTo>
                  <a:lnTo>
                    <a:pt x="1858" y="0"/>
                  </a:lnTo>
                  <a:lnTo>
                    <a:pt x="1858"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1" name="Freeform 68"/>
            <p:cNvSpPr>
              <a:spLocks noChangeArrowheads="1"/>
            </p:cNvSpPr>
            <p:nvPr/>
          </p:nvSpPr>
          <p:spPr bwMode="auto">
            <a:xfrm>
              <a:off x="3380075" y="2474311"/>
              <a:ext cx="128467" cy="25267"/>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2" name="Freeform 69"/>
            <p:cNvSpPr>
              <a:spLocks noChangeArrowheads="1"/>
            </p:cNvSpPr>
            <p:nvPr/>
          </p:nvSpPr>
          <p:spPr bwMode="auto">
            <a:xfrm>
              <a:off x="3329237" y="2549504"/>
              <a:ext cx="25267" cy="25267"/>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3" name="Freeform 70"/>
            <p:cNvSpPr>
              <a:spLocks noChangeArrowheads="1"/>
            </p:cNvSpPr>
            <p:nvPr/>
          </p:nvSpPr>
          <p:spPr bwMode="auto">
            <a:xfrm>
              <a:off x="3380075" y="2549504"/>
              <a:ext cx="128467" cy="25267"/>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4" name="Freeform 71"/>
            <p:cNvSpPr>
              <a:spLocks noChangeArrowheads="1"/>
            </p:cNvSpPr>
            <p:nvPr/>
          </p:nvSpPr>
          <p:spPr bwMode="auto">
            <a:xfrm>
              <a:off x="3329237" y="2474311"/>
              <a:ext cx="25267" cy="25267"/>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5" name="Freeform 72"/>
            <p:cNvSpPr>
              <a:spLocks noChangeArrowheads="1"/>
            </p:cNvSpPr>
            <p:nvPr/>
          </p:nvSpPr>
          <p:spPr bwMode="auto">
            <a:xfrm>
              <a:off x="3329237" y="2399423"/>
              <a:ext cx="25267" cy="25267"/>
            </a:xfrm>
            <a:custGeom>
              <a:avLst/>
              <a:gdLst>
                <a:gd name="T0" fmla="*/ 0 w 366"/>
                <a:gd name="T1" fmla="*/ 365 h 366"/>
                <a:gd name="T2" fmla="*/ 0 w 366"/>
                <a:gd name="T3" fmla="*/ 365 h 366"/>
                <a:gd name="T4" fmla="*/ 365 w 366"/>
                <a:gd name="T5" fmla="*/ 365 h 366"/>
                <a:gd name="T6" fmla="*/ 365 w 366"/>
                <a:gd name="T7" fmla="*/ 0 h 366"/>
                <a:gd name="T8" fmla="*/ 365 w 366"/>
                <a:gd name="T9" fmla="*/ 0 h 366"/>
                <a:gd name="T10" fmla="*/ 0 w 366"/>
                <a:gd name="T11" fmla="*/ 0 h 366"/>
                <a:gd name="T12" fmla="*/ 0 w 366"/>
                <a:gd name="T13" fmla="*/ 0 h 366"/>
                <a:gd name="T14" fmla="*/ 0 w 366"/>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6">
                  <a:moveTo>
                    <a:pt x="0" y="365"/>
                  </a:moveTo>
                  <a:lnTo>
                    <a:pt x="0" y="365"/>
                  </a:lnTo>
                  <a:lnTo>
                    <a:pt x="365" y="365"/>
                  </a:lnTo>
                  <a:lnTo>
                    <a:pt x="365" y="0"/>
                  </a:lnTo>
                  <a:lnTo>
                    <a:pt x="365"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6" name="Freeform 73"/>
            <p:cNvSpPr>
              <a:spLocks noChangeArrowheads="1"/>
            </p:cNvSpPr>
            <p:nvPr/>
          </p:nvSpPr>
          <p:spPr bwMode="auto">
            <a:xfrm>
              <a:off x="3277485" y="2324231"/>
              <a:ext cx="529696" cy="510212"/>
            </a:xfrm>
            <a:custGeom>
              <a:avLst/>
              <a:gdLst>
                <a:gd name="T0" fmla="*/ 6479 w 7671"/>
                <a:gd name="T1" fmla="*/ 2549 h 7392"/>
                <a:gd name="T2" fmla="*/ 6225 w 7671"/>
                <a:gd name="T3" fmla="*/ 2549 h 7392"/>
                <a:gd name="T4" fmla="*/ 6145 w 7671"/>
                <a:gd name="T5" fmla="*/ 2374 h 7392"/>
                <a:gd name="T6" fmla="*/ 7075 w 7671"/>
                <a:gd name="T7" fmla="*/ 1358 h 7392"/>
                <a:gd name="T8" fmla="*/ 6463 w 7671"/>
                <a:gd name="T9" fmla="*/ 1072 h 7392"/>
                <a:gd name="T10" fmla="*/ 5987 w 7671"/>
                <a:gd name="T11" fmla="*/ 1041 h 7392"/>
                <a:gd name="T12" fmla="*/ 5146 w 7671"/>
                <a:gd name="T13" fmla="*/ 1405 h 7392"/>
                <a:gd name="T14" fmla="*/ 4804 w 7671"/>
                <a:gd name="T15" fmla="*/ 1795 h 7392"/>
                <a:gd name="T16" fmla="*/ 4621 w 7671"/>
                <a:gd name="T17" fmla="*/ 2295 h 7392"/>
                <a:gd name="T18" fmla="*/ 4629 w 7671"/>
                <a:gd name="T19" fmla="*/ 2842 h 7392"/>
                <a:gd name="T20" fmla="*/ 0 w 7671"/>
                <a:gd name="T21" fmla="*/ 0 h 7392"/>
                <a:gd name="T22" fmla="*/ 40 w 7671"/>
                <a:gd name="T23" fmla="*/ 4438 h 7392"/>
                <a:gd name="T24" fmla="*/ 341 w 7671"/>
                <a:gd name="T25" fmla="*/ 4866 h 7392"/>
                <a:gd name="T26" fmla="*/ 833 w 7671"/>
                <a:gd name="T27" fmla="*/ 5073 h 7392"/>
                <a:gd name="T28" fmla="*/ 1524 w 7671"/>
                <a:gd name="T29" fmla="*/ 5914 h 7392"/>
                <a:gd name="T30" fmla="*/ 1263 w 7671"/>
                <a:gd name="T31" fmla="*/ 6351 h 7392"/>
                <a:gd name="T32" fmla="*/ 1286 w 7671"/>
                <a:gd name="T33" fmla="*/ 6804 h 7392"/>
                <a:gd name="T34" fmla="*/ 1524 w 7671"/>
                <a:gd name="T35" fmla="*/ 7177 h 7392"/>
                <a:gd name="T36" fmla="*/ 1969 w 7671"/>
                <a:gd name="T37" fmla="*/ 7383 h 7392"/>
                <a:gd name="T38" fmla="*/ 2382 w 7671"/>
                <a:gd name="T39" fmla="*/ 7367 h 7392"/>
                <a:gd name="T40" fmla="*/ 2747 w 7671"/>
                <a:gd name="T41" fmla="*/ 7177 h 7392"/>
                <a:gd name="T42" fmla="*/ 6455 w 7671"/>
                <a:gd name="T43" fmla="*/ 4072 h 7392"/>
                <a:gd name="T44" fmla="*/ 7241 w 7671"/>
                <a:gd name="T45" fmla="*/ 3659 h 7392"/>
                <a:gd name="T46" fmla="*/ 7559 w 7671"/>
                <a:gd name="T47" fmla="*/ 3183 h 7392"/>
                <a:gd name="T48" fmla="*/ 7670 w 7671"/>
                <a:gd name="T49" fmla="*/ 2493 h 7392"/>
                <a:gd name="T50" fmla="*/ 1485 w 7671"/>
                <a:gd name="T51" fmla="*/ 4168 h 7392"/>
                <a:gd name="T52" fmla="*/ 1414 w 7671"/>
                <a:gd name="T53" fmla="*/ 4438 h 7392"/>
                <a:gd name="T54" fmla="*/ 1183 w 7671"/>
                <a:gd name="T55" fmla="*/ 4652 h 7392"/>
                <a:gd name="T56" fmla="*/ 929 w 7671"/>
                <a:gd name="T57" fmla="*/ 4708 h 7392"/>
                <a:gd name="T58" fmla="*/ 611 w 7671"/>
                <a:gd name="T59" fmla="*/ 4620 h 7392"/>
                <a:gd name="T60" fmla="*/ 413 w 7671"/>
                <a:gd name="T61" fmla="*/ 4390 h 7392"/>
                <a:gd name="T62" fmla="*/ 373 w 7671"/>
                <a:gd name="T63" fmla="*/ 366 h 7392"/>
                <a:gd name="T64" fmla="*/ 3716 w 7671"/>
                <a:gd name="T65" fmla="*/ 3985 h 7392"/>
                <a:gd name="T66" fmla="*/ 1485 w 7671"/>
                <a:gd name="T67" fmla="*/ 4168 h 7392"/>
                <a:gd name="T68" fmla="*/ 1811 w 7671"/>
                <a:gd name="T69" fmla="*/ 4398 h 7392"/>
                <a:gd name="T70" fmla="*/ 3716 w 7671"/>
                <a:gd name="T71" fmla="*/ 4350 h 7392"/>
                <a:gd name="T72" fmla="*/ 3835 w 7671"/>
                <a:gd name="T73" fmla="*/ 4612 h 7392"/>
                <a:gd name="T74" fmla="*/ 3350 w 7671"/>
                <a:gd name="T75" fmla="*/ 4708 h 7392"/>
                <a:gd name="T76" fmla="*/ 6908 w 7671"/>
                <a:gd name="T77" fmla="*/ 3389 h 7392"/>
                <a:gd name="T78" fmla="*/ 6217 w 7671"/>
                <a:gd name="T79" fmla="*/ 3699 h 7392"/>
                <a:gd name="T80" fmla="*/ 5852 w 7671"/>
                <a:gd name="T81" fmla="*/ 3659 h 7392"/>
                <a:gd name="T82" fmla="*/ 2398 w 7671"/>
                <a:gd name="T83" fmla="*/ 6899 h 7392"/>
                <a:gd name="T84" fmla="*/ 1865 w 7671"/>
                <a:gd name="T85" fmla="*/ 6899 h 7392"/>
                <a:gd name="T86" fmla="*/ 1699 w 7671"/>
                <a:gd name="T87" fmla="*/ 6629 h 7392"/>
                <a:gd name="T88" fmla="*/ 1723 w 7671"/>
                <a:gd name="T89" fmla="*/ 6359 h 7392"/>
                <a:gd name="T90" fmla="*/ 3526 w 7671"/>
                <a:gd name="T91" fmla="*/ 5073 h 7392"/>
                <a:gd name="T92" fmla="*/ 3970 w 7671"/>
                <a:gd name="T93" fmla="*/ 4961 h 7392"/>
                <a:gd name="T94" fmla="*/ 4343 w 7671"/>
                <a:gd name="T95" fmla="*/ 4596 h 7392"/>
                <a:gd name="T96" fmla="*/ 4454 w 7671"/>
                <a:gd name="T97" fmla="*/ 4168 h 7392"/>
                <a:gd name="T98" fmla="*/ 4089 w 7671"/>
                <a:gd name="T99" fmla="*/ 3985 h 7392"/>
                <a:gd name="T100" fmla="*/ 5042 w 7671"/>
                <a:gd name="T101" fmla="*/ 2747 h 7392"/>
                <a:gd name="T102" fmla="*/ 5113 w 7671"/>
                <a:gd name="T103" fmla="*/ 2167 h 7392"/>
                <a:gd name="T104" fmla="*/ 5352 w 7671"/>
                <a:gd name="T105" fmla="*/ 1795 h 7392"/>
                <a:gd name="T106" fmla="*/ 5923 w 7671"/>
                <a:gd name="T107" fmla="*/ 1493 h 7392"/>
                <a:gd name="T108" fmla="*/ 6257 w 7671"/>
                <a:gd name="T109" fmla="*/ 1517 h 7392"/>
                <a:gd name="T110" fmla="*/ 5821 w 7671"/>
                <a:gd name="T111" fmla="*/ 2017 h 7392"/>
                <a:gd name="T112" fmla="*/ 5701 w 7671"/>
                <a:gd name="T113" fmla="*/ 2374 h 7392"/>
                <a:gd name="T114" fmla="*/ 5821 w 7671"/>
                <a:gd name="T115" fmla="*/ 2732 h 7392"/>
                <a:gd name="T116" fmla="*/ 6058 w 7671"/>
                <a:gd name="T117" fmla="*/ 2937 h 7392"/>
                <a:gd name="T118" fmla="*/ 6423 w 7671"/>
                <a:gd name="T119" fmla="*/ 3001 h 7392"/>
                <a:gd name="T120" fmla="*/ 6797 w 7671"/>
                <a:gd name="T121" fmla="*/ 2882 h 7392"/>
                <a:gd name="T122" fmla="*/ 7250 w 7671"/>
                <a:gd name="T123" fmla="*/ 2700 h 7392"/>
                <a:gd name="T124" fmla="*/ 6908 w 7671"/>
                <a:gd name="T125" fmla="*/ 3389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71" h="7392">
                  <a:moveTo>
                    <a:pt x="7520" y="1906"/>
                  </a:moveTo>
                  <a:lnTo>
                    <a:pt x="7408" y="1636"/>
                  </a:lnTo>
                  <a:lnTo>
                    <a:pt x="7408" y="1636"/>
                  </a:lnTo>
                  <a:lnTo>
                    <a:pt x="6519" y="2509"/>
                  </a:lnTo>
                  <a:lnTo>
                    <a:pt x="6519" y="2509"/>
                  </a:lnTo>
                  <a:lnTo>
                    <a:pt x="6479" y="2549"/>
                  </a:lnTo>
                  <a:lnTo>
                    <a:pt x="6440" y="2572"/>
                  </a:lnTo>
                  <a:lnTo>
                    <a:pt x="6392" y="2589"/>
                  </a:lnTo>
                  <a:lnTo>
                    <a:pt x="6352" y="2597"/>
                  </a:lnTo>
                  <a:lnTo>
                    <a:pt x="6313" y="2589"/>
                  </a:lnTo>
                  <a:lnTo>
                    <a:pt x="6272" y="2572"/>
                  </a:lnTo>
                  <a:lnTo>
                    <a:pt x="6225" y="2549"/>
                  </a:lnTo>
                  <a:lnTo>
                    <a:pt x="6185" y="2509"/>
                  </a:lnTo>
                  <a:lnTo>
                    <a:pt x="6185" y="2509"/>
                  </a:lnTo>
                  <a:lnTo>
                    <a:pt x="6170" y="2485"/>
                  </a:lnTo>
                  <a:lnTo>
                    <a:pt x="6153" y="2454"/>
                  </a:lnTo>
                  <a:lnTo>
                    <a:pt x="6145" y="2414"/>
                  </a:lnTo>
                  <a:lnTo>
                    <a:pt x="6145" y="2374"/>
                  </a:lnTo>
                  <a:lnTo>
                    <a:pt x="6145" y="2335"/>
                  </a:lnTo>
                  <a:lnTo>
                    <a:pt x="6153" y="2295"/>
                  </a:lnTo>
                  <a:lnTo>
                    <a:pt x="6170" y="2263"/>
                  </a:lnTo>
                  <a:lnTo>
                    <a:pt x="6185" y="2239"/>
                  </a:lnTo>
                  <a:lnTo>
                    <a:pt x="6185" y="2239"/>
                  </a:lnTo>
                  <a:lnTo>
                    <a:pt x="7075" y="1358"/>
                  </a:lnTo>
                  <a:lnTo>
                    <a:pt x="7075" y="1358"/>
                  </a:lnTo>
                  <a:lnTo>
                    <a:pt x="6797" y="1191"/>
                  </a:lnTo>
                  <a:lnTo>
                    <a:pt x="6797" y="1191"/>
                  </a:lnTo>
                  <a:lnTo>
                    <a:pt x="6630" y="1120"/>
                  </a:lnTo>
                  <a:lnTo>
                    <a:pt x="6550" y="1096"/>
                  </a:lnTo>
                  <a:lnTo>
                    <a:pt x="6463" y="1072"/>
                  </a:lnTo>
                  <a:lnTo>
                    <a:pt x="6384" y="1048"/>
                  </a:lnTo>
                  <a:lnTo>
                    <a:pt x="6297" y="1041"/>
                  </a:lnTo>
                  <a:lnTo>
                    <a:pt x="6217" y="1033"/>
                  </a:lnTo>
                  <a:lnTo>
                    <a:pt x="6130" y="1033"/>
                  </a:lnTo>
                  <a:lnTo>
                    <a:pt x="6130" y="1033"/>
                  </a:lnTo>
                  <a:lnTo>
                    <a:pt x="5987" y="1041"/>
                  </a:lnTo>
                  <a:lnTo>
                    <a:pt x="5844" y="1056"/>
                  </a:lnTo>
                  <a:lnTo>
                    <a:pt x="5701" y="1096"/>
                  </a:lnTo>
                  <a:lnTo>
                    <a:pt x="5558" y="1151"/>
                  </a:lnTo>
                  <a:lnTo>
                    <a:pt x="5416" y="1223"/>
                  </a:lnTo>
                  <a:lnTo>
                    <a:pt x="5281" y="1311"/>
                  </a:lnTo>
                  <a:lnTo>
                    <a:pt x="5146" y="1405"/>
                  </a:lnTo>
                  <a:lnTo>
                    <a:pt x="5018" y="1525"/>
                  </a:lnTo>
                  <a:lnTo>
                    <a:pt x="5018" y="1525"/>
                  </a:lnTo>
                  <a:lnTo>
                    <a:pt x="4963" y="1588"/>
                  </a:lnTo>
                  <a:lnTo>
                    <a:pt x="4907" y="1652"/>
                  </a:lnTo>
                  <a:lnTo>
                    <a:pt x="4851" y="1723"/>
                  </a:lnTo>
                  <a:lnTo>
                    <a:pt x="4804" y="1795"/>
                  </a:lnTo>
                  <a:lnTo>
                    <a:pt x="4764" y="1874"/>
                  </a:lnTo>
                  <a:lnTo>
                    <a:pt x="4724" y="1953"/>
                  </a:lnTo>
                  <a:lnTo>
                    <a:pt x="4685" y="2032"/>
                  </a:lnTo>
                  <a:lnTo>
                    <a:pt x="4661" y="2120"/>
                  </a:lnTo>
                  <a:lnTo>
                    <a:pt x="4637" y="2208"/>
                  </a:lnTo>
                  <a:lnTo>
                    <a:pt x="4621" y="2295"/>
                  </a:lnTo>
                  <a:lnTo>
                    <a:pt x="4606" y="2382"/>
                  </a:lnTo>
                  <a:lnTo>
                    <a:pt x="4598" y="2470"/>
                  </a:lnTo>
                  <a:lnTo>
                    <a:pt x="4598" y="2565"/>
                  </a:lnTo>
                  <a:lnTo>
                    <a:pt x="4606" y="2652"/>
                  </a:lnTo>
                  <a:lnTo>
                    <a:pt x="4613" y="2747"/>
                  </a:lnTo>
                  <a:lnTo>
                    <a:pt x="4629" y="2842"/>
                  </a:lnTo>
                  <a:lnTo>
                    <a:pt x="4629" y="2842"/>
                  </a:lnTo>
                  <a:lnTo>
                    <a:pt x="4089" y="3381"/>
                  </a:lnTo>
                  <a:lnTo>
                    <a:pt x="4089" y="3381"/>
                  </a:lnTo>
                  <a:lnTo>
                    <a:pt x="4089" y="0"/>
                  </a:lnTo>
                  <a:lnTo>
                    <a:pt x="4089" y="0"/>
                  </a:lnTo>
                  <a:lnTo>
                    <a:pt x="0" y="0"/>
                  </a:lnTo>
                  <a:lnTo>
                    <a:pt x="0" y="0"/>
                  </a:lnTo>
                  <a:lnTo>
                    <a:pt x="0" y="4168"/>
                  </a:lnTo>
                  <a:lnTo>
                    <a:pt x="0" y="4168"/>
                  </a:lnTo>
                  <a:lnTo>
                    <a:pt x="8" y="4263"/>
                  </a:lnTo>
                  <a:lnTo>
                    <a:pt x="16" y="4350"/>
                  </a:lnTo>
                  <a:lnTo>
                    <a:pt x="40" y="4438"/>
                  </a:lnTo>
                  <a:lnTo>
                    <a:pt x="71" y="4517"/>
                  </a:lnTo>
                  <a:lnTo>
                    <a:pt x="112" y="4596"/>
                  </a:lnTo>
                  <a:lnTo>
                    <a:pt x="158" y="4675"/>
                  </a:lnTo>
                  <a:lnTo>
                    <a:pt x="214" y="4739"/>
                  </a:lnTo>
                  <a:lnTo>
                    <a:pt x="270" y="4810"/>
                  </a:lnTo>
                  <a:lnTo>
                    <a:pt x="341" y="4866"/>
                  </a:lnTo>
                  <a:lnTo>
                    <a:pt x="413" y="4922"/>
                  </a:lnTo>
                  <a:lnTo>
                    <a:pt x="484" y="4961"/>
                  </a:lnTo>
                  <a:lnTo>
                    <a:pt x="571" y="5001"/>
                  </a:lnTo>
                  <a:lnTo>
                    <a:pt x="652" y="5033"/>
                  </a:lnTo>
                  <a:lnTo>
                    <a:pt x="746" y="5057"/>
                  </a:lnTo>
                  <a:lnTo>
                    <a:pt x="833" y="5073"/>
                  </a:lnTo>
                  <a:lnTo>
                    <a:pt x="929" y="5073"/>
                  </a:lnTo>
                  <a:lnTo>
                    <a:pt x="929" y="5073"/>
                  </a:lnTo>
                  <a:lnTo>
                    <a:pt x="2374" y="5073"/>
                  </a:lnTo>
                  <a:lnTo>
                    <a:pt x="2374" y="5073"/>
                  </a:lnTo>
                  <a:lnTo>
                    <a:pt x="1524" y="5914"/>
                  </a:lnTo>
                  <a:lnTo>
                    <a:pt x="1524" y="5914"/>
                  </a:lnTo>
                  <a:lnTo>
                    <a:pt x="1461" y="5977"/>
                  </a:lnTo>
                  <a:lnTo>
                    <a:pt x="1406" y="6049"/>
                  </a:lnTo>
                  <a:lnTo>
                    <a:pt x="1358" y="6121"/>
                  </a:lnTo>
                  <a:lnTo>
                    <a:pt x="1318" y="6193"/>
                  </a:lnTo>
                  <a:lnTo>
                    <a:pt x="1286" y="6272"/>
                  </a:lnTo>
                  <a:lnTo>
                    <a:pt x="1263" y="6351"/>
                  </a:lnTo>
                  <a:lnTo>
                    <a:pt x="1246" y="6430"/>
                  </a:lnTo>
                  <a:lnTo>
                    <a:pt x="1246" y="6517"/>
                  </a:lnTo>
                  <a:lnTo>
                    <a:pt x="1246" y="6517"/>
                  </a:lnTo>
                  <a:lnTo>
                    <a:pt x="1246" y="6613"/>
                  </a:lnTo>
                  <a:lnTo>
                    <a:pt x="1263" y="6708"/>
                  </a:lnTo>
                  <a:lnTo>
                    <a:pt x="1286" y="6804"/>
                  </a:lnTo>
                  <a:lnTo>
                    <a:pt x="1318" y="6883"/>
                  </a:lnTo>
                  <a:lnTo>
                    <a:pt x="1358" y="6970"/>
                  </a:lnTo>
                  <a:lnTo>
                    <a:pt x="1406" y="7042"/>
                  </a:lnTo>
                  <a:lnTo>
                    <a:pt x="1461" y="7113"/>
                  </a:lnTo>
                  <a:lnTo>
                    <a:pt x="1524" y="7177"/>
                  </a:lnTo>
                  <a:lnTo>
                    <a:pt x="1524" y="7177"/>
                  </a:lnTo>
                  <a:lnTo>
                    <a:pt x="1588" y="7232"/>
                  </a:lnTo>
                  <a:lnTo>
                    <a:pt x="1659" y="7280"/>
                  </a:lnTo>
                  <a:lnTo>
                    <a:pt x="1730" y="7319"/>
                  </a:lnTo>
                  <a:lnTo>
                    <a:pt x="1802" y="7343"/>
                  </a:lnTo>
                  <a:lnTo>
                    <a:pt x="1882" y="7367"/>
                  </a:lnTo>
                  <a:lnTo>
                    <a:pt x="1969" y="7383"/>
                  </a:lnTo>
                  <a:lnTo>
                    <a:pt x="2048" y="7391"/>
                  </a:lnTo>
                  <a:lnTo>
                    <a:pt x="2135" y="7391"/>
                  </a:lnTo>
                  <a:lnTo>
                    <a:pt x="2135" y="7391"/>
                  </a:lnTo>
                  <a:lnTo>
                    <a:pt x="2216" y="7391"/>
                  </a:lnTo>
                  <a:lnTo>
                    <a:pt x="2295" y="7383"/>
                  </a:lnTo>
                  <a:lnTo>
                    <a:pt x="2382" y="7367"/>
                  </a:lnTo>
                  <a:lnTo>
                    <a:pt x="2461" y="7343"/>
                  </a:lnTo>
                  <a:lnTo>
                    <a:pt x="2533" y="7319"/>
                  </a:lnTo>
                  <a:lnTo>
                    <a:pt x="2612" y="7280"/>
                  </a:lnTo>
                  <a:lnTo>
                    <a:pt x="2675" y="7232"/>
                  </a:lnTo>
                  <a:lnTo>
                    <a:pt x="2747" y="7177"/>
                  </a:lnTo>
                  <a:lnTo>
                    <a:pt x="2747" y="7177"/>
                  </a:lnTo>
                  <a:lnTo>
                    <a:pt x="5852" y="4104"/>
                  </a:lnTo>
                  <a:lnTo>
                    <a:pt x="5852" y="4104"/>
                  </a:lnTo>
                  <a:lnTo>
                    <a:pt x="6130" y="4104"/>
                  </a:lnTo>
                  <a:lnTo>
                    <a:pt x="6130" y="4104"/>
                  </a:lnTo>
                  <a:lnTo>
                    <a:pt x="6297" y="4096"/>
                  </a:lnTo>
                  <a:lnTo>
                    <a:pt x="6455" y="4072"/>
                  </a:lnTo>
                  <a:lnTo>
                    <a:pt x="6606" y="4033"/>
                  </a:lnTo>
                  <a:lnTo>
                    <a:pt x="6749" y="3985"/>
                  </a:lnTo>
                  <a:lnTo>
                    <a:pt x="6884" y="3921"/>
                  </a:lnTo>
                  <a:lnTo>
                    <a:pt x="7011" y="3850"/>
                  </a:lnTo>
                  <a:lnTo>
                    <a:pt x="7130" y="3763"/>
                  </a:lnTo>
                  <a:lnTo>
                    <a:pt x="7241" y="3659"/>
                  </a:lnTo>
                  <a:lnTo>
                    <a:pt x="7241" y="3659"/>
                  </a:lnTo>
                  <a:lnTo>
                    <a:pt x="7321" y="3580"/>
                  </a:lnTo>
                  <a:lnTo>
                    <a:pt x="7393" y="3485"/>
                  </a:lnTo>
                  <a:lnTo>
                    <a:pt x="7456" y="3389"/>
                  </a:lnTo>
                  <a:lnTo>
                    <a:pt x="7511" y="3286"/>
                  </a:lnTo>
                  <a:lnTo>
                    <a:pt x="7559" y="3183"/>
                  </a:lnTo>
                  <a:lnTo>
                    <a:pt x="7599" y="3072"/>
                  </a:lnTo>
                  <a:lnTo>
                    <a:pt x="7630" y="2961"/>
                  </a:lnTo>
                  <a:lnTo>
                    <a:pt x="7654" y="2850"/>
                  </a:lnTo>
                  <a:lnTo>
                    <a:pt x="7663" y="2732"/>
                  </a:lnTo>
                  <a:lnTo>
                    <a:pt x="7670" y="2613"/>
                  </a:lnTo>
                  <a:lnTo>
                    <a:pt x="7670" y="2493"/>
                  </a:lnTo>
                  <a:lnTo>
                    <a:pt x="7654" y="2374"/>
                  </a:lnTo>
                  <a:lnTo>
                    <a:pt x="7638" y="2255"/>
                  </a:lnTo>
                  <a:lnTo>
                    <a:pt x="7607" y="2136"/>
                  </a:lnTo>
                  <a:lnTo>
                    <a:pt x="7567" y="2025"/>
                  </a:lnTo>
                  <a:lnTo>
                    <a:pt x="7520" y="1906"/>
                  </a:lnTo>
                  <a:close/>
                  <a:moveTo>
                    <a:pt x="1485" y="4168"/>
                  </a:moveTo>
                  <a:lnTo>
                    <a:pt x="1485" y="4168"/>
                  </a:lnTo>
                  <a:lnTo>
                    <a:pt x="1485" y="4224"/>
                  </a:lnTo>
                  <a:lnTo>
                    <a:pt x="1477" y="4278"/>
                  </a:lnTo>
                  <a:lnTo>
                    <a:pt x="1461" y="4334"/>
                  </a:lnTo>
                  <a:lnTo>
                    <a:pt x="1437" y="4390"/>
                  </a:lnTo>
                  <a:lnTo>
                    <a:pt x="1414" y="4438"/>
                  </a:lnTo>
                  <a:lnTo>
                    <a:pt x="1381" y="4477"/>
                  </a:lnTo>
                  <a:lnTo>
                    <a:pt x="1350" y="4517"/>
                  </a:lnTo>
                  <a:lnTo>
                    <a:pt x="1310" y="4557"/>
                  </a:lnTo>
                  <a:lnTo>
                    <a:pt x="1271" y="4596"/>
                  </a:lnTo>
                  <a:lnTo>
                    <a:pt x="1231" y="4620"/>
                  </a:lnTo>
                  <a:lnTo>
                    <a:pt x="1183" y="4652"/>
                  </a:lnTo>
                  <a:lnTo>
                    <a:pt x="1136" y="4668"/>
                  </a:lnTo>
                  <a:lnTo>
                    <a:pt x="1088" y="4691"/>
                  </a:lnTo>
                  <a:lnTo>
                    <a:pt x="1032" y="4700"/>
                  </a:lnTo>
                  <a:lnTo>
                    <a:pt x="984" y="4708"/>
                  </a:lnTo>
                  <a:lnTo>
                    <a:pt x="929" y="4708"/>
                  </a:lnTo>
                  <a:lnTo>
                    <a:pt x="929" y="4708"/>
                  </a:lnTo>
                  <a:lnTo>
                    <a:pt x="866" y="4708"/>
                  </a:lnTo>
                  <a:lnTo>
                    <a:pt x="810" y="4700"/>
                  </a:lnTo>
                  <a:lnTo>
                    <a:pt x="754" y="4691"/>
                  </a:lnTo>
                  <a:lnTo>
                    <a:pt x="706" y="4668"/>
                  </a:lnTo>
                  <a:lnTo>
                    <a:pt x="659" y="4652"/>
                  </a:lnTo>
                  <a:lnTo>
                    <a:pt x="611" y="4620"/>
                  </a:lnTo>
                  <a:lnTo>
                    <a:pt x="563" y="4596"/>
                  </a:lnTo>
                  <a:lnTo>
                    <a:pt x="532" y="4557"/>
                  </a:lnTo>
                  <a:lnTo>
                    <a:pt x="492" y="4517"/>
                  </a:lnTo>
                  <a:lnTo>
                    <a:pt x="461" y="4477"/>
                  </a:lnTo>
                  <a:lnTo>
                    <a:pt x="436" y="4438"/>
                  </a:lnTo>
                  <a:lnTo>
                    <a:pt x="413" y="4390"/>
                  </a:lnTo>
                  <a:lnTo>
                    <a:pt x="397" y="4334"/>
                  </a:lnTo>
                  <a:lnTo>
                    <a:pt x="382" y="4278"/>
                  </a:lnTo>
                  <a:lnTo>
                    <a:pt x="373" y="4224"/>
                  </a:lnTo>
                  <a:lnTo>
                    <a:pt x="373" y="4168"/>
                  </a:lnTo>
                  <a:lnTo>
                    <a:pt x="373" y="4168"/>
                  </a:lnTo>
                  <a:lnTo>
                    <a:pt x="373" y="366"/>
                  </a:lnTo>
                  <a:lnTo>
                    <a:pt x="373" y="366"/>
                  </a:lnTo>
                  <a:lnTo>
                    <a:pt x="3716" y="366"/>
                  </a:lnTo>
                  <a:lnTo>
                    <a:pt x="3716" y="366"/>
                  </a:lnTo>
                  <a:lnTo>
                    <a:pt x="3716" y="3747"/>
                  </a:lnTo>
                  <a:lnTo>
                    <a:pt x="3716" y="3747"/>
                  </a:lnTo>
                  <a:lnTo>
                    <a:pt x="3716" y="3985"/>
                  </a:lnTo>
                  <a:lnTo>
                    <a:pt x="3716" y="3985"/>
                  </a:lnTo>
                  <a:lnTo>
                    <a:pt x="3470" y="3985"/>
                  </a:lnTo>
                  <a:lnTo>
                    <a:pt x="3470" y="3985"/>
                  </a:lnTo>
                  <a:lnTo>
                    <a:pt x="1485" y="3985"/>
                  </a:lnTo>
                  <a:lnTo>
                    <a:pt x="1485" y="3985"/>
                  </a:lnTo>
                  <a:lnTo>
                    <a:pt x="1485" y="4168"/>
                  </a:lnTo>
                  <a:close/>
                  <a:moveTo>
                    <a:pt x="1676" y="4708"/>
                  </a:moveTo>
                  <a:lnTo>
                    <a:pt x="1676" y="4708"/>
                  </a:lnTo>
                  <a:lnTo>
                    <a:pt x="1715" y="4636"/>
                  </a:lnTo>
                  <a:lnTo>
                    <a:pt x="1763" y="4548"/>
                  </a:lnTo>
                  <a:lnTo>
                    <a:pt x="1794" y="4453"/>
                  </a:lnTo>
                  <a:lnTo>
                    <a:pt x="1811" y="4398"/>
                  </a:lnTo>
                  <a:lnTo>
                    <a:pt x="1811" y="4350"/>
                  </a:lnTo>
                  <a:lnTo>
                    <a:pt x="1811" y="4350"/>
                  </a:lnTo>
                  <a:lnTo>
                    <a:pt x="3105" y="4350"/>
                  </a:lnTo>
                  <a:lnTo>
                    <a:pt x="3105" y="4350"/>
                  </a:lnTo>
                  <a:lnTo>
                    <a:pt x="3716" y="4350"/>
                  </a:lnTo>
                  <a:lnTo>
                    <a:pt x="3716" y="4350"/>
                  </a:lnTo>
                  <a:lnTo>
                    <a:pt x="4041" y="4350"/>
                  </a:lnTo>
                  <a:lnTo>
                    <a:pt x="4041" y="4350"/>
                  </a:lnTo>
                  <a:lnTo>
                    <a:pt x="4002" y="4430"/>
                  </a:lnTo>
                  <a:lnTo>
                    <a:pt x="3954" y="4501"/>
                  </a:lnTo>
                  <a:lnTo>
                    <a:pt x="3898" y="4565"/>
                  </a:lnTo>
                  <a:lnTo>
                    <a:pt x="3835" y="4612"/>
                  </a:lnTo>
                  <a:lnTo>
                    <a:pt x="3771" y="4660"/>
                  </a:lnTo>
                  <a:lnTo>
                    <a:pt x="3692" y="4683"/>
                  </a:lnTo>
                  <a:lnTo>
                    <a:pt x="3613" y="4708"/>
                  </a:lnTo>
                  <a:lnTo>
                    <a:pt x="3526" y="4708"/>
                  </a:lnTo>
                  <a:lnTo>
                    <a:pt x="3526" y="4708"/>
                  </a:lnTo>
                  <a:lnTo>
                    <a:pt x="3350" y="4708"/>
                  </a:lnTo>
                  <a:lnTo>
                    <a:pt x="3350" y="4708"/>
                  </a:lnTo>
                  <a:lnTo>
                    <a:pt x="2739" y="4708"/>
                  </a:lnTo>
                  <a:lnTo>
                    <a:pt x="2739" y="4708"/>
                  </a:lnTo>
                  <a:lnTo>
                    <a:pt x="1676" y="4708"/>
                  </a:lnTo>
                  <a:close/>
                  <a:moveTo>
                    <a:pt x="6908" y="3389"/>
                  </a:moveTo>
                  <a:lnTo>
                    <a:pt x="6908" y="3389"/>
                  </a:lnTo>
                  <a:lnTo>
                    <a:pt x="6797" y="3485"/>
                  </a:lnTo>
                  <a:lnTo>
                    <a:pt x="6685" y="3564"/>
                  </a:lnTo>
                  <a:lnTo>
                    <a:pt x="6558" y="3628"/>
                  </a:lnTo>
                  <a:lnTo>
                    <a:pt x="6423" y="3667"/>
                  </a:lnTo>
                  <a:lnTo>
                    <a:pt x="6288" y="3699"/>
                  </a:lnTo>
                  <a:lnTo>
                    <a:pt x="6217" y="3699"/>
                  </a:lnTo>
                  <a:lnTo>
                    <a:pt x="6145" y="3707"/>
                  </a:lnTo>
                  <a:lnTo>
                    <a:pt x="6074" y="3699"/>
                  </a:lnTo>
                  <a:lnTo>
                    <a:pt x="6002" y="3691"/>
                  </a:lnTo>
                  <a:lnTo>
                    <a:pt x="5923" y="3684"/>
                  </a:lnTo>
                  <a:lnTo>
                    <a:pt x="5852" y="3659"/>
                  </a:lnTo>
                  <a:lnTo>
                    <a:pt x="5852" y="3659"/>
                  </a:lnTo>
                  <a:lnTo>
                    <a:pt x="5740" y="3604"/>
                  </a:lnTo>
                  <a:lnTo>
                    <a:pt x="5740" y="3604"/>
                  </a:lnTo>
                  <a:lnTo>
                    <a:pt x="2469" y="6843"/>
                  </a:lnTo>
                  <a:lnTo>
                    <a:pt x="2469" y="6843"/>
                  </a:lnTo>
                  <a:lnTo>
                    <a:pt x="2430" y="6875"/>
                  </a:lnTo>
                  <a:lnTo>
                    <a:pt x="2398" y="6899"/>
                  </a:lnTo>
                  <a:lnTo>
                    <a:pt x="2318" y="6939"/>
                  </a:lnTo>
                  <a:lnTo>
                    <a:pt x="2224" y="6962"/>
                  </a:lnTo>
                  <a:lnTo>
                    <a:pt x="2135" y="6970"/>
                  </a:lnTo>
                  <a:lnTo>
                    <a:pt x="2041" y="6962"/>
                  </a:lnTo>
                  <a:lnTo>
                    <a:pt x="1954" y="6939"/>
                  </a:lnTo>
                  <a:lnTo>
                    <a:pt x="1865" y="6899"/>
                  </a:lnTo>
                  <a:lnTo>
                    <a:pt x="1834" y="6875"/>
                  </a:lnTo>
                  <a:lnTo>
                    <a:pt x="1802" y="6843"/>
                  </a:lnTo>
                  <a:lnTo>
                    <a:pt x="1802" y="6843"/>
                  </a:lnTo>
                  <a:lnTo>
                    <a:pt x="1755" y="6795"/>
                  </a:lnTo>
                  <a:lnTo>
                    <a:pt x="1723" y="6724"/>
                  </a:lnTo>
                  <a:lnTo>
                    <a:pt x="1699" y="6629"/>
                  </a:lnTo>
                  <a:lnTo>
                    <a:pt x="1691" y="6573"/>
                  </a:lnTo>
                  <a:lnTo>
                    <a:pt x="1691" y="6517"/>
                  </a:lnTo>
                  <a:lnTo>
                    <a:pt x="1691" y="6517"/>
                  </a:lnTo>
                  <a:lnTo>
                    <a:pt x="1691" y="6478"/>
                  </a:lnTo>
                  <a:lnTo>
                    <a:pt x="1699" y="6438"/>
                  </a:lnTo>
                  <a:lnTo>
                    <a:pt x="1723" y="6359"/>
                  </a:lnTo>
                  <a:lnTo>
                    <a:pt x="1755" y="6295"/>
                  </a:lnTo>
                  <a:lnTo>
                    <a:pt x="1802" y="6239"/>
                  </a:lnTo>
                  <a:lnTo>
                    <a:pt x="1802" y="6239"/>
                  </a:lnTo>
                  <a:lnTo>
                    <a:pt x="2978" y="5073"/>
                  </a:lnTo>
                  <a:lnTo>
                    <a:pt x="2978" y="5073"/>
                  </a:lnTo>
                  <a:lnTo>
                    <a:pt x="3526" y="5073"/>
                  </a:lnTo>
                  <a:lnTo>
                    <a:pt x="3526" y="5073"/>
                  </a:lnTo>
                  <a:lnTo>
                    <a:pt x="3620" y="5073"/>
                  </a:lnTo>
                  <a:lnTo>
                    <a:pt x="3716" y="5057"/>
                  </a:lnTo>
                  <a:lnTo>
                    <a:pt x="3803" y="5033"/>
                  </a:lnTo>
                  <a:lnTo>
                    <a:pt x="3890" y="5001"/>
                  </a:lnTo>
                  <a:lnTo>
                    <a:pt x="3970" y="4961"/>
                  </a:lnTo>
                  <a:lnTo>
                    <a:pt x="4050" y="4922"/>
                  </a:lnTo>
                  <a:lnTo>
                    <a:pt x="4121" y="4866"/>
                  </a:lnTo>
                  <a:lnTo>
                    <a:pt x="4185" y="4810"/>
                  </a:lnTo>
                  <a:lnTo>
                    <a:pt x="4247" y="4739"/>
                  </a:lnTo>
                  <a:lnTo>
                    <a:pt x="4295" y="4675"/>
                  </a:lnTo>
                  <a:lnTo>
                    <a:pt x="4343" y="4596"/>
                  </a:lnTo>
                  <a:lnTo>
                    <a:pt x="4382" y="4517"/>
                  </a:lnTo>
                  <a:lnTo>
                    <a:pt x="4415" y="4438"/>
                  </a:lnTo>
                  <a:lnTo>
                    <a:pt x="4438" y="4350"/>
                  </a:lnTo>
                  <a:lnTo>
                    <a:pt x="4454" y="4263"/>
                  </a:lnTo>
                  <a:lnTo>
                    <a:pt x="4454" y="4168"/>
                  </a:lnTo>
                  <a:lnTo>
                    <a:pt x="4454" y="4168"/>
                  </a:lnTo>
                  <a:lnTo>
                    <a:pt x="4454" y="3985"/>
                  </a:lnTo>
                  <a:lnTo>
                    <a:pt x="4454" y="3985"/>
                  </a:lnTo>
                  <a:lnTo>
                    <a:pt x="4089" y="3985"/>
                  </a:lnTo>
                  <a:lnTo>
                    <a:pt x="4089" y="3985"/>
                  </a:lnTo>
                  <a:lnTo>
                    <a:pt x="4089" y="3985"/>
                  </a:lnTo>
                  <a:lnTo>
                    <a:pt x="4089" y="3985"/>
                  </a:lnTo>
                  <a:lnTo>
                    <a:pt x="5074" y="3001"/>
                  </a:lnTo>
                  <a:lnTo>
                    <a:pt x="5074" y="3001"/>
                  </a:lnTo>
                  <a:lnTo>
                    <a:pt x="5074" y="2898"/>
                  </a:lnTo>
                  <a:lnTo>
                    <a:pt x="5074" y="2898"/>
                  </a:lnTo>
                  <a:lnTo>
                    <a:pt x="5057" y="2819"/>
                  </a:lnTo>
                  <a:lnTo>
                    <a:pt x="5042" y="2747"/>
                  </a:lnTo>
                  <a:lnTo>
                    <a:pt x="5034" y="2676"/>
                  </a:lnTo>
                  <a:lnTo>
                    <a:pt x="5034" y="2597"/>
                  </a:lnTo>
                  <a:lnTo>
                    <a:pt x="5034" y="2525"/>
                  </a:lnTo>
                  <a:lnTo>
                    <a:pt x="5042" y="2454"/>
                  </a:lnTo>
                  <a:lnTo>
                    <a:pt x="5066" y="2302"/>
                  </a:lnTo>
                  <a:lnTo>
                    <a:pt x="5113" y="2167"/>
                  </a:lnTo>
                  <a:lnTo>
                    <a:pt x="5146" y="2096"/>
                  </a:lnTo>
                  <a:lnTo>
                    <a:pt x="5177" y="2032"/>
                  </a:lnTo>
                  <a:lnTo>
                    <a:pt x="5217" y="1969"/>
                  </a:lnTo>
                  <a:lnTo>
                    <a:pt x="5256" y="1906"/>
                  </a:lnTo>
                  <a:lnTo>
                    <a:pt x="5304" y="1851"/>
                  </a:lnTo>
                  <a:lnTo>
                    <a:pt x="5352" y="1795"/>
                  </a:lnTo>
                  <a:lnTo>
                    <a:pt x="5352" y="1795"/>
                  </a:lnTo>
                  <a:lnTo>
                    <a:pt x="5526" y="1675"/>
                  </a:lnTo>
                  <a:lnTo>
                    <a:pt x="5622" y="1620"/>
                  </a:lnTo>
                  <a:lnTo>
                    <a:pt x="5725" y="1573"/>
                  </a:lnTo>
                  <a:lnTo>
                    <a:pt x="5821" y="1533"/>
                  </a:lnTo>
                  <a:lnTo>
                    <a:pt x="5923" y="1493"/>
                  </a:lnTo>
                  <a:lnTo>
                    <a:pt x="6027" y="1477"/>
                  </a:lnTo>
                  <a:lnTo>
                    <a:pt x="6130" y="1469"/>
                  </a:lnTo>
                  <a:lnTo>
                    <a:pt x="6130" y="1469"/>
                  </a:lnTo>
                  <a:lnTo>
                    <a:pt x="6170" y="1477"/>
                  </a:lnTo>
                  <a:lnTo>
                    <a:pt x="6217" y="1493"/>
                  </a:lnTo>
                  <a:lnTo>
                    <a:pt x="6257" y="1517"/>
                  </a:lnTo>
                  <a:lnTo>
                    <a:pt x="6297" y="1525"/>
                  </a:lnTo>
                  <a:lnTo>
                    <a:pt x="6297" y="1525"/>
                  </a:lnTo>
                  <a:lnTo>
                    <a:pt x="5908" y="1906"/>
                  </a:lnTo>
                  <a:lnTo>
                    <a:pt x="5908" y="1906"/>
                  </a:lnTo>
                  <a:lnTo>
                    <a:pt x="5860" y="1961"/>
                  </a:lnTo>
                  <a:lnTo>
                    <a:pt x="5821" y="2017"/>
                  </a:lnTo>
                  <a:lnTo>
                    <a:pt x="5780" y="2073"/>
                  </a:lnTo>
                  <a:lnTo>
                    <a:pt x="5757" y="2128"/>
                  </a:lnTo>
                  <a:lnTo>
                    <a:pt x="5732" y="2192"/>
                  </a:lnTo>
                  <a:lnTo>
                    <a:pt x="5717" y="2247"/>
                  </a:lnTo>
                  <a:lnTo>
                    <a:pt x="5701" y="2310"/>
                  </a:lnTo>
                  <a:lnTo>
                    <a:pt x="5701" y="2374"/>
                  </a:lnTo>
                  <a:lnTo>
                    <a:pt x="5701" y="2437"/>
                  </a:lnTo>
                  <a:lnTo>
                    <a:pt x="5717" y="2493"/>
                  </a:lnTo>
                  <a:lnTo>
                    <a:pt x="5732" y="2557"/>
                  </a:lnTo>
                  <a:lnTo>
                    <a:pt x="5757" y="2620"/>
                  </a:lnTo>
                  <a:lnTo>
                    <a:pt x="5780" y="2676"/>
                  </a:lnTo>
                  <a:lnTo>
                    <a:pt x="5821" y="2732"/>
                  </a:lnTo>
                  <a:lnTo>
                    <a:pt x="5860" y="2787"/>
                  </a:lnTo>
                  <a:lnTo>
                    <a:pt x="5908" y="2842"/>
                  </a:lnTo>
                  <a:lnTo>
                    <a:pt x="5908" y="2842"/>
                  </a:lnTo>
                  <a:lnTo>
                    <a:pt x="5955" y="2882"/>
                  </a:lnTo>
                  <a:lnTo>
                    <a:pt x="6002" y="2914"/>
                  </a:lnTo>
                  <a:lnTo>
                    <a:pt x="6058" y="2937"/>
                  </a:lnTo>
                  <a:lnTo>
                    <a:pt x="6114" y="2961"/>
                  </a:lnTo>
                  <a:lnTo>
                    <a:pt x="6170" y="2976"/>
                  </a:lnTo>
                  <a:lnTo>
                    <a:pt x="6233" y="2992"/>
                  </a:lnTo>
                  <a:lnTo>
                    <a:pt x="6297" y="3001"/>
                  </a:lnTo>
                  <a:lnTo>
                    <a:pt x="6360" y="3001"/>
                  </a:lnTo>
                  <a:lnTo>
                    <a:pt x="6423" y="3001"/>
                  </a:lnTo>
                  <a:lnTo>
                    <a:pt x="6495" y="2992"/>
                  </a:lnTo>
                  <a:lnTo>
                    <a:pt x="6558" y="2976"/>
                  </a:lnTo>
                  <a:lnTo>
                    <a:pt x="6622" y="2961"/>
                  </a:lnTo>
                  <a:lnTo>
                    <a:pt x="6685" y="2937"/>
                  </a:lnTo>
                  <a:lnTo>
                    <a:pt x="6741" y="2914"/>
                  </a:lnTo>
                  <a:lnTo>
                    <a:pt x="6797" y="2882"/>
                  </a:lnTo>
                  <a:lnTo>
                    <a:pt x="6853" y="2842"/>
                  </a:lnTo>
                  <a:lnTo>
                    <a:pt x="6853" y="2842"/>
                  </a:lnTo>
                  <a:lnTo>
                    <a:pt x="7241" y="2454"/>
                  </a:lnTo>
                  <a:lnTo>
                    <a:pt x="7241" y="2454"/>
                  </a:lnTo>
                  <a:lnTo>
                    <a:pt x="7258" y="2580"/>
                  </a:lnTo>
                  <a:lnTo>
                    <a:pt x="7250" y="2700"/>
                  </a:lnTo>
                  <a:lnTo>
                    <a:pt x="7233" y="2827"/>
                  </a:lnTo>
                  <a:lnTo>
                    <a:pt x="7202" y="2945"/>
                  </a:lnTo>
                  <a:lnTo>
                    <a:pt x="7154" y="3056"/>
                  </a:lnTo>
                  <a:lnTo>
                    <a:pt x="7082" y="3175"/>
                  </a:lnTo>
                  <a:lnTo>
                    <a:pt x="7003" y="3286"/>
                  </a:lnTo>
                  <a:lnTo>
                    <a:pt x="6908" y="338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08" name="Rectangle 107"/>
          <p:cNvSpPr/>
          <p:nvPr/>
        </p:nvSpPr>
        <p:spPr>
          <a:xfrm>
            <a:off x="5946522" y="5279939"/>
            <a:ext cx="1604286" cy="769441"/>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0" cap="none" spc="49" normalizeH="0" baseline="0" noProof="0" dirty="0">
                <a:ln w="3175">
                  <a:noFill/>
                </a:ln>
                <a:solidFill>
                  <a:srgbClr val="0078D7"/>
                </a:solidFill>
                <a:effectLst/>
                <a:uLnTx/>
                <a:uFillTx/>
                <a:latin typeface="Segoe UI Light" panose="020B0502040204020203" pitchFamily="34" charset="0"/>
                <a:ea typeface="+mn-ea"/>
                <a:cs typeface="Segoe UI Light" panose="020B0502040204020203" pitchFamily="34" charset="0"/>
              </a:rPr>
              <a:t>Azure</a:t>
            </a:r>
            <a:endParaRPr kumimoji="0" lang="en-US" sz="4400" b="0" i="0" u="none" strike="noStrike" kern="1200" cap="none" spc="0" normalizeH="0" baseline="0" noProof="0" dirty="0">
              <a:ln>
                <a:noFill/>
              </a:ln>
              <a:solidFill>
                <a:srgbClr val="0078D7"/>
              </a:solidFill>
              <a:effectLst/>
              <a:uLnTx/>
              <a:uFillTx/>
              <a:latin typeface="Segoe UI"/>
              <a:ea typeface="+mn-ea"/>
              <a:cs typeface="+mn-cs"/>
            </a:endParaRPr>
          </a:p>
        </p:txBody>
      </p:sp>
      <p:grpSp>
        <p:nvGrpSpPr>
          <p:cNvPr id="192" name="Group 191"/>
          <p:cNvGrpSpPr/>
          <p:nvPr/>
        </p:nvGrpSpPr>
        <p:grpSpPr>
          <a:xfrm>
            <a:off x="9714889" y="2599928"/>
            <a:ext cx="776370" cy="778078"/>
            <a:chOff x="3630613" y="2355850"/>
            <a:chExt cx="2882900" cy="2889250"/>
          </a:xfrm>
          <a:solidFill>
            <a:srgbClr val="001F54"/>
          </a:solidFill>
        </p:grpSpPr>
        <p:sp>
          <p:nvSpPr>
            <p:cNvPr id="197" name="Freeform 1"/>
            <p:cNvSpPr>
              <a:spLocks noChangeArrowheads="1"/>
            </p:cNvSpPr>
            <p:nvPr/>
          </p:nvSpPr>
          <p:spPr bwMode="auto">
            <a:xfrm>
              <a:off x="3630613" y="2355850"/>
              <a:ext cx="2882900" cy="2889250"/>
            </a:xfrm>
            <a:custGeom>
              <a:avLst/>
              <a:gdLst>
                <a:gd name="T0" fmla="*/ 5482 w 8008"/>
                <a:gd name="T1" fmla="*/ 8025 h 8026"/>
                <a:gd name="T2" fmla="*/ 5482 w 8008"/>
                <a:gd name="T3" fmla="*/ 6824 h 8026"/>
                <a:gd name="T4" fmla="*/ 4246 w 8008"/>
                <a:gd name="T5" fmla="*/ 6824 h 8026"/>
                <a:gd name="T6" fmla="*/ 4246 w 8008"/>
                <a:gd name="T7" fmla="*/ 8016 h 8026"/>
                <a:gd name="T8" fmla="*/ 3770 w 8008"/>
                <a:gd name="T9" fmla="*/ 8016 h 8026"/>
                <a:gd name="T10" fmla="*/ 3770 w 8008"/>
                <a:gd name="T11" fmla="*/ 6815 h 8026"/>
                <a:gd name="T12" fmla="*/ 2552 w 8008"/>
                <a:gd name="T13" fmla="*/ 6815 h 8026"/>
                <a:gd name="T14" fmla="*/ 2552 w 8008"/>
                <a:gd name="T15" fmla="*/ 8025 h 8026"/>
                <a:gd name="T16" fmla="*/ 2092 w 8008"/>
                <a:gd name="T17" fmla="*/ 8025 h 8026"/>
                <a:gd name="T18" fmla="*/ 2092 w 8008"/>
                <a:gd name="T19" fmla="*/ 6807 h 8026"/>
                <a:gd name="T20" fmla="*/ 1245 w 8008"/>
                <a:gd name="T21" fmla="*/ 6807 h 8026"/>
                <a:gd name="T22" fmla="*/ 1245 w 8008"/>
                <a:gd name="T23" fmla="*/ 5959 h 8026"/>
                <a:gd name="T24" fmla="*/ 0 w 8008"/>
                <a:gd name="T25" fmla="*/ 5959 h 8026"/>
                <a:gd name="T26" fmla="*/ 0 w 8008"/>
                <a:gd name="T27" fmla="*/ 5500 h 8026"/>
                <a:gd name="T28" fmla="*/ 1210 w 8008"/>
                <a:gd name="T29" fmla="*/ 5500 h 8026"/>
                <a:gd name="T30" fmla="*/ 1210 w 8008"/>
                <a:gd name="T31" fmla="*/ 4264 h 8026"/>
                <a:gd name="T32" fmla="*/ 9 w 8008"/>
                <a:gd name="T33" fmla="*/ 4264 h 8026"/>
                <a:gd name="T34" fmla="*/ 9 w 8008"/>
                <a:gd name="T35" fmla="*/ 3788 h 8026"/>
                <a:gd name="T36" fmla="*/ 1201 w 8008"/>
                <a:gd name="T37" fmla="*/ 3788 h 8026"/>
                <a:gd name="T38" fmla="*/ 1201 w 8008"/>
                <a:gd name="T39" fmla="*/ 2552 h 8026"/>
                <a:gd name="T40" fmla="*/ 0 w 8008"/>
                <a:gd name="T41" fmla="*/ 2552 h 8026"/>
                <a:gd name="T42" fmla="*/ 0 w 8008"/>
                <a:gd name="T43" fmla="*/ 2110 h 8026"/>
                <a:gd name="T44" fmla="*/ 1201 w 8008"/>
                <a:gd name="T45" fmla="*/ 2110 h 8026"/>
                <a:gd name="T46" fmla="*/ 1201 w 8008"/>
                <a:gd name="T47" fmla="*/ 1245 h 8026"/>
                <a:gd name="T48" fmla="*/ 2066 w 8008"/>
                <a:gd name="T49" fmla="*/ 1245 h 8026"/>
                <a:gd name="T50" fmla="*/ 2066 w 8008"/>
                <a:gd name="T51" fmla="*/ 9 h 8026"/>
                <a:gd name="T52" fmla="*/ 2525 w 8008"/>
                <a:gd name="T53" fmla="*/ 9 h 8026"/>
                <a:gd name="T54" fmla="*/ 2525 w 8008"/>
                <a:gd name="T55" fmla="*/ 1210 h 8026"/>
                <a:gd name="T56" fmla="*/ 3761 w 8008"/>
                <a:gd name="T57" fmla="*/ 1210 h 8026"/>
                <a:gd name="T58" fmla="*/ 3761 w 8008"/>
                <a:gd name="T59" fmla="*/ 0 h 8026"/>
                <a:gd name="T60" fmla="*/ 4219 w 8008"/>
                <a:gd name="T61" fmla="*/ 0 h 8026"/>
                <a:gd name="T62" fmla="*/ 4219 w 8008"/>
                <a:gd name="T63" fmla="*/ 1201 h 8026"/>
                <a:gd name="T64" fmla="*/ 5455 w 8008"/>
                <a:gd name="T65" fmla="*/ 1201 h 8026"/>
                <a:gd name="T66" fmla="*/ 5455 w 8008"/>
                <a:gd name="T67" fmla="*/ 18 h 8026"/>
                <a:gd name="T68" fmla="*/ 5932 w 8008"/>
                <a:gd name="T69" fmla="*/ 18 h 8026"/>
                <a:gd name="T70" fmla="*/ 5932 w 8008"/>
                <a:gd name="T71" fmla="*/ 1218 h 8026"/>
                <a:gd name="T72" fmla="*/ 6762 w 8008"/>
                <a:gd name="T73" fmla="*/ 1218 h 8026"/>
                <a:gd name="T74" fmla="*/ 6762 w 8008"/>
                <a:gd name="T75" fmla="*/ 2066 h 8026"/>
                <a:gd name="T76" fmla="*/ 7998 w 8008"/>
                <a:gd name="T77" fmla="*/ 2066 h 8026"/>
                <a:gd name="T78" fmla="*/ 7998 w 8008"/>
                <a:gd name="T79" fmla="*/ 2543 h 8026"/>
                <a:gd name="T80" fmla="*/ 6815 w 8008"/>
                <a:gd name="T81" fmla="*/ 2543 h 8026"/>
                <a:gd name="T82" fmla="*/ 6815 w 8008"/>
                <a:gd name="T83" fmla="*/ 3779 h 8026"/>
                <a:gd name="T84" fmla="*/ 8007 w 8008"/>
                <a:gd name="T85" fmla="*/ 3779 h 8026"/>
                <a:gd name="T86" fmla="*/ 8007 w 8008"/>
                <a:gd name="T87" fmla="*/ 4219 h 8026"/>
                <a:gd name="T88" fmla="*/ 6824 w 8008"/>
                <a:gd name="T89" fmla="*/ 4219 h 8026"/>
                <a:gd name="T90" fmla="*/ 6824 w 8008"/>
                <a:gd name="T91" fmla="*/ 5456 h 8026"/>
                <a:gd name="T92" fmla="*/ 7998 w 8008"/>
                <a:gd name="T93" fmla="*/ 5456 h 8026"/>
                <a:gd name="T94" fmla="*/ 7998 w 8008"/>
                <a:gd name="T95" fmla="*/ 5932 h 8026"/>
                <a:gd name="T96" fmla="*/ 6815 w 8008"/>
                <a:gd name="T97" fmla="*/ 5932 h 8026"/>
                <a:gd name="T98" fmla="*/ 6771 w 8008"/>
                <a:gd name="T99" fmla="*/ 6780 h 8026"/>
                <a:gd name="T100" fmla="*/ 5941 w 8008"/>
                <a:gd name="T101" fmla="*/ 6780 h 8026"/>
                <a:gd name="T102" fmla="*/ 5941 w 8008"/>
                <a:gd name="T103" fmla="*/ 8025 h 8026"/>
                <a:gd name="T104" fmla="*/ 5482 w 8008"/>
                <a:gd name="T105" fmla="*/ 8025 h 8026"/>
                <a:gd name="T106" fmla="*/ 1722 w 8008"/>
                <a:gd name="T107" fmla="*/ 6286 h 8026"/>
                <a:gd name="T108" fmla="*/ 6276 w 8008"/>
                <a:gd name="T109" fmla="*/ 6286 h 8026"/>
                <a:gd name="T110" fmla="*/ 6276 w 8008"/>
                <a:gd name="T111" fmla="*/ 1731 h 8026"/>
                <a:gd name="T112" fmla="*/ 1722 w 8008"/>
                <a:gd name="T113" fmla="*/ 1731 h 8026"/>
                <a:gd name="T114" fmla="*/ 1722 w 8008"/>
                <a:gd name="T115" fmla="*/ 6286 h 80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008" h="8026">
                  <a:moveTo>
                    <a:pt x="5482" y="8025"/>
                  </a:moveTo>
                  <a:lnTo>
                    <a:pt x="5482" y="6824"/>
                  </a:lnTo>
                  <a:lnTo>
                    <a:pt x="4246" y="6824"/>
                  </a:lnTo>
                  <a:lnTo>
                    <a:pt x="4246" y="8016"/>
                  </a:lnTo>
                  <a:lnTo>
                    <a:pt x="3770" y="8016"/>
                  </a:lnTo>
                  <a:lnTo>
                    <a:pt x="3770" y="6815"/>
                  </a:lnTo>
                  <a:lnTo>
                    <a:pt x="2552" y="6815"/>
                  </a:lnTo>
                  <a:lnTo>
                    <a:pt x="2552" y="8025"/>
                  </a:lnTo>
                  <a:lnTo>
                    <a:pt x="2092" y="8025"/>
                  </a:lnTo>
                  <a:lnTo>
                    <a:pt x="2092" y="6807"/>
                  </a:lnTo>
                  <a:lnTo>
                    <a:pt x="1245" y="6807"/>
                  </a:lnTo>
                  <a:lnTo>
                    <a:pt x="1245" y="5959"/>
                  </a:lnTo>
                  <a:lnTo>
                    <a:pt x="0" y="5959"/>
                  </a:lnTo>
                  <a:lnTo>
                    <a:pt x="0" y="5500"/>
                  </a:lnTo>
                  <a:lnTo>
                    <a:pt x="1210" y="5500"/>
                  </a:lnTo>
                  <a:lnTo>
                    <a:pt x="1210" y="4264"/>
                  </a:lnTo>
                  <a:lnTo>
                    <a:pt x="9" y="4264"/>
                  </a:lnTo>
                  <a:lnTo>
                    <a:pt x="9" y="3788"/>
                  </a:lnTo>
                  <a:lnTo>
                    <a:pt x="1201" y="3788"/>
                  </a:lnTo>
                  <a:lnTo>
                    <a:pt x="1201" y="2552"/>
                  </a:lnTo>
                  <a:lnTo>
                    <a:pt x="0" y="2552"/>
                  </a:lnTo>
                  <a:lnTo>
                    <a:pt x="0" y="2110"/>
                  </a:lnTo>
                  <a:lnTo>
                    <a:pt x="1201" y="2110"/>
                  </a:lnTo>
                  <a:lnTo>
                    <a:pt x="1201" y="1245"/>
                  </a:lnTo>
                  <a:lnTo>
                    <a:pt x="2066" y="1245"/>
                  </a:lnTo>
                  <a:lnTo>
                    <a:pt x="2066" y="9"/>
                  </a:lnTo>
                  <a:lnTo>
                    <a:pt x="2525" y="9"/>
                  </a:lnTo>
                  <a:lnTo>
                    <a:pt x="2525" y="1210"/>
                  </a:lnTo>
                  <a:lnTo>
                    <a:pt x="3761" y="1210"/>
                  </a:lnTo>
                  <a:lnTo>
                    <a:pt x="3761" y="0"/>
                  </a:lnTo>
                  <a:lnTo>
                    <a:pt x="4219" y="0"/>
                  </a:lnTo>
                  <a:lnTo>
                    <a:pt x="4219" y="1201"/>
                  </a:lnTo>
                  <a:lnTo>
                    <a:pt x="5455" y="1201"/>
                  </a:lnTo>
                  <a:lnTo>
                    <a:pt x="5455" y="18"/>
                  </a:lnTo>
                  <a:lnTo>
                    <a:pt x="5932" y="18"/>
                  </a:lnTo>
                  <a:lnTo>
                    <a:pt x="5932" y="1218"/>
                  </a:lnTo>
                  <a:lnTo>
                    <a:pt x="6762" y="1218"/>
                  </a:lnTo>
                  <a:lnTo>
                    <a:pt x="6762" y="2066"/>
                  </a:lnTo>
                  <a:lnTo>
                    <a:pt x="7998" y="2066"/>
                  </a:lnTo>
                  <a:lnTo>
                    <a:pt x="7998" y="2543"/>
                  </a:lnTo>
                  <a:lnTo>
                    <a:pt x="6815" y="2543"/>
                  </a:lnTo>
                  <a:lnTo>
                    <a:pt x="6815" y="3779"/>
                  </a:lnTo>
                  <a:lnTo>
                    <a:pt x="8007" y="3779"/>
                  </a:lnTo>
                  <a:lnTo>
                    <a:pt x="8007" y="4219"/>
                  </a:lnTo>
                  <a:lnTo>
                    <a:pt x="6824" y="4219"/>
                  </a:lnTo>
                  <a:lnTo>
                    <a:pt x="6824" y="5456"/>
                  </a:lnTo>
                  <a:lnTo>
                    <a:pt x="7998" y="5456"/>
                  </a:lnTo>
                  <a:lnTo>
                    <a:pt x="7998" y="5932"/>
                  </a:lnTo>
                  <a:lnTo>
                    <a:pt x="6815" y="5932"/>
                  </a:lnTo>
                  <a:lnTo>
                    <a:pt x="6771" y="6780"/>
                  </a:lnTo>
                  <a:lnTo>
                    <a:pt x="5941" y="6780"/>
                  </a:lnTo>
                  <a:lnTo>
                    <a:pt x="5941" y="8025"/>
                  </a:lnTo>
                  <a:lnTo>
                    <a:pt x="5482" y="8025"/>
                  </a:lnTo>
                  <a:close/>
                  <a:moveTo>
                    <a:pt x="1722" y="6286"/>
                  </a:moveTo>
                  <a:lnTo>
                    <a:pt x="6276" y="6286"/>
                  </a:lnTo>
                  <a:lnTo>
                    <a:pt x="6276" y="1731"/>
                  </a:lnTo>
                  <a:lnTo>
                    <a:pt x="1722" y="1731"/>
                  </a:lnTo>
                  <a:lnTo>
                    <a:pt x="1722" y="6286"/>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8" name="Freeform 2"/>
            <p:cNvSpPr>
              <a:spLocks noChangeArrowheads="1"/>
            </p:cNvSpPr>
            <p:nvPr/>
          </p:nvSpPr>
          <p:spPr bwMode="auto">
            <a:xfrm>
              <a:off x="4694238" y="3421063"/>
              <a:ext cx="755650" cy="766762"/>
            </a:xfrm>
            <a:custGeom>
              <a:avLst/>
              <a:gdLst>
                <a:gd name="T0" fmla="*/ 0 w 2101"/>
                <a:gd name="T1" fmla="*/ 2127 h 2128"/>
                <a:gd name="T2" fmla="*/ 0 w 2101"/>
                <a:gd name="T3" fmla="*/ 0 h 2128"/>
                <a:gd name="T4" fmla="*/ 2100 w 2101"/>
                <a:gd name="T5" fmla="*/ 0 h 2128"/>
                <a:gd name="T6" fmla="*/ 2100 w 2101"/>
                <a:gd name="T7" fmla="*/ 2127 h 2128"/>
                <a:gd name="T8" fmla="*/ 0 w 2101"/>
                <a:gd name="T9" fmla="*/ 2127 h 2128"/>
              </a:gdLst>
              <a:ahLst/>
              <a:cxnLst>
                <a:cxn ang="0">
                  <a:pos x="T0" y="T1"/>
                </a:cxn>
                <a:cxn ang="0">
                  <a:pos x="T2" y="T3"/>
                </a:cxn>
                <a:cxn ang="0">
                  <a:pos x="T4" y="T5"/>
                </a:cxn>
                <a:cxn ang="0">
                  <a:pos x="T6" y="T7"/>
                </a:cxn>
                <a:cxn ang="0">
                  <a:pos x="T8" y="T9"/>
                </a:cxn>
              </a:cxnLst>
              <a:rect l="0" t="0" r="r" b="b"/>
              <a:pathLst>
                <a:path w="2101" h="2128">
                  <a:moveTo>
                    <a:pt x="0" y="2127"/>
                  </a:moveTo>
                  <a:lnTo>
                    <a:pt x="0" y="0"/>
                  </a:lnTo>
                  <a:lnTo>
                    <a:pt x="2100" y="0"/>
                  </a:lnTo>
                  <a:lnTo>
                    <a:pt x="2100" y="2127"/>
                  </a:lnTo>
                  <a:lnTo>
                    <a:pt x="0" y="212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58" name="Rectangle 57">
            <a:extLst>
              <a:ext uri="{FF2B5EF4-FFF2-40B4-BE49-F238E27FC236}">
                <a16:creationId xmlns:a16="http://schemas.microsoft.com/office/drawing/2014/main" id="{6BBCB851-E6EE-4C48-9545-DDAB86416409}"/>
              </a:ext>
            </a:extLst>
          </p:cNvPr>
          <p:cNvSpPr/>
          <p:nvPr/>
        </p:nvSpPr>
        <p:spPr bwMode="auto">
          <a:xfrm>
            <a:off x="1825871" y="463077"/>
            <a:ext cx="9880426" cy="127378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92" rtl="0" eaLnBrk="1" fontAlgn="base" latinLnBrk="0" hangingPunct="1">
              <a:lnSpc>
                <a:spcPct val="90000"/>
              </a:lnSpc>
              <a:spcBef>
                <a:spcPct val="0"/>
              </a:spcBef>
              <a:spcAft>
                <a:spcPts val="588"/>
              </a:spcAft>
              <a:buClrTx/>
              <a:buSzTx/>
              <a:buFontTx/>
              <a:buNone/>
              <a:tabLst/>
              <a:defRPr/>
            </a:pPr>
            <a:r>
              <a:rPr kumimoji="0" lang="en-US" sz="4313" b="0" i="0" u="none" strike="noStrike" kern="1200" cap="none" spc="-100" normalizeH="0" baseline="0" noProof="0" dirty="0">
                <a:ln w="3175">
                  <a:noFill/>
                </a:ln>
                <a:gradFill>
                  <a:gsLst>
                    <a:gs pos="6952">
                      <a:srgbClr val="353535"/>
                    </a:gs>
                    <a:gs pos="18182">
                      <a:srgbClr val="353535"/>
                    </a:gs>
                  </a:gsLst>
                  <a:lin ang="0" scaled="0"/>
                </a:gradFill>
                <a:effectLst/>
                <a:uLnTx/>
                <a:uFillTx/>
                <a:latin typeface="Segoe UI Light"/>
                <a:ea typeface="+mn-ea"/>
                <a:cs typeface="Segoe UI" pitchFamily="34" charset="0"/>
              </a:rPr>
              <a:t>Comprehensive deep learning, </a:t>
            </a:r>
          </a:p>
          <a:p>
            <a:pPr marL="0" marR="0" lvl="0" indent="0" algn="ctr" defTabSz="914192" rtl="0" eaLnBrk="1" fontAlgn="base" latinLnBrk="0" hangingPunct="1">
              <a:lnSpc>
                <a:spcPct val="90000"/>
              </a:lnSpc>
              <a:spcBef>
                <a:spcPct val="0"/>
              </a:spcBef>
              <a:spcAft>
                <a:spcPts val="588"/>
              </a:spcAft>
              <a:buClrTx/>
              <a:buSzTx/>
              <a:buFontTx/>
              <a:buNone/>
              <a:tabLst/>
              <a:defRPr/>
            </a:pPr>
            <a:r>
              <a:rPr kumimoji="0" lang="en-US" sz="4313" b="0" i="0" u="none" strike="noStrike" kern="1200" cap="none" spc="-100" normalizeH="0" baseline="0" noProof="0" dirty="0">
                <a:ln w="3175">
                  <a:noFill/>
                </a:ln>
                <a:gradFill>
                  <a:gsLst>
                    <a:gs pos="6952">
                      <a:srgbClr val="353535"/>
                    </a:gs>
                    <a:gs pos="18182">
                      <a:srgbClr val="353535"/>
                    </a:gs>
                  </a:gsLst>
                  <a:lin ang="0" scaled="0"/>
                </a:gradFill>
                <a:effectLst/>
                <a:uLnTx/>
                <a:uFillTx/>
                <a:latin typeface="Segoe UI Light"/>
                <a:ea typeface="+mn-ea"/>
                <a:cs typeface="Segoe UI" pitchFamily="34" charset="0"/>
              </a:rPr>
              <a:t>machine learning as a service</a:t>
            </a:r>
          </a:p>
        </p:txBody>
      </p:sp>
      <p:cxnSp>
        <p:nvCxnSpPr>
          <p:cNvPr id="47" name="Straight Connector 46">
            <a:extLst>
              <a:ext uri="{FF2B5EF4-FFF2-40B4-BE49-F238E27FC236}">
                <a16:creationId xmlns:a16="http://schemas.microsoft.com/office/drawing/2014/main" id="{11D12DB0-8BDD-42D8-B0A7-892C0F2202AD}"/>
              </a:ext>
            </a:extLst>
          </p:cNvPr>
          <p:cNvCxnSpPr>
            <a:cxnSpLocks/>
            <a:stCxn id="59" idx="4"/>
          </p:cNvCxnSpPr>
          <p:nvPr/>
        </p:nvCxnSpPr>
        <p:spPr>
          <a:xfrm flipH="1" flipV="1">
            <a:off x="3844941" y="5014711"/>
            <a:ext cx="6347790" cy="1"/>
          </a:xfrm>
          <a:prstGeom prst="line">
            <a:avLst/>
          </a:prstGeom>
          <a:noFill/>
          <a:ln w="19050">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56" name="Oval 55">
            <a:extLst>
              <a:ext uri="{FF2B5EF4-FFF2-40B4-BE49-F238E27FC236}">
                <a16:creationId xmlns:a16="http://schemas.microsoft.com/office/drawing/2014/main" id="{8356B447-D388-4785-B3F6-4488C99BB77B}"/>
              </a:ext>
            </a:extLst>
          </p:cNvPr>
          <p:cNvSpPr/>
          <p:nvPr/>
        </p:nvSpPr>
        <p:spPr bwMode="auto">
          <a:xfrm rot="16200000">
            <a:off x="3698029" y="4941256"/>
            <a:ext cx="146912" cy="146912"/>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7" name="Oval 56">
            <a:extLst>
              <a:ext uri="{FF2B5EF4-FFF2-40B4-BE49-F238E27FC236}">
                <a16:creationId xmlns:a16="http://schemas.microsoft.com/office/drawing/2014/main" id="{8356B447-D388-4785-B3F6-4488C99BB77B}"/>
              </a:ext>
            </a:extLst>
          </p:cNvPr>
          <p:cNvSpPr/>
          <p:nvPr/>
        </p:nvSpPr>
        <p:spPr bwMode="auto">
          <a:xfrm rot="16200000">
            <a:off x="6693019" y="4941256"/>
            <a:ext cx="146912" cy="146912"/>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9" name="Oval 58">
            <a:extLst>
              <a:ext uri="{FF2B5EF4-FFF2-40B4-BE49-F238E27FC236}">
                <a16:creationId xmlns:a16="http://schemas.microsoft.com/office/drawing/2014/main" id="{8356B447-D388-4785-B3F6-4488C99BB77B}"/>
              </a:ext>
            </a:extLst>
          </p:cNvPr>
          <p:cNvSpPr/>
          <p:nvPr/>
        </p:nvSpPr>
        <p:spPr bwMode="auto">
          <a:xfrm rot="16200000">
            <a:off x="10045819" y="4941256"/>
            <a:ext cx="146912" cy="146912"/>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Tree>
    <p:extLst>
      <p:ext uri="{BB962C8B-B14F-4D97-AF65-F5344CB8AC3E}">
        <p14:creationId xmlns:p14="http://schemas.microsoft.com/office/powerpoint/2010/main" val="4956084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with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barn(outVertical)">
                                      <p:cBhvr>
                                        <p:cTn id="7" dur="500"/>
                                        <p:tgtEl>
                                          <p:spTgt spid="47"/>
                                        </p:tgtEl>
                                      </p:cBhvr>
                                    </p:animEffect>
                                  </p:childTnLst>
                                </p:cTn>
                              </p:par>
                              <p:par>
                                <p:cTn id="8" presetID="23" presetClass="entr" presetSubtype="272" fill="hold" grpId="0" nodeType="withEffect">
                                  <p:stCondLst>
                                    <p:cond delay="0"/>
                                  </p:stCondLst>
                                  <p:childTnLst>
                                    <p:set>
                                      <p:cBhvr>
                                        <p:cTn id="9" dur="1" fill="hold">
                                          <p:stCondLst>
                                            <p:cond delay="0"/>
                                          </p:stCondLst>
                                        </p:cTn>
                                        <p:tgtEl>
                                          <p:spTgt spid="56"/>
                                        </p:tgtEl>
                                        <p:attrNameLst>
                                          <p:attrName>style.visibility</p:attrName>
                                        </p:attrNameLst>
                                      </p:cBhvr>
                                      <p:to>
                                        <p:strVal val="visible"/>
                                      </p:to>
                                    </p:set>
                                    <p:anim calcmode="lin" valueType="num">
                                      <p:cBhvr>
                                        <p:cTn id="10" dur="500" fill="hold"/>
                                        <p:tgtEl>
                                          <p:spTgt spid="56"/>
                                        </p:tgtEl>
                                        <p:attrNameLst>
                                          <p:attrName>ppt_w</p:attrName>
                                        </p:attrNameLst>
                                      </p:cBhvr>
                                      <p:tavLst>
                                        <p:tav tm="0">
                                          <p:val>
                                            <p:strVal val="2/3*#ppt_w"/>
                                          </p:val>
                                        </p:tav>
                                        <p:tav tm="100000">
                                          <p:val>
                                            <p:strVal val="#ppt_w"/>
                                          </p:val>
                                        </p:tav>
                                      </p:tavLst>
                                    </p:anim>
                                    <p:anim calcmode="lin" valueType="num">
                                      <p:cBhvr>
                                        <p:cTn id="11" dur="500" fill="hold"/>
                                        <p:tgtEl>
                                          <p:spTgt spid="56"/>
                                        </p:tgtEl>
                                        <p:attrNameLst>
                                          <p:attrName>ppt_h</p:attrName>
                                        </p:attrNameLst>
                                      </p:cBhvr>
                                      <p:tavLst>
                                        <p:tav tm="0">
                                          <p:val>
                                            <p:strVal val="2/3*#ppt_h"/>
                                          </p:val>
                                        </p:tav>
                                        <p:tav tm="100000">
                                          <p:val>
                                            <p:strVal val="#ppt_h"/>
                                          </p:val>
                                        </p:tav>
                                      </p:tavLst>
                                    </p:anim>
                                  </p:childTnLst>
                                </p:cTn>
                              </p:par>
                              <p:par>
                                <p:cTn id="12" presetID="23" presetClass="entr" presetSubtype="272" fill="hold" grpId="0" nodeType="withEffect">
                                  <p:stCondLst>
                                    <p:cond delay="0"/>
                                  </p:stCondLst>
                                  <p:childTnLst>
                                    <p:set>
                                      <p:cBhvr>
                                        <p:cTn id="13" dur="1" fill="hold">
                                          <p:stCondLst>
                                            <p:cond delay="0"/>
                                          </p:stCondLst>
                                        </p:cTn>
                                        <p:tgtEl>
                                          <p:spTgt spid="57"/>
                                        </p:tgtEl>
                                        <p:attrNameLst>
                                          <p:attrName>style.visibility</p:attrName>
                                        </p:attrNameLst>
                                      </p:cBhvr>
                                      <p:to>
                                        <p:strVal val="visible"/>
                                      </p:to>
                                    </p:set>
                                    <p:anim calcmode="lin" valueType="num">
                                      <p:cBhvr>
                                        <p:cTn id="14" dur="500" fill="hold"/>
                                        <p:tgtEl>
                                          <p:spTgt spid="57"/>
                                        </p:tgtEl>
                                        <p:attrNameLst>
                                          <p:attrName>ppt_w</p:attrName>
                                        </p:attrNameLst>
                                      </p:cBhvr>
                                      <p:tavLst>
                                        <p:tav tm="0">
                                          <p:val>
                                            <p:strVal val="2/3*#ppt_w"/>
                                          </p:val>
                                        </p:tav>
                                        <p:tav tm="100000">
                                          <p:val>
                                            <p:strVal val="#ppt_w"/>
                                          </p:val>
                                        </p:tav>
                                      </p:tavLst>
                                    </p:anim>
                                    <p:anim calcmode="lin" valueType="num">
                                      <p:cBhvr>
                                        <p:cTn id="15" dur="500" fill="hold"/>
                                        <p:tgtEl>
                                          <p:spTgt spid="57"/>
                                        </p:tgtEl>
                                        <p:attrNameLst>
                                          <p:attrName>ppt_h</p:attrName>
                                        </p:attrNameLst>
                                      </p:cBhvr>
                                      <p:tavLst>
                                        <p:tav tm="0">
                                          <p:val>
                                            <p:strVal val="2/3*#ppt_h"/>
                                          </p:val>
                                        </p:tav>
                                        <p:tav tm="100000">
                                          <p:val>
                                            <p:strVal val="#ppt_h"/>
                                          </p:val>
                                        </p:tav>
                                      </p:tavLst>
                                    </p:anim>
                                  </p:childTnLst>
                                </p:cTn>
                              </p:par>
                              <p:par>
                                <p:cTn id="16" presetID="23" presetClass="entr" presetSubtype="272" fill="hold" grpId="0" nodeType="withEffect">
                                  <p:stCondLst>
                                    <p:cond delay="0"/>
                                  </p:stCondLst>
                                  <p:childTnLst>
                                    <p:set>
                                      <p:cBhvr>
                                        <p:cTn id="17" dur="1" fill="hold">
                                          <p:stCondLst>
                                            <p:cond delay="0"/>
                                          </p:stCondLst>
                                        </p:cTn>
                                        <p:tgtEl>
                                          <p:spTgt spid="59"/>
                                        </p:tgtEl>
                                        <p:attrNameLst>
                                          <p:attrName>style.visibility</p:attrName>
                                        </p:attrNameLst>
                                      </p:cBhvr>
                                      <p:to>
                                        <p:strVal val="visible"/>
                                      </p:to>
                                    </p:set>
                                    <p:anim calcmode="lin" valueType="num">
                                      <p:cBhvr>
                                        <p:cTn id="18" dur="500" fill="hold"/>
                                        <p:tgtEl>
                                          <p:spTgt spid="59"/>
                                        </p:tgtEl>
                                        <p:attrNameLst>
                                          <p:attrName>ppt_w</p:attrName>
                                        </p:attrNameLst>
                                      </p:cBhvr>
                                      <p:tavLst>
                                        <p:tav tm="0">
                                          <p:val>
                                            <p:strVal val="2/3*#ppt_w"/>
                                          </p:val>
                                        </p:tav>
                                        <p:tav tm="100000">
                                          <p:val>
                                            <p:strVal val="#ppt_w"/>
                                          </p:val>
                                        </p:tav>
                                      </p:tavLst>
                                    </p:anim>
                                    <p:anim calcmode="lin" valueType="num">
                                      <p:cBhvr>
                                        <p:cTn id="19" dur="500" fill="hold"/>
                                        <p:tgtEl>
                                          <p:spTgt spid="59"/>
                                        </p:tgtEl>
                                        <p:attrNameLst>
                                          <p:attrName>ppt_h</p:attrName>
                                        </p:attrNameLst>
                                      </p:cBhvr>
                                      <p:tavLst>
                                        <p:tav tm="0">
                                          <p:val>
                                            <p:strVal val="2/3*#ppt_h"/>
                                          </p:val>
                                        </p:tav>
                                        <p:tav tm="100000">
                                          <p:val>
                                            <p:strVal val="#ppt_h"/>
                                          </p:val>
                                        </p:tav>
                                      </p:tavLst>
                                    </p:anim>
                                  </p:childTnLst>
                                </p:cTn>
                              </p:par>
                              <p:par>
                                <p:cTn id="20" presetID="10" presetClass="entr" presetSubtype="0" fill="hold" grpId="0" nodeType="withEffect">
                                  <p:stCondLst>
                                    <p:cond delay="0"/>
                                  </p:stCondLst>
                                  <p:childTnLst>
                                    <p:set>
                                      <p:cBhvr>
                                        <p:cTn id="21" dur="1" fill="hold">
                                          <p:stCondLst>
                                            <p:cond delay="0"/>
                                          </p:stCondLst>
                                        </p:cTn>
                                        <p:tgtEl>
                                          <p:spTgt spid="108"/>
                                        </p:tgtEl>
                                        <p:attrNameLst>
                                          <p:attrName>style.visibility</p:attrName>
                                        </p:attrNameLst>
                                      </p:cBhvr>
                                      <p:to>
                                        <p:strVal val="visible"/>
                                      </p:to>
                                    </p:set>
                                    <p:animEffect transition="in" filter="fade">
                                      <p:cBhvr>
                                        <p:cTn id="22" dur="5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p:bldP spid="56" grpId="0" animBg="1"/>
      <p:bldP spid="57" grpId="0" animBg="1"/>
      <p:bldP spid="59" grpId="0" animBg="1"/>
    </p:bldLst>
  </p:timing>
</p:sld>
</file>

<file path=ppt/slides/slide13.xml><?xml version="1.0" encoding="utf-8"?>
<p:sld xmlns:a="http://schemas.openxmlformats.org/drawingml/2006/main" xmlns:r="http://schemas.openxmlformats.org/officeDocument/2006/relationships" xmlns:p="http://schemas.openxmlformats.org/presentationml/2006/main" show="0">
  <p:cSld>
    <p:bg>
      <p:bgPr>
        <a:solidFill>
          <a:srgbClr val="F2F2F2"/>
        </a:solidFill>
        <a:effectLst/>
      </p:bgPr>
    </p:bg>
    <p:spTree>
      <p:nvGrpSpPr>
        <p:cNvPr id="1" name=""/>
        <p:cNvGrpSpPr/>
        <p:nvPr/>
      </p:nvGrpSpPr>
      <p:grpSpPr>
        <a:xfrm>
          <a:off x="0" y="0"/>
          <a:ext cx="0" cy="0"/>
          <a:chOff x="0" y="0"/>
          <a:chExt cx="0" cy="0"/>
        </a:xfrm>
      </p:grpSpPr>
      <p:cxnSp>
        <p:nvCxnSpPr>
          <p:cNvPr id="136" name="Straight Connector 135"/>
          <p:cNvCxnSpPr/>
          <p:nvPr/>
        </p:nvCxnSpPr>
        <p:spPr>
          <a:xfrm>
            <a:off x="2567636" y="2777276"/>
            <a:ext cx="9103432"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2567636" y="4821706"/>
            <a:ext cx="9103432"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AA159894-4777-4BD4-80D1-FD09090A8EAF}"/>
              </a:ext>
            </a:extLst>
          </p:cNvPr>
          <p:cNvSpPr/>
          <p:nvPr/>
        </p:nvSpPr>
        <p:spPr>
          <a:xfrm>
            <a:off x="415961" y="5573677"/>
            <a:ext cx="1224506" cy="452590"/>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2353" b="0" i="0" u="none" strike="noStrike" kern="0" cap="none" spc="49"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Trusted</a:t>
            </a:r>
          </a:p>
        </p:txBody>
      </p:sp>
      <p:sp>
        <p:nvSpPr>
          <p:cNvPr id="8" name="Rectangle 7">
            <a:extLst>
              <a:ext uri="{FF2B5EF4-FFF2-40B4-BE49-F238E27FC236}">
                <a16:creationId xmlns:a16="http://schemas.microsoft.com/office/drawing/2014/main" id="{2008378F-748F-4973-91D2-AE64A243C214}"/>
              </a:ext>
            </a:extLst>
          </p:cNvPr>
          <p:cNvSpPr/>
          <p:nvPr/>
        </p:nvSpPr>
        <p:spPr>
          <a:xfrm>
            <a:off x="458391" y="4252629"/>
            <a:ext cx="1139646" cy="331899"/>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Intelligent</a:t>
            </a:r>
          </a:p>
        </p:txBody>
      </p:sp>
      <p:cxnSp>
        <p:nvCxnSpPr>
          <p:cNvPr id="46" name="Straight Connector 45">
            <a:extLst>
              <a:ext uri="{FF2B5EF4-FFF2-40B4-BE49-F238E27FC236}">
                <a16:creationId xmlns:a16="http://schemas.microsoft.com/office/drawing/2014/main" id="{D075AD67-B61E-4831-83EC-2AF66D0FDBB2}"/>
              </a:ext>
            </a:extLst>
          </p:cNvPr>
          <p:cNvCxnSpPr>
            <a:cxnSpLocks/>
          </p:cNvCxnSpPr>
          <p:nvPr/>
        </p:nvCxnSpPr>
        <p:spPr>
          <a:xfrm>
            <a:off x="1954222" y="487"/>
            <a:ext cx="0" cy="6888317"/>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96"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71537" y="3796742"/>
            <a:ext cx="285750" cy="424238"/>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01" name="Freeform 100"/>
          <p:cNvSpPr>
            <a:spLocks noChangeArrowheads="1"/>
          </p:cNvSpPr>
          <p:nvPr/>
        </p:nvSpPr>
        <p:spPr bwMode="auto">
          <a:xfrm>
            <a:off x="696391" y="4824727"/>
            <a:ext cx="646635" cy="639841"/>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2" name="Rectangle 91">
            <a:extLst>
              <a:ext uri="{FF2B5EF4-FFF2-40B4-BE49-F238E27FC236}">
                <a16:creationId xmlns:a16="http://schemas.microsoft.com/office/drawing/2014/main" id="{EA67D13E-22CD-4486-A9F2-CD3317A182A1}"/>
              </a:ext>
            </a:extLst>
          </p:cNvPr>
          <p:cNvSpPr/>
          <p:nvPr/>
        </p:nvSpPr>
        <p:spPr>
          <a:xfrm>
            <a:off x="600013" y="3102867"/>
            <a:ext cx="818686" cy="333617"/>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Hybrid</a:t>
            </a:r>
          </a:p>
        </p:txBody>
      </p:sp>
      <p:sp>
        <p:nvSpPr>
          <p:cNvPr id="93" name="Rectangle 92">
            <a:extLst>
              <a:ext uri="{FF2B5EF4-FFF2-40B4-BE49-F238E27FC236}">
                <a16:creationId xmlns:a16="http://schemas.microsoft.com/office/drawing/2014/main" id="{1F09D33A-7652-4476-AC65-D2723CB89576}"/>
              </a:ext>
            </a:extLst>
          </p:cNvPr>
          <p:cNvSpPr/>
          <p:nvPr/>
        </p:nvSpPr>
        <p:spPr>
          <a:xfrm>
            <a:off x="412719" y="1791255"/>
            <a:ext cx="1193275" cy="333617"/>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Productive</a:t>
            </a:r>
          </a:p>
        </p:txBody>
      </p:sp>
      <p:sp>
        <p:nvSpPr>
          <p:cNvPr id="94" name="speedometer_2">
            <a:extLst>
              <a:ext uri="{FF2B5EF4-FFF2-40B4-BE49-F238E27FC236}">
                <a16:creationId xmlns:a16="http://schemas.microsoft.com/office/drawing/2014/main" id="{C66B6F8E-3B6A-4D8E-AF1A-5DB38875608B}"/>
              </a:ext>
            </a:extLst>
          </p:cNvPr>
          <p:cNvSpPr>
            <a:spLocks noChangeAspect="1" noEditPoints="1"/>
          </p:cNvSpPr>
          <p:nvPr/>
        </p:nvSpPr>
        <p:spPr bwMode="auto">
          <a:xfrm>
            <a:off x="800949" y="1160459"/>
            <a:ext cx="431098" cy="43109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100" name="Group 99">
            <a:extLst>
              <a:ext uri="{FF2B5EF4-FFF2-40B4-BE49-F238E27FC236}">
                <a16:creationId xmlns:a16="http://schemas.microsoft.com/office/drawing/2014/main" id="{407C8F82-925F-4342-9824-1D96908E08E1}"/>
              </a:ext>
            </a:extLst>
          </p:cNvPr>
          <p:cNvGrpSpPr/>
          <p:nvPr/>
        </p:nvGrpSpPr>
        <p:grpSpPr>
          <a:xfrm>
            <a:off x="775290" y="2524056"/>
            <a:ext cx="451261" cy="440761"/>
            <a:chOff x="2088630" y="3287843"/>
            <a:chExt cx="429718" cy="419725"/>
          </a:xfrm>
          <a:noFill/>
        </p:grpSpPr>
        <p:sp>
          <p:nvSpPr>
            <p:cNvPr id="102" name="Rectangle 101">
              <a:extLst>
                <a:ext uri="{FF2B5EF4-FFF2-40B4-BE49-F238E27FC236}">
                  <a16:creationId xmlns:a16="http://schemas.microsoft.com/office/drawing/2014/main" id="{9220230F-20DF-40DA-A6AA-6C38E47DBA31}"/>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03" name="Rectangle 102">
              <a:extLst>
                <a:ext uri="{FF2B5EF4-FFF2-40B4-BE49-F238E27FC236}">
                  <a16:creationId xmlns:a16="http://schemas.microsoft.com/office/drawing/2014/main" id="{45BA0F79-6846-48AF-8284-BFA9A30557EE}"/>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pic>
        <p:nvPicPr>
          <p:cNvPr id="32" name="Picture 28"/>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0904675" y="2964155"/>
            <a:ext cx="612165" cy="545334"/>
          </a:xfrm>
          <a:prstGeom prst="rect">
            <a:avLst/>
          </a:prstGeom>
        </p:spPr>
      </p:pic>
      <p:sp>
        <p:nvSpPr>
          <p:cNvPr id="33" name="Rectangle 32"/>
          <p:cNvSpPr/>
          <p:nvPr/>
        </p:nvSpPr>
        <p:spPr>
          <a:xfrm>
            <a:off x="10812917" y="3533510"/>
            <a:ext cx="795681" cy="343378"/>
          </a:xfrm>
          <a:prstGeom prst="rect">
            <a:avLst/>
          </a:prstGeom>
        </p:spPr>
        <p:txBody>
          <a:bodyPr wrap="squar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HIPAA / HITECH Act</a:t>
            </a:r>
          </a:p>
        </p:txBody>
      </p:sp>
      <p:sp>
        <p:nvSpPr>
          <p:cNvPr id="34" name="Rectangle 33"/>
          <p:cNvSpPr/>
          <p:nvPr/>
        </p:nvSpPr>
        <p:spPr>
          <a:xfrm>
            <a:off x="8279499" y="4449032"/>
            <a:ext cx="742073" cy="217849"/>
          </a:xfrm>
          <a:prstGeom prst="rect">
            <a:avLst/>
          </a:prstGeom>
        </p:spPr>
        <p:txBody>
          <a:bodyPr wrap="squar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FERPA</a:t>
            </a:r>
          </a:p>
        </p:txBody>
      </p:sp>
      <p:pic>
        <p:nvPicPr>
          <p:cNvPr id="40" name="Picture 39"/>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5227" y="3963540"/>
            <a:ext cx="430617" cy="430617"/>
          </a:xfrm>
          <a:prstGeom prst="rect">
            <a:avLst/>
          </a:prstGeom>
        </p:spPr>
      </p:pic>
      <p:pic>
        <p:nvPicPr>
          <p:cNvPr id="41" name="Picture 40"/>
          <p:cNvPicPr>
            <a:picLocks noChangeAspect="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284897" y="4066084"/>
            <a:ext cx="559158" cy="225528"/>
          </a:xfrm>
          <a:prstGeom prst="rect">
            <a:avLst/>
          </a:prstGeom>
        </p:spPr>
      </p:pic>
      <p:sp>
        <p:nvSpPr>
          <p:cNvPr id="42" name="Rectangle 41"/>
          <p:cNvSpPr/>
          <p:nvPr/>
        </p:nvSpPr>
        <p:spPr>
          <a:xfrm>
            <a:off x="4028159" y="4449032"/>
            <a:ext cx="1072634" cy="343378"/>
          </a:xfrm>
          <a:prstGeom prst="rect">
            <a:avLst/>
          </a:prstGeom>
        </p:spPr>
        <p:txBody>
          <a:bodyPr wrap="squar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GxP</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21 CFR Part 11</a:t>
            </a:r>
          </a:p>
        </p:txBody>
      </p:sp>
      <p:pic>
        <p:nvPicPr>
          <p:cNvPr id="43" name="Picture 42"/>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2954514" y="963637"/>
            <a:ext cx="529632" cy="530752"/>
          </a:xfrm>
          <a:prstGeom prst="rect">
            <a:avLst/>
          </a:prstGeom>
        </p:spPr>
      </p:pic>
      <p:sp>
        <p:nvSpPr>
          <p:cNvPr id="44" name="Rectangle 43"/>
          <p:cNvSpPr/>
          <p:nvPr/>
        </p:nvSpPr>
        <p:spPr>
          <a:xfrm>
            <a:off x="2935716" y="1549155"/>
            <a:ext cx="567229" cy="150842"/>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505050"/>
                </a:solidFill>
                <a:effectLst/>
                <a:uLnTx/>
                <a:uFillTx/>
                <a:latin typeface="Segoe UI Semilight"/>
                <a:ea typeface="+mn-ea"/>
                <a:cs typeface="+mn-cs"/>
              </a:rPr>
              <a:t>ISO 27001</a:t>
            </a:r>
          </a:p>
        </p:txBody>
      </p:sp>
      <p:pic>
        <p:nvPicPr>
          <p:cNvPr id="45" name="Picture 44"/>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0906305" y="965736"/>
            <a:ext cx="575164" cy="526556"/>
          </a:xfrm>
          <a:prstGeom prst="rect">
            <a:avLst/>
          </a:prstGeom>
        </p:spPr>
      </p:pic>
      <p:sp>
        <p:nvSpPr>
          <p:cNvPr id="47" name="Rectangle 46"/>
          <p:cNvSpPr/>
          <p:nvPr/>
        </p:nvSpPr>
        <p:spPr>
          <a:xfrm>
            <a:off x="10820711" y="1549155"/>
            <a:ext cx="746353" cy="150842"/>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SOC 1 Type 2</a:t>
            </a:r>
          </a:p>
        </p:txBody>
      </p:sp>
      <p:pic>
        <p:nvPicPr>
          <p:cNvPr id="48"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890132" y="1007558"/>
            <a:ext cx="586214" cy="442914"/>
          </a:xfrm>
          <a:prstGeom prst="rect">
            <a:avLst/>
          </a:prstGeom>
          <a:noFill/>
          <a:extLst>
            <a:ext uri="{909E8E84-426E-40DD-AFC4-6F175D3DCCD1}">
              <a14:hiddenFill xmlns:a14="http://schemas.microsoft.com/office/drawing/2010/main">
                <a:solidFill>
                  <a:srgbClr val="FFFFFF"/>
                </a:solidFill>
              </a14:hiddenFill>
            </a:ext>
          </a:extLst>
        </p:spPr>
      </p:pic>
      <p:sp>
        <p:nvSpPr>
          <p:cNvPr id="49" name="Rectangle 48"/>
          <p:cNvSpPr/>
          <p:nvPr/>
        </p:nvSpPr>
        <p:spPr>
          <a:xfrm>
            <a:off x="4899625" y="1549155"/>
            <a:ext cx="567228" cy="150842"/>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ISO 27018</a:t>
            </a:r>
          </a:p>
        </p:txBody>
      </p:sp>
      <p:pic>
        <p:nvPicPr>
          <p:cNvPr id="50" name="Picture 49"/>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6758641" y="1931301"/>
            <a:ext cx="778358" cy="298452"/>
          </a:xfrm>
          <a:prstGeom prst="rect">
            <a:avLst/>
          </a:prstGeom>
        </p:spPr>
      </p:pic>
      <p:sp>
        <p:nvSpPr>
          <p:cNvPr id="51" name="Rectangle 50"/>
          <p:cNvSpPr/>
          <p:nvPr/>
        </p:nvSpPr>
        <p:spPr>
          <a:xfrm>
            <a:off x="6733791" y="2347296"/>
            <a:ext cx="828059" cy="301684"/>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CSA STAR</a:t>
            </a:r>
          </a:p>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Self-Assessment</a:t>
            </a:r>
          </a:p>
          <a:p>
            <a:pPr marL="0" marR="0" lvl="0" indent="0" algn="ctr" defTabSz="597032" rtl="0" eaLnBrk="1" fontAlgn="ctr"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a:ln>
                <a:noFill/>
              </a:ln>
              <a:solidFill>
                <a:srgbClr val="505050"/>
              </a:solidFill>
              <a:effectLst/>
              <a:uLnTx/>
              <a:uFillTx/>
              <a:latin typeface="Segoe UI Semilight"/>
              <a:ea typeface="+mn-ea"/>
              <a:cs typeface="+mn-cs"/>
            </a:endParaRPr>
          </a:p>
        </p:txBody>
      </p:sp>
      <p:pic>
        <p:nvPicPr>
          <p:cNvPr id="52" name="Picture 51"/>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8847423" y="5139357"/>
            <a:ext cx="647522" cy="211918"/>
          </a:xfrm>
          <a:prstGeom prst="rect">
            <a:avLst/>
          </a:prstGeom>
        </p:spPr>
      </p:pic>
      <p:sp>
        <p:nvSpPr>
          <p:cNvPr id="53" name="Rectangle 52"/>
          <p:cNvSpPr/>
          <p:nvPr/>
        </p:nvSpPr>
        <p:spPr>
          <a:xfrm>
            <a:off x="8862521" y="5476403"/>
            <a:ext cx="617326"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Singapore</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MTCS</a:t>
            </a:r>
          </a:p>
        </p:txBody>
      </p:sp>
      <p:sp>
        <p:nvSpPr>
          <p:cNvPr id="54" name="Rectangle 53"/>
          <p:cNvSpPr/>
          <p:nvPr/>
        </p:nvSpPr>
        <p:spPr>
          <a:xfrm>
            <a:off x="5008826" y="5476403"/>
            <a:ext cx="562359"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UK </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G-Cloud</a:t>
            </a:r>
          </a:p>
        </p:txBody>
      </p:sp>
      <p:pic>
        <p:nvPicPr>
          <p:cNvPr id="55" name="Picture 54"/>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5110720" y="5066031"/>
            <a:ext cx="358570" cy="358569"/>
          </a:xfrm>
          <a:prstGeom prst="rect">
            <a:avLst/>
          </a:prstGeom>
        </p:spPr>
      </p:pic>
      <p:sp>
        <p:nvSpPr>
          <p:cNvPr id="56" name="Rectangle 55"/>
          <p:cNvSpPr/>
          <p:nvPr/>
        </p:nvSpPr>
        <p:spPr>
          <a:xfrm>
            <a:off x="9825378" y="5476403"/>
            <a:ext cx="638708" cy="306000"/>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Australia</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IRAP/CCSL</a:t>
            </a:r>
          </a:p>
        </p:txBody>
      </p:sp>
      <p:pic>
        <p:nvPicPr>
          <p:cNvPr id="57" name="Picture 56" descr="IRAP logo">
            <a:hlinkClick r:id="rId12"/>
          </p:cNvPr>
          <p:cNvPicPr/>
          <p:nvPr/>
        </p:nvPicPr>
        <p:blipFill>
          <a:blip r:embed="rId1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909734" y="5090058"/>
            <a:ext cx="469996" cy="310512"/>
          </a:xfrm>
          <a:prstGeom prst="rect">
            <a:avLst/>
          </a:prstGeom>
          <a:noFill/>
          <a:ln>
            <a:noFill/>
          </a:ln>
        </p:spPr>
      </p:pic>
      <p:pic>
        <p:nvPicPr>
          <p:cNvPr id="58" name="Picture 57" descr="FISC : The Center for Financial Industry Infomation System">
            <a:hlinkClick r:id="rId14" tooltip="&quot;FISC HOME&quot;"/>
          </p:cNvPr>
          <p:cNvPicPr/>
          <p:nvPr/>
        </p:nvPicPr>
        <p:blipFill rotWithShape="1">
          <a:blip r:embed="rId15" cstate="screen">
            <a:clrChange>
              <a:clrFrom>
                <a:srgbClr val="FFFFFB"/>
              </a:clrFrom>
              <a:clrTo>
                <a:srgbClr val="FFFFFB">
                  <a:alpha val="0"/>
                </a:srgbClr>
              </a:clrTo>
            </a:clrChange>
            <a:extLst>
              <a:ext uri="{28A0092B-C50C-407E-A947-70E740481C1C}">
                <a14:useLocalDpi xmlns:a14="http://schemas.microsoft.com/office/drawing/2010/main" val="0"/>
              </a:ext>
            </a:extLst>
          </a:blip>
          <a:srcRect/>
          <a:stretch/>
        </p:blipFill>
        <p:spPr bwMode="auto">
          <a:xfrm>
            <a:off x="9654743" y="3122422"/>
            <a:ext cx="551550" cy="228802"/>
          </a:xfrm>
          <a:prstGeom prst="rect">
            <a:avLst/>
          </a:prstGeom>
          <a:noFill/>
          <a:ln>
            <a:noFill/>
          </a:ln>
        </p:spPr>
      </p:pic>
      <p:sp>
        <p:nvSpPr>
          <p:cNvPr id="59" name="Rectangle 58"/>
          <p:cNvSpPr/>
          <p:nvPr/>
        </p:nvSpPr>
        <p:spPr>
          <a:xfrm>
            <a:off x="9550934" y="3533510"/>
            <a:ext cx="759168" cy="217849"/>
          </a:xfrm>
          <a:prstGeom prst="rect">
            <a:avLst/>
          </a:prstGeom>
        </p:spPr>
        <p:txBody>
          <a:bodyPr wrap="squar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FISC Japan</a:t>
            </a:r>
          </a:p>
        </p:txBody>
      </p:sp>
      <p:pic>
        <p:nvPicPr>
          <p:cNvPr id="60" name="Picture 59" descr="http://ts1.mm.bing.net/th?&amp;id=HN.607999990459468225&amp;w=300&amp;h=300&amp;c=0&amp;pid=1.9&amp;rs=0&amp;p=0"/>
          <p:cNvPicPr/>
          <p:nvPr/>
        </p:nvPicPr>
        <p:blipFill>
          <a:blip r:embed="rId16"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963367" y="5027363"/>
            <a:ext cx="477089" cy="435906"/>
          </a:xfrm>
          <a:prstGeom prst="rect">
            <a:avLst/>
          </a:prstGeom>
          <a:noFill/>
          <a:ln>
            <a:noFill/>
          </a:ln>
        </p:spPr>
      </p:pic>
      <p:sp>
        <p:nvSpPr>
          <p:cNvPr id="61" name="Rectangle 60"/>
          <p:cNvSpPr/>
          <p:nvPr/>
        </p:nvSpPr>
        <p:spPr>
          <a:xfrm>
            <a:off x="10801997" y="5476403"/>
            <a:ext cx="799829"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 New Zealand </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GCIO</a:t>
            </a:r>
          </a:p>
        </p:txBody>
      </p:sp>
      <p:pic>
        <p:nvPicPr>
          <p:cNvPr id="62" name="Picture 8" descr="image002"/>
          <p:cNvPicPr>
            <a:picLocks noChangeAspect="1" noChangeArrowheads="1"/>
          </p:cNvPicPr>
          <p:nvPr/>
        </p:nvPicPr>
        <p:blipFill>
          <a:blip r:embed="rId17" cstate="screen">
            <a:clrChange>
              <a:clrFrom>
                <a:srgbClr val="FFFFFD"/>
              </a:clrFrom>
              <a:clrTo>
                <a:srgbClr val="FFFFFD">
                  <a:alpha val="0"/>
                </a:srgbClr>
              </a:clrTo>
            </a:clrChange>
            <a:extLst>
              <a:ext uri="{28A0092B-C50C-407E-A947-70E740481C1C}">
                <a14:useLocalDpi xmlns:a14="http://schemas.microsoft.com/office/drawing/2010/main" val="0"/>
              </a:ext>
            </a:extLst>
          </a:blip>
          <a:srcRect/>
          <a:stretch>
            <a:fillRect/>
          </a:stretch>
        </p:blipFill>
        <p:spPr bwMode="auto">
          <a:xfrm>
            <a:off x="7039585" y="5028456"/>
            <a:ext cx="433722" cy="433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Rectangle 62"/>
          <p:cNvSpPr/>
          <p:nvPr/>
        </p:nvSpPr>
        <p:spPr>
          <a:xfrm>
            <a:off x="6952024" y="5476403"/>
            <a:ext cx="608845"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China</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GB 18030</a:t>
            </a:r>
          </a:p>
        </p:txBody>
      </p:sp>
      <p:sp>
        <p:nvSpPr>
          <p:cNvPr id="64" name="Rectangle 63"/>
          <p:cNvSpPr/>
          <p:nvPr/>
        </p:nvSpPr>
        <p:spPr>
          <a:xfrm>
            <a:off x="3886470" y="5476403"/>
            <a:ext cx="792363" cy="306001"/>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EU</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Model Clauses</a:t>
            </a:r>
          </a:p>
        </p:txBody>
      </p:sp>
      <p:pic>
        <p:nvPicPr>
          <p:cNvPr id="65" name="Picture 64"/>
          <p:cNvPicPr>
            <a:picLocks noChangeAspect="1"/>
          </p:cNvPicPr>
          <p:nvPr/>
        </p:nvPicPr>
        <p:blipFill>
          <a:blip r:embed="rId18" cstate="screen">
            <a:extLst>
              <a:ext uri="{28A0092B-C50C-407E-A947-70E740481C1C}">
                <a14:useLocalDpi xmlns:a14="http://schemas.microsoft.com/office/drawing/2010/main" val="0"/>
              </a:ext>
            </a:extLst>
          </a:blip>
          <a:stretch>
            <a:fillRect/>
          </a:stretch>
        </p:blipFill>
        <p:spPr>
          <a:xfrm>
            <a:off x="4005892" y="5053528"/>
            <a:ext cx="553519" cy="383571"/>
          </a:xfrm>
          <a:prstGeom prst="rect">
            <a:avLst/>
          </a:prstGeom>
        </p:spPr>
      </p:pic>
      <p:sp>
        <p:nvSpPr>
          <p:cNvPr id="66" name="Rectangle 65"/>
          <p:cNvSpPr/>
          <p:nvPr/>
        </p:nvSpPr>
        <p:spPr>
          <a:xfrm>
            <a:off x="4034465" y="6392184"/>
            <a:ext cx="496372"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ENISA</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IAF</a:t>
            </a:r>
          </a:p>
        </p:txBody>
      </p:sp>
      <p:pic>
        <p:nvPicPr>
          <p:cNvPr id="67" name="Picture 66"/>
          <p:cNvPicPr>
            <a:picLocks noChangeAspect="1"/>
          </p:cNvPicPr>
          <p:nvPr/>
        </p:nvPicPr>
        <p:blipFill>
          <a:blip r:embed="rId19" cstate="screen">
            <a:extLst>
              <a:ext uri="{28A0092B-C50C-407E-A947-70E740481C1C}">
                <a14:useLocalDpi xmlns:a14="http://schemas.microsoft.com/office/drawing/2010/main" val="0"/>
              </a:ext>
            </a:extLst>
          </a:blip>
          <a:stretch>
            <a:fillRect/>
          </a:stretch>
        </p:blipFill>
        <p:spPr>
          <a:xfrm>
            <a:off x="4074704" y="5965120"/>
            <a:ext cx="415895" cy="392604"/>
          </a:xfrm>
          <a:prstGeom prst="rect">
            <a:avLst/>
          </a:prstGeom>
        </p:spPr>
      </p:pic>
      <p:pic>
        <p:nvPicPr>
          <p:cNvPr id="68" name="Picture 67"/>
          <p:cNvPicPr>
            <a:picLocks noChangeAspect="1"/>
          </p:cNvPicPr>
          <p:nvPr/>
        </p:nvPicPr>
        <p:blipFill>
          <a:blip r:embed="rId20" cstate="screen">
            <a:extLst>
              <a:ext uri="{28A0092B-C50C-407E-A947-70E740481C1C}">
                <a14:useLocalDpi xmlns:a14="http://schemas.microsoft.com/office/drawing/2010/main" val="0"/>
              </a:ext>
            </a:extLst>
          </a:blip>
          <a:stretch>
            <a:fillRect/>
          </a:stretch>
        </p:blipFill>
        <p:spPr>
          <a:xfrm>
            <a:off x="2970317" y="5116588"/>
            <a:ext cx="429327" cy="257458"/>
          </a:xfrm>
          <a:prstGeom prst="rect">
            <a:avLst/>
          </a:prstGeom>
        </p:spPr>
      </p:pic>
      <p:sp>
        <p:nvSpPr>
          <p:cNvPr id="69" name="Rectangle 68"/>
          <p:cNvSpPr/>
          <p:nvPr/>
        </p:nvSpPr>
        <p:spPr>
          <a:xfrm>
            <a:off x="2853063" y="5476403"/>
            <a:ext cx="663834"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Argentina </a:t>
            </a:r>
            <a:br>
              <a:rPr kumimoji="0" lang="en-US" sz="700" b="1" i="0" u="none" strike="noStrike" kern="0" cap="none" spc="0" normalizeH="0" baseline="0" noProof="0">
                <a:ln>
                  <a:noFill/>
                </a:ln>
                <a:solidFill>
                  <a:srgbClr val="505050"/>
                </a:solidFill>
                <a:effectLst/>
                <a:uLnTx/>
                <a:uFillTx/>
                <a:latin typeface="Segoe UI Semilight"/>
                <a:ea typeface="+mn-ea"/>
                <a:cs typeface="+mn-cs"/>
              </a:rPr>
            </a:br>
            <a:r>
              <a:rPr kumimoji="0" lang="en-US" sz="700" b="1" i="0" u="none" strike="noStrike" kern="0" cap="none" spc="0" normalizeH="0" baseline="0" noProof="0">
                <a:ln>
                  <a:noFill/>
                </a:ln>
                <a:solidFill>
                  <a:srgbClr val="505050"/>
                </a:solidFill>
                <a:effectLst/>
                <a:uLnTx/>
                <a:uFillTx/>
                <a:latin typeface="Segoe UI Semilight"/>
                <a:ea typeface="+mn-ea"/>
                <a:cs typeface="+mn-cs"/>
              </a:rPr>
              <a:t>PDPA</a:t>
            </a:r>
          </a:p>
        </p:txBody>
      </p:sp>
      <p:pic>
        <p:nvPicPr>
          <p:cNvPr id="70" name="Picture 69" descr="http://jcispa.jasa.jp/wp/wp-content/themes/jcispa_academica/images/fig_cslogo01.png"/>
          <p:cNvPicPr/>
          <p:nvPr/>
        </p:nvPicPr>
        <p:blipFill>
          <a:blip r:embed="rId21" cstate="screen">
            <a:extLst>
              <a:ext uri="{28A0092B-C50C-407E-A947-70E740481C1C}">
                <a14:useLocalDpi xmlns:a14="http://schemas.microsoft.com/office/drawing/2010/main" val="0"/>
              </a:ext>
            </a:extLst>
          </a:blip>
          <a:srcRect/>
          <a:stretch>
            <a:fillRect/>
          </a:stretch>
        </p:blipFill>
        <p:spPr bwMode="auto">
          <a:xfrm>
            <a:off x="5095686" y="5990418"/>
            <a:ext cx="388639" cy="342001"/>
          </a:xfrm>
          <a:prstGeom prst="rect">
            <a:avLst/>
          </a:prstGeom>
          <a:noFill/>
          <a:ln>
            <a:noFill/>
          </a:ln>
        </p:spPr>
      </p:pic>
      <p:sp>
        <p:nvSpPr>
          <p:cNvPr id="71" name="Rectangle 70"/>
          <p:cNvSpPr/>
          <p:nvPr/>
        </p:nvSpPr>
        <p:spPr>
          <a:xfrm>
            <a:off x="4974895" y="6392184"/>
            <a:ext cx="630221" cy="306000"/>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Japan CS Mark Gold</a:t>
            </a:r>
          </a:p>
        </p:txBody>
      </p:sp>
      <p:pic>
        <p:nvPicPr>
          <p:cNvPr id="72" name="Picture 71"/>
          <p:cNvPicPr>
            <a:picLocks noChangeAspect="1"/>
          </p:cNvPicPr>
          <p:nvPr/>
        </p:nvPicPr>
        <p:blipFill>
          <a:blip r:embed="rId22" cstate="screen">
            <a:extLst>
              <a:ext uri="{28A0092B-C50C-407E-A947-70E740481C1C}">
                <a14:useLocalDpi xmlns:a14="http://schemas.microsoft.com/office/drawing/2010/main" val="0"/>
              </a:ext>
            </a:extLst>
          </a:blip>
          <a:stretch>
            <a:fillRect/>
          </a:stretch>
        </p:blipFill>
        <p:spPr>
          <a:xfrm>
            <a:off x="4304726" y="2977073"/>
            <a:ext cx="519500" cy="519500"/>
          </a:xfrm>
          <a:prstGeom prst="rect">
            <a:avLst/>
          </a:prstGeom>
        </p:spPr>
      </p:pic>
      <p:sp>
        <p:nvSpPr>
          <p:cNvPr id="73" name="Rectangle 72"/>
          <p:cNvSpPr/>
          <p:nvPr/>
        </p:nvSpPr>
        <p:spPr>
          <a:xfrm>
            <a:off x="4240026" y="3533510"/>
            <a:ext cx="648900" cy="149783"/>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CDSA</a:t>
            </a:r>
          </a:p>
        </p:txBody>
      </p:sp>
      <p:sp>
        <p:nvSpPr>
          <p:cNvPr id="74" name="Rectangle 73"/>
          <p:cNvSpPr/>
          <p:nvPr/>
        </p:nvSpPr>
        <p:spPr>
          <a:xfrm>
            <a:off x="8254577" y="3533510"/>
            <a:ext cx="791917" cy="301684"/>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Shared</a:t>
            </a:r>
          </a:p>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Assessments</a:t>
            </a:r>
          </a:p>
        </p:txBody>
      </p:sp>
      <p:pic>
        <p:nvPicPr>
          <p:cNvPr id="75" name="Picture 74"/>
          <p:cNvPicPr>
            <a:picLocks noChangeAspect="1"/>
          </p:cNvPicPr>
          <p:nvPr/>
        </p:nvPicPr>
        <p:blipFill>
          <a:blip r:embed="rId23"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365899" y="3095955"/>
            <a:ext cx="569273" cy="281736"/>
          </a:xfrm>
          <a:prstGeom prst="rect">
            <a:avLst/>
          </a:prstGeom>
        </p:spPr>
      </p:pic>
      <p:sp>
        <p:nvSpPr>
          <p:cNvPr id="76" name="Rectangle 75"/>
          <p:cNvSpPr/>
          <p:nvPr/>
        </p:nvSpPr>
        <p:spPr>
          <a:xfrm>
            <a:off x="2874204" y="6392184"/>
            <a:ext cx="621552" cy="301684"/>
          </a:xfrm>
          <a:prstGeom prst="rect">
            <a:avLst/>
          </a:prstGeom>
        </p:spPr>
        <p:txBody>
          <a:bodyPr wrap="none" lIns="0" tIns="0" rIns="0" bIns="0" anchor="ctr">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Japan My</a:t>
            </a:r>
          </a:p>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Number Act</a:t>
            </a:r>
          </a:p>
        </p:txBody>
      </p:sp>
      <p:pic>
        <p:nvPicPr>
          <p:cNvPr id="77" name="Picture 76"/>
          <p:cNvPicPr>
            <a:picLocks noChangeAspect="1"/>
          </p:cNvPicPr>
          <p:nvPr/>
        </p:nvPicPr>
        <p:blipFill>
          <a:blip r:embed="rId24" cstate="screen">
            <a:extLst>
              <a:ext uri="{28A0092B-C50C-407E-A947-70E740481C1C}">
                <a14:useLocalDpi xmlns:a14="http://schemas.microsoft.com/office/drawing/2010/main" val="0"/>
              </a:ext>
            </a:extLst>
          </a:blip>
          <a:stretch>
            <a:fillRect/>
          </a:stretch>
        </p:blipFill>
        <p:spPr>
          <a:xfrm>
            <a:off x="2935313" y="5970332"/>
            <a:ext cx="499335" cy="382182"/>
          </a:xfrm>
          <a:prstGeom prst="rect">
            <a:avLst/>
          </a:prstGeom>
        </p:spPr>
      </p:pic>
      <p:pic>
        <p:nvPicPr>
          <p:cNvPr id="78" name="Picture 77"/>
          <p:cNvPicPr>
            <a:picLocks noChangeAspect="1"/>
          </p:cNvPicPr>
          <p:nvPr/>
        </p:nvPicPr>
        <p:blipFill>
          <a:blip r:embed="rId25"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73357" y="3034990"/>
            <a:ext cx="606384" cy="403665"/>
          </a:xfrm>
          <a:prstGeom prst="rect">
            <a:avLst/>
          </a:prstGeom>
        </p:spPr>
      </p:pic>
      <p:sp>
        <p:nvSpPr>
          <p:cNvPr id="79" name="Rectangle 78"/>
          <p:cNvSpPr/>
          <p:nvPr/>
        </p:nvSpPr>
        <p:spPr>
          <a:xfrm>
            <a:off x="6803373" y="3533510"/>
            <a:ext cx="746353" cy="150842"/>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FACT UK</a:t>
            </a:r>
          </a:p>
        </p:txBody>
      </p:sp>
      <p:pic>
        <p:nvPicPr>
          <p:cNvPr id="80" name="Picture 17" descr="https://upload.wikimedia.org/wikipedia/commons/thumb/4/43/US-FederalTradeCommission-Seal.svg/2000px-US-FederalTradeCommission-Seal.svg.png"/>
          <p:cNvPicPr>
            <a:picLocks noChangeAspect="1" noChangeArrowheads="1"/>
          </p:cNvPicPr>
          <p:nvPr/>
        </p:nvPicPr>
        <p:blipFill>
          <a:blip r:embed="rId26" cstate="screen">
            <a:extLst>
              <a:ext uri="{28A0092B-C50C-407E-A947-70E740481C1C}">
                <a14:useLocalDpi xmlns:a14="http://schemas.microsoft.com/office/drawing/2010/main" val="0"/>
              </a:ext>
            </a:extLst>
          </a:blip>
          <a:srcRect/>
          <a:stretch>
            <a:fillRect/>
          </a:stretch>
        </p:blipFill>
        <p:spPr bwMode="auto">
          <a:xfrm>
            <a:off x="9711308" y="3959639"/>
            <a:ext cx="438420" cy="438420"/>
          </a:xfrm>
          <a:prstGeom prst="rect">
            <a:avLst/>
          </a:prstGeom>
          <a:noFill/>
          <a:extLst>
            <a:ext uri="{909E8E84-426E-40DD-AFC4-6F175D3DCCD1}">
              <a14:hiddenFill xmlns:a14="http://schemas.microsoft.com/office/drawing/2010/main">
                <a:solidFill>
                  <a:srgbClr val="FFFFFF"/>
                </a:solidFill>
              </a14:hiddenFill>
            </a:ext>
          </a:extLst>
        </p:spPr>
      </p:pic>
      <p:sp>
        <p:nvSpPr>
          <p:cNvPr id="81" name="Rectangle 80"/>
          <p:cNvSpPr/>
          <p:nvPr/>
        </p:nvSpPr>
        <p:spPr>
          <a:xfrm>
            <a:off x="9559482" y="4449032"/>
            <a:ext cx="742073" cy="217849"/>
          </a:xfrm>
          <a:prstGeom prst="rect">
            <a:avLst/>
          </a:prstGeom>
        </p:spPr>
        <p:txBody>
          <a:bodyPr wrap="squar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505050"/>
                </a:solidFill>
                <a:effectLst/>
                <a:uLnTx/>
                <a:uFillTx/>
                <a:latin typeface="Segoe UI Semilight"/>
                <a:ea typeface="+mn-ea"/>
                <a:cs typeface="+mn-cs"/>
              </a:rPr>
              <a:t>GLBA</a:t>
            </a:r>
          </a:p>
        </p:txBody>
      </p:sp>
      <p:sp>
        <p:nvSpPr>
          <p:cNvPr id="82" name="Rectangle 81"/>
          <p:cNvSpPr/>
          <p:nvPr/>
        </p:nvSpPr>
        <p:spPr>
          <a:xfrm>
            <a:off x="6078427" y="6392184"/>
            <a:ext cx="481988"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Spain</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ENS</a:t>
            </a:r>
          </a:p>
        </p:txBody>
      </p:sp>
      <p:pic>
        <p:nvPicPr>
          <p:cNvPr id="83" name="Picture 82" descr="Spain ENS Logo"/>
          <p:cNvPicPr>
            <a:picLocks noChangeAspect="1" noChangeArrowheads="1"/>
          </p:cNvPicPr>
          <p:nvPr/>
        </p:nvPicPr>
        <p:blipFill>
          <a:blip r:embed="rId27" cstate="screen">
            <a:extLst>
              <a:ext uri="{28A0092B-C50C-407E-A947-70E740481C1C}">
                <a14:useLocalDpi xmlns:a14="http://schemas.microsoft.com/office/drawing/2010/main" val="0"/>
              </a:ext>
            </a:extLst>
          </a:blip>
          <a:srcRect/>
          <a:stretch>
            <a:fillRect/>
          </a:stretch>
        </p:blipFill>
        <p:spPr bwMode="auto">
          <a:xfrm>
            <a:off x="5975263" y="5941935"/>
            <a:ext cx="688316" cy="526826"/>
          </a:xfrm>
          <a:prstGeom prst="rect">
            <a:avLst/>
          </a:prstGeom>
          <a:noFill/>
          <a:extLst>
            <a:ext uri="{909E8E84-426E-40DD-AFC4-6F175D3DCCD1}">
              <a14:hiddenFill xmlns:a14="http://schemas.microsoft.com/office/drawing/2010/main">
                <a:solidFill>
                  <a:srgbClr val="FFFFFF"/>
                </a:solidFill>
              </a14:hiddenFill>
            </a:ext>
          </a:extLst>
        </p:spPr>
      </p:pic>
      <p:sp>
        <p:nvSpPr>
          <p:cNvPr id="84" name="Rectangle 83"/>
          <p:cNvSpPr/>
          <p:nvPr/>
        </p:nvSpPr>
        <p:spPr>
          <a:xfrm>
            <a:off x="2942437" y="3533510"/>
            <a:ext cx="553078" cy="270537"/>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PCI DSS</a:t>
            </a:r>
          </a:p>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Level 1</a:t>
            </a:r>
          </a:p>
        </p:txBody>
      </p:sp>
      <p:pic>
        <p:nvPicPr>
          <p:cNvPr id="85" name="Picture 2" descr="https://www.basefarm.com/sites/default/files/media/Article/basefarm-pci-dss_0.jpg"/>
          <p:cNvPicPr>
            <a:picLocks noChangeAspect="1" noChangeArrowheads="1"/>
          </p:cNvPicPr>
          <p:nvPr/>
        </p:nvPicPr>
        <p:blipFill>
          <a:blip r:embed="rId2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947003" y="3045613"/>
            <a:ext cx="559971" cy="382420"/>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6" descr="http://www.elevation-us.com/wp-content/uploads/2016/01/CMS-logo.png"/>
          <p:cNvPicPr>
            <a:picLocks noChangeAspect="1" noChangeArrowheads="1"/>
          </p:cNvPicPr>
          <p:nvPr/>
        </p:nvPicPr>
        <p:blipFill>
          <a:blip r:embed="rId29" cstate="screen">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5410886" y="3968850"/>
            <a:ext cx="839994" cy="419998"/>
          </a:xfrm>
          <a:prstGeom prst="rect">
            <a:avLst/>
          </a:prstGeom>
          <a:noFill/>
          <a:extLst>
            <a:ext uri="{909E8E84-426E-40DD-AFC4-6F175D3DCCD1}">
              <a14:hiddenFill xmlns:a14="http://schemas.microsoft.com/office/drawing/2010/main">
                <a:solidFill>
                  <a:srgbClr val="FFFFFF"/>
                </a:solidFill>
              </a14:hiddenFill>
            </a:ext>
          </a:extLst>
        </p:spPr>
      </p:pic>
      <p:sp>
        <p:nvSpPr>
          <p:cNvPr id="87" name="Rectangle 86"/>
          <p:cNvSpPr/>
          <p:nvPr/>
        </p:nvSpPr>
        <p:spPr>
          <a:xfrm>
            <a:off x="5459847" y="4449032"/>
            <a:ext cx="742072" cy="217849"/>
          </a:xfrm>
          <a:prstGeom prst="rect">
            <a:avLst/>
          </a:prstGeom>
        </p:spPr>
        <p:txBody>
          <a:bodyPr wrap="squar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505050"/>
                </a:solidFill>
                <a:effectLst/>
                <a:uLnTx/>
                <a:uFillTx/>
                <a:latin typeface="Segoe UI Semilight"/>
                <a:ea typeface="+mn-ea"/>
                <a:cs typeface="+mn-cs"/>
              </a:rPr>
              <a:t>MARS-E</a:t>
            </a:r>
          </a:p>
        </p:txBody>
      </p:sp>
      <p:sp>
        <p:nvSpPr>
          <p:cNvPr id="88" name="Rectangle 87"/>
          <p:cNvSpPr/>
          <p:nvPr/>
        </p:nvSpPr>
        <p:spPr>
          <a:xfrm>
            <a:off x="10998199" y="4449032"/>
            <a:ext cx="425117" cy="215444"/>
          </a:xfrm>
          <a:prstGeom prst="rect">
            <a:avLst/>
          </a:prstGeom>
        </p:spPr>
        <p:txBody>
          <a:bodyPr wrap="none">
            <a:spAutoFit/>
          </a:bodyPr>
          <a:lstStyle/>
          <a:p>
            <a:pPr marL="0" marR="0" lvl="0" indent="0" algn="ctr" defTabSz="570745"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FFIEC</a:t>
            </a:r>
          </a:p>
        </p:txBody>
      </p:sp>
      <p:pic>
        <p:nvPicPr>
          <p:cNvPr id="89" name="Picture 8" descr="https://upload.wikimedia.org/wikipedia/commons/thumb/e/ed/US-FFIEC-Logo.svg/1000px-US-FFIEC-Logo.svg.png"/>
          <p:cNvPicPr>
            <a:picLocks noChangeAspect="1" noChangeArrowheads="1"/>
          </p:cNvPicPr>
          <p:nvPr/>
        </p:nvPicPr>
        <p:blipFill>
          <a:blip r:embed="rId30" cstate="screen">
            <a:extLst>
              <a:ext uri="{28A0092B-C50C-407E-A947-70E740481C1C}">
                <a14:useLocalDpi xmlns:a14="http://schemas.microsoft.com/office/drawing/2010/main" val="0"/>
              </a:ext>
            </a:extLst>
          </a:blip>
          <a:srcRect/>
          <a:stretch>
            <a:fillRect/>
          </a:stretch>
        </p:blipFill>
        <p:spPr bwMode="auto">
          <a:xfrm>
            <a:off x="10901235" y="4058444"/>
            <a:ext cx="619044" cy="240808"/>
          </a:xfrm>
          <a:prstGeom prst="rect">
            <a:avLst/>
          </a:prstGeom>
          <a:noFill/>
          <a:extLst>
            <a:ext uri="{909E8E84-426E-40DD-AFC4-6F175D3DCCD1}">
              <a14:hiddenFill xmlns:a14="http://schemas.microsoft.com/office/drawing/2010/main">
                <a:solidFill>
                  <a:srgbClr val="FFFFFF"/>
                </a:solidFill>
              </a14:hiddenFill>
            </a:ext>
          </a:extLst>
        </p:spPr>
      </p:pic>
      <p:sp>
        <p:nvSpPr>
          <p:cNvPr id="90" name="Rectangle 89"/>
          <p:cNvSpPr/>
          <p:nvPr/>
        </p:nvSpPr>
        <p:spPr>
          <a:xfrm>
            <a:off x="7978133" y="5476403"/>
            <a:ext cx="492520"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China</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TRUCS</a:t>
            </a:r>
          </a:p>
        </p:txBody>
      </p:sp>
      <p:pic>
        <p:nvPicPr>
          <p:cNvPr id="91" name="Picture 90"/>
          <p:cNvPicPr>
            <a:picLocks noChangeAspect="1"/>
          </p:cNvPicPr>
          <p:nvPr/>
        </p:nvPicPr>
        <p:blipFill>
          <a:blip r:embed="rId31"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970543" y="5061728"/>
            <a:ext cx="507700" cy="367176"/>
          </a:xfrm>
          <a:prstGeom prst="rect">
            <a:avLst/>
          </a:prstGeom>
        </p:spPr>
      </p:pic>
      <p:pic>
        <p:nvPicPr>
          <p:cNvPr id="95" name="Picture 94"/>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2935396" y="1817249"/>
            <a:ext cx="575164" cy="526556"/>
          </a:xfrm>
          <a:prstGeom prst="rect">
            <a:avLst/>
          </a:prstGeom>
        </p:spPr>
      </p:pic>
      <p:sp>
        <p:nvSpPr>
          <p:cNvPr id="97" name="Rectangle 96"/>
          <p:cNvSpPr/>
          <p:nvPr/>
        </p:nvSpPr>
        <p:spPr>
          <a:xfrm>
            <a:off x="2849802" y="2413557"/>
            <a:ext cx="746353" cy="150842"/>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505050"/>
                </a:solidFill>
                <a:effectLst/>
                <a:uLnTx/>
                <a:uFillTx/>
                <a:latin typeface="Segoe UI Semilight"/>
                <a:ea typeface="+mn-ea"/>
                <a:cs typeface="+mn-cs"/>
              </a:rPr>
              <a:t>SOC 2 Type 2</a:t>
            </a:r>
          </a:p>
        </p:txBody>
      </p:sp>
      <p:pic>
        <p:nvPicPr>
          <p:cNvPr id="98" name="Picture 9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4895657" y="1817249"/>
            <a:ext cx="575164" cy="526556"/>
          </a:xfrm>
          <a:prstGeom prst="rect">
            <a:avLst/>
          </a:prstGeom>
        </p:spPr>
      </p:pic>
      <p:sp>
        <p:nvSpPr>
          <p:cNvPr id="99" name="Rectangle 98"/>
          <p:cNvSpPr/>
          <p:nvPr/>
        </p:nvSpPr>
        <p:spPr>
          <a:xfrm>
            <a:off x="4810063" y="2413557"/>
            <a:ext cx="746353" cy="150842"/>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SOC 3</a:t>
            </a:r>
          </a:p>
        </p:txBody>
      </p:sp>
      <p:pic>
        <p:nvPicPr>
          <p:cNvPr id="104" name="Picture 10" descr="http://flaglane.com/download/canadian-flag/canadian-flag-graphic.png"/>
          <p:cNvPicPr>
            <a:picLocks noChangeAspect="1" noChangeArrowheads="1"/>
          </p:cNvPicPr>
          <p:nvPr/>
        </p:nvPicPr>
        <p:blipFill>
          <a:blip r:embed="rId32" cstate="screen">
            <a:extLst>
              <a:ext uri="{28A0092B-C50C-407E-A947-70E740481C1C}">
                <a14:useLocalDpi xmlns:a14="http://schemas.microsoft.com/office/drawing/2010/main" val="0"/>
              </a:ext>
            </a:extLst>
          </a:blip>
          <a:srcRect/>
          <a:stretch>
            <a:fillRect/>
          </a:stretch>
        </p:blipFill>
        <p:spPr bwMode="auto">
          <a:xfrm>
            <a:off x="8948443" y="6050051"/>
            <a:ext cx="445483" cy="222742"/>
          </a:xfrm>
          <a:prstGeom prst="rect">
            <a:avLst/>
          </a:prstGeom>
          <a:noFill/>
          <a:extLst>
            <a:ext uri="{909E8E84-426E-40DD-AFC4-6F175D3DCCD1}">
              <a14:hiddenFill xmlns:a14="http://schemas.microsoft.com/office/drawing/2010/main">
                <a:solidFill>
                  <a:srgbClr val="FFFFFF"/>
                </a:solidFill>
              </a14:hiddenFill>
            </a:ext>
          </a:extLst>
        </p:spPr>
      </p:pic>
      <p:sp>
        <p:nvSpPr>
          <p:cNvPr id="105" name="Rectangle 104"/>
          <p:cNvSpPr/>
          <p:nvPr/>
        </p:nvSpPr>
        <p:spPr>
          <a:xfrm>
            <a:off x="8796433" y="6392184"/>
            <a:ext cx="749502"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Canada</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Privacy Laws</a:t>
            </a:r>
          </a:p>
        </p:txBody>
      </p:sp>
      <p:sp>
        <p:nvSpPr>
          <p:cNvPr id="106" name="Rectangle 105"/>
          <p:cNvSpPr/>
          <p:nvPr/>
        </p:nvSpPr>
        <p:spPr>
          <a:xfrm>
            <a:off x="5457707" y="3533510"/>
            <a:ext cx="746353" cy="150841"/>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MPAA</a:t>
            </a:r>
          </a:p>
        </p:txBody>
      </p:sp>
      <p:pic>
        <p:nvPicPr>
          <p:cNvPr id="107" name="Picture 2" descr="http://vignette1.wikia.nocookie.net/logopedia/images/5/57/MPAA.jpg/revision/latest?cb=20110729215806"/>
          <p:cNvPicPr>
            <a:picLocks noChangeAspect="1" noChangeArrowheads="1"/>
          </p:cNvPicPr>
          <p:nvPr/>
        </p:nvPicPr>
        <p:blipFill>
          <a:blip r:embed="rId3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601573" y="3108868"/>
            <a:ext cx="458621" cy="255909"/>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107"/>
          <p:cNvPicPr>
            <a:picLocks noChangeAspect="1"/>
          </p:cNvPicPr>
          <p:nvPr/>
        </p:nvPicPr>
        <p:blipFill>
          <a:blip r:embed="rId3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992483" y="5942699"/>
            <a:ext cx="304499" cy="437448"/>
          </a:xfrm>
          <a:prstGeom prst="rect">
            <a:avLst/>
          </a:prstGeom>
        </p:spPr>
      </p:pic>
      <p:sp>
        <p:nvSpPr>
          <p:cNvPr id="109" name="Rectangle 108"/>
          <p:cNvSpPr/>
          <p:nvPr/>
        </p:nvSpPr>
        <p:spPr>
          <a:xfrm>
            <a:off x="9874176" y="6392184"/>
            <a:ext cx="541112"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Privacy</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505050"/>
                </a:solidFill>
                <a:effectLst/>
                <a:uLnTx/>
                <a:uFillTx/>
                <a:latin typeface="Segoe UI Semilight"/>
                <a:ea typeface="+mn-ea"/>
                <a:cs typeface="+mn-cs"/>
              </a:rPr>
              <a:t>Shield</a:t>
            </a:r>
          </a:p>
        </p:txBody>
      </p:sp>
      <p:pic>
        <p:nvPicPr>
          <p:cNvPr id="110"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891863" y="1007558"/>
            <a:ext cx="586214" cy="442914"/>
          </a:xfrm>
          <a:prstGeom prst="rect">
            <a:avLst/>
          </a:prstGeom>
          <a:noFill/>
          <a:extLst>
            <a:ext uri="{909E8E84-426E-40DD-AFC4-6F175D3DCCD1}">
              <a14:hiddenFill xmlns:a14="http://schemas.microsoft.com/office/drawing/2010/main">
                <a:solidFill>
                  <a:srgbClr val="FFFFFF"/>
                </a:solidFill>
              </a14:hiddenFill>
            </a:ext>
          </a:extLst>
        </p:spPr>
      </p:pic>
      <p:sp>
        <p:nvSpPr>
          <p:cNvPr id="111" name="Rectangle 110"/>
          <p:cNvSpPr/>
          <p:nvPr/>
        </p:nvSpPr>
        <p:spPr>
          <a:xfrm>
            <a:off x="8901356" y="1549155"/>
            <a:ext cx="567228" cy="150842"/>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505050"/>
                </a:solidFill>
                <a:effectLst/>
                <a:uLnTx/>
                <a:uFillTx/>
                <a:latin typeface="Segoe UI Semilight"/>
                <a:ea typeface="+mn-ea"/>
                <a:cs typeface="+mn-cs"/>
              </a:rPr>
              <a:t>ISO 22301</a:t>
            </a:r>
          </a:p>
        </p:txBody>
      </p:sp>
      <p:sp>
        <p:nvSpPr>
          <p:cNvPr id="112" name="Rectangle 111"/>
          <p:cNvSpPr/>
          <p:nvPr/>
        </p:nvSpPr>
        <p:spPr>
          <a:xfrm>
            <a:off x="8006594" y="6392184"/>
            <a:ext cx="435598"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India</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err="1">
                <a:ln>
                  <a:noFill/>
                </a:ln>
                <a:solidFill>
                  <a:srgbClr val="505050"/>
                </a:solidFill>
                <a:effectLst/>
                <a:uLnTx/>
                <a:uFillTx/>
                <a:latin typeface="Segoe UI Semilight"/>
                <a:ea typeface="+mn-ea"/>
                <a:cs typeface="+mn-cs"/>
              </a:rPr>
              <a:t>MeitY</a:t>
            </a:r>
            <a:endParaRPr kumimoji="0" lang="en-US" sz="700" b="1" i="0" u="none" strike="noStrike" kern="0" cap="none" spc="0" normalizeH="0" baseline="0" noProof="0">
              <a:ln>
                <a:noFill/>
              </a:ln>
              <a:solidFill>
                <a:srgbClr val="505050"/>
              </a:solidFill>
              <a:effectLst/>
              <a:uLnTx/>
              <a:uFillTx/>
              <a:latin typeface="Segoe UI Semilight"/>
              <a:ea typeface="+mn-ea"/>
              <a:cs typeface="+mn-cs"/>
            </a:endParaRPr>
          </a:p>
        </p:txBody>
      </p:sp>
      <p:pic>
        <p:nvPicPr>
          <p:cNvPr id="113" name="Picture 112"/>
          <p:cNvPicPr>
            <a:picLocks noChangeAspect="1"/>
          </p:cNvPicPr>
          <p:nvPr/>
        </p:nvPicPr>
        <p:blipFill>
          <a:blip r:embed="rId35" cstate="screen">
            <a:extLst>
              <a:ext uri="{28A0092B-C50C-407E-A947-70E740481C1C}">
                <a14:useLocalDpi xmlns:a14="http://schemas.microsoft.com/office/drawing/2010/main" val="0"/>
              </a:ext>
            </a:extLst>
          </a:blip>
          <a:stretch>
            <a:fillRect/>
          </a:stretch>
        </p:blipFill>
        <p:spPr>
          <a:xfrm>
            <a:off x="8011645" y="6043199"/>
            <a:ext cx="425496" cy="236448"/>
          </a:xfrm>
          <a:prstGeom prst="rect">
            <a:avLst/>
          </a:prstGeom>
        </p:spPr>
      </p:pic>
      <p:sp>
        <p:nvSpPr>
          <p:cNvPr id="114" name="Rectangle 113"/>
          <p:cNvSpPr/>
          <p:nvPr/>
        </p:nvSpPr>
        <p:spPr>
          <a:xfrm>
            <a:off x="10820114" y="6392184"/>
            <a:ext cx="763595" cy="421979"/>
          </a:xfrm>
          <a:prstGeom prst="rect">
            <a:avLst/>
          </a:prstGeom>
        </p:spPr>
        <p:txBody>
          <a:bodyPr wrap="square" anchor="ctr">
            <a:spAutoFit/>
          </a:bodyPr>
          <a:lstStyle/>
          <a:p>
            <a:pPr marL="0" marR="0" lvl="0" indent="0" algn="ctr" defTabSz="57074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Germany IT</a:t>
            </a:r>
          </a:p>
          <a:p>
            <a:pPr marL="0" marR="0" lvl="0" indent="0" algn="ctr" defTabSz="57074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Grundschutz</a:t>
            </a:r>
          </a:p>
          <a:p>
            <a:pPr marL="0" marR="0" lvl="0" indent="0" algn="ctr" defTabSz="57074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workbook</a:t>
            </a:r>
          </a:p>
        </p:txBody>
      </p:sp>
      <p:pic>
        <p:nvPicPr>
          <p:cNvPr id="115" name="Picture 114"/>
          <p:cNvPicPr>
            <a:picLocks noChangeAspect="1"/>
          </p:cNvPicPr>
          <p:nvPr/>
        </p:nvPicPr>
        <p:blipFill>
          <a:blip r:embed="rId36"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000547" y="5967353"/>
            <a:ext cx="402729" cy="388137"/>
          </a:xfrm>
          <a:prstGeom prst="rect">
            <a:avLst/>
          </a:prstGeom>
        </p:spPr>
      </p:pic>
      <p:sp>
        <p:nvSpPr>
          <p:cNvPr id="116" name="Rectangle 115"/>
          <p:cNvSpPr/>
          <p:nvPr/>
        </p:nvSpPr>
        <p:spPr>
          <a:xfrm>
            <a:off x="7027611" y="6392184"/>
            <a:ext cx="457671"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Spain</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DPA</a:t>
            </a:r>
          </a:p>
        </p:txBody>
      </p:sp>
      <p:pic>
        <p:nvPicPr>
          <p:cNvPr id="117" name="Picture 116"/>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7091780" y="5972386"/>
            <a:ext cx="329333" cy="378073"/>
          </a:xfrm>
          <a:prstGeom prst="rect">
            <a:avLst/>
          </a:prstGeom>
        </p:spPr>
      </p:pic>
      <p:pic>
        <p:nvPicPr>
          <p:cNvPr id="118" name="Picture 117"/>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8795791" y="1931301"/>
            <a:ext cx="778358" cy="298452"/>
          </a:xfrm>
          <a:prstGeom prst="rect">
            <a:avLst/>
          </a:prstGeom>
        </p:spPr>
      </p:pic>
      <p:sp>
        <p:nvSpPr>
          <p:cNvPr id="119" name="Rectangle 118"/>
          <p:cNvSpPr/>
          <p:nvPr/>
        </p:nvSpPr>
        <p:spPr>
          <a:xfrm>
            <a:off x="8770941" y="2347296"/>
            <a:ext cx="828059" cy="301684"/>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CSA STAR</a:t>
            </a:r>
          </a:p>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Certification</a:t>
            </a:r>
          </a:p>
          <a:p>
            <a:pPr marL="0" marR="0" lvl="0" indent="0" algn="ctr" defTabSz="597032" rtl="0" eaLnBrk="1" fontAlgn="ctr"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a:ln>
                <a:noFill/>
              </a:ln>
              <a:solidFill>
                <a:srgbClr val="505050"/>
              </a:solidFill>
              <a:effectLst/>
              <a:uLnTx/>
              <a:uFillTx/>
              <a:latin typeface="Segoe UI Semilight"/>
              <a:ea typeface="+mn-ea"/>
              <a:cs typeface="+mn-cs"/>
            </a:endParaRPr>
          </a:p>
        </p:txBody>
      </p:sp>
      <p:pic>
        <p:nvPicPr>
          <p:cNvPr id="120" name="Picture 119"/>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10804708" y="1931301"/>
            <a:ext cx="778358" cy="298452"/>
          </a:xfrm>
          <a:prstGeom prst="rect">
            <a:avLst/>
          </a:prstGeom>
        </p:spPr>
      </p:pic>
      <p:sp>
        <p:nvSpPr>
          <p:cNvPr id="121" name="Rectangle 120"/>
          <p:cNvSpPr/>
          <p:nvPr/>
        </p:nvSpPr>
        <p:spPr>
          <a:xfrm>
            <a:off x="10779858" y="2347296"/>
            <a:ext cx="828059" cy="301684"/>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CSA STAR</a:t>
            </a:r>
          </a:p>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Attestation</a:t>
            </a:r>
          </a:p>
          <a:p>
            <a:pPr marL="0" marR="0" lvl="0" indent="0" algn="ctr" defTabSz="597032" rtl="0" eaLnBrk="1" fontAlgn="ctr"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a:ln>
                <a:noFill/>
              </a:ln>
              <a:solidFill>
                <a:srgbClr val="505050"/>
              </a:solidFill>
              <a:effectLst/>
              <a:uLnTx/>
              <a:uFillTx/>
              <a:latin typeface="Segoe UI Semilight"/>
              <a:ea typeface="+mn-ea"/>
              <a:cs typeface="+mn-cs"/>
            </a:endParaRPr>
          </a:p>
        </p:txBody>
      </p:sp>
      <p:pic>
        <p:nvPicPr>
          <p:cNvPr id="122" name="Picture 9" descr="https://hitrustalliance.net/content/uploads/2015/09/HiTrustLogo.png"/>
          <p:cNvPicPr>
            <a:picLocks noChangeAspect="1" noChangeArrowheads="1"/>
          </p:cNvPicPr>
          <p:nvPr/>
        </p:nvPicPr>
        <p:blipFill>
          <a:blip r:embed="rId38" cstate="screen">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2913588" y="4053363"/>
            <a:ext cx="601917" cy="250971"/>
          </a:xfrm>
          <a:prstGeom prst="rect">
            <a:avLst/>
          </a:prstGeom>
          <a:noFill/>
          <a:extLst>
            <a:ext uri="{909E8E84-426E-40DD-AFC4-6F175D3DCCD1}">
              <a14:hiddenFill xmlns:a14="http://schemas.microsoft.com/office/drawing/2010/main">
                <a:solidFill>
                  <a:srgbClr val="FFFFFF"/>
                </a:solidFill>
              </a14:hiddenFill>
            </a:ext>
          </a:extLst>
        </p:spPr>
      </p:pic>
      <p:sp>
        <p:nvSpPr>
          <p:cNvPr id="123" name="Rectangle 122"/>
          <p:cNvSpPr/>
          <p:nvPr/>
        </p:nvSpPr>
        <p:spPr>
          <a:xfrm>
            <a:off x="2849901" y="4449032"/>
            <a:ext cx="742073" cy="217849"/>
          </a:xfrm>
          <a:prstGeom prst="rect">
            <a:avLst/>
          </a:prstGeom>
        </p:spPr>
        <p:txBody>
          <a:bodyPr wrap="squar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Calibri"/>
                <a:ea typeface="+mn-ea"/>
                <a:cs typeface="+mn-cs"/>
              </a:rPr>
              <a:t>HITRUST</a:t>
            </a:r>
          </a:p>
        </p:txBody>
      </p:sp>
      <p:pic>
        <p:nvPicPr>
          <p:cNvPr id="124" name="Picture 123"/>
          <p:cNvPicPr>
            <a:picLocks noChangeAspect="1"/>
          </p:cNvPicPr>
          <p:nvPr/>
        </p:nvPicPr>
        <p:blipFill>
          <a:blip r:embed="rId39" cstate="screen">
            <a:extLst>
              <a:ext uri="{28A0092B-C50C-407E-A947-70E740481C1C}">
                <a14:useLocalDpi xmlns:a14="http://schemas.microsoft.com/office/drawing/2010/main" val="0"/>
              </a:ext>
            </a:extLst>
          </a:blip>
          <a:stretch>
            <a:fillRect/>
          </a:stretch>
        </p:blipFill>
        <p:spPr>
          <a:xfrm>
            <a:off x="6875996" y="4058510"/>
            <a:ext cx="601107" cy="240678"/>
          </a:xfrm>
          <a:prstGeom prst="rect">
            <a:avLst/>
          </a:prstGeom>
        </p:spPr>
      </p:pic>
      <p:sp>
        <p:nvSpPr>
          <p:cNvPr id="125" name="Rectangle 124"/>
          <p:cNvSpPr/>
          <p:nvPr/>
        </p:nvSpPr>
        <p:spPr>
          <a:xfrm>
            <a:off x="6683227" y="4449032"/>
            <a:ext cx="986644" cy="217849"/>
          </a:xfrm>
          <a:prstGeom prst="rect">
            <a:avLst/>
          </a:prstGeom>
        </p:spPr>
        <p:txBody>
          <a:bodyPr wrap="squar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IG Toolkit UK</a:t>
            </a:r>
          </a:p>
        </p:txBody>
      </p:sp>
      <p:sp>
        <p:nvSpPr>
          <p:cNvPr id="126" name="Rectangle 125"/>
          <p:cNvSpPr/>
          <p:nvPr/>
        </p:nvSpPr>
        <p:spPr>
          <a:xfrm>
            <a:off x="6090478" y="5476403"/>
            <a:ext cx="457886"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China</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DJCP</a:t>
            </a:r>
          </a:p>
        </p:txBody>
      </p:sp>
      <p:pic>
        <p:nvPicPr>
          <p:cNvPr id="127" name="Picture 126"/>
          <p:cNvPicPr>
            <a:picLocks noChangeAspect="1"/>
          </p:cNvPicPr>
          <p:nvPr/>
        </p:nvPicPr>
        <p:blipFill>
          <a:blip r:embed="rId40" cstate="screen">
            <a:extLst>
              <a:ext uri="{28A0092B-C50C-407E-A947-70E740481C1C}">
                <a14:useLocalDpi xmlns:a14="http://schemas.microsoft.com/office/drawing/2010/main" val="0"/>
              </a:ext>
            </a:extLst>
          </a:blip>
          <a:stretch>
            <a:fillRect/>
          </a:stretch>
        </p:blipFill>
        <p:spPr>
          <a:xfrm>
            <a:off x="6012081" y="4937978"/>
            <a:ext cx="614680" cy="614679"/>
          </a:xfrm>
          <a:prstGeom prst="rect">
            <a:avLst/>
          </a:prstGeom>
        </p:spPr>
      </p:pic>
      <p:pic>
        <p:nvPicPr>
          <p:cNvPr id="128"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854713" y="1007558"/>
            <a:ext cx="586214" cy="442914"/>
          </a:xfrm>
          <a:prstGeom prst="rect">
            <a:avLst/>
          </a:prstGeom>
          <a:noFill/>
          <a:extLst>
            <a:ext uri="{909E8E84-426E-40DD-AFC4-6F175D3DCCD1}">
              <a14:hiddenFill xmlns:a14="http://schemas.microsoft.com/office/drawing/2010/main">
                <a:solidFill>
                  <a:srgbClr val="FFFFFF"/>
                </a:solidFill>
              </a14:hiddenFill>
            </a:ext>
          </a:extLst>
        </p:spPr>
      </p:pic>
      <p:sp>
        <p:nvSpPr>
          <p:cNvPr id="129" name="Rectangle 128"/>
          <p:cNvSpPr/>
          <p:nvPr/>
        </p:nvSpPr>
        <p:spPr>
          <a:xfrm>
            <a:off x="6864206" y="1549155"/>
            <a:ext cx="567228" cy="150842"/>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ISO 27017</a:t>
            </a:r>
          </a:p>
        </p:txBody>
      </p:sp>
      <p:sp>
        <p:nvSpPr>
          <p:cNvPr id="130" name="Rectangle 129"/>
          <p:cNvSpPr/>
          <p:nvPr/>
        </p:nvSpPr>
        <p:spPr bwMode="auto">
          <a:xfrm>
            <a:off x="2162215" y="1221132"/>
            <a:ext cx="410214" cy="964598"/>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1557" algn="ctr" defTabSz="914367" rtl="0" eaLnBrk="1" fontAlgn="base" latinLnBrk="0" hangingPunct="1">
              <a:lnSpc>
                <a:spcPct val="100000"/>
              </a:lnSpc>
              <a:spcBef>
                <a:spcPct val="0"/>
              </a:spcBef>
              <a:spcAft>
                <a:spcPts val="1176"/>
              </a:spcAft>
              <a:buClr>
                <a:srgbClr val="FFFFFF"/>
              </a:buClr>
              <a:buSzPct val="80000"/>
              <a:buFontTx/>
              <a:buNone/>
              <a:tabLst/>
              <a:defRPr/>
            </a:pPr>
            <a:r>
              <a:rPr kumimoji="0" lang="en-IN" sz="1200" b="1" i="0" u="none" strike="noStrike" kern="0" cap="none" spc="0" normalizeH="0" baseline="0" noProof="0" dirty="0">
                <a:ln>
                  <a:noFill/>
                </a:ln>
                <a:solidFill>
                  <a:srgbClr val="00B6F0"/>
                </a:solidFill>
                <a:effectLst/>
                <a:uLnTx/>
                <a:uFillTx/>
                <a:latin typeface="Segoe UI"/>
                <a:ea typeface="+mn-ea"/>
                <a:cs typeface="Segoe UI Semibold" panose="020B0702040204020203" pitchFamily="34" charset="0"/>
              </a:rPr>
              <a:t>GLOBAL</a:t>
            </a:r>
          </a:p>
        </p:txBody>
      </p:sp>
      <p:sp>
        <p:nvSpPr>
          <p:cNvPr id="132" name="Rectangle 131"/>
          <p:cNvSpPr/>
          <p:nvPr/>
        </p:nvSpPr>
        <p:spPr bwMode="auto">
          <a:xfrm>
            <a:off x="2162216" y="3294069"/>
            <a:ext cx="410214" cy="984333"/>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1557" algn="ctr" defTabSz="914367" rtl="0" eaLnBrk="1" fontAlgn="base" latinLnBrk="0" hangingPunct="1">
              <a:lnSpc>
                <a:spcPct val="100000"/>
              </a:lnSpc>
              <a:spcBef>
                <a:spcPct val="0"/>
              </a:spcBef>
              <a:spcAft>
                <a:spcPts val="1176"/>
              </a:spcAft>
              <a:buClr>
                <a:srgbClr val="FFFFFF"/>
              </a:buClr>
              <a:buSzPct val="80000"/>
              <a:buFontTx/>
              <a:buNone/>
              <a:tabLst/>
              <a:defRPr/>
            </a:pPr>
            <a:r>
              <a:rPr kumimoji="0" lang="en-IN" sz="1200" b="1" i="0" u="none" strike="noStrike" kern="0" cap="none" spc="0" normalizeH="0" baseline="0" noProof="0" dirty="0">
                <a:ln>
                  <a:noFill/>
                </a:ln>
                <a:solidFill>
                  <a:srgbClr val="00327A"/>
                </a:solidFill>
                <a:effectLst/>
                <a:uLnTx/>
                <a:uFillTx/>
                <a:latin typeface="Segoe UI"/>
                <a:ea typeface="+mn-ea"/>
                <a:cs typeface="Segoe UI Semibold" panose="020B0702040204020203" pitchFamily="34" charset="0"/>
              </a:rPr>
              <a:t>INDUSTRY</a:t>
            </a:r>
          </a:p>
        </p:txBody>
      </p:sp>
      <p:sp>
        <p:nvSpPr>
          <p:cNvPr id="134" name="Rectangle 133"/>
          <p:cNvSpPr/>
          <p:nvPr/>
        </p:nvSpPr>
        <p:spPr bwMode="auto">
          <a:xfrm>
            <a:off x="2166336" y="5366684"/>
            <a:ext cx="401300" cy="964598"/>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1176"/>
              </a:spcAft>
              <a:buClrTx/>
              <a:buSzTx/>
              <a:buFontTx/>
              <a:buNone/>
              <a:tabLst/>
              <a:defRPr/>
            </a:pPr>
            <a:r>
              <a:rPr kumimoji="0" lang="en-IN" sz="1200" b="1" i="0" u="none" strike="noStrike" kern="0" cap="none" spc="0" normalizeH="0" baseline="0" noProof="0" dirty="0">
                <a:ln>
                  <a:noFill/>
                </a:ln>
                <a:solidFill>
                  <a:srgbClr val="001F50"/>
                </a:solidFill>
                <a:effectLst/>
                <a:uLnTx/>
                <a:uFillTx/>
                <a:latin typeface="Segoe UI"/>
                <a:ea typeface="+mn-ea"/>
                <a:cs typeface="Segoe UI Semibold" panose="020B0702040204020203" pitchFamily="34" charset="0"/>
              </a:rPr>
              <a:t>REGIONAL</a:t>
            </a:r>
          </a:p>
        </p:txBody>
      </p:sp>
      <p:cxnSp>
        <p:nvCxnSpPr>
          <p:cNvPr id="153" name="Straight Connector 152"/>
          <p:cNvCxnSpPr/>
          <p:nvPr/>
        </p:nvCxnSpPr>
        <p:spPr>
          <a:xfrm>
            <a:off x="2577857" y="913214"/>
            <a:ext cx="0" cy="1645920"/>
          </a:xfrm>
          <a:prstGeom prst="line">
            <a:avLst/>
          </a:prstGeom>
          <a:ln w="28575">
            <a:solidFill>
              <a:srgbClr val="00AEE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a:off x="2577857" y="2966226"/>
            <a:ext cx="0" cy="1645920"/>
          </a:xfrm>
          <a:prstGeom prst="line">
            <a:avLst/>
          </a:prstGeom>
          <a:ln w="28575">
            <a:solidFill>
              <a:srgbClr val="00327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a:off x="2577857" y="5009852"/>
            <a:ext cx="0" cy="1645920"/>
          </a:xfrm>
          <a:prstGeom prst="line">
            <a:avLst/>
          </a:prstGeom>
          <a:ln w="28575">
            <a:solidFill>
              <a:srgbClr val="001F5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1" name="Title 1">
            <a:extLst>
              <a:ext uri="{FF2B5EF4-FFF2-40B4-BE49-F238E27FC236}">
                <a16:creationId xmlns:a16="http://schemas.microsoft.com/office/drawing/2014/main" id="{D4509856-EB69-4A09-8BB9-F5633A22593E}"/>
              </a:ext>
            </a:extLst>
          </p:cNvPr>
          <p:cNvSpPr txBox="1">
            <a:spLocks/>
          </p:cNvSpPr>
          <p:nvPr/>
        </p:nvSpPr>
        <p:spPr>
          <a:xfrm>
            <a:off x="2357012" y="71325"/>
            <a:ext cx="9251586"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588"/>
              </a:spcAft>
              <a:buClrTx/>
              <a:buSzTx/>
              <a:buFontTx/>
              <a:buNone/>
              <a:tabLst/>
              <a:defRPr/>
            </a:pPr>
            <a:r>
              <a:rPr kumimoji="0" lang="en-US" sz="3600" b="0" i="0" u="none" strike="noStrike" kern="1200" cap="none" spc="-100" normalizeH="0" baseline="0" noProof="0" dirty="0">
                <a:ln w="3175">
                  <a:noFill/>
                </a:ln>
                <a:solidFill>
                  <a:srgbClr val="4F504F"/>
                </a:solidFill>
                <a:effectLst/>
                <a:uLnTx/>
                <a:uFillTx/>
                <a:latin typeface="Segoe UI Light"/>
                <a:ea typeface="+mn-ea"/>
                <a:cs typeface="Segoe UI" pitchFamily="34" charset="0"/>
              </a:rPr>
              <a:t>More certifications than any cloud provider</a:t>
            </a:r>
          </a:p>
        </p:txBody>
      </p:sp>
    </p:spTree>
    <p:extLst>
      <p:ext uri="{BB962C8B-B14F-4D97-AF65-F5344CB8AC3E}">
        <p14:creationId xmlns:p14="http://schemas.microsoft.com/office/powerpoint/2010/main" val="1517491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1"/>
                                        </p:tgtEl>
                                        <p:attrNameLst>
                                          <p:attrName>style.visibility</p:attrName>
                                        </p:attrNameLst>
                                      </p:cBhvr>
                                      <p:to>
                                        <p:strVal val="visible"/>
                                      </p:to>
                                    </p:set>
                                    <p:animEffect transition="in" filter="fade">
                                      <p:cBhvr>
                                        <p:cTn id="7" dur="500"/>
                                        <p:tgtEl>
                                          <p:spTgt spid="131"/>
                                        </p:tgtEl>
                                      </p:cBhvr>
                                    </p:animEffect>
                                  </p:childTnLst>
                                </p:cTn>
                              </p:par>
                              <p:par>
                                <p:cTn id="8" presetID="42" presetClass="path" presetSubtype="0" decel="100000" fill="hold" grpId="1" nodeType="withEffect">
                                  <p:stCondLst>
                                    <p:cond delay="0"/>
                                  </p:stCondLst>
                                  <p:childTnLst>
                                    <p:animMotion origin="layout" path="M 3.75E-6 4.81481E-6 L 3.75E-6 0.04583 " pathEditMode="relative" rAng="0" ptsTypes="AA">
                                      <p:cBhvr>
                                        <p:cTn id="9" dur="500" spd="-100000" fill="hold"/>
                                        <p:tgtEl>
                                          <p:spTgt spid="131"/>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 grpId="0"/>
      <p:bldP spid="131" grpId="1"/>
    </p:bldLst>
  </p:timing>
</p:sld>
</file>

<file path=ppt/slides/slide14.xml><?xml version="1.0" encoding="utf-8"?>
<p:sld xmlns:a="http://schemas.openxmlformats.org/drawingml/2006/main" xmlns:r="http://schemas.openxmlformats.org/officeDocument/2006/relationships" xmlns:p="http://schemas.openxmlformats.org/presentationml/2006/main" show="0">
  <p:cSld>
    <p:bg>
      <p:bgPr>
        <a:solidFill>
          <a:srgbClr val="F2F2F2"/>
        </a:solidFill>
        <a:effectLst/>
      </p:bgPr>
    </p:bg>
    <p:spTree>
      <p:nvGrpSpPr>
        <p:cNvPr id="1" name=""/>
        <p:cNvGrpSpPr/>
        <p:nvPr/>
      </p:nvGrpSpPr>
      <p:grpSpPr>
        <a:xfrm>
          <a:off x="0" y="0"/>
          <a:ext cx="0" cy="0"/>
          <a:chOff x="0" y="0"/>
          <a:chExt cx="0" cy="0"/>
        </a:xfrm>
      </p:grpSpPr>
      <p:sp>
        <p:nvSpPr>
          <p:cNvPr id="93" name="Freeform 6">
            <a:extLst>
              <a:ext uri="{FF2B5EF4-FFF2-40B4-BE49-F238E27FC236}">
                <a16:creationId xmlns:a16="http://schemas.microsoft.com/office/drawing/2014/main" id="{3693DD08-7DA5-44E4-B3AA-91519EED6DF2}"/>
              </a:ext>
            </a:extLst>
          </p:cNvPr>
          <p:cNvSpPr>
            <a:spLocks noEditPoints="1"/>
          </p:cNvSpPr>
          <p:nvPr/>
        </p:nvSpPr>
        <p:spPr bwMode="auto">
          <a:xfrm>
            <a:off x="1154424" y="486"/>
            <a:ext cx="11185699" cy="5203334"/>
          </a:xfrm>
          <a:custGeom>
            <a:avLst/>
            <a:gdLst>
              <a:gd name="T0" fmla="*/ 2843 w 3260"/>
              <a:gd name="T1" fmla="*/ 1040 h 1694"/>
              <a:gd name="T2" fmla="*/ 2706 w 3260"/>
              <a:gd name="T3" fmla="*/ 1121 h 1694"/>
              <a:gd name="T4" fmla="*/ 3101 w 3260"/>
              <a:gd name="T5" fmla="*/ 1119 h 1694"/>
              <a:gd name="T6" fmla="*/ 1330 w 3260"/>
              <a:gd name="T7" fmla="*/ 153 h 1694"/>
              <a:gd name="T8" fmla="*/ 1357 w 3260"/>
              <a:gd name="T9" fmla="*/ 41 h 1694"/>
              <a:gd name="T10" fmla="*/ 1093 w 3260"/>
              <a:gd name="T11" fmla="*/ 175 h 1694"/>
              <a:gd name="T12" fmla="*/ 1115 w 3260"/>
              <a:gd name="T13" fmla="*/ 313 h 1694"/>
              <a:gd name="T14" fmla="*/ 1909 w 3260"/>
              <a:gd name="T15" fmla="*/ 55 h 1694"/>
              <a:gd name="T16" fmla="*/ 590 w 3260"/>
              <a:gd name="T17" fmla="*/ 24 h 1694"/>
              <a:gd name="T18" fmla="*/ 897 w 3260"/>
              <a:gd name="T19" fmla="*/ 944 h 1694"/>
              <a:gd name="T20" fmla="*/ 622 w 3260"/>
              <a:gd name="T21" fmla="*/ 717 h 1694"/>
              <a:gd name="T22" fmla="*/ 934 w 3260"/>
              <a:gd name="T23" fmla="*/ 526 h 1694"/>
              <a:gd name="T24" fmla="*/ 900 w 3260"/>
              <a:gd name="T25" fmla="*/ 310 h 1694"/>
              <a:gd name="T26" fmla="*/ 808 w 3260"/>
              <a:gd name="T27" fmla="*/ 172 h 1694"/>
              <a:gd name="T28" fmla="*/ 687 w 3260"/>
              <a:gd name="T29" fmla="*/ 121 h 1694"/>
              <a:gd name="T30" fmla="*/ 152 w 3260"/>
              <a:gd name="T31" fmla="*/ 11 h 1694"/>
              <a:gd name="T32" fmla="*/ 118 w 3260"/>
              <a:gd name="T33" fmla="*/ 222 h 1694"/>
              <a:gd name="T34" fmla="*/ 327 w 3260"/>
              <a:gd name="T35" fmla="*/ 321 h 1694"/>
              <a:gd name="T36" fmla="*/ 406 w 3260"/>
              <a:gd name="T37" fmla="*/ 761 h 1694"/>
              <a:gd name="T38" fmla="*/ 749 w 3260"/>
              <a:gd name="T39" fmla="*/ 1186 h 1694"/>
              <a:gd name="T40" fmla="*/ 886 w 3260"/>
              <a:gd name="T41" fmla="*/ 1643 h 1694"/>
              <a:gd name="T42" fmla="*/ 3236 w 3260"/>
              <a:gd name="T43" fmla="*/ 1515 h 1694"/>
              <a:gd name="T44" fmla="*/ 2763 w 3260"/>
              <a:gd name="T45" fmla="*/ 958 h 1694"/>
              <a:gd name="T46" fmla="*/ 2590 w 3260"/>
              <a:gd name="T47" fmla="*/ 854 h 1694"/>
              <a:gd name="T48" fmla="*/ 2698 w 3260"/>
              <a:gd name="T49" fmla="*/ 572 h 1694"/>
              <a:gd name="T50" fmla="*/ 2898 w 3260"/>
              <a:gd name="T51" fmla="*/ 132 h 1694"/>
              <a:gd name="T52" fmla="*/ 2300 w 3260"/>
              <a:gd name="T53" fmla="*/ 3 h 1694"/>
              <a:gd name="T54" fmla="*/ 1991 w 3260"/>
              <a:gd name="T55" fmla="*/ 151 h 1694"/>
              <a:gd name="T56" fmla="*/ 1720 w 3260"/>
              <a:gd name="T57" fmla="*/ 141 h 1694"/>
              <a:gd name="T58" fmla="*/ 1548 w 3260"/>
              <a:gd name="T59" fmla="*/ 310 h 1694"/>
              <a:gd name="T60" fmla="*/ 1697 w 3260"/>
              <a:gd name="T61" fmla="*/ 325 h 1694"/>
              <a:gd name="T62" fmla="*/ 1491 w 3260"/>
              <a:gd name="T63" fmla="*/ 562 h 1694"/>
              <a:gd name="T64" fmla="*/ 1768 w 3260"/>
              <a:gd name="T65" fmla="*/ 594 h 1694"/>
              <a:gd name="T66" fmla="*/ 1719 w 3260"/>
              <a:gd name="T67" fmla="*/ 686 h 1694"/>
              <a:gd name="T68" fmla="*/ 1682 w 3260"/>
              <a:gd name="T69" fmla="*/ 1394 h 1694"/>
              <a:gd name="T70" fmla="*/ 1850 w 3260"/>
              <a:gd name="T71" fmla="*/ 731 h 1694"/>
              <a:gd name="T72" fmla="*/ 2233 w 3260"/>
              <a:gd name="T73" fmla="*/ 809 h 1694"/>
              <a:gd name="T74" fmla="*/ 2002 w 3260"/>
              <a:gd name="T75" fmla="*/ 527 h 1694"/>
              <a:gd name="T76" fmla="*/ 2891 w 3260"/>
              <a:gd name="T77" fmla="*/ 1163 h 1694"/>
              <a:gd name="T78" fmla="*/ 2926 w 3260"/>
              <a:gd name="T79" fmla="*/ 1501 h 1694"/>
              <a:gd name="T80" fmla="*/ 293 w 3260"/>
              <a:gd name="T81" fmla="*/ 349 h 1694"/>
              <a:gd name="T82" fmla="*/ 2003 w 3260"/>
              <a:gd name="T83" fmla="*/ 1218 h 1694"/>
              <a:gd name="T84" fmla="*/ 1312 w 3260"/>
              <a:gd name="T85" fmla="*/ 233 h 1694"/>
              <a:gd name="T86" fmla="*/ 131 w 3260"/>
              <a:gd name="T87" fmla="*/ 226 h 1694"/>
              <a:gd name="T88" fmla="*/ 2836 w 3260"/>
              <a:gd name="T89" fmla="*/ 628 h 1694"/>
              <a:gd name="T90" fmla="*/ 2925 w 3260"/>
              <a:gd name="T91" fmla="*/ 1111 h 1694"/>
              <a:gd name="T92" fmla="*/ 2830 w 3260"/>
              <a:gd name="T93" fmla="*/ 367 h 1694"/>
              <a:gd name="T94" fmla="*/ 2757 w 3260"/>
              <a:gd name="T95" fmla="*/ 892 h 1694"/>
              <a:gd name="T96" fmla="*/ 2695 w 3260"/>
              <a:gd name="T97" fmla="*/ 1047 h 1694"/>
              <a:gd name="T98" fmla="*/ 2553 w 3260"/>
              <a:gd name="T99" fmla="*/ 1023 h 1694"/>
              <a:gd name="T100" fmla="*/ 1684 w 3260"/>
              <a:gd name="T101" fmla="*/ 276 h 1694"/>
              <a:gd name="T102" fmla="*/ 1744 w 3260"/>
              <a:gd name="T103" fmla="*/ 617 h 1694"/>
              <a:gd name="T104" fmla="*/ 1659 w 3260"/>
              <a:gd name="T105" fmla="*/ 156 h 1694"/>
              <a:gd name="T106" fmla="*/ 1937 w 3260"/>
              <a:gd name="T107" fmla="*/ 121 h 1694"/>
              <a:gd name="T108" fmla="*/ 940 w 3260"/>
              <a:gd name="T109" fmla="*/ 505 h 1694"/>
              <a:gd name="T110" fmla="*/ 175 w 3260"/>
              <a:gd name="T111" fmla="*/ 174 h 1694"/>
              <a:gd name="T112" fmla="*/ 1009 w 3260"/>
              <a:gd name="T113" fmla="*/ 1028 h 1694"/>
              <a:gd name="T114" fmla="*/ 1009 w 3260"/>
              <a:gd name="T115" fmla="*/ 492 h 1694"/>
              <a:gd name="T116" fmla="*/ 1464 w 3260"/>
              <a:gd name="T117" fmla="*/ 394 h 1694"/>
              <a:gd name="T118" fmla="*/ 930 w 3260"/>
              <a:gd name="T119" fmla="*/ 34 h 1694"/>
              <a:gd name="T120" fmla="*/ 884 w 3260"/>
              <a:gd name="T121" fmla="*/ 92 h 1694"/>
              <a:gd name="T122" fmla="*/ 956 w 3260"/>
              <a:gd name="T123" fmla="*/ 188 h 1694"/>
              <a:gd name="T124" fmla="*/ 950 w 3260"/>
              <a:gd name="T125" fmla="*/ 104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60" h="1694">
                <a:moveTo>
                  <a:pt x="2796" y="665"/>
                </a:moveTo>
                <a:cubicBezTo>
                  <a:pt x="2795" y="664"/>
                  <a:pt x="2795" y="664"/>
                  <a:pt x="2795" y="664"/>
                </a:cubicBezTo>
                <a:cubicBezTo>
                  <a:pt x="2794" y="665"/>
                  <a:pt x="2794" y="665"/>
                  <a:pt x="2794" y="665"/>
                </a:cubicBezTo>
                <a:cubicBezTo>
                  <a:pt x="2795" y="666"/>
                  <a:pt x="2795" y="666"/>
                  <a:pt x="2795" y="666"/>
                </a:cubicBezTo>
                <a:lnTo>
                  <a:pt x="2796" y="665"/>
                </a:lnTo>
                <a:close/>
                <a:moveTo>
                  <a:pt x="2760" y="1091"/>
                </a:moveTo>
                <a:cubicBezTo>
                  <a:pt x="2759" y="1090"/>
                  <a:pt x="2759" y="1090"/>
                  <a:pt x="2759" y="1090"/>
                </a:cubicBezTo>
                <a:cubicBezTo>
                  <a:pt x="2758" y="1089"/>
                  <a:pt x="2758" y="1089"/>
                  <a:pt x="2758" y="1089"/>
                </a:cubicBezTo>
                <a:cubicBezTo>
                  <a:pt x="2759" y="1088"/>
                  <a:pt x="2759" y="1088"/>
                  <a:pt x="2759" y="1088"/>
                </a:cubicBezTo>
                <a:cubicBezTo>
                  <a:pt x="2760" y="1087"/>
                  <a:pt x="2760" y="1087"/>
                  <a:pt x="2760" y="1087"/>
                </a:cubicBezTo>
                <a:cubicBezTo>
                  <a:pt x="2761" y="1086"/>
                  <a:pt x="2761" y="1086"/>
                  <a:pt x="2761" y="1086"/>
                </a:cubicBezTo>
                <a:cubicBezTo>
                  <a:pt x="2761" y="1087"/>
                  <a:pt x="2761" y="1087"/>
                  <a:pt x="2761" y="1087"/>
                </a:cubicBezTo>
                <a:cubicBezTo>
                  <a:pt x="2761" y="1086"/>
                  <a:pt x="2761" y="1086"/>
                  <a:pt x="2761" y="1086"/>
                </a:cubicBezTo>
                <a:cubicBezTo>
                  <a:pt x="2760" y="1085"/>
                  <a:pt x="2760" y="1085"/>
                  <a:pt x="2760" y="1085"/>
                </a:cubicBezTo>
                <a:cubicBezTo>
                  <a:pt x="2760" y="1083"/>
                  <a:pt x="2760" y="1083"/>
                  <a:pt x="2760" y="1083"/>
                </a:cubicBezTo>
                <a:cubicBezTo>
                  <a:pt x="2759" y="1083"/>
                  <a:pt x="2759" y="1083"/>
                  <a:pt x="2759" y="1083"/>
                </a:cubicBezTo>
                <a:cubicBezTo>
                  <a:pt x="2758" y="1084"/>
                  <a:pt x="2758" y="1084"/>
                  <a:pt x="2758" y="1084"/>
                </a:cubicBezTo>
                <a:cubicBezTo>
                  <a:pt x="2758" y="1087"/>
                  <a:pt x="2758" y="1087"/>
                  <a:pt x="2758" y="1087"/>
                </a:cubicBezTo>
                <a:cubicBezTo>
                  <a:pt x="2757" y="1090"/>
                  <a:pt x="2757" y="1090"/>
                  <a:pt x="2757" y="1090"/>
                </a:cubicBezTo>
                <a:cubicBezTo>
                  <a:pt x="2755" y="1093"/>
                  <a:pt x="2755" y="1093"/>
                  <a:pt x="2755" y="1093"/>
                </a:cubicBezTo>
                <a:cubicBezTo>
                  <a:pt x="2755" y="1095"/>
                  <a:pt x="2755" y="1095"/>
                  <a:pt x="2755" y="1095"/>
                </a:cubicBezTo>
                <a:cubicBezTo>
                  <a:pt x="2756" y="1095"/>
                  <a:pt x="2756" y="1095"/>
                  <a:pt x="2756" y="1095"/>
                </a:cubicBezTo>
                <a:cubicBezTo>
                  <a:pt x="2758" y="1095"/>
                  <a:pt x="2758" y="1095"/>
                  <a:pt x="2758" y="1095"/>
                </a:cubicBezTo>
                <a:cubicBezTo>
                  <a:pt x="2759" y="1093"/>
                  <a:pt x="2759" y="1093"/>
                  <a:pt x="2759" y="1093"/>
                </a:cubicBezTo>
                <a:cubicBezTo>
                  <a:pt x="2760" y="1092"/>
                  <a:pt x="2760" y="1092"/>
                  <a:pt x="2760" y="1092"/>
                </a:cubicBezTo>
                <a:cubicBezTo>
                  <a:pt x="2761" y="1091"/>
                  <a:pt x="2761" y="1091"/>
                  <a:pt x="2761" y="1091"/>
                </a:cubicBezTo>
                <a:lnTo>
                  <a:pt x="2760" y="1091"/>
                </a:lnTo>
                <a:close/>
                <a:moveTo>
                  <a:pt x="2801" y="1122"/>
                </a:moveTo>
                <a:cubicBezTo>
                  <a:pt x="2800" y="1121"/>
                  <a:pt x="2800" y="1121"/>
                  <a:pt x="2800" y="1121"/>
                </a:cubicBezTo>
                <a:cubicBezTo>
                  <a:pt x="2799" y="1122"/>
                  <a:pt x="2799" y="1122"/>
                  <a:pt x="2799" y="1122"/>
                </a:cubicBezTo>
                <a:cubicBezTo>
                  <a:pt x="2800" y="1123"/>
                  <a:pt x="2800" y="1123"/>
                  <a:pt x="2800" y="1123"/>
                </a:cubicBezTo>
                <a:lnTo>
                  <a:pt x="2801" y="1122"/>
                </a:lnTo>
                <a:close/>
                <a:moveTo>
                  <a:pt x="2756" y="1128"/>
                </a:moveTo>
                <a:cubicBezTo>
                  <a:pt x="2757" y="1127"/>
                  <a:pt x="2757" y="1127"/>
                  <a:pt x="2757" y="1127"/>
                </a:cubicBezTo>
                <a:cubicBezTo>
                  <a:pt x="2759" y="1126"/>
                  <a:pt x="2759" y="1126"/>
                  <a:pt x="2759" y="1126"/>
                </a:cubicBezTo>
                <a:cubicBezTo>
                  <a:pt x="2757" y="1126"/>
                  <a:pt x="2757" y="1126"/>
                  <a:pt x="2757" y="1126"/>
                </a:cubicBezTo>
                <a:lnTo>
                  <a:pt x="2756" y="1128"/>
                </a:lnTo>
                <a:close/>
                <a:moveTo>
                  <a:pt x="2759" y="1143"/>
                </a:moveTo>
                <a:cubicBezTo>
                  <a:pt x="2758" y="1145"/>
                  <a:pt x="2758" y="1145"/>
                  <a:pt x="2758" y="1145"/>
                </a:cubicBezTo>
                <a:cubicBezTo>
                  <a:pt x="2759" y="1145"/>
                  <a:pt x="2759" y="1145"/>
                  <a:pt x="2759" y="1145"/>
                </a:cubicBezTo>
                <a:cubicBezTo>
                  <a:pt x="2760" y="1143"/>
                  <a:pt x="2760" y="1143"/>
                  <a:pt x="2760" y="1143"/>
                </a:cubicBezTo>
                <a:lnTo>
                  <a:pt x="2759" y="1143"/>
                </a:lnTo>
                <a:close/>
                <a:moveTo>
                  <a:pt x="2759" y="1150"/>
                </a:moveTo>
                <a:cubicBezTo>
                  <a:pt x="2760" y="1148"/>
                  <a:pt x="2760" y="1148"/>
                  <a:pt x="2760" y="1148"/>
                </a:cubicBezTo>
                <a:cubicBezTo>
                  <a:pt x="2759" y="1147"/>
                  <a:pt x="2759" y="1147"/>
                  <a:pt x="2759" y="1147"/>
                </a:cubicBezTo>
                <a:cubicBezTo>
                  <a:pt x="2757" y="1148"/>
                  <a:pt x="2757" y="1148"/>
                  <a:pt x="2757" y="1148"/>
                </a:cubicBezTo>
                <a:cubicBezTo>
                  <a:pt x="2758" y="1148"/>
                  <a:pt x="2758" y="1148"/>
                  <a:pt x="2758" y="1148"/>
                </a:cubicBezTo>
                <a:cubicBezTo>
                  <a:pt x="2755" y="1150"/>
                  <a:pt x="2755" y="1150"/>
                  <a:pt x="2755" y="1150"/>
                </a:cubicBezTo>
                <a:cubicBezTo>
                  <a:pt x="2753" y="1151"/>
                  <a:pt x="2753" y="1151"/>
                  <a:pt x="2753" y="1151"/>
                </a:cubicBezTo>
                <a:cubicBezTo>
                  <a:pt x="2755" y="1152"/>
                  <a:pt x="2755" y="1152"/>
                  <a:pt x="2755" y="1152"/>
                </a:cubicBezTo>
                <a:lnTo>
                  <a:pt x="2759" y="1150"/>
                </a:lnTo>
                <a:close/>
                <a:moveTo>
                  <a:pt x="2829" y="645"/>
                </a:moveTo>
                <a:cubicBezTo>
                  <a:pt x="2832" y="646"/>
                  <a:pt x="2832" y="646"/>
                  <a:pt x="2832" y="646"/>
                </a:cubicBezTo>
                <a:cubicBezTo>
                  <a:pt x="2833" y="648"/>
                  <a:pt x="2833" y="648"/>
                  <a:pt x="2833" y="648"/>
                </a:cubicBezTo>
                <a:cubicBezTo>
                  <a:pt x="2834" y="647"/>
                  <a:pt x="2834" y="647"/>
                  <a:pt x="2834" y="647"/>
                </a:cubicBezTo>
                <a:cubicBezTo>
                  <a:pt x="2835" y="644"/>
                  <a:pt x="2835" y="644"/>
                  <a:pt x="2835" y="644"/>
                </a:cubicBezTo>
                <a:cubicBezTo>
                  <a:pt x="2837" y="642"/>
                  <a:pt x="2837" y="642"/>
                  <a:pt x="2837" y="642"/>
                </a:cubicBezTo>
                <a:cubicBezTo>
                  <a:pt x="2838" y="640"/>
                  <a:pt x="2838" y="640"/>
                  <a:pt x="2838" y="640"/>
                </a:cubicBezTo>
                <a:cubicBezTo>
                  <a:pt x="2837" y="640"/>
                  <a:pt x="2837" y="640"/>
                  <a:pt x="2837" y="640"/>
                </a:cubicBezTo>
                <a:cubicBezTo>
                  <a:pt x="2836" y="638"/>
                  <a:pt x="2836" y="638"/>
                  <a:pt x="2836" y="638"/>
                </a:cubicBezTo>
                <a:cubicBezTo>
                  <a:pt x="2834" y="636"/>
                  <a:pt x="2834" y="636"/>
                  <a:pt x="2834" y="636"/>
                </a:cubicBezTo>
                <a:cubicBezTo>
                  <a:pt x="2833" y="636"/>
                  <a:pt x="2833" y="636"/>
                  <a:pt x="2833" y="636"/>
                </a:cubicBezTo>
                <a:cubicBezTo>
                  <a:pt x="2831" y="635"/>
                  <a:pt x="2831" y="635"/>
                  <a:pt x="2831" y="635"/>
                </a:cubicBezTo>
                <a:cubicBezTo>
                  <a:pt x="2829" y="635"/>
                  <a:pt x="2829" y="635"/>
                  <a:pt x="2829" y="635"/>
                </a:cubicBezTo>
                <a:cubicBezTo>
                  <a:pt x="2826" y="637"/>
                  <a:pt x="2826" y="637"/>
                  <a:pt x="2826" y="637"/>
                </a:cubicBezTo>
                <a:cubicBezTo>
                  <a:pt x="2826" y="638"/>
                  <a:pt x="2826" y="638"/>
                  <a:pt x="2826" y="638"/>
                </a:cubicBezTo>
                <a:cubicBezTo>
                  <a:pt x="2825" y="640"/>
                  <a:pt x="2825" y="640"/>
                  <a:pt x="2825" y="640"/>
                </a:cubicBezTo>
                <a:cubicBezTo>
                  <a:pt x="2823" y="640"/>
                  <a:pt x="2823" y="640"/>
                  <a:pt x="2823" y="640"/>
                </a:cubicBezTo>
                <a:cubicBezTo>
                  <a:pt x="2822" y="642"/>
                  <a:pt x="2822" y="642"/>
                  <a:pt x="2822" y="642"/>
                </a:cubicBezTo>
                <a:cubicBezTo>
                  <a:pt x="2821" y="641"/>
                  <a:pt x="2821" y="641"/>
                  <a:pt x="2821" y="641"/>
                </a:cubicBezTo>
                <a:cubicBezTo>
                  <a:pt x="2820" y="639"/>
                  <a:pt x="2820" y="639"/>
                  <a:pt x="2820" y="639"/>
                </a:cubicBezTo>
                <a:cubicBezTo>
                  <a:pt x="2819" y="639"/>
                  <a:pt x="2819" y="639"/>
                  <a:pt x="2819" y="639"/>
                </a:cubicBezTo>
                <a:cubicBezTo>
                  <a:pt x="2816" y="642"/>
                  <a:pt x="2816" y="642"/>
                  <a:pt x="2816" y="642"/>
                </a:cubicBezTo>
                <a:cubicBezTo>
                  <a:pt x="2816" y="643"/>
                  <a:pt x="2816" y="643"/>
                  <a:pt x="2816" y="643"/>
                </a:cubicBezTo>
                <a:cubicBezTo>
                  <a:pt x="2814" y="645"/>
                  <a:pt x="2814" y="645"/>
                  <a:pt x="2814" y="645"/>
                </a:cubicBezTo>
                <a:cubicBezTo>
                  <a:pt x="2814" y="647"/>
                  <a:pt x="2814" y="647"/>
                  <a:pt x="2814" y="647"/>
                </a:cubicBezTo>
                <a:cubicBezTo>
                  <a:pt x="2817" y="647"/>
                  <a:pt x="2817" y="647"/>
                  <a:pt x="2817" y="647"/>
                </a:cubicBezTo>
                <a:cubicBezTo>
                  <a:pt x="2817" y="649"/>
                  <a:pt x="2817" y="649"/>
                  <a:pt x="2817" y="649"/>
                </a:cubicBezTo>
                <a:cubicBezTo>
                  <a:pt x="2817" y="650"/>
                  <a:pt x="2817" y="650"/>
                  <a:pt x="2817" y="650"/>
                </a:cubicBezTo>
                <a:cubicBezTo>
                  <a:pt x="2817" y="651"/>
                  <a:pt x="2817" y="651"/>
                  <a:pt x="2817" y="651"/>
                </a:cubicBezTo>
                <a:cubicBezTo>
                  <a:pt x="2818" y="653"/>
                  <a:pt x="2818" y="653"/>
                  <a:pt x="2818" y="653"/>
                </a:cubicBezTo>
                <a:cubicBezTo>
                  <a:pt x="2821" y="654"/>
                  <a:pt x="2821" y="654"/>
                  <a:pt x="2821" y="654"/>
                </a:cubicBezTo>
                <a:cubicBezTo>
                  <a:pt x="2821" y="655"/>
                  <a:pt x="2821" y="655"/>
                  <a:pt x="2821" y="655"/>
                </a:cubicBezTo>
                <a:cubicBezTo>
                  <a:pt x="2821" y="655"/>
                  <a:pt x="2821" y="655"/>
                  <a:pt x="2821" y="655"/>
                </a:cubicBezTo>
                <a:cubicBezTo>
                  <a:pt x="2822" y="655"/>
                  <a:pt x="2822" y="655"/>
                  <a:pt x="2822" y="655"/>
                </a:cubicBezTo>
                <a:cubicBezTo>
                  <a:pt x="2823" y="655"/>
                  <a:pt x="2823" y="655"/>
                  <a:pt x="2823" y="655"/>
                </a:cubicBezTo>
                <a:cubicBezTo>
                  <a:pt x="2824" y="655"/>
                  <a:pt x="2824" y="655"/>
                  <a:pt x="2824" y="655"/>
                </a:cubicBezTo>
                <a:cubicBezTo>
                  <a:pt x="2824" y="654"/>
                  <a:pt x="2824" y="654"/>
                  <a:pt x="2824" y="654"/>
                </a:cubicBezTo>
                <a:cubicBezTo>
                  <a:pt x="2822" y="652"/>
                  <a:pt x="2822" y="652"/>
                  <a:pt x="2822" y="652"/>
                </a:cubicBezTo>
                <a:cubicBezTo>
                  <a:pt x="2823" y="650"/>
                  <a:pt x="2823" y="650"/>
                  <a:pt x="2823" y="650"/>
                </a:cubicBezTo>
                <a:cubicBezTo>
                  <a:pt x="2824" y="647"/>
                  <a:pt x="2824" y="647"/>
                  <a:pt x="2824" y="647"/>
                </a:cubicBezTo>
                <a:cubicBezTo>
                  <a:pt x="2826" y="645"/>
                  <a:pt x="2826" y="645"/>
                  <a:pt x="2826" y="645"/>
                </a:cubicBezTo>
                <a:cubicBezTo>
                  <a:pt x="2827" y="644"/>
                  <a:pt x="2827" y="644"/>
                  <a:pt x="2827" y="644"/>
                </a:cubicBezTo>
                <a:lnTo>
                  <a:pt x="2829" y="645"/>
                </a:lnTo>
                <a:close/>
                <a:moveTo>
                  <a:pt x="2719" y="1139"/>
                </a:moveTo>
                <a:cubicBezTo>
                  <a:pt x="2721" y="1139"/>
                  <a:pt x="2721" y="1139"/>
                  <a:pt x="2721" y="1139"/>
                </a:cubicBezTo>
                <a:cubicBezTo>
                  <a:pt x="2723" y="1141"/>
                  <a:pt x="2723" y="1141"/>
                  <a:pt x="2723" y="1141"/>
                </a:cubicBezTo>
                <a:cubicBezTo>
                  <a:pt x="2725" y="1141"/>
                  <a:pt x="2725" y="1141"/>
                  <a:pt x="2725" y="1141"/>
                </a:cubicBezTo>
                <a:cubicBezTo>
                  <a:pt x="2726" y="1144"/>
                  <a:pt x="2726" y="1144"/>
                  <a:pt x="2726" y="1144"/>
                </a:cubicBezTo>
                <a:cubicBezTo>
                  <a:pt x="2729" y="1145"/>
                  <a:pt x="2729" y="1145"/>
                  <a:pt x="2729" y="1145"/>
                </a:cubicBezTo>
                <a:cubicBezTo>
                  <a:pt x="2732" y="1144"/>
                  <a:pt x="2732" y="1144"/>
                  <a:pt x="2732" y="1144"/>
                </a:cubicBezTo>
                <a:cubicBezTo>
                  <a:pt x="2734" y="1143"/>
                  <a:pt x="2734" y="1143"/>
                  <a:pt x="2734" y="1143"/>
                </a:cubicBezTo>
                <a:cubicBezTo>
                  <a:pt x="2734" y="1142"/>
                  <a:pt x="2734" y="1142"/>
                  <a:pt x="2734" y="1142"/>
                </a:cubicBezTo>
                <a:cubicBezTo>
                  <a:pt x="2732" y="1140"/>
                  <a:pt x="2732" y="1140"/>
                  <a:pt x="2732" y="1140"/>
                </a:cubicBezTo>
                <a:cubicBezTo>
                  <a:pt x="2731" y="1137"/>
                  <a:pt x="2731" y="1137"/>
                  <a:pt x="2731" y="1137"/>
                </a:cubicBezTo>
                <a:cubicBezTo>
                  <a:pt x="2729" y="1137"/>
                  <a:pt x="2729" y="1137"/>
                  <a:pt x="2729" y="1137"/>
                </a:cubicBezTo>
                <a:cubicBezTo>
                  <a:pt x="2728" y="1136"/>
                  <a:pt x="2728" y="1136"/>
                  <a:pt x="2728" y="1136"/>
                </a:cubicBezTo>
                <a:cubicBezTo>
                  <a:pt x="2726" y="1134"/>
                  <a:pt x="2726" y="1134"/>
                  <a:pt x="2726" y="1134"/>
                </a:cubicBezTo>
                <a:cubicBezTo>
                  <a:pt x="2724" y="1136"/>
                  <a:pt x="2724" y="1136"/>
                  <a:pt x="2724" y="1136"/>
                </a:cubicBezTo>
                <a:cubicBezTo>
                  <a:pt x="2722" y="1136"/>
                  <a:pt x="2722" y="1136"/>
                  <a:pt x="2722" y="1136"/>
                </a:cubicBezTo>
                <a:cubicBezTo>
                  <a:pt x="2719" y="1133"/>
                  <a:pt x="2719" y="1133"/>
                  <a:pt x="2719" y="1133"/>
                </a:cubicBezTo>
                <a:cubicBezTo>
                  <a:pt x="2715" y="1136"/>
                  <a:pt x="2715" y="1136"/>
                  <a:pt x="2715" y="1136"/>
                </a:cubicBezTo>
                <a:cubicBezTo>
                  <a:pt x="2715" y="1137"/>
                  <a:pt x="2715" y="1137"/>
                  <a:pt x="2715" y="1137"/>
                </a:cubicBezTo>
                <a:cubicBezTo>
                  <a:pt x="2716" y="1139"/>
                  <a:pt x="2716" y="1139"/>
                  <a:pt x="2716" y="1139"/>
                </a:cubicBezTo>
                <a:lnTo>
                  <a:pt x="2719" y="1139"/>
                </a:lnTo>
                <a:close/>
                <a:moveTo>
                  <a:pt x="2833" y="633"/>
                </a:moveTo>
                <a:cubicBezTo>
                  <a:pt x="2833" y="632"/>
                  <a:pt x="2833" y="632"/>
                  <a:pt x="2833" y="632"/>
                </a:cubicBezTo>
                <a:cubicBezTo>
                  <a:pt x="2831" y="632"/>
                  <a:pt x="2831" y="632"/>
                  <a:pt x="2831" y="632"/>
                </a:cubicBezTo>
                <a:cubicBezTo>
                  <a:pt x="2830" y="634"/>
                  <a:pt x="2830" y="634"/>
                  <a:pt x="2830" y="634"/>
                </a:cubicBezTo>
                <a:cubicBezTo>
                  <a:pt x="2831" y="634"/>
                  <a:pt x="2831" y="634"/>
                  <a:pt x="2831" y="634"/>
                </a:cubicBezTo>
                <a:lnTo>
                  <a:pt x="2833" y="633"/>
                </a:lnTo>
                <a:close/>
                <a:moveTo>
                  <a:pt x="2810" y="685"/>
                </a:moveTo>
                <a:cubicBezTo>
                  <a:pt x="2810" y="683"/>
                  <a:pt x="2810" y="683"/>
                  <a:pt x="2810" y="683"/>
                </a:cubicBezTo>
                <a:cubicBezTo>
                  <a:pt x="2809" y="682"/>
                  <a:pt x="2809" y="682"/>
                  <a:pt x="2809" y="682"/>
                </a:cubicBezTo>
                <a:cubicBezTo>
                  <a:pt x="2809" y="684"/>
                  <a:pt x="2809" y="684"/>
                  <a:pt x="2809" y="684"/>
                </a:cubicBezTo>
                <a:cubicBezTo>
                  <a:pt x="2809" y="687"/>
                  <a:pt x="2809" y="687"/>
                  <a:pt x="2809" y="687"/>
                </a:cubicBezTo>
                <a:cubicBezTo>
                  <a:pt x="2810" y="687"/>
                  <a:pt x="2810" y="687"/>
                  <a:pt x="2810" y="687"/>
                </a:cubicBezTo>
                <a:lnTo>
                  <a:pt x="2810" y="685"/>
                </a:lnTo>
                <a:close/>
                <a:moveTo>
                  <a:pt x="2803" y="1044"/>
                </a:moveTo>
                <a:cubicBezTo>
                  <a:pt x="2802" y="1044"/>
                  <a:pt x="2802" y="1044"/>
                  <a:pt x="2802" y="1044"/>
                </a:cubicBezTo>
                <a:cubicBezTo>
                  <a:pt x="2801" y="1045"/>
                  <a:pt x="2801" y="1045"/>
                  <a:pt x="2801" y="1045"/>
                </a:cubicBezTo>
                <a:cubicBezTo>
                  <a:pt x="2803" y="1046"/>
                  <a:pt x="2803" y="1046"/>
                  <a:pt x="2803" y="1046"/>
                </a:cubicBezTo>
                <a:lnTo>
                  <a:pt x="2803" y="1044"/>
                </a:lnTo>
                <a:close/>
                <a:moveTo>
                  <a:pt x="2818" y="1026"/>
                </a:moveTo>
                <a:cubicBezTo>
                  <a:pt x="2819" y="1022"/>
                  <a:pt x="2819" y="1022"/>
                  <a:pt x="2819" y="1022"/>
                </a:cubicBezTo>
                <a:cubicBezTo>
                  <a:pt x="2819" y="1021"/>
                  <a:pt x="2819" y="1021"/>
                  <a:pt x="2819" y="1021"/>
                </a:cubicBezTo>
                <a:cubicBezTo>
                  <a:pt x="2818" y="1019"/>
                  <a:pt x="2818" y="1019"/>
                  <a:pt x="2818" y="1019"/>
                </a:cubicBezTo>
                <a:cubicBezTo>
                  <a:pt x="2815" y="1021"/>
                  <a:pt x="2815" y="1021"/>
                  <a:pt x="2815" y="1021"/>
                </a:cubicBezTo>
                <a:cubicBezTo>
                  <a:pt x="2812" y="1022"/>
                  <a:pt x="2812" y="1022"/>
                  <a:pt x="2812" y="1022"/>
                </a:cubicBezTo>
                <a:cubicBezTo>
                  <a:pt x="2812" y="1024"/>
                  <a:pt x="2812" y="1024"/>
                  <a:pt x="2812" y="1024"/>
                </a:cubicBezTo>
                <a:cubicBezTo>
                  <a:pt x="2813" y="1024"/>
                  <a:pt x="2813" y="1024"/>
                  <a:pt x="2813" y="1024"/>
                </a:cubicBezTo>
                <a:cubicBezTo>
                  <a:pt x="2812" y="1025"/>
                  <a:pt x="2812" y="1025"/>
                  <a:pt x="2812" y="1025"/>
                </a:cubicBezTo>
                <a:cubicBezTo>
                  <a:pt x="2810" y="1025"/>
                  <a:pt x="2810" y="1025"/>
                  <a:pt x="2810" y="1025"/>
                </a:cubicBezTo>
                <a:cubicBezTo>
                  <a:pt x="2809" y="1027"/>
                  <a:pt x="2809" y="1027"/>
                  <a:pt x="2809" y="1027"/>
                </a:cubicBezTo>
                <a:cubicBezTo>
                  <a:pt x="2808" y="1027"/>
                  <a:pt x="2808" y="1027"/>
                  <a:pt x="2808" y="1027"/>
                </a:cubicBezTo>
                <a:cubicBezTo>
                  <a:pt x="2807" y="1026"/>
                  <a:pt x="2807" y="1026"/>
                  <a:pt x="2807" y="1026"/>
                </a:cubicBezTo>
                <a:cubicBezTo>
                  <a:pt x="2809" y="1024"/>
                  <a:pt x="2809" y="1024"/>
                  <a:pt x="2809" y="1024"/>
                </a:cubicBezTo>
                <a:cubicBezTo>
                  <a:pt x="2810" y="1024"/>
                  <a:pt x="2810" y="1024"/>
                  <a:pt x="2810" y="1024"/>
                </a:cubicBezTo>
                <a:cubicBezTo>
                  <a:pt x="2811" y="1021"/>
                  <a:pt x="2811" y="1021"/>
                  <a:pt x="2811" y="1021"/>
                </a:cubicBezTo>
                <a:cubicBezTo>
                  <a:pt x="2811" y="1018"/>
                  <a:pt x="2811" y="1018"/>
                  <a:pt x="2811" y="1018"/>
                </a:cubicBezTo>
                <a:cubicBezTo>
                  <a:pt x="2809" y="1018"/>
                  <a:pt x="2809" y="1018"/>
                  <a:pt x="2809" y="1018"/>
                </a:cubicBezTo>
                <a:cubicBezTo>
                  <a:pt x="2809" y="1017"/>
                  <a:pt x="2809" y="1017"/>
                  <a:pt x="2809" y="1017"/>
                </a:cubicBezTo>
                <a:cubicBezTo>
                  <a:pt x="2811" y="1015"/>
                  <a:pt x="2811" y="1015"/>
                  <a:pt x="2811" y="1015"/>
                </a:cubicBezTo>
                <a:cubicBezTo>
                  <a:pt x="2811" y="1013"/>
                  <a:pt x="2811" y="1013"/>
                  <a:pt x="2811" y="1013"/>
                </a:cubicBezTo>
                <a:cubicBezTo>
                  <a:pt x="2810" y="1014"/>
                  <a:pt x="2810" y="1014"/>
                  <a:pt x="2810" y="1014"/>
                </a:cubicBezTo>
                <a:cubicBezTo>
                  <a:pt x="2807" y="1017"/>
                  <a:pt x="2807" y="1017"/>
                  <a:pt x="2807" y="1017"/>
                </a:cubicBezTo>
                <a:cubicBezTo>
                  <a:pt x="2806" y="1019"/>
                  <a:pt x="2806" y="1019"/>
                  <a:pt x="2806" y="1019"/>
                </a:cubicBezTo>
                <a:cubicBezTo>
                  <a:pt x="2806" y="1022"/>
                  <a:pt x="2806" y="1022"/>
                  <a:pt x="2806" y="1022"/>
                </a:cubicBezTo>
                <a:cubicBezTo>
                  <a:pt x="2805" y="1023"/>
                  <a:pt x="2805" y="1023"/>
                  <a:pt x="2805" y="1023"/>
                </a:cubicBezTo>
                <a:cubicBezTo>
                  <a:pt x="2804" y="1025"/>
                  <a:pt x="2804" y="1025"/>
                  <a:pt x="2804" y="1025"/>
                </a:cubicBezTo>
                <a:cubicBezTo>
                  <a:pt x="2805" y="1027"/>
                  <a:pt x="2805" y="1027"/>
                  <a:pt x="2805" y="1027"/>
                </a:cubicBezTo>
                <a:cubicBezTo>
                  <a:pt x="2807" y="1029"/>
                  <a:pt x="2807" y="1029"/>
                  <a:pt x="2807" y="1029"/>
                </a:cubicBezTo>
                <a:cubicBezTo>
                  <a:pt x="2806" y="1030"/>
                  <a:pt x="2806" y="1030"/>
                  <a:pt x="2806" y="1030"/>
                </a:cubicBezTo>
                <a:cubicBezTo>
                  <a:pt x="2805" y="1032"/>
                  <a:pt x="2805" y="1032"/>
                  <a:pt x="2805" y="1032"/>
                </a:cubicBezTo>
                <a:cubicBezTo>
                  <a:pt x="2807" y="1034"/>
                  <a:pt x="2807" y="1034"/>
                  <a:pt x="2807" y="1034"/>
                </a:cubicBezTo>
                <a:cubicBezTo>
                  <a:pt x="2807" y="1035"/>
                  <a:pt x="2807" y="1035"/>
                  <a:pt x="2807" y="1035"/>
                </a:cubicBezTo>
                <a:cubicBezTo>
                  <a:pt x="2808" y="1036"/>
                  <a:pt x="2808" y="1036"/>
                  <a:pt x="2808" y="1036"/>
                </a:cubicBezTo>
                <a:cubicBezTo>
                  <a:pt x="2807" y="1038"/>
                  <a:pt x="2807" y="1038"/>
                  <a:pt x="2807" y="1038"/>
                </a:cubicBezTo>
                <a:cubicBezTo>
                  <a:pt x="2808" y="1041"/>
                  <a:pt x="2808" y="1041"/>
                  <a:pt x="2808" y="1041"/>
                </a:cubicBezTo>
                <a:cubicBezTo>
                  <a:pt x="2810" y="1042"/>
                  <a:pt x="2810" y="1042"/>
                  <a:pt x="2810" y="1042"/>
                </a:cubicBezTo>
                <a:cubicBezTo>
                  <a:pt x="2812" y="1045"/>
                  <a:pt x="2812" y="1045"/>
                  <a:pt x="2812" y="1045"/>
                </a:cubicBezTo>
                <a:cubicBezTo>
                  <a:pt x="2813" y="1046"/>
                  <a:pt x="2813" y="1046"/>
                  <a:pt x="2813" y="1046"/>
                </a:cubicBezTo>
                <a:cubicBezTo>
                  <a:pt x="2814" y="1048"/>
                  <a:pt x="2814" y="1048"/>
                  <a:pt x="2814" y="1048"/>
                </a:cubicBezTo>
                <a:cubicBezTo>
                  <a:pt x="2814" y="1046"/>
                  <a:pt x="2814" y="1046"/>
                  <a:pt x="2814" y="1046"/>
                </a:cubicBezTo>
                <a:cubicBezTo>
                  <a:pt x="2815" y="1046"/>
                  <a:pt x="2815" y="1046"/>
                  <a:pt x="2815" y="1046"/>
                </a:cubicBezTo>
                <a:cubicBezTo>
                  <a:pt x="2814" y="1045"/>
                  <a:pt x="2814" y="1045"/>
                  <a:pt x="2814" y="1045"/>
                </a:cubicBezTo>
                <a:cubicBezTo>
                  <a:pt x="2812" y="1043"/>
                  <a:pt x="2812" y="1043"/>
                  <a:pt x="2812" y="1043"/>
                </a:cubicBezTo>
                <a:cubicBezTo>
                  <a:pt x="2811" y="1040"/>
                  <a:pt x="2811" y="1040"/>
                  <a:pt x="2811" y="1040"/>
                </a:cubicBezTo>
                <a:cubicBezTo>
                  <a:pt x="2809" y="1037"/>
                  <a:pt x="2809" y="1037"/>
                  <a:pt x="2809" y="1037"/>
                </a:cubicBezTo>
                <a:cubicBezTo>
                  <a:pt x="2809" y="1033"/>
                  <a:pt x="2809" y="1033"/>
                  <a:pt x="2809" y="1033"/>
                </a:cubicBezTo>
                <a:cubicBezTo>
                  <a:pt x="2811" y="1032"/>
                  <a:pt x="2811" y="1032"/>
                  <a:pt x="2811" y="1032"/>
                </a:cubicBezTo>
                <a:cubicBezTo>
                  <a:pt x="2813" y="1033"/>
                  <a:pt x="2813" y="1033"/>
                  <a:pt x="2813" y="1033"/>
                </a:cubicBezTo>
                <a:cubicBezTo>
                  <a:pt x="2816" y="1033"/>
                  <a:pt x="2816" y="1033"/>
                  <a:pt x="2816" y="1033"/>
                </a:cubicBezTo>
                <a:cubicBezTo>
                  <a:pt x="2817" y="1034"/>
                  <a:pt x="2817" y="1034"/>
                  <a:pt x="2817" y="1034"/>
                </a:cubicBezTo>
                <a:cubicBezTo>
                  <a:pt x="2819" y="1034"/>
                  <a:pt x="2819" y="1034"/>
                  <a:pt x="2819" y="1034"/>
                </a:cubicBezTo>
                <a:cubicBezTo>
                  <a:pt x="2818" y="1033"/>
                  <a:pt x="2818" y="1033"/>
                  <a:pt x="2818" y="1033"/>
                </a:cubicBezTo>
                <a:cubicBezTo>
                  <a:pt x="2818" y="1032"/>
                  <a:pt x="2818" y="1032"/>
                  <a:pt x="2818" y="1032"/>
                </a:cubicBezTo>
                <a:cubicBezTo>
                  <a:pt x="2815" y="1030"/>
                  <a:pt x="2815" y="1030"/>
                  <a:pt x="2815" y="1030"/>
                </a:cubicBezTo>
                <a:cubicBezTo>
                  <a:pt x="2814" y="1030"/>
                  <a:pt x="2814" y="1030"/>
                  <a:pt x="2814" y="1030"/>
                </a:cubicBezTo>
                <a:cubicBezTo>
                  <a:pt x="2813" y="1028"/>
                  <a:pt x="2813" y="1028"/>
                  <a:pt x="2813" y="1028"/>
                </a:cubicBezTo>
                <a:cubicBezTo>
                  <a:pt x="2814" y="1027"/>
                  <a:pt x="2814" y="1027"/>
                  <a:pt x="2814" y="1027"/>
                </a:cubicBezTo>
                <a:lnTo>
                  <a:pt x="2818" y="1026"/>
                </a:lnTo>
                <a:close/>
                <a:moveTo>
                  <a:pt x="2802" y="1114"/>
                </a:moveTo>
                <a:cubicBezTo>
                  <a:pt x="2801" y="1115"/>
                  <a:pt x="2801" y="1115"/>
                  <a:pt x="2801" y="1115"/>
                </a:cubicBezTo>
                <a:cubicBezTo>
                  <a:pt x="2801" y="1116"/>
                  <a:pt x="2801" y="1116"/>
                  <a:pt x="2801" y="1116"/>
                </a:cubicBezTo>
                <a:cubicBezTo>
                  <a:pt x="2803" y="1115"/>
                  <a:pt x="2803" y="1115"/>
                  <a:pt x="2803" y="1115"/>
                </a:cubicBezTo>
                <a:lnTo>
                  <a:pt x="2802" y="1114"/>
                </a:lnTo>
                <a:close/>
                <a:moveTo>
                  <a:pt x="2805" y="1122"/>
                </a:moveTo>
                <a:cubicBezTo>
                  <a:pt x="2803" y="1123"/>
                  <a:pt x="2803" y="1123"/>
                  <a:pt x="2803" y="1123"/>
                </a:cubicBezTo>
                <a:cubicBezTo>
                  <a:pt x="2805" y="1123"/>
                  <a:pt x="2805" y="1123"/>
                  <a:pt x="2805" y="1123"/>
                </a:cubicBezTo>
                <a:lnTo>
                  <a:pt x="2805" y="1122"/>
                </a:lnTo>
                <a:close/>
                <a:moveTo>
                  <a:pt x="2745" y="1041"/>
                </a:moveTo>
                <a:cubicBezTo>
                  <a:pt x="2746" y="1042"/>
                  <a:pt x="2746" y="1042"/>
                  <a:pt x="2746" y="1042"/>
                </a:cubicBezTo>
                <a:cubicBezTo>
                  <a:pt x="2748" y="1042"/>
                  <a:pt x="2748" y="1042"/>
                  <a:pt x="2748" y="1042"/>
                </a:cubicBezTo>
                <a:cubicBezTo>
                  <a:pt x="2746" y="1041"/>
                  <a:pt x="2746" y="1041"/>
                  <a:pt x="2746" y="1041"/>
                </a:cubicBezTo>
                <a:lnTo>
                  <a:pt x="2745" y="1041"/>
                </a:lnTo>
                <a:close/>
                <a:moveTo>
                  <a:pt x="2761" y="1058"/>
                </a:moveTo>
                <a:cubicBezTo>
                  <a:pt x="2761" y="1058"/>
                  <a:pt x="2761" y="1056"/>
                  <a:pt x="2761" y="1056"/>
                </a:cubicBezTo>
                <a:cubicBezTo>
                  <a:pt x="2760" y="1057"/>
                  <a:pt x="2760" y="1057"/>
                  <a:pt x="2760" y="1057"/>
                </a:cubicBezTo>
                <a:lnTo>
                  <a:pt x="2761" y="1058"/>
                </a:lnTo>
                <a:close/>
                <a:moveTo>
                  <a:pt x="2766" y="1055"/>
                </a:moveTo>
                <a:cubicBezTo>
                  <a:pt x="2766" y="1053"/>
                  <a:pt x="2766" y="1053"/>
                  <a:pt x="2766" y="1053"/>
                </a:cubicBezTo>
                <a:cubicBezTo>
                  <a:pt x="2765" y="1054"/>
                  <a:pt x="2765" y="1054"/>
                  <a:pt x="2765" y="1054"/>
                </a:cubicBezTo>
                <a:lnTo>
                  <a:pt x="2766" y="1055"/>
                </a:lnTo>
                <a:close/>
                <a:moveTo>
                  <a:pt x="2763" y="1052"/>
                </a:moveTo>
                <a:cubicBezTo>
                  <a:pt x="2763" y="1053"/>
                  <a:pt x="2763" y="1053"/>
                  <a:pt x="2763" y="1053"/>
                </a:cubicBezTo>
                <a:cubicBezTo>
                  <a:pt x="2765" y="1053"/>
                  <a:pt x="2765" y="1053"/>
                  <a:pt x="2765" y="1053"/>
                </a:cubicBezTo>
                <a:cubicBezTo>
                  <a:pt x="2766" y="1051"/>
                  <a:pt x="2766" y="1051"/>
                  <a:pt x="2766" y="1051"/>
                </a:cubicBezTo>
                <a:cubicBezTo>
                  <a:pt x="2764" y="1050"/>
                  <a:pt x="2764" y="1050"/>
                  <a:pt x="2764" y="1050"/>
                </a:cubicBezTo>
                <a:cubicBezTo>
                  <a:pt x="2763" y="1051"/>
                  <a:pt x="2763" y="1051"/>
                  <a:pt x="2763" y="1051"/>
                </a:cubicBezTo>
                <a:cubicBezTo>
                  <a:pt x="2762" y="1052"/>
                  <a:pt x="2762" y="1052"/>
                  <a:pt x="2762" y="1052"/>
                </a:cubicBezTo>
                <a:cubicBezTo>
                  <a:pt x="2763" y="1050"/>
                  <a:pt x="2763" y="1050"/>
                  <a:pt x="2763" y="1050"/>
                </a:cubicBezTo>
                <a:cubicBezTo>
                  <a:pt x="2762" y="1050"/>
                  <a:pt x="2762" y="1050"/>
                  <a:pt x="2762" y="1050"/>
                </a:cubicBezTo>
                <a:cubicBezTo>
                  <a:pt x="2760" y="1049"/>
                  <a:pt x="2760" y="1049"/>
                  <a:pt x="2760" y="1049"/>
                </a:cubicBezTo>
                <a:cubicBezTo>
                  <a:pt x="2757" y="1051"/>
                  <a:pt x="2757" y="1051"/>
                  <a:pt x="2757" y="1051"/>
                </a:cubicBezTo>
                <a:cubicBezTo>
                  <a:pt x="2757" y="1053"/>
                  <a:pt x="2757" y="1053"/>
                  <a:pt x="2757" y="1053"/>
                </a:cubicBezTo>
                <a:cubicBezTo>
                  <a:pt x="2759" y="1054"/>
                  <a:pt x="2759" y="1054"/>
                  <a:pt x="2759" y="1054"/>
                </a:cubicBezTo>
                <a:cubicBezTo>
                  <a:pt x="2760" y="1053"/>
                  <a:pt x="2760" y="1053"/>
                  <a:pt x="2760" y="1053"/>
                </a:cubicBezTo>
                <a:cubicBezTo>
                  <a:pt x="2762" y="1054"/>
                  <a:pt x="2762" y="1054"/>
                  <a:pt x="2762" y="1054"/>
                </a:cubicBezTo>
                <a:lnTo>
                  <a:pt x="2763" y="1052"/>
                </a:lnTo>
                <a:close/>
                <a:moveTo>
                  <a:pt x="2781" y="1056"/>
                </a:moveTo>
                <a:cubicBezTo>
                  <a:pt x="2783" y="1057"/>
                  <a:pt x="2783" y="1057"/>
                  <a:pt x="2783" y="1057"/>
                </a:cubicBezTo>
                <a:cubicBezTo>
                  <a:pt x="2783" y="1055"/>
                  <a:pt x="2783" y="1055"/>
                  <a:pt x="2783" y="1055"/>
                </a:cubicBezTo>
                <a:cubicBezTo>
                  <a:pt x="2781" y="1054"/>
                  <a:pt x="2781" y="1054"/>
                  <a:pt x="2781" y="1054"/>
                </a:cubicBezTo>
                <a:cubicBezTo>
                  <a:pt x="2780" y="1055"/>
                  <a:pt x="2780" y="1055"/>
                  <a:pt x="2780" y="1055"/>
                </a:cubicBezTo>
                <a:cubicBezTo>
                  <a:pt x="2779" y="1055"/>
                  <a:pt x="2779" y="1055"/>
                  <a:pt x="2779" y="1055"/>
                </a:cubicBezTo>
                <a:cubicBezTo>
                  <a:pt x="2777" y="1054"/>
                  <a:pt x="2777" y="1054"/>
                  <a:pt x="2777" y="1054"/>
                </a:cubicBezTo>
                <a:cubicBezTo>
                  <a:pt x="2775" y="1055"/>
                  <a:pt x="2775" y="1055"/>
                  <a:pt x="2775" y="1055"/>
                </a:cubicBezTo>
                <a:cubicBezTo>
                  <a:pt x="2775" y="1054"/>
                  <a:pt x="2775" y="1054"/>
                  <a:pt x="2775" y="1054"/>
                </a:cubicBezTo>
                <a:cubicBezTo>
                  <a:pt x="2773" y="1056"/>
                  <a:pt x="2773" y="1056"/>
                  <a:pt x="2773" y="1056"/>
                </a:cubicBezTo>
                <a:cubicBezTo>
                  <a:pt x="2773" y="1057"/>
                  <a:pt x="2773" y="1057"/>
                  <a:pt x="2773" y="1057"/>
                </a:cubicBezTo>
                <a:cubicBezTo>
                  <a:pt x="2774" y="1058"/>
                  <a:pt x="2774" y="1058"/>
                  <a:pt x="2774" y="1058"/>
                </a:cubicBezTo>
                <a:cubicBezTo>
                  <a:pt x="2776" y="1058"/>
                  <a:pt x="2776" y="1058"/>
                  <a:pt x="2776" y="1058"/>
                </a:cubicBezTo>
                <a:cubicBezTo>
                  <a:pt x="2778" y="1057"/>
                  <a:pt x="2778" y="1057"/>
                  <a:pt x="2778" y="1057"/>
                </a:cubicBezTo>
                <a:cubicBezTo>
                  <a:pt x="2779" y="1057"/>
                  <a:pt x="2779" y="1057"/>
                  <a:pt x="2779" y="1057"/>
                </a:cubicBezTo>
                <a:lnTo>
                  <a:pt x="2781" y="1056"/>
                </a:lnTo>
                <a:close/>
                <a:moveTo>
                  <a:pt x="2762" y="1056"/>
                </a:moveTo>
                <a:cubicBezTo>
                  <a:pt x="2764" y="1056"/>
                  <a:pt x="2764" y="1056"/>
                  <a:pt x="2764" y="1056"/>
                </a:cubicBezTo>
                <a:cubicBezTo>
                  <a:pt x="2763" y="1055"/>
                  <a:pt x="2763" y="1055"/>
                  <a:pt x="2763" y="1055"/>
                </a:cubicBezTo>
                <a:lnTo>
                  <a:pt x="2762" y="1056"/>
                </a:lnTo>
                <a:close/>
                <a:moveTo>
                  <a:pt x="2761" y="1127"/>
                </a:moveTo>
                <a:cubicBezTo>
                  <a:pt x="2763" y="1127"/>
                  <a:pt x="2763" y="1127"/>
                  <a:pt x="2763" y="1127"/>
                </a:cubicBezTo>
                <a:cubicBezTo>
                  <a:pt x="2764" y="1126"/>
                  <a:pt x="2764" y="1126"/>
                  <a:pt x="2764" y="1126"/>
                </a:cubicBezTo>
                <a:cubicBezTo>
                  <a:pt x="2766" y="1124"/>
                  <a:pt x="2766" y="1124"/>
                  <a:pt x="2766" y="1124"/>
                </a:cubicBezTo>
                <a:cubicBezTo>
                  <a:pt x="2766" y="1123"/>
                  <a:pt x="2766" y="1123"/>
                  <a:pt x="2766" y="1123"/>
                </a:cubicBezTo>
                <a:cubicBezTo>
                  <a:pt x="2764" y="1124"/>
                  <a:pt x="2764" y="1124"/>
                  <a:pt x="2764" y="1124"/>
                </a:cubicBezTo>
                <a:cubicBezTo>
                  <a:pt x="2763" y="1124"/>
                  <a:pt x="2763" y="1124"/>
                  <a:pt x="2763" y="1124"/>
                </a:cubicBezTo>
                <a:cubicBezTo>
                  <a:pt x="2762" y="1124"/>
                  <a:pt x="2762" y="1124"/>
                  <a:pt x="2762" y="1124"/>
                </a:cubicBezTo>
                <a:cubicBezTo>
                  <a:pt x="2762" y="1125"/>
                  <a:pt x="2762" y="1125"/>
                  <a:pt x="2762" y="1125"/>
                </a:cubicBezTo>
                <a:cubicBezTo>
                  <a:pt x="2760" y="1126"/>
                  <a:pt x="2760" y="1126"/>
                  <a:pt x="2760" y="1126"/>
                </a:cubicBezTo>
                <a:lnTo>
                  <a:pt x="2761" y="1127"/>
                </a:lnTo>
                <a:close/>
                <a:moveTo>
                  <a:pt x="2768" y="1125"/>
                </a:moveTo>
                <a:cubicBezTo>
                  <a:pt x="2767" y="1126"/>
                  <a:pt x="2767" y="1126"/>
                  <a:pt x="2767" y="1126"/>
                </a:cubicBezTo>
                <a:cubicBezTo>
                  <a:pt x="2768" y="1126"/>
                  <a:pt x="2768" y="1126"/>
                  <a:pt x="2768" y="1126"/>
                </a:cubicBezTo>
                <a:cubicBezTo>
                  <a:pt x="2769" y="1127"/>
                  <a:pt x="2769" y="1127"/>
                  <a:pt x="2769" y="1127"/>
                </a:cubicBezTo>
                <a:cubicBezTo>
                  <a:pt x="2771" y="1125"/>
                  <a:pt x="2771" y="1125"/>
                  <a:pt x="2771" y="1125"/>
                </a:cubicBezTo>
                <a:cubicBezTo>
                  <a:pt x="2770" y="1124"/>
                  <a:pt x="2770" y="1124"/>
                  <a:pt x="2770" y="1124"/>
                </a:cubicBezTo>
                <a:cubicBezTo>
                  <a:pt x="2769" y="1125"/>
                  <a:pt x="2769" y="1125"/>
                  <a:pt x="2769" y="1125"/>
                </a:cubicBezTo>
                <a:lnTo>
                  <a:pt x="2768" y="1125"/>
                </a:lnTo>
                <a:close/>
                <a:moveTo>
                  <a:pt x="2722" y="1129"/>
                </a:moveTo>
                <a:cubicBezTo>
                  <a:pt x="2723" y="1129"/>
                  <a:pt x="2723" y="1129"/>
                  <a:pt x="2723" y="1129"/>
                </a:cubicBezTo>
                <a:cubicBezTo>
                  <a:pt x="2723" y="1128"/>
                  <a:pt x="2723" y="1128"/>
                  <a:pt x="2723" y="1128"/>
                </a:cubicBezTo>
                <a:cubicBezTo>
                  <a:pt x="2723" y="1127"/>
                  <a:pt x="2723" y="1127"/>
                  <a:pt x="2723" y="1127"/>
                </a:cubicBezTo>
                <a:lnTo>
                  <a:pt x="2722" y="1129"/>
                </a:lnTo>
                <a:close/>
                <a:moveTo>
                  <a:pt x="2734" y="1100"/>
                </a:moveTo>
                <a:cubicBezTo>
                  <a:pt x="2733" y="1097"/>
                  <a:pt x="2733" y="1097"/>
                  <a:pt x="2733" y="1097"/>
                </a:cubicBezTo>
                <a:cubicBezTo>
                  <a:pt x="2732" y="1098"/>
                  <a:pt x="2732" y="1098"/>
                  <a:pt x="2732" y="1098"/>
                </a:cubicBezTo>
                <a:cubicBezTo>
                  <a:pt x="2732" y="1100"/>
                  <a:pt x="2732" y="1100"/>
                  <a:pt x="2732" y="1100"/>
                </a:cubicBezTo>
                <a:cubicBezTo>
                  <a:pt x="2731" y="1101"/>
                  <a:pt x="2731" y="1101"/>
                  <a:pt x="2731" y="1101"/>
                </a:cubicBezTo>
                <a:cubicBezTo>
                  <a:pt x="2732" y="1102"/>
                  <a:pt x="2732" y="1102"/>
                  <a:pt x="2732" y="1102"/>
                </a:cubicBezTo>
                <a:cubicBezTo>
                  <a:pt x="2733" y="1104"/>
                  <a:pt x="2733" y="1104"/>
                  <a:pt x="2733" y="1104"/>
                </a:cubicBezTo>
                <a:cubicBezTo>
                  <a:pt x="2733" y="1102"/>
                  <a:pt x="2733" y="1102"/>
                  <a:pt x="2733" y="1102"/>
                </a:cubicBezTo>
                <a:lnTo>
                  <a:pt x="2734" y="1100"/>
                </a:lnTo>
                <a:close/>
                <a:moveTo>
                  <a:pt x="2748" y="1040"/>
                </a:moveTo>
                <a:cubicBezTo>
                  <a:pt x="2748" y="1040"/>
                  <a:pt x="2747" y="1041"/>
                  <a:pt x="2747" y="1041"/>
                </a:cubicBezTo>
                <a:cubicBezTo>
                  <a:pt x="2748" y="1041"/>
                  <a:pt x="2748" y="1041"/>
                  <a:pt x="2748" y="1041"/>
                </a:cubicBezTo>
                <a:lnTo>
                  <a:pt x="2748" y="1040"/>
                </a:lnTo>
                <a:close/>
                <a:moveTo>
                  <a:pt x="2735" y="1111"/>
                </a:moveTo>
                <a:cubicBezTo>
                  <a:pt x="2733" y="1110"/>
                  <a:pt x="2733" y="1110"/>
                  <a:pt x="2733" y="1110"/>
                </a:cubicBezTo>
                <a:cubicBezTo>
                  <a:pt x="2733" y="1111"/>
                  <a:pt x="2733" y="1111"/>
                  <a:pt x="2733" y="1111"/>
                </a:cubicBezTo>
                <a:cubicBezTo>
                  <a:pt x="2734" y="1112"/>
                  <a:pt x="2734" y="1112"/>
                  <a:pt x="2734" y="1112"/>
                </a:cubicBezTo>
                <a:lnTo>
                  <a:pt x="2735" y="1111"/>
                </a:lnTo>
                <a:close/>
                <a:moveTo>
                  <a:pt x="2719" y="1128"/>
                </a:moveTo>
                <a:cubicBezTo>
                  <a:pt x="2720" y="1129"/>
                  <a:pt x="2720" y="1129"/>
                  <a:pt x="2720" y="1129"/>
                </a:cubicBezTo>
                <a:cubicBezTo>
                  <a:pt x="2721" y="1127"/>
                  <a:pt x="2721" y="1127"/>
                  <a:pt x="2721" y="1127"/>
                </a:cubicBezTo>
                <a:cubicBezTo>
                  <a:pt x="2722" y="1126"/>
                  <a:pt x="2722" y="1126"/>
                  <a:pt x="2722" y="1126"/>
                </a:cubicBezTo>
                <a:cubicBezTo>
                  <a:pt x="2720" y="1125"/>
                  <a:pt x="2720" y="1125"/>
                  <a:pt x="2720" y="1125"/>
                </a:cubicBezTo>
                <a:lnTo>
                  <a:pt x="2719" y="1128"/>
                </a:lnTo>
                <a:close/>
                <a:moveTo>
                  <a:pt x="2838" y="631"/>
                </a:moveTo>
                <a:cubicBezTo>
                  <a:pt x="2837" y="631"/>
                  <a:pt x="2837" y="631"/>
                  <a:pt x="2837" y="631"/>
                </a:cubicBezTo>
                <a:cubicBezTo>
                  <a:pt x="2836" y="632"/>
                  <a:pt x="2836" y="632"/>
                  <a:pt x="2836" y="632"/>
                </a:cubicBezTo>
                <a:cubicBezTo>
                  <a:pt x="2836" y="633"/>
                  <a:pt x="2836" y="633"/>
                  <a:pt x="2836" y="633"/>
                </a:cubicBezTo>
                <a:cubicBezTo>
                  <a:pt x="2837" y="636"/>
                  <a:pt x="2837" y="636"/>
                  <a:pt x="2837" y="636"/>
                </a:cubicBezTo>
                <a:cubicBezTo>
                  <a:pt x="2838" y="635"/>
                  <a:pt x="2838" y="635"/>
                  <a:pt x="2838" y="635"/>
                </a:cubicBezTo>
                <a:cubicBezTo>
                  <a:pt x="2838" y="634"/>
                  <a:pt x="2838" y="634"/>
                  <a:pt x="2838" y="634"/>
                </a:cubicBezTo>
                <a:cubicBezTo>
                  <a:pt x="2838" y="633"/>
                  <a:pt x="2838" y="633"/>
                  <a:pt x="2838" y="633"/>
                </a:cubicBezTo>
                <a:cubicBezTo>
                  <a:pt x="2838" y="632"/>
                  <a:pt x="2838" y="632"/>
                  <a:pt x="2838" y="632"/>
                </a:cubicBezTo>
                <a:lnTo>
                  <a:pt x="2838" y="631"/>
                </a:lnTo>
                <a:close/>
                <a:moveTo>
                  <a:pt x="2746" y="1090"/>
                </a:moveTo>
                <a:cubicBezTo>
                  <a:pt x="2746" y="1091"/>
                  <a:pt x="2746" y="1091"/>
                  <a:pt x="2746" y="1091"/>
                </a:cubicBezTo>
                <a:cubicBezTo>
                  <a:pt x="2746" y="1091"/>
                  <a:pt x="2746" y="1091"/>
                  <a:pt x="2746" y="1091"/>
                </a:cubicBezTo>
                <a:cubicBezTo>
                  <a:pt x="2746" y="1094"/>
                  <a:pt x="2746" y="1094"/>
                  <a:pt x="2746" y="1094"/>
                </a:cubicBezTo>
                <a:cubicBezTo>
                  <a:pt x="2747" y="1094"/>
                  <a:pt x="2747" y="1094"/>
                  <a:pt x="2747" y="1094"/>
                </a:cubicBezTo>
                <a:cubicBezTo>
                  <a:pt x="2749" y="1093"/>
                  <a:pt x="2749" y="1093"/>
                  <a:pt x="2749" y="1093"/>
                </a:cubicBezTo>
                <a:cubicBezTo>
                  <a:pt x="2748" y="1091"/>
                  <a:pt x="2748" y="1091"/>
                  <a:pt x="2748" y="1091"/>
                </a:cubicBezTo>
                <a:cubicBezTo>
                  <a:pt x="2747" y="1089"/>
                  <a:pt x="2747" y="1089"/>
                  <a:pt x="2747" y="1089"/>
                </a:cubicBezTo>
                <a:cubicBezTo>
                  <a:pt x="2747" y="1089"/>
                  <a:pt x="2746" y="1090"/>
                  <a:pt x="2746" y="1090"/>
                </a:cubicBezTo>
                <a:close/>
                <a:moveTo>
                  <a:pt x="2751" y="1092"/>
                </a:moveTo>
                <a:cubicBezTo>
                  <a:pt x="2752" y="1093"/>
                  <a:pt x="2752" y="1093"/>
                  <a:pt x="2752" y="1093"/>
                </a:cubicBezTo>
                <a:cubicBezTo>
                  <a:pt x="2753" y="1092"/>
                  <a:pt x="2753" y="1092"/>
                  <a:pt x="2753" y="1092"/>
                </a:cubicBezTo>
                <a:cubicBezTo>
                  <a:pt x="2754" y="1092"/>
                  <a:pt x="2754" y="1092"/>
                  <a:pt x="2754" y="1092"/>
                </a:cubicBezTo>
                <a:cubicBezTo>
                  <a:pt x="2754" y="1091"/>
                  <a:pt x="2754" y="1091"/>
                  <a:pt x="2754" y="1091"/>
                </a:cubicBezTo>
                <a:cubicBezTo>
                  <a:pt x="2755" y="1090"/>
                  <a:pt x="2755" y="1090"/>
                  <a:pt x="2755" y="1090"/>
                </a:cubicBezTo>
                <a:cubicBezTo>
                  <a:pt x="2756" y="1088"/>
                  <a:pt x="2756" y="1088"/>
                  <a:pt x="2756" y="1088"/>
                </a:cubicBezTo>
                <a:cubicBezTo>
                  <a:pt x="2756" y="1087"/>
                  <a:pt x="2756" y="1087"/>
                  <a:pt x="2756" y="1087"/>
                </a:cubicBezTo>
                <a:cubicBezTo>
                  <a:pt x="2755" y="1086"/>
                  <a:pt x="2755" y="1086"/>
                  <a:pt x="2755" y="1086"/>
                </a:cubicBezTo>
                <a:cubicBezTo>
                  <a:pt x="2753" y="1086"/>
                  <a:pt x="2753" y="1086"/>
                  <a:pt x="2753" y="1086"/>
                </a:cubicBezTo>
                <a:cubicBezTo>
                  <a:pt x="2752" y="1088"/>
                  <a:pt x="2752" y="1088"/>
                  <a:pt x="2752" y="1088"/>
                </a:cubicBezTo>
                <a:cubicBezTo>
                  <a:pt x="2753" y="1089"/>
                  <a:pt x="2753" y="1089"/>
                  <a:pt x="2753" y="1089"/>
                </a:cubicBezTo>
                <a:cubicBezTo>
                  <a:pt x="2751" y="1091"/>
                  <a:pt x="2751" y="1091"/>
                  <a:pt x="2751" y="1091"/>
                </a:cubicBezTo>
                <a:cubicBezTo>
                  <a:pt x="2751" y="1091"/>
                  <a:pt x="2751" y="1092"/>
                  <a:pt x="2751" y="1092"/>
                </a:cubicBezTo>
                <a:close/>
                <a:moveTo>
                  <a:pt x="2816" y="1015"/>
                </a:moveTo>
                <a:cubicBezTo>
                  <a:pt x="2817" y="1014"/>
                  <a:pt x="2817" y="1014"/>
                  <a:pt x="2817" y="1014"/>
                </a:cubicBezTo>
                <a:cubicBezTo>
                  <a:pt x="2817" y="1012"/>
                  <a:pt x="2817" y="1012"/>
                  <a:pt x="2817" y="1012"/>
                </a:cubicBezTo>
                <a:cubicBezTo>
                  <a:pt x="2816" y="1011"/>
                  <a:pt x="2816" y="1011"/>
                  <a:pt x="2816" y="1011"/>
                </a:cubicBezTo>
                <a:cubicBezTo>
                  <a:pt x="2814" y="1012"/>
                  <a:pt x="2814" y="1012"/>
                  <a:pt x="2814" y="1012"/>
                </a:cubicBezTo>
                <a:cubicBezTo>
                  <a:pt x="2813" y="1013"/>
                  <a:pt x="2813" y="1013"/>
                  <a:pt x="2813" y="1013"/>
                </a:cubicBezTo>
                <a:cubicBezTo>
                  <a:pt x="2813" y="1016"/>
                  <a:pt x="2813" y="1016"/>
                  <a:pt x="2813" y="1016"/>
                </a:cubicBezTo>
                <a:cubicBezTo>
                  <a:pt x="2815" y="1015"/>
                  <a:pt x="2815" y="1015"/>
                  <a:pt x="2815" y="1015"/>
                </a:cubicBezTo>
                <a:lnTo>
                  <a:pt x="2816" y="1015"/>
                </a:lnTo>
                <a:close/>
                <a:moveTo>
                  <a:pt x="2826" y="1120"/>
                </a:moveTo>
                <a:cubicBezTo>
                  <a:pt x="2828" y="1120"/>
                  <a:pt x="2828" y="1120"/>
                  <a:pt x="2828" y="1120"/>
                </a:cubicBezTo>
                <a:cubicBezTo>
                  <a:pt x="2828" y="1118"/>
                  <a:pt x="2828" y="1118"/>
                  <a:pt x="2828" y="1118"/>
                </a:cubicBezTo>
                <a:cubicBezTo>
                  <a:pt x="2826" y="1117"/>
                  <a:pt x="2826" y="1117"/>
                  <a:pt x="2826" y="1117"/>
                </a:cubicBezTo>
                <a:cubicBezTo>
                  <a:pt x="2825" y="1118"/>
                  <a:pt x="2825" y="1118"/>
                  <a:pt x="2825" y="1118"/>
                </a:cubicBezTo>
                <a:cubicBezTo>
                  <a:pt x="2825" y="1119"/>
                  <a:pt x="2825" y="1119"/>
                  <a:pt x="2825" y="1119"/>
                </a:cubicBezTo>
                <a:lnTo>
                  <a:pt x="2826" y="1120"/>
                </a:lnTo>
                <a:close/>
                <a:moveTo>
                  <a:pt x="2828" y="1121"/>
                </a:moveTo>
                <a:cubicBezTo>
                  <a:pt x="2826" y="1122"/>
                  <a:pt x="2826" y="1122"/>
                  <a:pt x="2826" y="1122"/>
                </a:cubicBezTo>
                <a:cubicBezTo>
                  <a:pt x="2828" y="1122"/>
                  <a:pt x="2828" y="1122"/>
                  <a:pt x="2828" y="1122"/>
                </a:cubicBezTo>
                <a:lnTo>
                  <a:pt x="2828" y="1121"/>
                </a:lnTo>
                <a:close/>
                <a:moveTo>
                  <a:pt x="2831" y="1160"/>
                </a:moveTo>
                <a:cubicBezTo>
                  <a:pt x="2833" y="1161"/>
                  <a:pt x="2833" y="1161"/>
                  <a:pt x="2833" y="1161"/>
                </a:cubicBezTo>
                <a:cubicBezTo>
                  <a:pt x="2833" y="1160"/>
                  <a:pt x="2833" y="1160"/>
                  <a:pt x="2833" y="1160"/>
                </a:cubicBezTo>
                <a:cubicBezTo>
                  <a:pt x="2831" y="1159"/>
                  <a:pt x="2831" y="1159"/>
                  <a:pt x="2831" y="1159"/>
                </a:cubicBezTo>
                <a:cubicBezTo>
                  <a:pt x="2831" y="1156"/>
                  <a:pt x="2831" y="1156"/>
                  <a:pt x="2831" y="1156"/>
                </a:cubicBezTo>
                <a:cubicBezTo>
                  <a:pt x="2829" y="1156"/>
                  <a:pt x="2829" y="1156"/>
                  <a:pt x="2829" y="1156"/>
                </a:cubicBezTo>
                <a:cubicBezTo>
                  <a:pt x="2829" y="1157"/>
                  <a:pt x="2829" y="1157"/>
                  <a:pt x="2829" y="1157"/>
                </a:cubicBezTo>
                <a:cubicBezTo>
                  <a:pt x="2829" y="1158"/>
                  <a:pt x="2829" y="1158"/>
                  <a:pt x="2829" y="1158"/>
                </a:cubicBezTo>
                <a:cubicBezTo>
                  <a:pt x="2830" y="1158"/>
                  <a:pt x="2830" y="1158"/>
                  <a:pt x="2830" y="1158"/>
                </a:cubicBezTo>
                <a:cubicBezTo>
                  <a:pt x="2830" y="1159"/>
                  <a:pt x="2830" y="1159"/>
                  <a:pt x="2830" y="1159"/>
                </a:cubicBezTo>
                <a:cubicBezTo>
                  <a:pt x="2829" y="1158"/>
                  <a:pt x="2829" y="1158"/>
                  <a:pt x="2829" y="1158"/>
                </a:cubicBezTo>
                <a:cubicBezTo>
                  <a:pt x="2828" y="1158"/>
                  <a:pt x="2828" y="1158"/>
                  <a:pt x="2828" y="1158"/>
                </a:cubicBezTo>
                <a:cubicBezTo>
                  <a:pt x="2828" y="1160"/>
                  <a:pt x="2828" y="1160"/>
                  <a:pt x="2828" y="1160"/>
                </a:cubicBezTo>
                <a:cubicBezTo>
                  <a:pt x="2830" y="1160"/>
                  <a:pt x="2830" y="1160"/>
                  <a:pt x="2830" y="1160"/>
                </a:cubicBezTo>
                <a:lnTo>
                  <a:pt x="2831" y="1160"/>
                </a:lnTo>
                <a:close/>
                <a:moveTo>
                  <a:pt x="2809" y="1124"/>
                </a:moveTo>
                <a:cubicBezTo>
                  <a:pt x="2811" y="1123"/>
                  <a:pt x="2811" y="1123"/>
                  <a:pt x="2811" y="1123"/>
                </a:cubicBezTo>
                <a:cubicBezTo>
                  <a:pt x="2811" y="1122"/>
                  <a:pt x="2811" y="1122"/>
                  <a:pt x="2811" y="1122"/>
                </a:cubicBezTo>
                <a:cubicBezTo>
                  <a:pt x="2809" y="1122"/>
                  <a:pt x="2809" y="1122"/>
                  <a:pt x="2809" y="1122"/>
                </a:cubicBezTo>
                <a:cubicBezTo>
                  <a:pt x="2806" y="1122"/>
                  <a:pt x="2806" y="1122"/>
                  <a:pt x="2806" y="1122"/>
                </a:cubicBezTo>
                <a:cubicBezTo>
                  <a:pt x="2807" y="1123"/>
                  <a:pt x="2807" y="1123"/>
                  <a:pt x="2807" y="1123"/>
                </a:cubicBezTo>
                <a:lnTo>
                  <a:pt x="2809" y="1124"/>
                </a:lnTo>
                <a:close/>
                <a:moveTo>
                  <a:pt x="2837" y="1163"/>
                </a:moveTo>
                <a:cubicBezTo>
                  <a:pt x="2841" y="1159"/>
                  <a:pt x="2841" y="1159"/>
                  <a:pt x="2841" y="1159"/>
                </a:cubicBezTo>
                <a:cubicBezTo>
                  <a:pt x="2842" y="1159"/>
                  <a:pt x="2842" y="1159"/>
                  <a:pt x="2842" y="1159"/>
                </a:cubicBezTo>
                <a:cubicBezTo>
                  <a:pt x="2842" y="1158"/>
                  <a:pt x="2842" y="1158"/>
                  <a:pt x="2842" y="1158"/>
                </a:cubicBezTo>
                <a:cubicBezTo>
                  <a:pt x="2843" y="1157"/>
                  <a:pt x="2843" y="1157"/>
                  <a:pt x="2843" y="1157"/>
                </a:cubicBezTo>
                <a:cubicBezTo>
                  <a:pt x="2842" y="1157"/>
                  <a:pt x="2842" y="1157"/>
                  <a:pt x="2842" y="1157"/>
                </a:cubicBezTo>
                <a:cubicBezTo>
                  <a:pt x="2841" y="1155"/>
                  <a:pt x="2841" y="1155"/>
                  <a:pt x="2841" y="1155"/>
                </a:cubicBezTo>
                <a:cubicBezTo>
                  <a:pt x="2841" y="1155"/>
                  <a:pt x="2841" y="1155"/>
                  <a:pt x="2841" y="1155"/>
                </a:cubicBezTo>
                <a:cubicBezTo>
                  <a:pt x="2839" y="1156"/>
                  <a:pt x="2839" y="1156"/>
                  <a:pt x="2839" y="1156"/>
                </a:cubicBezTo>
                <a:cubicBezTo>
                  <a:pt x="2837" y="1156"/>
                  <a:pt x="2837" y="1156"/>
                  <a:pt x="2837" y="1156"/>
                </a:cubicBezTo>
                <a:cubicBezTo>
                  <a:pt x="2835" y="1157"/>
                  <a:pt x="2835" y="1157"/>
                  <a:pt x="2835" y="1157"/>
                </a:cubicBezTo>
                <a:cubicBezTo>
                  <a:pt x="2834" y="1157"/>
                  <a:pt x="2834" y="1157"/>
                  <a:pt x="2834" y="1157"/>
                </a:cubicBezTo>
                <a:cubicBezTo>
                  <a:pt x="2834" y="1156"/>
                  <a:pt x="2834" y="1156"/>
                  <a:pt x="2834" y="1156"/>
                </a:cubicBezTo>
                <a:cubicBezTo>
                  <a:pt x="2833" y="1156"/>
                  <a:pt x="2833" y="1156"/>
                  <a:pt x="2833" y="1156"/>
                </a:cubicBezTo>
                <a:cubicBezTo>
                  <a:pt x="2832" y="1155"/>
                  <a:pt x="2832" y="1155"/>
                  <a:pt x="2832" y="1155"/>
                </a:cubicBezTo>
                <a:cubicBezTo>
                  <a:pt x="2831" y="1155"/>
                  <a:pt x="2831" y="1155"/>
                  <a:pt x="2831" y="1155"/>
                </a:cubicBezTo>
                <a:cubicBezTo>
                  <a:pt x="2831" y="1155"/>
                  <a:pt x="2831" y="1155"/>
                  <a:pt x="2831" y="1155"/>
                </a:cubicBezTo>
                <a:cubicBezTo>
                  <a:pt x="2832" y="1158"/>
                  <a:pt x="2832" y="1158"/>
                  <a:pt x="2832" y="1158"/>
                </a:cubicBezTo>
                <a:cubicBezTo>
                  <a:pt x="2833" y="1160"/>
                  <a:pt x="2833" y="1160"/>
                  <a:pt x="2833" y="1160"/>
                </a:cubicBezTo>
                <a:cubicBezTo>
                  <a:pt x="2835" y="1161"/>
                  <a:pt x="2835" y="1161"/>
                  <a:pt x="2835" y="1161"/>
                </a:cubicBezTo>
                <a:lnTo>
                  <a:pt x="2837" y="1163"/>
                </a:lnTo>
                <a:close/>
                <a:moveTo>
                  <a:pt x="2831" y="1102"/>
                </a:moveTo>
                <a:cubicBezTo>
                  <a:pt x="2830" y="1101"/>
                  <a:pt x="2830" y="1101"/>
                  <a:pt x="2830" y="1101"/>
                </a:cubicBezTo>
                <a:cubicBezTo>
                  <a:pt x="2829" y="1103"/>
                  <a:pt x="2829" y="1103"/>
                  <a:pt x="2829" y="1103"/>
                </a:cubicBezTo>
                <a:lnTo>
                  <a:pt x="2831" y="1102"/>
                </a:lnTo>
                <a:close/>
                <a:moveTo>
                  <a:pt x="2825" y="1106"/>
                </a:moveTo>
                <a:cubicBezTo>
                  <a:pt x="2824" y="1107"/>
                  <a:pt x="2824" y="1107"/>
                  <a:pt x="2824" y="1107"/>
                </a:cubicBezTo>
                <a:cubicBezTo>
                  <a:pt x="2825" y="1107"/>
                  <a:pt x="2825" y="1107"/>
                  <a:pt x="2825" y="1107"/>
                </a:cubicBezTo>
                <a:lnTo>
                  <a:pt x="2825" y="1106"/>
                </a:lnTo>
                <a:close/>
                <a:moveTo>
                  <a:pt x="2812" y="1076"/>
                </a:moveTo>
                <a:cubicBezTo>
                  <a:pt x="2813" y="1074"/>
                  <a:pt x="2813" y="1074"/>
                  <a:pt x="2813" y="1074"/>
                </a:cubicBezTo>
                <a:cubicBezTo>
                  <a:pt x="2812" y="1074"/>
                  <a:pt x="2812" y="1074"/>
                  <a:pt x="2812" y="1074"/>
                </a:cubicBezTo>
                <a:cubicBezTo>
                  <a:pt x="2811" y="1074"/>
                  <a:pt x="2811" y="1074"/>
                  <a:pt x="2811" y="1074"/>
                </a:cubicBezTo>
                <a:cubicBezTo>
                  <a:pt x="2809" y="1075"/>
                  <a:pt x="2809" y="1075"/>
                  <a:pt x="2809" y="1075"/>
                </a:cubicBezTo>
                <a:cubicBezTo>
                  <a:pt x="2810" y="1076"/>
                  <a:pt x="2810" y="1076"/>
                  <a:pt x="2810" y="1076"/>
                </a:cubicBezTo>
                <a:cubicBezTo>
                  <a:pt x="2812" y="1075"/>
                  <a:pt x="2812" y="1075"/>
                  <a:pt x="2812" y="1075"/>
                </a:cubicBezTo>
                <a:lnTo>
                  <a:pt x="2812" y="1076"/>
                </a:lnTo>
                <a:close/>
                <a:moveTo>
                  <a:pt x="2860" y="584"/>
                </a:moveTo>
                <a:cubicBezTo>
                  <a:pt x="2860" y="583"/>
                  <a:pt x="2860" y="583"/>
                  <a:pt x="2860" y="583"/>
                </a:cubicBezTo>
                <a:cubicBezTo>
                  <a:pt x="2861" y="582"/>
                  <a:pt x="2861" y="582"/>
                  <a:pt x="2861" y="582"/>
                </a:cubicBezTo>
                <a:cubicBezTo>
                  <a:pt x="2862" y="580"/>
                  <a:pt x="2862" y="580"/>
                  <a:pt x="2862" y="580"/>
                </a:cubicBezTo>
                <a:cubicBezTo>
                  <a:pt x="2862" y="579"/>
                  <a:pt x="2862" y="579"/>
                  <a:pt x="2862" y="579"/>
                </a:cubicBezTo>
                <a:cubicBezTo>
                  <a:pt x="2860" y="579"/>
                  <a:pt x="2860" y="579"/>
                  <a:pt x="2860" y="579"/>
                </a:cubicBezTo>
                <a:cubicBezTo>
                  <a:pt x="2860" y="577"/>
                  <a:pt x="2860" y="577"/>
                  <a:pt x="2860" y="577"/>
                </a:cubicBezTo>
                <a:cubicBezTo>
                  <a:pt x="2860" y="576"/>
                  <a:pt x="2860" y="576"/>
                  <a:pt x="2860" y="576"/>
                </a:cubicBezTo>
                <a:cubicBezTo>
                  <a:pt x="2859" y="576"/>
                  <a:pt x="2859" y="576"/>
                  <a:pt x="2859" y="576"/>
                </a:cubicBezTo>
                <a:cubicBezTo>
                  <a:pt x="2858" y="580"/>
                  <a:pt x="2858" y="580"/>
                  <a:pt x="2858" y="580"/>
                </a:cubicBezTo>
                <a:cubicBezTo>
                  <a:pt x="2859" y="581"/>
                  <a:pt x="2859" y="581"/>
                  <a:pt x="2859" y="581"/>
                </a:cubicBezTo>
                <a:cubicBezTo>
                  <a:pt x="2860" y="580"/>
                  <a:pt x="2860" y="580"/>
                  <a:pt x="2860" y="580"/>
                </a:cubicBezTo>
                <a:cubicBezTo>
                  <a:pt x="2860" y="581"/>
                  <a:pt x="2860" y="581"/>
                  <a:pt x="2860" y="581"/>
                </a:cubicBezTo>
                <a:cubicBezTo>
                  <a:pt x="2860" y="582"/>
                  <a:pt x="2860" y="582"/>
                  <a:pt x="2860" y="582"/>
                </a:cubicBezTo>
                <a:lnTo>
                  <a:pt x="2860" y="584"/>
                </a:lnTo>
                <a:close/>
                <a:moveTo>
                  <a:pt x="2906" y="479"/>
                </a:moveTo>
                <a:cubicBezTo>
                  <a:pt x="2907" y="479"/>
                  <a:pt x="2907" y="479"/>
                  <a:pt x="2907" y="479"/>
                </a:cubicBezTo>
                <a:cubicBezTo>
                  <a:pt x="2910" y="476"/>
                  <a:pt x="2910" y="476"/>
                  <a:pt x="2910" y="476"/>
                </a:cubicBezTo>
                <a:cubicBezTo>
                  <a:pt x="2910" y="474"/>
                  <a:pt x="2910" y="474"/>
                  <a:pt x="2910" y="474"/>
                </a:cubicBezTo>
                <a:cubicBezTo>
                  <a:pt x="2910" y="474"/>
                  <a:pt x="2910" y="474"/>
                  <a:pt x="2910" y="474"/>
                </a:cubicBezTo>
                <a:cubicBezTo>
                  <a:pt x="2908" y="475"/>
                  <a:pt x="2908" y="475"/>
                  <a:pt x="2908" y="475"/>
                </a:cubicBezTo>
                <a:cubicBezTo>
                  <a:pt x="2907" y="474"/>
                  <a:pt x="2907" y="474"/>
                  <a:pt x="2907" y="474"/>
                </a:cubicBezTo>
                <a:cubicBezTo>
                  <a:pt x="2906" y="473"/>
                  <a:pt x="2906" y="473"/>
                  <a:pt x="2906" y="473"/>
                </a:cubicBezTo>
                <a:cubicBezTo>
                  <a:pt x="2905" y="474"/>
                  <a:pt x="2905" y="474"/>
                  <a:pt x="2905" y="474"/>
                </a:cubicBezTo>
                <a:cubicBezTo>
                  <a:pt x="2905" y="476"/>
                  <a:pt x="2905" y="476"/>
                  <a:pt x="2905" y="476"/>
                </a:cubicBezTo>
                <a:cubicBezTo>
                  <a:pt x="2905" y="479"/>
                  <a:pt x="2905" y="479"/>
                  <a:pt x="2905" y="479"/>
                </a:cubicBezTo>
                <a:cubicBezTo>
                  <a:pt x="2904" y="482"/>
                  <a:pt x="2904" y="482"/>
                  <a:pt x="2904" y="482"/>
                </a:cubicBezTo>
                <a:cubicBezTo>
                  <a:pt x="2903" y="483"/>
                  <a:pt x="2903" y="483"/>
                  <a:pt x="2903" y="483"/>
                </a:cubicBezTo>
                <a:cubicBezTo>
                  <a:pt x="2904" y="485"/>
                  <a:pt x="2904" y="485"/>
                  <a:pt x="2904" y="485"/>
                </a:cubicBezTo>
                <a:cubicBezTo>
                  <a:pt x="2905" y="487"/>
                  <a:pt x="2905" y="487"/>
                  <a:pt x="2905" y="487"/>
                </a:cubicBezTo>
                <a:cubicBezTo>
                  <a:pt x="2905" y="487"/>
                  <a:pt x="2906" y="484"/>
                  <a:pt x="2906" y="484"/>
                </a:cubicBezTo>
                <a:lnTo>
                  <a:pt x="2906" y="479"/>
                </a:lnTo>
                <a:close/>
                <a:moveTo>
                  <a:pt x="2850" y="515"/>
                </a:moveTo>
                <a:cubicBezTo>
                  <a:pt x="2850" y="517"/>
                  <a:pt x="2850" y="517"/>
                  <a:pt x="2850" y="517"/>
                </a:cubicBezTo>
                <a:cubicBezTo>
                  <a:pt x="2851" y="518"/>
                  <a:pt x="2851" y="518"/>
                  <a:pt x="2851" y="518"/>
                </a:cubicBezTo>
                <a:cubicBezTo>
                  <a:pt x="2852" y="517"/>
                  <a:pt x="2852" y="517"/>
                  <a:pt x="2852" y="517"/>
                </a:cubicBezTo>
                <a:cubicBezTo>
                  <a:pt x="2852" y="515"/>
                  <a:pt x="2852" y="515"/>
                  <a:pt x="2852" y="515"/>
                </a:cubicBezTo>
                <a:cubicBezTo>
                  <a:pt x="2852" y="513"/>
                  <a:pt x="2852" y="513"/>
                  <a:pt x="2852" y="513"/>
                </a:cubicBezTo>
                <a:cubicBezTo>
                  <a:pt x="2851" y="514"/>
                  <a:pt x="2851" y="514"/>
                  <a:pt x="2851" y="514"/>
                </a:cubicBezTo>
                <a:lnTo>
                  <a:pt x="2850" y="515"/>
                </a:lnTo>
                <a:close/>
                <a:moveTo>
                  <a:pt x="2887" y="1054"/>
                </a:moveTo>
                <a:cubicBezTo>
                  <a:pt x="2890" y="1055"/>
                  <a:pt x="2890" y="1055"/>
                  <a:pt x="2890" y="1055"/>
                </a:cubicBezTo>
                <a:cubicBezTo>
                  <a:pt x="2895" y="1056"/>
                  <a:pt x="2895" y="1056"/>
                  <a:pt x="2895" y="1056"/>
                </a:cubicBezTo>
                <a:cubicBezTo>
                  <a:pt x="2899" y="1055"/>
                  <a:pt x="2899" y="1055"/>
                  <a:pt x="2899" y="1055"/>
                </a:cubicBezTo>
                <a:cubicBezTo>
                  <a:pt x="2900" y="1055"/>
                  <a:pt x="2900" y="1055"/>
                  <a:pt x="2900" y="1055"/>
                </a:cubicBezTo>
                <a:cubicBezTo>
                  <a:pt x="2897" y="1054"/>
                  <a:pt x="2897" y="1054"/>
                  <a:pt x="2897" y="1054"/>
                </a:cubicBezTo>
                <a:cubicBezTo>
                  <a:pt x="2895" y="1054"/>
                  <a:pt x="2895" y="1054"/>
                  <a:pt x="2895" y="1054"/>
                </a:cubicBezTo>
                <a:cubicBezTo>
                  <a:pt x="2892" y="1053"/>
                  <a:pt x="2892" y="1053"/>
                  <a:pt x="2892" y="1053"/>
                </a:cubicBezTo>
                <a:cubicBezTo>
                  <a:pt x="2890" y="1054"/>
                  <a:pt x="2890" y="1054"/>
                  <a:pt x="2890" y="1054"/>
                </a:cubicBezTo>
                <a:cubicBezTo>
                  <a:pt x="2886" y="1053"/>
                  <a:pt x="2886" y="1053"/>
                  <a:pt x="2886" y="1053"/>
                </a:cubicBezTo>
                <a:cubicBezTo>
                  <a:pt x="2886" y="1053"/>
                  <a:pt x="2887" y="1054"/>
                  <a:pt x="2887" y="1054"/>
                </a:cubicBezTo>
                <a:close/>
                <a:moveTo>
                  <a:pt x="2883" y="1053"/>
                </a:moveTo>
                <a:cubicBezTo>
                  <a:pt x="2885" y="1052"/>
                  <a:pt x="2885" y="1052"/>
                  <a:pt x="2885" y="1052"/>
                </a:cubicBezTo>
                <a:cubicBezTo>
                  <a:pt x="2882" y="1052"/>
                  <a:pt x="2882" y="1052"/>
                  <a:pt x="2882" y="1052"/>
                </a:cubicBezTo>
                <a:lnTo>
                  <a:pt x="2883" y="1053"/>
                </a:lnTo>
                <a:close/>
                <a:moveTo>
                  <a:pt x="2879" y="1046"/>
                </a:moveTo>
                <a:cubicBezTo>
                  <a:pt x="2880" y="1048"/>
                  <a:pt x="2880" y="1048"/>
                  <a:pt x="2880" y="1048"/>
                </a:cubicBezTo>
                <a:cubicBezTo>
                  <a:pt x="2881" y="1047"/>
                  <a:pt x="2881" y="1047"/>
                  <a:pt x="2881" y="1047"/>
                </a:cubicBezTo>
                <a:cubicBezTo>
                  <a:pt x="2880" y="1046"/>
                  <a:pt x="2880" y="1046"/>
                  <a:pt x="2880" y="1046"/>
                </a:cubicBezTo>
                <a:lnTo>
                  <a:pt x="2879" y="1046"/>
                </a:lnTo>
                <a:close/>
                <a:moveTo>
                  <a:pt x="2892" y="1048"/>
                </a:moveTo>
                <a:cubicBezTo>
                  <a:pt x="2892" y="1048"/>
                  <a:pt x="2892" y="1048"/>
                  <a:pt x="2892" y="1048"/>
                </a:cubicBezTo>
                <a:cubicBezTo>
                  <a:pt x="2893" y="1048"/>
                  <a:pt x="2893" y="1048"/>
                  <a:pt x="2893" y="1048"/>
                </a:cubicBezTo>
                <a:cubicBezTo>
                  <a:pt x="2896" y="1048"/>
                  <a:pt x="2896" y="1048"/>
                  <a:pt x="2896" y="1048"/>
                </a:cubicBezTo>
                <a:cubicBezTo>
                  <a:pt x="2895" y="1047"/>
                  <a:pt x="2895" y="1047"/>
                  <a:pt x="2895" y="1047"/>
                </a:cubicBezTo>
                <a:cubicBezTo>
                  <a:pt x="2893" y="1046"/>
                  <a:pt x="2893" y="1046"/>
                  <a:pt x="2893" y="1046"/>
                </a:cubicBezTo>
                <a:cubicBezTo>
                  <a:pt x="2892" y="1044"/>
                  <a:pt x="2892" y="1044"/>
                  <a:pt x="2892" y="1044"/>
                </a:cubicBezTo>
                <a:cubicBezTo>
                  <a:pt x="2890" y="1043"/>
                  <a:pt x="2890" y="1043"/>
                  <a:pt x="2890" y="1043"/>
                </a:cubicBezTo>
                <a:cubicBezTo>
                  <a:pt x="2889" y="1043"/>
                  <a:pt x="2889" y="1043"/>
                  <a:pt x="2889" y="1043"/>
                </a:cubicBezTo>
                <a:cubicBezTo>
                  <a:pt x="2886" y="1043"/>
                  <a:pt x="2886" y="1043"/>
                  <a:pt x="2886" y="1043"/>
                </a:cubicBezTo>
                <a:cubicBezTo>
                  <a:pt x="2886" y="1043"/>
                  <a:pt x="2886" y="1043"/>
                  <a:pt x="2886" y="1043"/>
                </a:cubicBezTo>
                <a:cubicBezTo>
                  <a:pt x="2888" y="1045"/>
                  <a:pt x="2888" y="1045"/>
                  <a:pt x="2888" y="1045"/>
                </a:cubicBezTo>
                <a:cubicBezTo>
                  <a:pt x="2888" y="1044"/>
                  <a:pt x="2888" y="1044"/>
                  <a:pt x="2888" y="1044"/>
                </a:cubicBezTo>
                <a:cubicBezTo>
                  <a:pt x="2889" y="1044"/>
                  <a:pt x="2889" y="1044"/>
                  <a:pt x="2889" y="1044"/>
                </a:cubicBezTo>
                <a:cubicBezTo>
                  <a:pt x="2891" y="1046"/>
                  <a:pt x="2891" y="1046"/>
                  <a:pt x="2891" y="1046"/>
                </a:cubicBezTo>
                <a:cubicBezTo>
                  <a:pt x="2890" y="1048"/>
                  <a:pt x="2890" y="1048"/>
                  <a:pt x="2890" y="1048"/>
                </a:cubicBezTo>
                <a:lnTo>
                  <a:pt x="2892" y="1048"/>
                </a:lnTo>
                <a:close/>
                <a:moveTo>
                  <a:pt x="2839" y="1114"/>
                </a:moveTo>
                <a:cubicBezTo>
                  <a:pt x="2840" y="1114"/>
                  <a:pt x="2840" y="1114"/>
                  <a:pt x="2840" y="1114"/>
                </a:cubicBezTo>
                <a:cubicBezTo>
                  <a:pt x="2841" y="1114"/>
                  <a:pt x="2841" y="1114"/>
                  <a:pt x="2841" y="1114"/>
                </a:cubicBezTo>
                <a:cubicBezTo>
                  <a:pt x="2841" y="1114"/>
                  <a:pt x="2841" y="1114"/>
                  <a:pt x="2841" y="1114"/>
                </a:cubicBezTo>
                <a:lnTo>
                  <a:pt x="2839" y="1114"/>
                </a:lnTo>
                <a:close/>
                <a:moveTo>
                  <a:pt x="2832" y="1058"/>
                </a:moveTo>
                <a:cubicBezTo>
                  <a:pt x="2835" y="1057"/>
                  <a:pt x="2835" y="1057"/>
                  <a:pt x="2835" y="1057"/>
                </a:cubicBezTo>
                <a:cubicBezTo>
                  <a:pt x="2834" y="1057"/>
                  <a:pt x="2834" y="1057"/>
                  <a:pt x="2834" y="1057"/>
                </a:cubicBezTo>
                <a:cubicBezTo>
                  <a:pt x="2834" y="1055"/>
                  <a:pt x="2834" y="1055"/>
                  <a:pt x="2834" y="1055"/>
                </a:cubicBezTo>
                <a:cubicBezTo>
                  <a:pt x="2833" y="1054"/>
                  <a:pt x="2833" y="1054"/>
                  <a:pt x="2833" y="1054"/>
                </a:cubicBezTo>
                <a:cubicBezTo>
                  <a:pt x="2829" y="1055"/>
                  <a:pt x="2829" y="1055"/>
                  <a:pt x="2829" y="1055"/>
                </a:cubicBezTo>
                <a:cubicBezTo>
                  <a:pt x="2828" y="1056"/>
                  <a:pt x="2828" y="1056"/>
                  <a:pt x="2828" y="1056"/>
                </a:cubicBezTo>
                <a:cubicBezTo>
                  <a:pt x="2829" y="1057"/>
                  <a:pt x="2829" y="1057"/>
                  <a:pt x="2829" y="1057"/>
                </a:cubicBezTo>
                <a:lnTo>
                  <a:pt x="2832" y="1058"/>
                </a:lnTo>
                <a:close/>
                <a:moveTo>
                  <a:pt x="2843" y="1040"/>
                </a:moveTo>
                <a:cubicBezTo>
                  <a:pt x="2844" y="1040"/>
                  <a:pt x="2844" y="1040"/>
                  <a:pt x="2844" y="1040"/>
                </a:cubicBezTo>
                <a:cubicBezTo>
                  <a:pt x="2846" y="1040"/>
                  <a:pt x="2846" y="1040"/>
                  <a:pt x="2846" y="1040"/>
                </a:cubicBezTo>
                <a:cubicBezTo>
                  <a:pt x="2845" y="1038"/>
                  <a:pt x="2845" y="1038"/>
                  <a:pt x="2845" y="1038"/>
                </a:cubicBezTo>
                <a:cubicBezTo>
                  <a:pt x="2843" y="1037"/>
                  <a:pt x="2843" y="1037"/>
                  <a:pt x="2843" y="1037"/>
                </a:cubicBezTo>
                <a:cubicBezTo>
                  <a:pt x="2840" y="1037"/>
                  <a:pt x="2840" y="1037"/>
                  <a:pt x="2840" y="1037"/>
                </a:cubicBezTo>
                <a:cubicBezTo>
                  <a:pt x="2838" y="1038"/>
                  <a:pt x="2838" y="1038"/>
                  <a:pt x="2838" y="1038"/>
                </a:cubicBezTo>
                <a:cubicBezTo>
                  <a:pt x="2836" y="1038"/>
                  <a:pt x="2836" y="1038"/>
                  <a:pt x="2836" y="1038"/>
                </a:cubicBezTo>
                <a:cubicBezTo>
                  <a:pt x="2835" y="1038"/>
                  <a:pt x="2835" y="1038"/>
                  <a:pt x="2835" y="1038"/>
                </a:cubicBezTo>
                <a:cubicBezTo>
                  <a:pt x="2836" y="1039"/>
                  <a:pt x="2836" y="1039"/>
                  <a:pt x="2836" y="1039"/>
                </a:cubicBezTo>
                <a:cubicBezTo>
                  <a:pt x="2835" y="1039"/>
                  <a:pt x="2835" y="1039"/>
                  <a:pt x="2835" y="1039"/>
                </a:cubicBezTo>
                <a:cubicBezTo>
                  <a:pt x="2838" y="1040"/>
                  <a:pt x="2838" y="1040"/>
                  <a:pt x="2838" y="1040"/>
                </a:cubicBezTo>
                <a:cubicBezTo>
                  <a:pt x="2839" y="1041"/>
                  <a:pt x="2839" y="1041"/>
                  <a:pt x="2839" y="1041"/>
                </a:cubicBezTo>
                <a:cubicBezTo>
                  <a:pt x="2841" y="1040"/>
                  <a:pt x="2841" y="1040"/>
                  <a:pt x="2841" y="1040"/>
                </a:cubicBezTo>
                <a:cubicBezTo>
                  <a:pt x="2841" y="1040"/>
                  <a:pt x="2841" y="1040"/>
                  <a:pt x="2841" y="1040"/>
                </a:cubicBezTo>
                <a:cubicBezTo>
                  <a:pt x="2839" y="1039"/>
                  <a:pt x="2839" y="1039"/>
                  <a:pt x="2839" y="1039"/>
                </a:cubicBezTo>
                <a:cubicBezTo>
                  <a:pt x="2839" y="1039"/>
                  <a:pt x="2839" y="1039"/>
                  <a:pt x="2839" y="1039"/>
                </a:cubicBezTo>
                <a:cubicBezTo>
                  <a:pt x="2840" y="1038"/>
                  <a:pt x="2840" y="1038"/>
                  <a:pt x="2840" y="1038"/>
                </a:cubicBezTo>
                <a:lnTo>
                  <a:pt x="2843" y="1040"/>
                </a:lnTo>
                <a:close/>
                <a:moveTo>
                  <a:pt x="2836" y="1045"/>
                </a:moveTo>
                <a:cubicBezTo>
                  <a:pt x="2837" y="1046"/>
                  <a:pt x="2837" y="1046"/>
                  <a:pt x="2837" y="1046"/>
                </a:cubicBezTo>
                <a:cubicBezTo>
                  <a:pt x="2840" y="1046"/>
                  <a:pt x="2840" y="1046"/>
                  <a:pt x="2840" y="1046"/>
                </a:cubicBezTo>
                <a:cubicBezTo>
                  <a:pt x="2837" y="1045"/>
                  <a:pt x="2837" y="1045"/>
                  <a:pt x="2837" y="1045"/>
                </a:cubicBezTo>
                <a:lnTo>
                  <a:pt x="2836" y="1045"/>
                </a:lnTo>
                <a:close/>
                <a:moveTo>
                  <a:pt x="2841" y="1044"/>
                </a:moveTo>
                <a:cubicBezTo>
                  <a:pt x="2839" y="1045"/>
                  <a:pt x="2839" y="1045"/>
                  <a:pt x="2839" y="1045"/>
                </a:cubicBezTo>
                <a:cubicBezTo>
                  <a:pt x="2840" y="1046"/>
                  <a:pt x="2840" y="1046"/>
                  <a:pt x="2840" y="1046"/>
                </a:cubicBezTo>
                <a:lnTo>
                  <a:pt x="2841" y="1044"/>
                </a:lnTo>
                <a:close/>
                <a:moveTo>
                  <a:pt x="2838" y="1115"/>
                </a:moveTo>
                <a:cubicBezTo>
                  <a:pt x="2838" y="1115"/>
                  <a:pt x="2838" y="1115"/>
                  <a:pt x="2838" y="1115"/>
                </a:cubicBezTo>
                <a:cubicBezTo>
                  <a:pt x="2838" y="1115"/>
                  <a:pt x="2839" y="1115"/>
                  <a:pt x="2839" y="1115"/>
                </a:cubicBezTo>
                <a:lnTo>
                  <a:pt x="2838" y="1115"/>
                </a:lnTo>
                <a:close/>
                <a:moveTo>
                  <a:pt x="2842" y="1046"/>
                </a:moveTo>
                <a:cubicBezTo>
                  <a:pt x="2841" y="1046"/>
                  <a:pt x="2841" y="1046"/>
                  <a:pt x="2841" y="1046"/>
                </a:cubicBezTo>
                <a:cubicBezTo>
                  <a:pt x="2839" y="1047"/>
                  <a:pt x="2839" y="1047"/>
                  <a:pt x="2839" y="1047"/>
                </a:cubicBezTo>
                <a:cubicBezTo>
                  <a:pt x="2839" y="1050"/>
                  <a:pt x="2839" y="1050"/>
                  <a:pt x="2839" y="1050"/>
                </a:cubicBezTo>
                <a:cubicBezTo>
                  <a:pt x="2841" y="1051"/>
                  <a:pt x="2841" y="1051"/>
                  <a:pt x="2841" y="1051"/>
                </a:cubicBezTo>
                <a:cubicBezTo>
                  <a:pt x="2842" y="1050"/>
                  <a:pt x="2842" y="1050"/>
                  <a:pt x="2842" y="1050"/>
                </a:cubicBezTo>
                <a:lnTo>
                  <a:pt x="2842" y="1046"/>
                </a:lnTo>
                <a:close/>
                <a:moveTo>
                  <a:pt x="2841" y="1122"/>
                </a:moveTo>
                <a:cubicBezTo>
                  <a:pt x="2841" y="1121"/>
                  <a:pt x="2841" y="1121"/>
                  <a:pt x="2841" y="1121"/>
                </a:cubicBezTo>
                <a:cubicBezTo>
                  <a:pt x="2840" y="1121"/>
                  <a:pt x="2840" y="1121"/>
                  <a:pt x="2840" y="1121"/>
                </a:cubicBezTo>
                <a:cubicBezTo>
                  <a:pt x="2839" y="1122"/>
                  <a:pt x="2839" y="1122"/>
                  <a:pt x="2839" y="1122"/>
                </a:cubicBezTo>
                <a:cubicBezTo>
                  <a:pt x="2838" y="1123"/>
                  <a:pt x="2838" y="1123"/>
                  <a:pt x="2838" y="1123"/>
                </a:cubicBezTo>
                <a:cubicBezTo>
                  <a:pt x="2840" y="1123"/>
                  <a:pt x="2840" y="1123"/>
                  <a:pt x="2840" y="1123"/>
                </a:cubicBezTo>
                <a:lnTo>
                  <a:pt x="2841" y="1122"/>
                </a:lnTo>
                <a:close/>
                <a:moveTo>
                  <a:pt x="2808" y="1070"/>
                </a:moveTo>
                <a:cubicBezTo>
                  <a:pt x="2808" y="1069"/>
                  <a:pt x="2808" y="1069"/>
                  <a:pt x="2808" y="1069"/>
                </a:cubicBezTo>
                <a:cubicBezTo>
                  <a:pt x="2807" y="1070"/>
                  <a:pt x="2807" y="1070"/>
                  <a:pt x="2807" y="1070"/>
                </a:cubicBezTo>
                <a:lnTo>
                  <a:pt x="2808" y="1070"/>
                </a:lnTo>
                <a:close/>
                <a:moveTo>
                  <a:pt x="2807" y="1055"/>
                </a:moveTo>
                <a:cubicBezTo>
                  <a:pt x="2808" y="1055"/>
                  <a:pt x="2808" y="1055"/>
                  <a:pt x="2808" y="1055"/>
                </a:cubicBezTo>
                <a:cubicBezTo>
                  <a:pt x="2811" y="1055"/>
                  <a:pt x="2811" y="1055"/>
                  <a:pt x="2811" y="1055"/>
                </a:cubicBezTo>
                <a:cubicBezTo>
                  <a:pt x="2812" y="1054"/>
                  <a:pt x="2812" y="1054"/>
                  <a:pt x="2812" y="1054"/>
                </a:cubicBezTo>
                <a:cubicBezTo>
                  <a:pt x="2809" y="1051"/>
                  <a:pt x="2809" y="1051"/>
                  <a:pt x="2809" y="1051"/>
                </a:cubicBezTo>
                <a:cubicBezTo>
                  <a:pt x="2807" y="1051"/>
                  <a:pt x="2807" y="1051"/>
                  <a:pt x="2807" y="1051"/>
                </a:cubicBezTo>
                <a:cubicBezTo>
                  <a:pt x="2804" y="1053"/>
                  <a:pt x="2804" y="1053"/>
                  <a:pt x="2804" y="1053"/>
                </a:cubicBezTo>
                <a:cubicBezTo>
                  <a:pt x="2805" y="1055"/>
                  <a:pt x="2805" y="1055"/>
                  <a:pt x="2805" y="1055"/>
                </a:cubicBezTo>
                <a:lnTo>
                  <a:pt x="2807" y="1055"/>
                </a:lnTo>
                <a:close/>
                <a:moveTo>
                  <a:pt x="2806" y="1041"/>
                </a:moveTo>
                <a:cubicBezTo>
                  <a:pt x="2804" y="1042"/>
                  <a:pt x="2804" y="1042"/>
                  <a:pt x="2804" y="1042"/>
                </a:cubicBezTo>
                <a:cubicBezTo>
                  <a:pt x="2804" y="1042"/>
                  <a:pt x="2804" y="1042"/>
                  <a:pt x="2804" y="1042"/>
                </a:cubicBezTo>
                <a:cubicBezTo>
                  <a:pt x="2804" y="1043"/>
                  <a:pt x="2804" y="1043"/>
                  <a:pt x="2804" y="1043"/>
                </a:cubicBezTo>
                <a:cubicBezTo>
                  <a:pt x="2805" y="1045"/>
                  <a:pt x="2805" y="1045"/>
                  <a:pt x="2805" y="1045"/>
                </a:cubicBezTo>
                <a:cubicBezTo>
                  <a:pt x="2807" y="1045"/>
                  <a:pt x="2807" y="1045"/>
                  <a:pt x="2807" y="1045"/>
                </a:cubicBezTo>
                <a:cubicBezTo>
                  <a:pt x="2808" y="1046"/>
                  <a:pt x="2808" y="1046"/>
                  <a:pt x="2808" y="1046"/>
                </a:cubicBezTo>
                <a:cubicBezTo>
                  <a:pt x="2809" y="1045"/>
                  <a:pt x="2809" y="1045"/>
                  <a:pt x="2809" y="1045"/>
                </a:cubicBezTo>
                <a:cubicBezTo>
                  <a:pt x="2808" y="1044"/>
                  <a:pt x="2808" y="1044"/>
                  <a:pt x="2808" y="1044"/>
                </a:cubicBezTo>
                <a:cubicBezTo>
                  <a:pt x="2807" y="1044"/>
                  <a:pt x="2807" y="1044"/>
                  <a:pt x="2807" y="1044"/>
                </a:cubicBezTo>
                <a:cubicBezTo>
                  <a:pt x="2807" y="1042"/>
                  <a:pt x="2807" y="1042"/>
                  <a:pt x="2807" y="1042"/>
                </a:cubicBezTo>
                <a:lnTo>
                  <a:pt x="2806" y="1041"/>
                </a:lnTo>
                <a:close/>
                <a:moveTo>
                  <a:pt x="2810" y="1068"/>
                </a:moveTo>
                <a:cubicBezTo>
                  <a:pt x="2810" y="1067"/>
                  <a:pt x="2810" y="1067"/>
                  <a:pt x="2810" y="1067"/>
                </a:cubicBezTo>
                <a:cubicBezTo>
                  <a:pt x="2808" y="1067"/>
                  <a:pt x="2808" y="1067"/>
                  <a:pt x="2808" y="1067"/>
                </a:cubicBezTo>
                <a:cubicBezTo>
                  <a:pt x="2809" y="1068"/>
                  <a:pt x="2809" y="1068"/>
                  <a:pt x="2809" y="1068"/>
                </a:cubicBezTo>
                <a:lnTo>
                  <a:pt x="2810" y="1068"/>
                </a:lnTo>
                <a:close/>
                <a:moveTo>
                  <a:pt x="2824" y="1037"/>
                </a:moveTo>
                <a:cubicBezTo>
                  <a:pt x="2827" y="1039"/>
                  <a:pt x="2827" y="1039"/>
                  <a:pt x="2827" y="1039"/>
                </a:cubicBezTo>
                <a:cubicBezTo>
                  <a:pt x="2826" y="1038"/>
                  <a:pt x="2826" y="1038"/>
                  <a:pt x="2826" y="1038"/>
                </a:cubicBezTo>
                <a:cubicBezTo>
                  <a:pt x="2823" y="1036"/>
                  <a:pt x="2823" y="1036"/>
                  <a:pt x="2823" y="1036"/>
                </a:cubicBezTo>
                <a:lnTo>
                  <a:pt x="2824" y="1037"/>
                </a:lnTo>
                <a:close/>
                <a:moveTo>
                  <a:pt x="2772" y="1125"/>
                </a:moveTo>
                <a:cubicBezTo>
                  <a:pt x="2774" y="1126"/>
                  <a:pt x="2774" y="1126"/>
                  <a:pt x="2774" y="1126"/>
                </a:cubicBezTo>
                <a:cubicBezTo>
                  <a:pt x="2778" y="1124"/>
                  <a:pt x="2778" y="1124"/>
                  <a:pt x="2778" y="1124"/>
                </a:cubicBezTo>
                <a:cubicBezTo>
                  <a:pt x="2779" y="1123"/>
                  <a:pt x="2779" y="1123"/>
                  <a:pt x="2779" y="1123"/>
                </a:cubicBezTo>
                <a:cubicBezTo>
                  <a:pt x="2778" y="1122"/>
                  <a:pt x="2778" y="1122"/>
                  <a:pt x="2778" y="1122"/>
                </a:cubicBezTo>
                <a:cubicBezTo>
                  <a:pt x="2775" y="1123"/>
                  <a:pt x="2775" y="1123"/>
                  <a:pt x="2775" y="1123"/>
                </a:cubicBezTo>
                <a:cubicBezTo>
                  <a:pt x="2774" y="1122"/>
                  <a:pt x="2774" y="1122"/>
                  <a:pt x="2774" y="1122"/>
                </a:cubicBezTo>
                <a:cubicBezTo>
                  <a:pt x="2772" y="1123"/>
                  <a:pt x="2772" y="1123"/>
                  <a:pt x="2772" y="1123"/>
                </a:cubicBezTo>
                <a:cubicBezTo>
                  <a:pt x="2773" y="1124"/>
                  <a:pt x="2773" y="1124"/>
                  <a:pt x="2773" y="1124"/>
                </a:cubicBezTo>
                <a:cubicBezTo>
                  <a:pt x="2772" y="1124"/>
                  <a:pt x="2772" y="1124"/>
                  <a:pt x="2772" y="1124"/>
                </a:cubicBezTo>
                <a:lnTo>
                  <a:pt x="2772" y="1125"/>
                </a:lnTo>
                <a:close/>
                <a:moveTo>
                  <a:pt x="2807" y="692"/>
                </a:moveTo>
                <a:cubicBezTo>
                  <a:pt x="2808" y="691"/>
                  <a:pt x="2808" y="691"/>
                  <a:pt x="2808" y="691"/>
                </a:cubicBezTo>
                <a:cubicBezTo>
                  <a:pt x="2807" y="689"/>
                  <a:pt x="2807" y="689"/>
                  <a:pt x="2807" y="689"/>
                </a:cubicBezTo>
                <a:cubicBezTo>
                  <a:pt x="2806" y="688"/>
                  <a:pt x="2806" y="688"/>
                  <a:pt x="2806" y="688"/>
                </a:cubicBezTo>
                <a:cubicBezTo>
                  <a:pt x="2805" y="688"/>
                  <a:pt x="2805" y="688"/>
                  <a:pt x="2805" y="688"/>
                </a:cubicBezTo>
                <a:cubicBezTo>
                  <a:pt x="2804" y="689"/>
                  <a:pt x="2804" y="689"/>
                  <a:pt x="2804" y="689"/>
                </a:cubicBezTo>
                <a:cubicBezTo>
                  <a:pt x="2806" y="691"/>
                  <a:pt x="2806" y="691"/>
                  <a:pt x="2806" y="691"/>
                </a:cubicBezTo>
                <a:lnTo>
                  <a:pt x="2807" y="692"/>
                </a:lnTo>
                <a:close/>
                <a:moveTo>
                  <a:pt x="2760" y="1123"/>
                </a:moveTo>
                <a:cubicBezTo>
                  <a:pt x="2759" y="1124"/>
                  <a:pt x="2759" y="1124"/>
                  <a:pt x="2759" y="1124"/>
                </a:cubicBezTo>
                <a:cubicBezTo>
                  <a:pt x="2760" y="1125"/>
                  <a:pt x="2760" y="1125"/>
                  <a:pt x="2760" y="1125"/>
                </a:cubicBezTo>
                <a:cubicBezTo>
                  <a:pt x="2760" y="1124"/>
                  <a:pt x="2760" y="1124"/>
                  <a:pt x="2760" y="1124"/>
                </a:cubicBezTo>
                <a:lnTo>
                  <a:pt x="2760" y="1123"/>
                </a:lnTo>
                <a:close/>
                <a:moveTo>
                  <a:pt x="2779" y="1136"/>
                </a:moveTo>
                <a:cubicBezTo>
                  <a:pt x="2780" y="1136"/>
                  <a:pt x="2780" y="1136"/>
                  <a:pt x="2780" y="1136"/>
                </a:cubicBezTo>
                <a:cubicBezTo>
                  <a:pt x="2780" y="1136"/>
                  <a:pt x="2780" y="1136"/>
                  <a:pt x="2780" y="1136"/>
                </a:cubicBezTo>
                <a:cubicBezTo>
                  <a:pt x="2782" y="1134"/>
                  <a:pt x="2782" y="1134"/>
                  <a:pt x="2782" y="1134"/>
                </a:cubicBezTo>
                <a:cubicBezTo>
                  <a:pt x="2784" y="1133"/>
                  <a:pt x="2784" y="1133"/>
                  <a:pt x="2784" y="1133"/>
                </a:cubicBezTo>
                <a:cubicBezTo>
                  <a:pt x="2786" y="1134"/>
                  <a:pt x="2786" y="1134"/>
                  <a:pt x="2786" y="1134"/>
                </a:cubicBezTo>
                <a:cubicBezTo>
                  <a:pt x="2790" y="1133"/>
                  <a:pt x="2790" y="1133"/>
                  <a:pt x="2790" y="1133"/>
                </a:cubicBezTo>
                <a:cubicBezTo>
                  <a:pt x="2793" y="1131"/>
                  <a:pt x="2793" y="1131"/>
                  <a:pt x="2793" y="1131"/>
                </a:cubicBezTo>
                <a:cubicBezTo>
                  <a:pt x="2796" y="1130"/>
                  <a:pt x="2796" y="1130"/>
                  <a:pt x="2796" y="1130"/>
                </a:cubicBezTo>
                <a:cubicBezTo>
                  <a:pt x="2796" y="1129"/>
                  <a:pt x="2796" y="1129"/>
                  <a:pt x="2796" y="1129"/>
                </a:cubicBezTo>
                <a:cubicBezTo>
                  <a:pt x="2798" y="1129"/>
                  <a:pt x="2798" y="1129"/>
                  <a:pt x="2798" y="1129"/>
                </a:cubicBezTo>
                <a:cubicBezTo>
                  <a:pt x="2800" y="1127"/>
                  <a:pt x="2800" y="1127"/>
                  <a:pt x="2800" y="1127"/>
                </a:cubicBezTo>
                <a:cubicBezTo>
                  <a:pt x="2800" y="1127"/>
                  <a:pt x="2800" y="1127"/>
                  <a:pt x="2800" y="1127"/>
                </a:cubicBezTo>
                <a:cubicBezTo>
                  <a:pt x="2799" y="1126"/>
                  <a:pt x="2799" y="1126"/>
                  <a:pt x="2799" y="1126"/>
                </a:cubicBezTo>
                <a:cubicBezTo>
                  <a:pt x="2795" y="1127"/>
                  <a:pt x="2795" y="1127"/>
                  <a:pt x="2795" y="1127"/>
                </a:cubicBezTo>
                <a:cubicBezTo>
                  <a:pt x="2792" y="1126"/>
                  <a:pt x="2792" y="1126"/>
                  <a:pt x="2792" y="1126"/>
                </a:cubicBezTo>
                <a:cubicBezTo>
                  <a:pt x="2790" y="1127"/>
                  <a:pt x="2790" y="1127"/>
                  <a:pt x="2790" y="1127"/>
                </a:cubicBezTo>
                <a:cubicBezTo>
                  <a:pt x="2788" y="1127"/>
                  <a:pt x="2788" y="1127"/>
                  <a:pt x="2788" y="1127"/>
                </a:cubicBezTo>
                <a:cubicBezTo>
                  <a:pt x="2785" y="1127"/>
                  <a:pt x="2785" y="1127"/>
                  <a:pt x="2785" y="1127"/>
                </a:cubicBezTo>
                <a:cubicBezTo>
                  <a:pt x="2781" y="1127"/>
                  <a:pt x="2781" y="1127"/>
                  <a:pt x="2781" y="1127"/>
                </a:cubicBezTo>
                <a:cubicBezTo>
                  <a:pt x="2778" y="1130"/>
                  <a:pt x="2778" y="1130"/>
                  <a:pt x="2778" y="1130"/>
                </a:cubicBezTo>
                <a:cubicBezTo>
                  <a:pt x="2775" y="1131"/>
                  <a:pt x="2775" y="1131"/>
                  <a:pt x="2775" y="1131"/>
                </a:cubicBezTo>
                <a:cubicBezTo>
                  <a:pt x="2775" y="1132"/>
                  <a:pt x="2775" y="1132"/>
                  <a:pt x="2775" y="1132"/>
                </a:cubicBezTo>
                <a:cubicBezTo>
                  <a:pt x="2773" y="1132"/>
                  <a:pt x="2773" y="1132"/>
                  <a:pt x="2773" y="1132"/>
                </a:cubicBezTo>
                <a:cubicBezTo>
                  <a:pt x="2772" y="1133"/>
                  <a:pt x="2772" y="1133"/>
                  <a:pt x="2772" y="1133"/>
                </a:cubicBezTo>
                <a:cubicBezTo>
                  <a:pt x="2769" y="1133"/>
                  <a:pt x="2769" y="1133"/>
                  <a:pt x="2769" y="1133"/>
                </a:cubicBezTo>
                <a:cubicBezTo>
                  <a:pt x="2767" y="1134"/>
                  <a:pt x="2767" y="1134"/>
                  <a:pt x="2767" y="1134"/>
                </a:cubicBezTo>
                <a:cubicBezTo>
                  <a:pt x="2767" y="1135"/>
                  <a:pt x="2767" y="1135"/>
                  <a:pt x="2767" y="1135"/>
                </a:cubicBezTo>
                <a:cubicBezTo>
                  <a:pt x="2765" y="1136"/>
                  <a:pt x="2765" y="1136"/>
                  <a:pt x="2765" y="1136"/>
                </a:cubicBezTo>
                <a:cubicBezTo>
                  <a:pt x="2764" y="1138"/>
                  <a:pt x="2764" y="1138"/>
                  <a:pt x="2764" y="1138"/>
                </a:cubicBezTo>
                <a:cubicBezTo>
                  <a:pt x="2762" y="1141"/>
                  <a:pt x="2762" y="1141"/>
                  <a:pt x="2762" y="1141"/>
                </a:cubicBezTo>
                <a:cubicBezTo>
                  <a:pt x="2762" y="1142"/>
                  <a:pt x="2762" y="1142"/>
                  <a:pt x="2762" y="1142"/>
                </a:cubicBezTo>
                <a:cubicBezTo>
                  <a:pt x="2763" y="1143"/>
                  <a:pt x="2763" y="1143"/>
                  <a:pt x="2763" y="1143"/>
                </a:cubicBezTo>
                <a:cubicBezTo>
                  <a:pt x="2763" y="1144"/>
                  <a:pt x="2763" y="1144"/>
                  <a:pt x="2763" y="1144"/>
                </a:cubicBezTo>
                <a:cubicBezTo>
                  <a:pt x="2762" y="1144"/>
                  <a:pt x="2762" y="1144"/>
                  <a:pt x="2762" y="1144"/>
                </a:cubicBezTo>
                <a:cubicBezTo>
                  <a:pt x="2761" y="1143"/>
                  <a:pt x="2761" y="1143"/>
                  <a:pt x="2761" y="1143"/>
                </a:cubicBezTo>
                <a:cubicBezTo>
                  <a:pt x="2760" y="1145"/>
                  <a:pt x="2760" y="1145"/>
                  <a:pt x="2760" y="1145"/>
                </a:cubicBezTo>
                <a:cubicBezTo>
                  <a:pt x="2761" y="1146"/>
                  <a:pt x="2761" y="1146"/>
                  <a:pt x="2761" y="1146"/>
                </a:cubicBezTo>
                <a:cubicBezTo>
                  <a:pt x="2765" y="1146"/>
                  <a:pt x="2765" y="1146"/>
                  <a:pt x="2765" y="1146"/>
                </a:cubicBezTo>
                <a:cubicBezTo>
                  <a:pt x="2768" y="1144"/>
                  <a:pt x="2768" y="1144"/>
                  <a:pt x="2768" y="1144"/>
                </a:cubicBezTo>
                <a:cubicBezTo>
                  <a:pt x="2769" y="1143"/>
                  <a:pt x="2769" y="1143"/>
                  <a:pt x="2769" y="1143"/>
                </a:cubicBezTo>
                <a:cubicBezTo>
                  <a:pt x="2771" y="1144"/>
                  <a:pt x="2771" y="1144"/>
                  <a:pt x="2771" y="1144"/>
                </a:cubicBezTo>
                <a:cubicBezTo>
                  <a:pt x="2773" y="1142"/>
                  <a:pt x="2773" y="1142"/>
                  <a:pt x="2773" y="1142"/>
                </a:cubicBezTo>
                <a:cubicBezTo>
                  <a:pt x="2774" y="1140"/>
                  <a:pt x="2774" y="1140"/>
                  <a:pt x="2774" y="1140"/>
                </a:cubicBezTo>
                <a:cubicBezTo>
                  <a:pt x="2778" y="1138"/>
                  <a:pt x="2778" y="1138"/>
                  <a:pt x="2778" y="1138"/>
                </a:cubicBezTo>
                <a:lnTo>
                  <a:pt x="2779" y="1136"/>
                </a:lnTo>
                <a:close/>
                <a:moveTo>
                  <a:pt x="2775" y="1191"/>
                </a:moveTo>
                <a:cubicBezTo>
                  <a:pt x="2775" y="1190"/>
                  <a:pt x="2775" y="1190"/>
                  <a:pt x="2775" y="1190"/>
                </a:cubicBezTo>
                <a:cubicBezTo>
                  <a:pt x="2774" y="1190"/>
                  <a:pt x="2774" y="1190"/>
                  <a:pt x="2774" y="1190"/>
                </a:cubicBezTo>
                <a:cubicBezTo>
                  <a:pt x="2774" y="1191"/>
                  <a:pt x="2774" y="1191"/>
                  <a:pt x="2774" y="1191"/>
                </a:cubicBezTo>
                <a:lnTo>
                  <a:pt x="2775" y="1191"/>
                </a:lnTo>
                <a:close/>
                <a:moveTo>
                  <a:pt x="2766" y="1199"/>
                </a:moveTo>
                <a:cubicBezTo>
                  <a:pt x="2767" y="1200"/>
                  <a:pt x="2767" y="1200"/>
                  <a:pt x="2767" y="1200"/>
                </a:cubicBezTo>
                <a:cubicBezTo>
                  <a:pt x="2768" y="1200"/>
                  <a:pt x="2768" y="1200"/>
                  <a:pt x="2768" y="1200"/>
                </a:cubicBezTo>
                <a:cubicBezTo>
                  <a:pt x="2767" y="1198"/>
                  <a:pt x="2767" y="1198"/>
                  <a:pt x="2767" y="1198"/>
                </a:cubicBezTo>
                <a:cubicBezTo>
                  <a:pt x="2767" y="1198"/>
                  <a:pt x="2766" y="1199"/>
                  <a:pt x="2766" y="1199"/>
                </a:cubicBezTo>
                <a:close/>
                <a:moveTo>
                  <a:pt x="2766" y="1206"/>
                </a:moveTo>
                <a:cubicBezTo>
                  <a:pt x="2766" y="1204"/>
                  <a:pt x="2766" y="1204"/>
                  <a:pt x="2766" y="1204"/>
                </a:cubicBezTo>
                <a:cubicBezTo>
                  <a:pt x="2765" y="1203"/>
                  <a:pt x="2765" y="1203"/>
                  <a:pt x="2765" y="1203"/>
                </a:cubicBezTo>
                <a:cubicBezTo>
                  <a:pt x="2765" y="1206"/>
                  <a:pt x="2765" y="1206"/>
                  <a:pt x="2765" y="1206"/>
                </a:cubicBezTo>
                <a:lnTo>
                  <a:pt x="2766" y="1206"/>
                </a:lnTo>
                <a:close/>
                <a:moveTo>
                  <a:pt x="2821" y="1073"/>
                </a:moveTo>
                <a:cubicBezTo>
                  <a:pt x="2825" y="1073"/>
                  <a:pt x="2825" y="1073"/>
                  <a:pt x="2825" y="1073"/>
                </a:cubicBezTo>
                <a:cubicBezTo>
                  <a:pt x="2826" y="1072"/>
                  <a:pt x="2826" y="1072"/>
                  <a:pt x="2826" y="1072"/>
                </a:cubicBezTo>
                <a:cubicBezTo>
                  <a:pt x="2828" y="1072"/>
                  <a:pt x="2828" y="1072"/>
                  <a:pt x="2828" y="1072"/>
                </a:cubicBezTo>
                <a:cubicBezTo>
                  <a:pt x="2832" y="1074"/>
                  <a:pt x="2832" y="1074"/>
                  <a:pt x="2832" y="1074"/>
                </a:cubicBezTo>
                <a:cubicBezTo>
                  <a:pt x="2834" y="1074"/>
                  <a:pt x="2834" y="1074"/>
                  <a:pt x="2834" y="1074"/>
                </a:cubicBezTo>
                <a:cubicBezTo>
                  <a:pt x="2836" y="1077"/>
                  <a:pt x="2836" y="1077"/>
                  <a:pt x="2836" y="1077"/>
                </a:cubicBezTo>
                <a:cubicBezTo>
                  <a:pt x="2838" y="1077"/>
                  <a:pt x="2838" y="1077"/>
                  <a:pt x="2838" y="1077"/>
                </a:cubicBezTo>
                <a:cubicBezTo>
                  <a:pt x="2839" y="1075"/>
                  <a:pt x="2839" y="1075"/>
                  <a:pt x="2839" y="1075"/>
                </a:cubicBezTo>
                <a:cubicBezTo>
                  <a:pt x="2838" y="1071"/>
                  <a:pt x="2838" y="1071"/>
                  <a:pt x="2838" y="1071"/>
                </a:cubicBezTo>
                <a:cubicBezTo>
                  <a:pt x="2833" y="1068"/>
                  <a:pt x="2833" y="1068"/>
                  <a:pt x="2833" y="1068"/>
                </a:cubicBezTo>
                <a:cubicBezTo>
                  <a:pt x="2829" y="1068"/>
                  <a:pt x="2829" y="1068"/>
                  <a:pt x="2829" y="1068"/>
                </a:cubicBezTo>
                <a:cubicBezTo>
                  <a:pt x="2827" y="1066"/>
                  <a:pt x="2827" y="1066"/>
                  <a:pt x="2827" y="1066"/>
                </a:cubicBezTo>
                <a:cubicBezTo>
                  <a:pt x="2825" y="1066"/>
                  <a:pt x="2825" y="1066"/>
                  <a:pt x="2825" y="1066"/>
                </a:cubicBezTo>
                <a:cubicBezTo>
                  <a:pt x="2823" y="1067"/>
                  <a:pt x="2823" y="1067"/>
                  <a:pt x="2823" y="1067"/>
                </a:cubicBezTo>
                <a:cubicBezTo>
                  <a:pt x="2821" y="1067"/>
                  <a:pt x="2821" y="1067"/>
                  <a:pt x="2821" y="1067"/>
                </a:cubicBezTo>
                <a:cubicBezTo>
                  <a:pt x="2819" y="1066"/>
                  <a:pt x="2819" y="1066"/>
                  <a:pt x="2819" y="1066"/>
                </a:cubicBezTo>
                <a:cubicBezTo>
                  <a:pt x="2816" y="1067"/>
                  <a:pt x="2816" y="1067"/>
                  <a:pt x="2816" y="1067"/>
                </a:cubicBezTo>
                <a:cubicBezTo>
                  <a:pt x="2812" y="1067"/>
                  <a:pt x="2812" y="1067"/>
                  <a:pt x="2812" y="1067"/>
                </a:cubicBezTo>
                <a:cubicBezTo>
                  <a:pt x="2811" y="1068"/>
                  <a:pt x="2811" y="1068"/>
                  <a:pt x="2811" y="1068"/>
                </a:cubicBezTo>
                <a:cubicBezTo>
                  <a:pt x="2811" y="1069"/>
                  <a:pt x="2811" y="1069"/>
                  <a:pt x="2811" y="1069"/>
                </a:cubicBezTo>
                <a:cubicBezTo>
                  <a:pt x="2810" y="1070"/>
                  <a:pt x="2810" y="1070"/>
                  <a:pt x="2810" y="1070"/>
                </a:cubicBezTo>
                <a:cubicBezTo>
                  <a:pt x="2809" y="1071"/>
                  <a:pt x="2809" y="1071"/>
                  <a:pt x="2809" y="1071"/>
                </a:cubicBezTo>
                <a:cubicBezTo>
                  <a:pt x="2809" y="1073"/>
                  <a:pt x="2809" y="1073"/>
                  <a:pt x="2809" y="1073"/>
                </a:cubicBezTo>
                <a:cubicBezTo>
                  <a:pt x="2811" y="1073"/>
                  <a:pt x="2811" y="1073"/>
                  <a:pt x="2811" y="1073"/>
                </a:cubicBezTo>
                <a:cubicBezTo>
                  <a:pt x="2812" y="1070"/>
                  <a:pt x="2812" y="1070"/>
                  <a:pt x="2812" y="1070"/>
                </a:cubicBezTo>
                <a:cubicBezTo>
                  <a:pt x="2814" y="1071"/>
                  <a:pt x="2814" y="1071"/>
                  <a:pt x="2814" y="1071"/>
                </a:cubicBezTo>
                <a:cubicBezTo>
                  <a:pt x="2815" y="1073"/>
                  <a:pt x="2815" y="1073"/>
                  <a:pt x="2815" y="1073"/>
                </a:cubicBezTo>
                <a:cubicBezTo>
                  <a:pt x="2817" y="1073"/>
                  <a:pt x="2817" y="1073"/>
                  <a:pt x="2817" y="1073"/>
                </a:cubicBezTo>
                <a:cubicBezTo>
                  <a:pt x="2819" y="1071"/>
                  <a:pt x="2819" y="1071"/>
                  <a:pt x="2819" y="1071"/>
                </a:cubicBezTo>
                <a:cubicBezTo>
                  <a:pt x="2820" y="1071"/>
                  <a:pt x="2820" y="1071"/>
                  <a:pt x="2820" y="1071"/>
                </a:cubicBezTo>
                <a:lnTo>
                  <a:pt x="2821" y="1073"/>
                </a:lnTo>
                <a:close/>
                <a:moveTo>
                  <a:pt x="2817" y="1075"/>
                </a:moveTo>
                <a:cubicBezTo>
                  <a:pt x="2817" y="1074"/>
                  <a:pt x="2817" y="1074"/>
                  <a:pt x="2817" y="1074"/>
                </a:cubicBezTo>
                <a:cubicBezTo>
                  <a:pt x="2816" y="1074"/>
                  <a:pt x="2816" y="1074"/>
                  <a:pt x="2816" y="1074"/>
                </a:cubicBezTo>
                <a:cubicBezTo>
                  <a:pt x="2816" y="1075"/>
                  <a:pt x="2816" y="1075"/>
                  <a:pt x="2816" y="1075"/>
                </a:cubicBezTo>
                <a:lnTo>
                  <a:pt x="2817" y="1075"/>
                </a:lnTo>
                <a:close/>
                <a:moveTo>
                  <a:pt x="2819" y="1123"/>
                </a:moveTo>
                <a:cubicBezTo>
                  <a:pt x="2818" y="1123"/>
                  <a:pt x="2818" y="1123"/>
                  <a:pt x="2818" y="1123"/>
                </a:cubicBezTo>
                <a:cubicBezTo>
                  <a:pt x="2816" y="1123"/>
                  <a:pt x="2816" y="1123"/>
                  <a:pt x="2816" y="1123"/>
                </a:cubicBezTo>
                <a:cubicBezTo>
                  <a:pt x="2817" y="1123"/>
                  <a:pt x="2817" y="1123"/>
                  <a:pt x="2817" y="1123"/>
                </a:cubicBezTo>
                <a:lnTo>
                  <a:pt x="2819" y="1123"/>
                </a:lnTo>
                <a:close/>
                <a:moveTo>
                  <a:pt x="2776" y="1030"/>
                </a:moveTo>
                <a:cubicBezTo>
                  <a:pt x="2777" y="1029"/>
                  <a:pt x="2777" y="1029"/>
                  <a:pt x="2777" y="1029"/>
                </a:cubicBezTo>
                <a:cubicBezTo>
                  <a:pt x="2778" y="1029"/>
                  <a:pt x="2778" y="1029"/>
                  <a:pt x="2778" y="1029"/>
                </a:cubicBezTo>
                <a:cubicBezTo>
                  <a:pt x="2779" y="1027"/>
                  <a:pt x="2779" y="1027"/>
                  <a:pt x="2779" y="1027"/>
                </a:cubicBezTo>
                <a:cubicBezTo>
                  <a:pt x="2780" y="1026"/>
                  <a:pt x="2780" y="1026"/>
                  <a:pt x="2780" y="1026"/>
                </a:cubicBezTo>
                <a:cubicBezTo>
                  <a:pt x="2781" y="1025"/>
                  <a:pt x="2781" y="1025"/>
                  <a:pt x="2781" y="1025"/>
                </a:cubicBezTo>
                <a:cubicBezTo>
                  <a:pt x="2782" y="1023"/>
                  <a:pt x="2782" y="1023"/>
                  <a:pt x="2782" y="1023"/>
                </a:cubicBezTo>
                <a:cubicBezTo>
                  <a:pt x="2783" y="1022"/>
                  <a:pt x="2783" y="1022"/>
                  <a:pt x="2783" y="1022"/>
                </a:cubicBezTo>
                <a:cubicBezTo>
                  <a:pt x="2782" y="1021"/>
                  <a:pt x="2782" y="1021"/>
                  <a:pt x="2782" y="1021"/>
                </a:cubicBezTo>
                <a:cubicBezTo>
                  <a:pt x="2782" y="1020"/>
                  <a:pt x="2782" y="1020"/>
                  <a:pt x="2782" y="1020"/>
                </a:cubicBezTo>
                <a:cubicBezTo>
                  <a:pt x="2779" y="1020"/>
                  <a:pt x="2779" y="1020"/>
                  <a:pt x="2779" y="1020"/>
                </a:cubicBezTo>
                <a:cubicBezTo>
                  <a:pt x="2777" y="1020"/>
                  <a:pt x="2777" y="1020"/>
                  <a:pt x="2777" y="1020"/>
                </a:cubicBezTo>
                <a:cubicBezTo>
                  <a:pt x="2776" y="1022"/>
                  <a:pt x="2776" y="1022"/>
                  <a:pt x="2776" y="1022"/>
                </a:cubicBezTo>
                <a:cubicBezTo>
                  <a:pt x="2775" y="1023"/>
                  <a:pt x="2775" y="1023"/>
                  <a:pt x="2775" y="1023"/>
                </a:cubicBezTo>
                <a:cubicBezTo>
                  <a:pt x="2775" y="1024"/>
                  <a:pt x="2775" y="1024"/>
                  <a:pt x="2775" y="1024"/>
                </a:cubicBezTo>
                <a:cubicBezTo>
                  <a:pt x="2773" y="1026"/>
                  <a:pt x="2773" y="1026"/>
                  <a:pt x="2773" y="1026"/>
                </a:cubicBezTo>
                <a:cubicBezTo>
                  <a:pt x="2771" y="1026"/>
                  <a:pt x="2771" y="1026"/>
                  <a:pt x="2771" y="1026"/>
                </a:cubicBezTo>
                <a:cubicBezTo>
                  <a:pt x="2770" y="1028"/>
                  <a:pt x="2770" y="1028"/>
                  <a:pt x="2770" y="1028"/>
                </a:cubicBezTo>
                <a:cubicBezTo>
                  <a:pt x="2768" y="1028"/>
                  <a:pt x="2768" y="1028"/>
                  <a:pt x="2768" y="1028"/>
                </a:cubicBezTo>
                <a:cubicBezTo>
                  <a:pt x="2763" y="1027"/>
                  <a:pt x="2763" y="1027"/>
                  <a:pt x="2763" y="1027"/>
                </a:cubicBezTo>
                <a:cubicBezTo>
                  <a:pt x="2759" y="1027"/>
                  <a:pt x="2759" y="1027"/>
                  <a:pt x="2759" y="1027"/>
                </a:cubicBezTo>
                <a:cubicBezTo>
                  <a:pt x="2758" y="1028"/>
                  <a:pt x="2758" y="1028"/>
                  <a:pt x="2758" y="1028"/>
                </a:cubicBezTo>
                <a:cubicBezTo>
                  <a:pt x="2757" y="1028"/>
                  <a:pt x="2757" y="1028"/>
                  <a:pt x="2757" y="1028"/>
                </a:cubicBezTo>
                <a:cubicBezTo>
                  <a:pt x="2755" y="1026"/>
                  <a:pt x="2755" y="1026"/>
                  <a:pt x="2755" y="1026"/>
                </a:cubicBezTo>
                <a:cubicBezTo>
                  <a:pt x="2754" y="1026"/>
                  <a:pt x="2754" y="1026"/>
                  <a:pt x="2754" y="1026"/>
                </a:cubicBezTo>
                <a:cubicBezTo>
                  <a:pt x="2752" y="1026"/>
                  <a:pt x="2752" y="1026"/>
                  <a:pt x="2752" y="1026"/>
                </a:cubicBezTo>
                <a:cubicBezTo>
                  <a:pt x="2750" y="1026"/>
                  <a:pt x="2750" y="1026"/>
                  <a:pt x="2750" y="1026"/>
                </a:cubicBezTo>
                <a:cubicBezTo>
                  <a:pt x="2747" y="1025"/>
                  <a:pt x="2747" y="1025"/>
                  <a:pt x="2747" y="1025"/>
                </a:cubicBezTo>
                <a:cubicBezTo>
                  <a:pt x="2746" y="1026"/>
                  <a:pt x="2746" y="1026"/>
                  <a:pt x="2746" y="1026"/>
                </a:cubicBezTo>
                <a:cubicBezTo>
                  <a:pt x="2744" y="1025"/>
                  <a:pt x="2744" y="1025"/>
                  <a:pt x="2744" y="1025"/>
                </a:cubicBezTo>
                <a:cubicBezTo>
                  <a:pt x="2742" y="1024"/>
                  <a:pt x="2742" y="1024"/>
                  <a:pt x="2742" y="1024"/>
                </a:cubicBezTo>
                <a:cubicBezTo>
                  <a:pt x="2739" y="1023"/>
                  <a:pt x="2739" y="1023"/>
                  <a:pt x="2739" y="1023"/>
                </a:cubicBezTo>
                <a:cubicBezTo>
                  <a:pt x="2738" y="1023"/>
                  <a:pt x="2738" y="1023"/>
                  <a:pt x="2738" y="1023"/>
                </a:cubicBezTo>
                <a:cubicBezTo>
                  <a:pt x="2738" y="1025"/>
                  <a:pt x="2738" y="1025"/>
                  <a:pt x="2738" y="1025"/>
                </a:cubicBezTo>
                <a:cubicBezTo>
                  <a:pt x="2736" y="1026"/>
                  <a:pt x="2736" y="1026"/>
                  <a:pt x="2736" y="1026"/>
                </a:cubicBezTo>
                <a:cubicBezTo>
                  <a:pt x="2735" y="1028"/>
                  <a:pt x="2735" y="1028"/>
                  <a:pt x="2735" y="1028"/>
                </a:cubicBezTo>
                <a:cubicBezTo>
                  <a:pt x="2734" y="1029"/>
                  <a:pt x="2734" y="1029"/>
                  <a:pt x="2734" y="1029"/>
                </a:cubicBezTo>
                <a:cubicBezTo>
                  <a:pt x="2731" y="1028"/>
                  <a:pt x="2731" y="1028"/>
                  <a:pt x="2731" y="1028"/>
                </a:cubicBezTo>
                <a:cubicBezTo>
                  <a:pt x="2729" y="1029"/>
                  <a:pt x="2729" y="1029"/>
                  <a:pt x="2729" y="1029"/>
                </a:cubicBezTo>
                <a:cubicBezTo>
                  <a:pt x="2728" y="1030"/>
                  <a:pt x="2728" y="1030"/>
                  <a:pt x="2728" y="1030"/>
                </a:cubicBezTo>
                <a:cubicBezTo>
                  <a:pt x="2728" y="1031"/>
                  <a:pt x="2728" y="1031"/>
                  <a:pt x="2728" y="1031"/>
                </a:cubicBezTo>
                <a:cubicBezTo>
                  <a:pt x="2726" y="1033"/>
                  <a:pt x="2726" y="1033"/>
                  <a:pt x="2726" y="1033"/>
                </a:cubicBezTo>
                <a:cubicBezTo>
                  <a:pt x="2726" y="1036"/>
                  <a:pt x="2726" y="1036"/>
                  <a:pt x="2726" y="1036"/>
                </a:cubicBezTo>
                <a:cubicBezTo>
                  <a:pt x="2726" y="1038"/>
                  <a:pt x="2726" y="1038"/>
                  <a:pt x="2726" y="1038"/>
                </a:cubicBezTo>
                <a:cubicBezTo>
                  <a:pt x="2726" y="1041"/>
                  <a:pt x="2726" y="1041"/>
                  <a:pt x="2726" y="1041"/>
                </a:cubicBezTo>
                <a:cubicBezTo>
                  <a:pt x="2725" y="1042"/>
                  <a:pt x="2725" y="1042"/>
                  <a:pt x="2725" y="1042"/>
                </a:cubicBezTo>
                <a:cubicBezTo>
                  <a:pt x="2726" y="1045"/>
                  <a:pt x="2726" y="1045"/>
                  <a:pt x="2726" y="1045"/>
                </a:cubicBezTo>
                <a:cubicBezTo>
                  <a:pt x="2727" y="1047"/>
                  <a:pt x="2727" y="1047"/>
                  <a:pt x="2727" y="1047"/>
                </a:cubicBezTo>
                <a:cubicBezTo>
                  <a:pt x="2726" y="1046"/>
                  <a:pt x="2726" y="1046"/>
                  <a:pt x="2726" y="1046"/>
                </a:cubicBezTo>
                <a:cubicBezTo>
                  <a:pt x="2725" y="1044"/>
                  <a:pt x="2725" y="1044"/>
                  <a:pt x="2725" y="1044"/>
                </a:cubicBezTo>
                <a:cubicBezTo>
                  <a:pt x="2724" y="1045"/>
                  <a:pt x="2724" y="1045"/>
                  <a:pt x="2724" y="1045"/>
                </a:cubicBezTo>
                <a:cubicBezTo>
                  <a:pt x="2723" y="1046"/>
                  <a:pt x="2723" y="1046"/>
                  <a:pt x="2723" y="1046"/>
                </a:cubicBezTo>
                <a:cubicBezTo>
                  <a:pt x="2721" y="1047"/>
                  <a:pt x="2721" y="1047"/>
                  <a:pt x="2721" y="1047"/>
                </a:cubicBezTo>
                <a:cubicBezTo>
                  <a:pt x="2721" y="1049"/>
                  <a:pt x="2721" y="1049"/>
                  <a:pt x="2721" y="1049"/>
                </a:cubicBezTo>
                <a:cubicBezTo>
                  <a:pt x="2721" y="1051"/>
                  <a:pt x="2721" y="1051"/>
                  <a:pt x="2721" y="1051"/>
                </a:cubicBezTo>
                <a:cubicBezTo>
                  <a:pt x="2720" y="1053"/>
                  <a:pt x="2720" y="1053"/>
                  <a:pt x="2720" y="1053"/>
                </a:cubicBezTo>
                <a:cubicBezTo>
                  <a:pt x="2721" y="1057"/>
                  <a:pt x="2721" y="1057"/>
                  <a:pt x="2721" y="1057"/>
                </a:cubicBezTo>
                <a:cubicBezTo>
                  <a:pt x="2720" y="1058"/>
                  <a:pt x="2720" y="1058"/>
                  <a:pt x="2720" y="1058"/>
                </a:cubicBezTo>
                <a:cubicBezTo>
                  <a:pt x="2720" y="1060"/>
                  <a:pt x="2720" y="1060"/>
                  <a:pt x="2720" y="1060"/>
                </a:cubicBezTo>
                <a:cubicBezTo>
                  <a:pt x="2719" y="1060"/>
                  <a:pt x="2719" y="1060"/>
                  <a:pt x="2719" y="1060"/>
                </a:cubicBezTo>
                <a:cubicBezTo>
                  <a:pt x="2719" y="1063"/>
                  <a:pt x="2719" y="1063"/>
                  <a:pt x="2719" y="1063"/>
                </a:cubicBezTo>
                <a:cubicBezTo>
                  <a:pt x="2716" y="1065"/>
                  <a:pt x="2716" y="1065"/>
                  <a:pt x="2716" y="1065"/>
                </a:cubicBezTo>
                <a:cubicBezTo>
                  <a:pt x="2716" y="1067"/>
                  <a:pt x="2716" y="1067"/>
                  <a:pt x="2716" y="1067"/>
                </a:cubicBezTo>
                <a:cubicBezTo>
                  <a:pt x="2716" y="1068"/>
                  <a:pt x="2716" y="1068"/>
                  <a:pt x="2716" y="1068"/>
                </a:cubicBezTo>
                <a:cubicBezTo>
                  <a:pt x="2715" y="1069"/>
                  <a:pt x="2715" y="1069"/>
                  <a:pt x="2715" y="1069"/>
                </a:cubicBezTo>
                <a:cubicBezTo>
                  <a:pt x="2716" y="1073"/>
                  <a:pt x="2716" y="1073"/>
                  <a:pt x="2716" y="1073"/>
                </a:cubicBezTo>
                <a:cubicBezTo>
                  <a:pt x="2717" y="1074"/>
                  <a:pt x="2717" y="1074"/>
                  <a:pt x="2717" y="1074"/>
                </a:cubicBezTo>
                <a:cubicBezTo>
                  <a:pt x="2718" y="1074"/>
                  <a:pt x="2718" y="1074"/>
                  <a:pt x="2718" y="1074"/>
                </a:cubicBezTo>
                <a:cubicBezTo>
                  <a:pt x="2720" y="1074"/>
                  <a:pt x="2720" y="1074"/>
                  <a:pt x="2720" y="1074"/>
                </a:cubicBezTo>
                <a:cubicBezTo>
                  <a:pt x="2721" y="1073"/>
                  <a:pt x="2721" y="1073"/>
                  <a:pt x="2721" y="1073"/>
                </a:cubicBezTo>
                <a:cubicBezTo>
                  <a:pt x="2722" y="1074"/>
                  <a:pt x="2722" y="1074"/>
                  <a:pt x="2722" y="1074"/>
                </a:cubicBezTo>
                <a:cubicBezTo>
                  <a:pt x="2722" y="1076"/>
                  <a:pt x="2722" y="1076"/>
                  <a:pt x="2722" y="1076"/>
                </a:cubicBezTo>
                <a:cubicBezTo>
                  <a:pt x="2724" y="1081"/>
                  <a:pt x="2724" y="1081"/>
                  <a:pt x="2724" y="1081"/>
                </a:cubicBezTo>
                <a:cubicBezTo>
                  <a:pt x="2724" y="1082"/>
                  <a:pt x="2724" y="1082"/>
                  <a:pt x="2724" y="1082"/>
                </a:cubicBezTo>
                <a:cubicBezTo>
                  <a:pt x="2723" y="1085"/>
                  <a:pt x="2723" y="1085"/>
                  <a:pt x="2723" y="1085"/>
                </a:cubicBezTo>
                <a:cubicBezTo>
                  <a:pt x="2721" y="1087"/>
                  <a:pt x="2721" y="1087"/>
                  <a:pt x="2721" y="1087"/>
                </a:cubicBezTo>
                <a:cubicBezTo>
                  <a:pt x="2721" y="1091"/>
                  <a:pt x="2721" y="1091"/>
                  <a:pt x="2721" y="1091"/>
                </a:cubicBezTo>
                <a:cubicBezTo>
                  <a:pt x="2722" y="1095"/>
                  <a:pt x="2722" y="1095"/>
                  <a:pt x="2722" y="1095"/>
                </a:cubicBezTo>
                <a:cubicBezTo>
                  <a:pt x="2723" y="1095"/>
                  <a:pt x="2723" y="1095"/>
                  <a:pt x="2723" y="1095"/>
                </a:cubicBezTo>
                <a:cubicBezTo>
                  <a:pt x="2724" y="1095"/>
                  <a:pt x="2724" y="1095"/>
                  <a:pt x="2724" y="1095"/>
                </a:cubicBezTo>
                <a:cubicBezTo>
                  <a:pt x="2726" y="1095"/>
                  <a:pt x="2726" y="1095"/>
                  <a:pt x="2726" y="1095"/>
                </a:cubicBezTo>
                <a:cubicBezTo>
                  <a:pt x="2727" y="1094"/>
                  <a:pt x="2727" y="1094"/>
                  <a:pt x="2727" y="1094"/>
                </a:cubicBezTo>
                <a:cubicBezTo>
                  <a:pt x="2729" y="1095"/>
                  <a:pt x="2729" y="1095"/>
                  <a:pt x="2729" y="1095"/>
                </a:cubicBezTo>
                <a:cubicBezTo>
                  <a:pt x="2731" y="1094"/>
                  <a:pt x="2731" y="1094"/>
                  <a:pt x="2731" y="1094"/>
                </a:cubicBezTo>
                <a:cubicBezTo>
                  <a:pt x="2732" y="1095"/>
                  <a:pt x="2732" y="1095"/>
                  <a:pt x="2732" y="1095"/>
                </a:cubicBezTo>
                <a:cubicBezTo>
                  <a:pt x="2732" y="1094"/>
                  <a:pt x="2732" y="1094"/>
                  <a:pt x="2732" y="1094"/>
                </a:cubicBezTo>
                <a:cubicBezTo>
                  <a:pt x="2732" y="1092"/>
                  <a:pt x="2732" y="1092"/>
                  <a:pt x="2732" y="1092"/>
                </a:cubicBezTo>
                <a:cubicBezTo>
                  <a:pt x="2731" y="1091"/>
                  <a:pt x="2731" y="1091"/>
                  <a:pt x="2731" y="1091"/>
                </a:cubicBezTo>
                <a:cubicBezTo>
                  <a:pt x="2730" y="1088"/>
                  <a:pt x="2730" y="1088"/>
                  <a:pt x="2730" y="1088"/>
                </a:cubicBezTo>
                <a:cubicBezTo>
                  <a:pt x="2731" y="1086"/>
                  <a:pt x="2731" y="1086"/>
                  <a:pt x="2731" y="1086"/>
                </a:cubicBezTo>
                <a:cubicBezTo>
                  <a:pt x="2732" y="1083"/>
                  <a:pt x="2732" y="1083"/>
                  <a:pt x="2732" y="1083"/>
                </a:cubicBezTo>
                <a:cubicBezTo>
                  <a:pt x="2732" y="1080"/>
                  <a:pt x="2732" y="1080"/>
                  <a:pt x="2732" y="1080"/>
                </a:cubicBezTo>
                <a:cubicBezTo>
                  <a:pt x="2731" y="1079"/>
                  <a:pt x="2731" y="1079"/>
                  <a:pt x="2731" y="1079"/>
                </a:cubicBezTo>
                <a:cubicBezTo>
                  <a:pt x="2733" y="1076"/>
                  <a:pt x="2733" y="1076"/>
                  <a:pt x="2733" y="1076"/>
                </a:cubicBezTo>
                <a:cubicBezTo>
                  <a:pt x="2733" y="1073"/>
                  <a:pt x="2733" y="1073"/>
                  <a:pt x="2733" y="1073"/>
                </a:cubicBezTo>
                <a:cubicBezTo>
                  <a:pt x="2733" y="1070"/>
                  <a:pt x="2733" y="1070"/>
                  <a:pt x="2733" y="1070"/>
                </a:cubicBezTo>
                <a:cubicBezTo>
                  <a:pt x="2731" y="1069"/>
                  <a:pt x="2731" y="1069"/>
                  <a:pt x="2731" y="1069"/>
                </a:cubicBezTo>
                <a:cubicBezTo>
                  <a:pt x="2731" y="1068"/>
                  <a:pt x="2731" y="1068"/>
                  <a:pt x="2731" y="1068"/>
                </a:cubicBezTo>
                <a:cubicBezTo>
                  <a:pt x="2734" y="1067"/>
                  <a:pt x="2734" y="1067"/>
                  <a:pt x="2734" y="1067"/>
                </a:cubicBezTo>
                <a:cubicBezTo>
                  <a:pt x="2735" y="1065"/>
                  <a:pt x="2735" y="1065"/>
                  <a:pt x="2735" y="1065"/>
                </a:cubicBezTo>
                <a:cubicBezTo>
                  <a:pt x="2737" y="1065"/>
                  <a:pt x="2737" y="1065"/>
                  <a:pt x="2737" y="1065"/>
                </a:cubicBezTo>
                <a:cubicBezTo>
                  <a:pt x="2739" y="1066"/>
                  <a:pt x="2739" y="1066"/>
                  <a:pt x="2739" y="1066"/>
                </a:cubicBezTo>
                <a:cubicBezTo>
                  <a:pt x="2738" y="1067"/>
                  <a:pt x="2738" y="1067"/>
                  <a:pt x="2738" y="1067"/>
                </a:cubicBezTo>
                <a:cubicBezTo>
                  <a:pt x="2739" y="1068"/>
                  <a:pt x="2739" y="1068"/>
                  <a:pt x="2739" y="1068"/>
                </a:cubicBezTo>
                <a:cubicBezTo>
                  <a:pt x="2739" y="1070"/>
                  <a:pt x="2739" y="1070"/>
                  <a:pt x="2739" y="1070"/>
                </a:cubicBezTo>
                <a:cubicBezTo>
                  <a:pt x="2738" y="1072"/>
                  <a:pt x="2738" y="1072"/>
                  <a:pt x="2738" y="1072"/>
                </a:cubicBezTo>
                <a:cubicBezTo>
                  <a:pt x="2737" y="1074"/>
                  <a:pt x="2737" y="1074"/>
                  <a:pt x="2737" y="1074"/>
                </a:cubicBezTo>
                <a:cubicBezTo>
                  <a:pt x="2738" y="1076"/>
                  <a:pt x="2738" y="1076"/>
                  <a:pt x="2738" y="1076"/>
                </a:cubicBezTo>
                <a:cubicBezTo>
                  <a:pt x="2740" y="1076"/>
                  <a:pt x="2740" y="1076"/>
                  <a:pt x="2740" y="1076"/>
                </a:cubicBezTo>
                <a:cubicBezTo>
                  <a:pt x="2741" y="1078"/>
                  <a:pt x="2741" y="1078"/>
                  <a:pt x="2741" y="1078"/>
                </a:cubicBezTo>
                <a:cubicBezTo>
                  <a:pt x="2743" y="1079"/>
                  <a:pt x="2743" y="1079"/>
                  <a:pt x="2743" y="1079"/>
                </a:cubicBezTo>
                <a:cubicBezTo>
                  <a:pt x="2744" y="1081"/>
                  <a:pt x="2744" y="1081"/>
                  <a:pt x="2744" y="1081"/>
                </a:cubicBezTo>
                <a:cubicBezTo>
                  <a:pt x="2743" y="1081"/>
                  <a:pt x="2743" y="1081"/>
                  <a:pt x="2743" y="1081"/>
                </a:cubicBezTo>
                <a:cubicBezTo>
                  <a:pt x="2742" y="1085"/>
                  <a:pt x="2742" y="1085"/>
                  <a:pt x="2742" y="1085"/>
                </a:cubicBezTo>
                <a:cubicBezTo>
                  <a:pt x="2743" y="1087"/>
                  <a:pt x="2743" y="1087"/>
                  <a:pt x="2743" y="1087"/>
                </a:cubicBezTo>
                <a:cubicBezTo>
                  <a:pt x="2745" y="1087"/>
                  <a:pt x="2745" y="1087"/>
                  <a:pt x="2745" y="1087"/>
                </a:cubicBezTo>
                <a:cubicBezTo>
                  <a:pt x="2746" y="1087"/>
                  <a:pt x="2746" y="1087"/>
                  <a:pt x="2746" y="1087"/>
                </a:cubicBezTo>
                <a:cubicBezTo>
                  <a:pt x="2748" y="1088"/>
                  <a:pt x="2748" y="1088"/>
                  <a:pt x="2748" y="1088"/>
                </a:cubicBezTo>
                <a:cubicBezTo>
                  <a:pt x="2750" y="1088"/>
                  <a:pt x="2750" y="1088"/>
                  <a:pt x="2750" y="1088"/>
                </a:cubicBezTo>
                <a:cubicBezTo>
                  <a:pt x="2749" y="1087"/>
                  <a:pt x="2749" y="1087"/>
                  <a:pt x="2749" y="1087"/>
                </a:cubicBezTo>
                <a:cubicBezTo>
                  <a:pt x="2749" y="1085"/>
                  <a:pt x="2749" y="1085"/>
                  <a:pt x="2749" y="1085"/>
                </a:cubicBezTo>
                <a:cubicBezTo>
                  <a:pt x="2751" y="1084"/>
                  <a:pt x="2751" y="1084"/>
                  <a:pt x="2751" y="1084"/>
                </a:cubicBezTo>
                <a:cubicBezTo>
                  <a:pt x="2752" y="1083"/>
                  <a:pt x="2752" y="1083"/>
                  <a:pt x="2752" y="1083"/>
                </a:cubicBezTo>
                <a:cubicBezTo>
                  <a:pt x="2755" y="1082"/>
                  <a:pt x="2755" y="1082"/>
                  <a:pt x="2755" y="1082"/>
                </a:cubicBezTo>
                <a:cubicBezTo>
                  <a:pt x="2758" y="1082"/>
                  <a:pt x="2758" y="1082"/>
                  <a:pt x="2758" y="1082"/>
                </a:cubicBezTo>
                <a:cubicBezTo>
                  <a:pt x="2759" y="1081"/>
                  <a:pt x="2759" y="1081"/>
                  <a:pt x="2759" y="1081"/>
                </a:cubicBezTo>
                <a:cubicBezTo>
                  <a:pt x="2760" y="1081"/>
                  <a:pt x="2760" y="1081"/>
                  <a:pt x="2760" y="1081"/>
                </a:cubicBezTo>
                <a:cubicBezTo>
                  <a:pt x="2761" y="1081"/>
                  <a:pt x="2761" y="1081"/>
                  <a:pt x="2761" y="1081"/>
                </a:cubicBezTo>
                <a:cubicBezTo>
                  <a:pt x="2762" y="1080"/>
                  <a:pt x="2762" y="1080"/>
                  <a:pt x="2762" y="1080"/>
                </a:cubicBezTo>
                <a:cubicBezTo>
                  <a:pt x="2762" y="1079"/>
                  <a:pt x="2762" y="1079"/>
                  <a:pt x="2762" y="1079"/>
                </a:cubicBezTo>
                <a:cubicBezTo>
                  <a:pt x="2759" y="1079"/>
                  <a:pt x="2759" y="1079"/>
                  <a:pt x="2759" y="1079"/>
                </a:cubicBezTo>
                <a:cubicBezTo>
                  <a:pt x="2758" y="1079"/>
                  <a:pt x="2758" y="1079"/>
                  <a:pt x="2758" y="1079"/>
                </a:cubicBezTo>
                <a:cubicBezTo>
                  <a:pt x="2757" y="1079"/>
                  <a:pt x="2757" y="1079"/>
                  <a:pt x="2757" y="1079"/>
                </a:cubicBezTo>
                <a:cubicBezTo>
                  <a:pt x="2756" y="1079"/>
                  <a:pt x="2756" y="1079"/>
                  <a:pt x="2756" y="1079"/>
                </a:cubicBezTo>
                <a:cubicBezTo>
                  <a:pt x="2755" y="1078"/>
                  <a:pt x="2755" y="1078"/>
                  <a:pt x="2755" y="1078"/>
                </a:cubicBezTo>
                <a:cubicBezTo>
                  <a:pt x="2754" y="1078"/>
                  <a:pt x="2754" y="1078"/>
                  <a:pt x="2754" y="1078"/>
                </a:cubicBezTo>
                <a:cubicBezTo>
                  <a:pt x="2755" y="1077"/>
                  <a:pt x="2755" y="1077"/>
                  <a:pt x="2755" y="1077"/>
                </a:cubicBezTo>
                <a:cubicBezTo>
                  <a:pt x="2754" y="1076"/>
                  <a:pt x="2754" y="1076"/>
                  <a:pt x="2754" y="1076"/>
                </a:cubicBezTo>
                <a:cubicBezTo>
                  <a:pt x="2753" y="1077"/>
                  <a:pt x="2753" y="1077"/>
                  <a:pt x="2753" y="1077"/>
                </a:cubicBezTo>
                <a:cubicBezTo>
                  <a:pt x="2753" y="1076"/>
                  <a:pt x="2753" y="1076"/>
                  <a:pt x="2753" y="1076"/>
                </a:cubicBezTo>
                <a:cubicBezTo>
                  <a:pt x="2751" y="1075"/>
                  <a:pt x="2751" y="1075"/>
                  <a:pt x="2751" y="1075"/>
                </a:cubicBezTo>
                <a:cubicBezTo>
                  <a:pt x="2750" y="1074"/>
                  <a:pt x="2750" y="1074"/>
                  <a:pt x="2750" y="1074"/>
                </a:cubicBezTo>
                <a:cubicBezTo>
                  <a:pt x="2752" y="1073"/>
                  <a:pt x="2752" y="1073"/>
                  <a:pt x="2752" y="1073"/>
                </a:cubicBezTo>
                <a:cubicBezTo>
                  <a:pt x="2752" y="1072"/>
                  <a:pt x="2752" y="1072"/>
                  <a:pt x="2752" y="1072"/>
                </a:cubicBezTo>
                <a:cubicBezTo>
                  <a:pt x="2753" y="1072"/>
                  <a:pt x="2753" y="1072"/>
                  <a:pt x="2753" y="1072"/>
                </a:cubicBezTo>
                <a:cubicBezTo>
                  <a:pt x="2752" y="1071"/>
                  <a:pt x="2752" y="1071"/>
                  <a:pt x="2752" y="1071"/>
                </a:cubicBezTo>
                <a:cubicBezTo>
                  <a:pt x="2753" y="1071"/>
                  <a:pt x="2753" y="1071"/>
                  <a:pt x="2753" y="1071"/>
                </a:cubicBezTo>
                <a:cubicBezTo>
                  <a:pt x="2753" y="1070"/>
                  <a:pt x="2753" y="1070"/>
                  <a:pt x="2753" y="1070"/>
                </a:cubicBezTo>
                <a:cubicBezTo>
                  <a:pt x="2752" y="1069"/>
                  <a:pt x="2752" y="1069"/>
                  <a:pt x="2752" y="1069"/>
                </a:cubicBezTo>
                <a:cubicBezTo>
                  <a:pt x="2751" y="1068"/>
                  <a:pt x="2751" y="1068"/>
                  <a:pt x="2751" y="1068"/>
                </a:cubicBezTo>
                <a:cubicBezTo>
                  <a:pt x="2752" y="1067"/>
                  <a:pt x="2752" y="1067"/>
                  <a:pt x="2752" y="1067"/>
                </a:cubicBezTo>
                <a:cubicBezTo>
                  <a:pt x="2751" y="1066"/>
                  <a:pt x="2751" y="1066"/>
                  <a:pt x="2751" y="1066"/>
                </a:cubicBezTo>
                <a:cubicBezTo>
                  <a:pt x="2750" y="1065"/>
                  <a:pt x="2750" y="1065"/>
                  <a:pt x="2750" y="1065"/>
                </a:cubicBezTo>
                <a:cubicBezTo>
                  <a:pt x="2749" y="1065"/>
                  <a:pt x="2749" y="1065"/>
                  <a:pt x="2749" y="1065"/>
                </a:cubicBezTo>
                <a:cubicBezTo>
                  <a:pt x="2748" y="1063"/>
                  <a:pt x="2748" y="1063"/>
                  <a:pt x="2748" y="1063"/>
                </a:cubicBezTo>
                <a:cubicBezTo>
                  <a:pt x="2745" y="1060"/>
                  <a:pt x="2745" y="1060"/>
                  <a:pt x="2745" y="1060"/>
                </a:cubicBezTo>
                <a:cubicBezTo>
                  <a:pt x="2744" y="1059"/>
                  <a:pt x="2744" y="1059"/>
                  <a:pt x="2744" y="1059"/>
                </a:cubicBezTo>
                <a:cubicBezTo>
                  <a:pt x="2743" y="1057"/>
                  <a:pt x="2743" y="1057"/>
                  <a:pt x="2743" y="1057"/>
                </a:cubicBezTo>
                <a:cubicBezTo>
                  <a:pt x="2743" y="1056"/>
                  <a:pt x="2743" y="1056"/>
                  <a:pt x="2743" y="1056"/>
                </a:cubicBezTo>
                <a:cubicBezTo>
                  <a:pt x="2744" y="1056"/>
                  <a:pt x="2744" y="1056"/>
                  <a:pt x="2744" y="1056"/>
                </a:cubicBezTo>
                <a:cubicBezTo>
                  <a:pt x="2744" y="1057"/>
                  <a:pt x="2744" y="1057"/>
                  <a:pt x="2744" y="1057"/>
                </a:cubicBezTo>
                <a:cubicBezTo>
                  <a:pt x="2746" y="1057"/>
                  <a:pt x="2746" y="1057"/>
                  <a:pt x="2746" y="1057"/>
                </a:cubicBezTo>
                <a:cubicBezTo>
                  <a:pt x="2747" y="1056"/>
                  <a:pt x="2747" y="1056"/>
                  <a:pt x="2747" y="1056"/>
                </a:cubicBezTo>
                <a:cubicBezTo>
                  <a:pt x="2748" y="1055"/>
                  <a:pt x="2748" y="1055"/>
                  <a:pt x="2748" y="1055"/>
                </a:cubicBezTo>
                <a:cubicBezTo>
                  <a:pt x="2752" y="1054"/>
                  <a:pt x="2752" y="1054"/>
                  <a:pt x="2752" y="1054"/>
                </a:cubicBezTo>
                <a:cubicBezTo>
                  <a:pt x="2755" y="1051"/>
                  <a:pt x="2755" y="1051"/>
                  <a:pt x="2755" y="1051"/>
                </a:cubicBezTo>
                <a:cubicBezTo>
                  <a:pt x="2756" y="1049"/>
                  <a:pt x="2756" y="1049"/>
                  <a:pt x="2756" y="1049"/>
                </a:cubicBezTo>
                <a:cubicBezTo>
                  <a:pt x="2758" y="1048"/>
                  <a:pt x="2758" y="1048"/>
                  <a:pt x="2758" y="1048"/>
                </a:cubicBezTo>
                <a:cubicBezTo>
                  <a:pt x="2758" y="1047"/>
                  <a:pt x="2758" y="1047"/>
                  <a:pt x="2758" y="1047"/>
                </a:cubicBezTo>
                <a:cubicBezTo>
                  <a:pt x="2760" y="1046"/>
                  <a:pt x="2760" y="1046"/>
                  <a:pt x="2760" y="1046"/>
                </a:cubicBezTo>
                <a:cubicBezTo>
                  <a:pt x="2762" y="1047"/>
                  <a:pt x="2762" y="1047"/>
                  <a:pt x="2762" y="1047"/>
                </a:cubicBezTo>
                <a:cubicBezTo>
                  <a:pt x="2764" y="1047"/>
                  <a:pt x="2764" y="1047"/>
                  <a:pt x="2764" y="1047"/>
                </a:cubicBezTo>
                <a:cubicBezTo>
                  <a:pt x="2765" y="1045"/>
                  <a:pt x="2765" y="1045"/>
                  <a:pt x="2765" y="1045"/>
                </a:cubicBezTo>
                <a:cubicBezTo>
                  <a:pt x="2765" y="1043"/>
                  <a:pt x="2765" y="1043"/>
                  <a:pt x="2765" y="1043"/>
                </a:cubicBezTo>
                <a:cubicBezTo>
                  <a:pt x="2763" y="1042"/>
                  <a:pt x="2763" y="1042"/>
                  <a:pt x="2763" y="1042"/>
                </a:cubicBezTo>
                <a:cubicBezTo>
                  <a:pt x="2759" y="1043"/>
                  <a:pt x="2759" y="1043"/>
                  <a:pt x="2759" y="1043"/>
                </a:cubicBezTo>
                <a:cubicBezTo>
                  <a:pt x="2757" y="1044"/>
                  <a:pt x="2757" y="1044"/>
                  <a:pt x="2757" y="1044"/>
                </a:cubicBezTo>
                <a:cubicBezTo>
                  <a:pt x="2754" y="1044"/>
                  <a:pt x="2754" y="1044"/>
                  <a:pt x="2754" y="1044"/>
                </a:cubicBezTo>
                <a:cubicBezTo>
                  <a:pt x="2752" y="1045"/>
                  <a:pt x="2752" y="1045"/>
                  <a:pt x="2752" y="1045"/>
                </a:cubicBezTo>
                <a:cubicBezTo>
                  <a:pt x="2750" y="1046"/>
                  <a:pt x="2750" y="1046"/>
                  <a:pt x="2750" y="1046"/>
                </a:cubicBezTo>
                <a:cubicBezTo>
                  <a:pt x="2749" y="1046"/>
                  <a:pt x="2749" y="1046"/>
                  <a:pt x="2749" y="1046"/>
                </a:cubicBezTo>
                <a:cubicBezTo>
                  <a:pt x="2747" y="1047"/>
                  <a:pt x="2747" y="1047"/>
                  <a:pt x="2747" y="1047"/>
                </a:cubicBezTo>
                <a:cubicBezTo>
                  <a:pt x="2745" y="1046"/>
                  <a:pt x="2745" y="1046"/>
                  <a:pt x="2745" y="1046"/>
                </a:cubicBezTo>
                <a:cubicBezTo>
                  <a:pt x="2743" y="1045"/>
                  <a:pt x="2743" y="1045"/>
                  <a:pt x="2743" y="1045"/>
                </a:cubicBezTo>
                <a:cubicBezTo>
                  <a:pt x="2741" y="1048"/>
                  <a:pt x="2741" y="1048"/>
                  <a:pt x="2741" y="1048"/>
                </a:cubicBezTo>
                <a:cubicBezTo>
                  <a:pt x="2740" y="1051"/>
                  <a:pt x="2740" y="1051"/>
                  <a:pt x="2740" y="1051"/>
                </a:cubicBezTo>
                <a:cubicBezTo>
                  <a:pt x="2738" y="1052"/>
                  <a:pt x="2738" y="1052"/>
                  <a:pt x="2738" y="1052"/>
                </a:cubicBezTo>
                <a:cubicBezTo>
                  <a:pt x="2736" y="1052"/>
                  <a:pt x="2736" y="1052"/>
                  <a:pt x="2736" y="1052"/>
                </a:cubicBezTo>
                <a:cubicBezTo>
                  <a:pt x="2735" y="1051"/>
                  <a:pt x="2735" y="1051"/>
                  <a:pt x="2735" y="1051"/>
                </a:cubicBezTo>
                <a:cubicBezTo>
                  <a:pt x="2733" y="1048"/>
                  <a:pt x="2733" y="1048"/>
                  <a:pt x="2733" y="1048"/>
                </a:cubicBezTo>
                <a:cubicBezTo>
                  <a:pt x="2730" y="1046"/>
                  <a:pt x="2730" y="1046"/>
                  <a:pt x="2730" y="1046"/>
                </a:cubicBezTo>
                <a:cubicBezTo>
                  <a:pt x="2729" y="1042"/>
                  <a:pt x="2729" y="1042"/>
                  <a:pt x="2729" y="1042"/>
                </a:cubicBezTo>
                <a:cubicBezTo>
                  <a:pt x="2729" y="1038"/>
                  <a:pt x="2729" y="1038"/>
                  <a:pt x="2729" y="1038"/>
                </a:cubicBezTo>
                <a:cubicBezTo>
                  <a:pt x="2731" y="1034"/>
                  <a:pt x="2731" y="1034"/>
                  <a:pt x="2731" y="1034"/>
                </a:cubicBezTo>
                <a:cubicBezTo>
                  <a:pt x="2733" y="1032"/>
                  <a:pt x="2733" y="1032"/>
                  <a:pt x="2733" y="1032"/>
                </a:cubicBezTo>
                <a:cubicBezTo>
                  <a:pt x="2735" y="1032"/>
                  <a:pt x="2735" y="1032"/>
                  <a:pt x="2735" y="1032"/>
                </a:cubicBezTo>
                <a:cubicBezTo>
                  <a:pt x="2738" y="1033"/>
                  <a:pt x="2738" y="1033"/>
                  <a:pt x="2738" y="1033"/>
                </a:cubicBezTo>
                <a:cubicBezTo>
                  <a:pt x="2741" y="1033"/>
                  <a:pt x="2741" y="1033"/>
                  <a:pt x="2741" y="1033"/>
                </a:cubicBezTo>
                <a:cubicBezTo>
                  <a:pt x="2745" y="1031"/>
                  <a:pt x="2745" y="1031"/>
                  <a:pt x="2745" y="1031"/>
                </a:cubicBezTo>
                <a:cubicBezTo>
                  <a:pt x="2747" y="1031"/>
                  <a:pt x="2747" y="1031"/>
                  <a:pt x="2747" y="1031"/>
                </a:cubicBezTo>
                <a:cubicBezTo>
                  <a:pt x="2748" y="1033"/>
                  <a:pt x="2748" y="1033"/>
                  <a:pt x="2748" y="1033"/>
                </a:cubicBezTo>
                <a:cubicBezTo>
                  <a:pt x="2750" y="1033"/>
                  <a:pt x="2750" y="1033"/>
                  <a:pt x="2750" y="1033"/>
                </a:cubicBezTo>
                <a:cubicBezTo>
                  <a:pt x="2751" y="1032"/>
                  <a:pt x="2751" y="1032"/>
                  <a:pt x="2751" y="1032"/>
                </a:cubicBezTo>
                <a:cubicBezTo>
                  <a:pt x="2756" y="1032"/>
                  <a:pt x="2756" y="1032"/>
                  <a:pt x="2756" y="1032"/>
                </a:cubicBezTo>
                <a:cubicBezTo>
                  <a:pt x="2758" y="1032"/>
                  <a:pt x="2758" y="1032"/>
                  <a:pt x="2758" y="1032"/>
                </a:cubicBezTo>
                <a:cubicBezTo>
                  <a:pt x="2758" y="1032"/>
                  <a:pt x="2758" y="1032"/>
                  <a:pt x="2758" y="1032"/>
                </a:cubicBezTo>
                <a:cubicBezTo>
                  <a:pt x="2761" y="1032"/>
                  <a:pt x="2761" y="1032"/>
                  <a:pt x="2761" y="1032"/>
                </a:cubicBezTo>
                <a:cubicBezTo>
                  <a:pt x="2762" y="1033"/>
                  <a:pt x="2762" y="1033"/>
                  <a:pt x="2762" y="1033"/>
                </a:cubicBezTo>
                <a:cubicBezTo>
                  <a:pt x="2763" y="1034"/>
                  <a:pt x="2763" y="1034"/>
                  <a:pt x="2763" y="1034"/>
                </a:cubicBezTo>
                <a:cubicBezTo>
                  <a:pt x="2765" y="1034"/>
                  <a:pt x="2765" y="1034"/>
                  <a:pt x="2765" y="1034"/>
                </a:cubicBezTo>
                <a:cubicBezTo>
                  <a:pt x="2772" y="1033"/>
                  <a:pt x="2772" y="1033"/>
                  <a:pt x="2772" y="1033"/>
                </a:cubicBezTo>
                <a:lnTo>
                  <a:pt x="2776" y="1030"/>
                </a:lnTo>
                <a:close/>
                <a:moveTo>
                  <a:pt x="2727" y="889"/>
                </a:moveTo>
                <a:cubicBezTo>
                  <a:pt x="2725" y="887"/>
                  <a:pt x="2725" y="887"/>
                  <a:pt x="2725" y="887"/>
                </a:cubicBezTo>
                <a:cubicBezTo>
                  <a:pt x="2724" y="887"/>
                  <a:pt x="2724" y="887"/>
                  <a:pt x="2724" y="887"/>
                </a:cubicBezTo>
                <a:cubicBezTo>
                  <a:pt x="2724" y="889"/>
                  <a:pt x="2724" y="889"/>
                  <a:pt x="2724" y="889"/>
                </a:cubicBezTo>
                <a:cubicBezTo>
                  <a:pt x="2726" y="890"/>
                  <a:pt x="2726" y="890"/>
                  <a:pt x="2726" y="890"/>
                </a:cubicBezTo>
                <a:lnTo>
                  <a:pt x="2727" y="889"/>
                </a:lnTo>
                <a:close/>
                <a:moveTo>
                  <a:pt x="2722" y="905"/>
                </a:moveTo>
                <a:cubicBezTo>
                  <a:pt x="2722" y="906"/>
                  <a:pt x="2722" y="906"/>
                  <a:pt x="2722" y="906"/>
                </a:cubicBezTo>
                <a:cubicBezTo>
                  <a:pt x="2723" y="907"/>
                  <a:pt x="2723" y="907"/>
                  <a:pt x="2723" y="907"/>
                </a:cubicBezTo>
                <a:cubicBezTo>
                  <a:pt x="2725" y="907"/>
                  <a:pt x="2725" y="907"/>
                  <a:pt x="2725" y="907"/>
                </a:cubicBezTo>
                <a:cubicBezTo>
                  <a:pt x="2727" y="908"/>
                  <a:pt x="2727" y="908"/>
                  <a:pt x="2727" y="908"/>
                </a:cubicBezTo>
                <a:cubicBezTo>
                  <a:pt x="2728" y="907"/>
                  <a:pt x="2728" y="907"/>
                  <a:pt x="2728" y="907"/>
                </a:cubicBezTo>
                <a:cubicBezTo>
                  <a:pt x="2727" y="906"/>
                  <a:pt x="2727" y="906"/>
                  <a:pt x="2727" y="906"/>
                </a:cubicBezTo>
                <a:cubicBezTo>
                  <a:pt x="2725" y="906"/>
                  <a:pt x="2725" y="906"/>
                  <a:pt x="2725" y="906"/>
                </a:cubicBezTo>
                <a:cubicBezTo>
                  <a:pt x="2724" y="904"/>
                  <a:pt x="2724" y="904"/>
                  <a:pt x="2724" y="904"/>
                </a:cubicBezTo>
                <a:cubicBezTo>
                  <a:pt x="2722" y="904"/>
                  <a:pt x="2722" y="904"/>
                  <a:pt x="2722" y="904"/>
                </a:cubicBezTo>
                <a:lnTo>
                  <a:pt x="2722" y="905"/>
                </a:lnTo>
                <a:close/>
                <a:moveTo>
                  <a:pt x="2740" y="895"/>
                </a:moveTo>
                <a:cubicBezTo>
                  <a:pt x="2738" y="895"/>
                  <a:pt x="2738" y="895"/>
                  <a:pt x="2738" y="895"/>
                </a:cubicBezTo>
                <a:cubicBezTo>
                  <a:pt x="2734" y="891"/>
                  <a:pt x="2734" y="891"/>
                  <a:pt x="2734" y="891"/>
                </a:cubicBezTo>
                <a:cubicBezTo>
                  <a:pt x="2731" y="891"/>
                  <a:pt x="2731" y="891"/>
                  <a:pt x="2731" y="891"/>
                </a:cubicBezTo>
                <a:cubicBezTo>
                  <a:pt x="2729" y="891"/>
                  <a:pt x="2729" y="891"/>
                  <a:pt x="2729" y="891"/>
                </a:cubicBezTo>
                <a:cubicBezTo>
                  <a:pt x="2727" y="892"/>
                  <a:pt x="2727" y="892"/>
                  <a:pt x="2727" y="892"/>
                </a:cubicBezTo>
                <a:cubicBezTo>
                  <a:pt x="2727" y="892"/>
                  <a:pt x="2727" y="892"/>
                  <a:pt x="2727" y="892"/>
                </a:cubicBezTo>
                <a:cubicBezTo>
                  <a:pt x="2729" y="892"/>
                  <a:pt x="2729" y="892"/>
                  <a:pt x="2729" y="892"/>
                </a:cubicBezTo>
                <a:cubicBezTo>
                  <a:pt x="2729" y="895"/>
                  <a:pt x="2729" y="895"/>
                  <a:pt x="2729" y="895"/>
                </a:cubicBezTo>
                <a:cubicBezTo>
                  <a:pt x="2731" y="895"/>
                  <a:pt x="2731" y="895"/>
                  <a:pt x="2731" y="895"/>
                </a:cubicBezTo>
                <a:cubicBezTo>
                  <a:pt x="2732" y="897"/>
                  <a:pt x="2732" y="897"/>
                  <a:pt x="2732" y="897"/>
                </a:cubicBezTo>
                <a:cubicBezTo>
                  <a:pt x="2732" y="900"/>
                  <a:pt x="2732" y="900"/>
                  <a:pt x="2732" y="900"/>
                </a:cubicBezTo>
                <a:cubicBezTo>
                  <a:pt x="2734" y="901"/>
                  <a:pt x="2734" y="901"/>
                  <a:pt x="2734" y="901"/>
                </a:cubicBezTo>
                <a:cubicBezTo>
                  <a:pt x="2734" y="903"/>
                  <a:pt x="2734" y="903"/>
                  <a:pt x="2734" y="903"/>
                </a:cubicBezTo>
                <a:cubicBezTo>
                  <a:pt x="2736" y="905"/>
                  <a:pt x="2736" y="905"/>
                  <a:pt x="2736" y="905"/>
                </a:cubicBezTo>
                <a:cubicBezTo>
                  <a:pt x="2737" y="906"/>
                  <a:pt x="2737" y="906"/>
                  <a:pt x="2737" y="906"/>
                </a:cubicBezTo>
                <a:cubicBezTo>
                  <a:pt x="2739" y="904"/>
                  <a:pt x="2739" y="904"/>
                  <a:pt x="2739" y="904"/>
                </a:cubicBezTo>
                <a:cubicBezTo>
                  <a:pt x="2739" y="903"/>
                  <a:pt x="2739" y="903"/>
                  <a:pt x="2739" y="903"/>
                </a:cubicBezTo>
                <a:cubicBezTo>
                  <a:pt x="2740" y="902"/>
                  <a:pt x="2740" y="902"/>
                  <a:pt x="2740" y="902"/>
                </a:cubicBezTo>
                <a:cubicBezTo>
                  <a:pt x="2740" y="900"/>
                  <a:pt x="2740" y="900"/>
                  <a:pt x="2740" y="900"/>
                </a:cubicBezTo>
                <a:cubicBezTo>
                  <a:pt x="2739" y="899"/>
                  <a:pt x="2739" y="899"/>
                  <a:pt x="2739" y="899"/>
                </a:cubicBezTo>
                <a:cubicBezTo>
                  <a:pt x="2740" y="897"/>
                  <a:pt x="2740" y="897"/>
                  <a:pt x="2740" y="897"/>
                </a:cubicBezTo>
                <a:lnTo>
                  <a:pt x="2740" y="895"/>
                </a:lnTo>
                <a:close/>
                <a:moveTo>
                  <a:pt x="2743" y="1147"/>
                </a:moveTo>
                <a:cubicBezTo>
                  <a:pt x="2742" y="1149"/>
                  <a:pt x="2742" y="1149"/>
                  <a:pt x="2742" y="1149"/>
                </a:cubicBezTo>
                <a:cubicBezTo>
                  <a:pt x="2744" y="1149"/>
                  <a:pt x="2744" y="1149"/>
                  <a:pt x="2744" y="1149"/>
                </a:cubicBezTo>
                <a:cubicBezTo>
                  <a:pt x="2746" y="1148"/>
                  <a:pt x="2746" y="1148"/>
                  <a:pt x="2746" y="1148"/>
                </a:cubicBezTo>
                <a:cubicBezTo>
                  <a:pt x="2745" y="1147"/>
                  <a:pt x="2745" y="1147"/>
                  <a:pt x="2745" y="1147"/>
                </a:cubicBezTo>
                <a:cubicBezTo>
                  <a:pt x="2744" y="1146"/>
                  <a:pt x="2744" y="1146"/>
                  <a:pt x="2744" y="1146"/>
                </a:cubicBezTo>
                <a:lnTo>
                  <a:pt x="2743" y="1147"/>
                </a:lnTo>
                <a:close/>
                <a:moveTo>
                  <a:pt x="2815" y="1074"/>
                </a:moveTo>
                <a:cubicBezTo>
                  <a:pt x="2814" y="1074"/>
                  <a:pt x="2814" y="1074"/>
                  <a:pt x="2814" y="1074"/>
                </a:cubicBezTo>
                <a:cubicBezTo>
                  <a:pt x="2814" y="1075"/>
                  <a:pt x="2814" y="1075"/>
                  <a:pt x="2814" y="1075"/>
                </a:cubicBezTo>
                <a:cubicBezTo>
                  <a:pt x="2815" y="1075"/>
                  <a:pt x="2815" y="1075"/>
                  <a:pt x="2815" y="1075"/>
                </a:cubicBezTo>
                <a:lnTo>
                  <a:pt x="2815" y="1074"/>
                </a:lnTo>
                <a:close/>
                <a:moveTo>
                  <a:pt x="2749" y="1128"/>
                </a:moveTo>
                <a:cubicBezTo>
                  <a:pt x="2751" y="1129"/>
                  <a:pt x="2751" y="1129"/>
                  <a:pt x="2751" y="1129"/>
                </a:cubicBezTo>
                <a:cubicBezTo>
                  <a:pt x="2752" y="1128"/>
                  <a:pt x="2752" y="1128"/>
                  <a:pt x="2752" y="1128"/>
                </a:cubicBezTo>
                <a:cubicBezTo>
                  <a:pt x="2754" y="1127"/>
                  <a:pt x="2754" y="1127"/>
                  <a:pt x="2754" y="1127"/>
                </a:cubicBezTo>
                <a:cubicBezTo>
                  <a:pt x="2755" y="1126"/>
                  <a:pt x="2755" y="1126"/>
                  <a:pt x="2755" y="1126"/>
                </a:cubicBezTo>
                <a:cubicBezTo>
                  <a:pt x="2757" y="1125"/>
                  <a:pt x="2757" y="1125"/>
                  <a:pt x="2757" y="1125"/>
                </a:cubicBezTo>
                <a:cubicBezTo>
                  <a:pt x="2758" y="1123"/>
                  <a:pt x="2758" y="1123"/>
                  <a:pt x="2758" y="1123"/>
                </a:cubicBezTo>
                <a:cubicBezTo>
                  <a:pt x="2757" y="1121"/>
                  <a:pt x="2757" y="1121"/>
                  <a:pt x="2757" y="1121"/>
                </a:cubicBezTo>
                <a:cubicBezTo>
                  <a:pt x="2755" y="1121"/>
                  <a:pt x="2755" y="1121"/>
                  <a:pt x="2755" y="1121"/>
                </a:cubicBezTo>
                <a:cubicBezTo>
                  <a:pt x="2754" y="1122"/>
                  <a:pt x="2754" y="1122"/>
                  <a:pt x="2754" y="1122"/>
                </a:cubicBezTo>
                <a:cubicBezTo>
                  <a:pt x="2754" y="1122"/>
                  <a:pt x="2754" y="1122"/>
                  <a:pt x="2754" y="1122"/>
                </a:cubicBezTo>
                <a:cubicBezTo>
                  <a:pt x="2753" y="1124"/>
                  <a:pt x="2753" y="1124"/>
                  <a:pt x="2753" y="1124"/>
                </a:cubicBezTo>
                <a:cubicBezTo>
                  <a:pt x="2751" y="1124"/>
                  <a:pt x="2751" y="1124"/>
                  <a:pt x="2751" y="1124"/>
                </a:cubicBezTo>
                <a:cubicBezTo>
                  <a:pt x="2750" y="1126"/>
                  <a:pt x="2750" y="1126"/>
                  <a:pt x="2750" y="1126"/>
                </a:cubicBezTo>
                <a:cubicBezTo>
                  <a:pt x="2748" y="1126"/>
                  <a:pt x="2748" y="1126"/>
                  <a:pt x="2748" y="1126"/>
                </a:cubicBezTo>
                <a:cubicBezTo>
                  <a:pt x="2747" y="1125"/>
                  <a:pt x="2747" y="1125"/>
                  <a:pt x="2747" y="1125"/>
                </a:cubicBezTo>
                <a:cubicBezTo>
                  <a:pt x="2744" y="1125"/>
                  <a:pt x="2744" y="1125"/>
                  <a:pt x="2744" y="1125"/>
                </a:cubicBezTo>
                <a:cubicBezTo>
                  <a:pt x="2742" y="1126"/>
                  <a:pt x="2742" y="1126"/>
                  <a:pt x="2742" y="1126"/>
                </a:cubicBezTo>
                <a:cubicBezTo>
                  <a:pt x="2739" y="1124"/>
                  <a:pt x="2739" y="1124"/>
                  <a:pt x="2739" y="1124"/>
                </a:cubicBezTo>
                <a:cubicBezTo>
                  <a:pt x="2736" y="1123"/>
                  <a:pt x="2736" y="1123"/>
                  <a:pt x="2736" y="1123"/>
                </a:cubicBezTo>
                <a:cubicBezTo>
                  <a:pt x="2735" y="1124"/>
                  <a:pt x="2735" y="1124"/>
                  <a:pt x="2735" y="1124"/>
                </a:cubicBezTo>
                <a:cubicBezTo>
                  <a:pt x="2732" y="1123"/>
                  <a:pt x="2732" y="1123"/>
                  <a:pt x="2732" y="1123"/>
                </a:cubicBezTo>
                <a:cubicBezTo>
                  <a:pt x="2727" y="1124"/>
                  <a:pt x="2727" y="1124"/>
                  <a:pt x="2727" y="1124"/>
                </a:cubicBezTo>
                <a:cubicBezTo>
                  <a:pt x="2724" y="1125"/>
                  <a:pt x="2724" y="1125"/>
                  <a:pt x="2724" y="1125"/>
                </a:cubicBezTo>
                <a:cubicBezTo>
                  <a:pt x="2724" y="1125"/>
                  <a:pt x="2724" y="1127"/>
                  <a:pt x="2724" y="1127"/>
                </a:cubicBezTo>
                <a:cubicBezTo>
                  <a:pt x="2724" y="1129"/>
                  <a:pt x="2724" y="1129"/>
                  <a:pt x="2724" y="1129"/>
                </a:cubicBezTo>
                <a:cubicBezTo>
                  <a:pt x="2726" y="1129"/>
                  <a:pt x="2726" y="1129"/>
                  <a:pt x="2726" y="1129"/>
                </a:cubicBezTo>
                <a:cubicBezTo>
                  <a:pt x="2728" y="1129"/>
                  <a:pt x="2728" y="1129"/>
                  <a:pt x="2728" y="1129"/>
                </a:cubicBezTo>
                <a:cubicBezTo>
                  <a:pt x="2729" y="1129"/>
                  <a:pt x="2729" y="1129"/>
                  <a:pt x="2729" y="1129"/>
                </a:cubicBezTo>
                <a:cubicBezTo>
                  <a:pt x="2730" y="1129"/>
                  <a:pt x="2730" y="1129"/>
                  <a:pt x="2730" y="1129"/>
                </a:cubicBezTo>
                <a:cubicBezTo>
                  <a:pt x="2732" y="1129"/>
                  <a:pt x="2732" y="1129"/>
                  <a:pt x="2732" y="1129"/>
                </a:cubicBezTo>
                <a:cubicBezTo>
                  <a:pt x="2733" y="1130"/>
                  <a:pt x="2733" y="1130"/>
                  <a:pt x="2733" y="1130"/>
                </a:cubicBezTo>
                <a:cubicBezTo>
                  <a:pt x="2735" y="1130"/>
                  <a:pt x="2735" y="1130"/>
                  <a:pt x="2735" y="1130"/>
                </a:cubicBezTo>
                <a:cubicBezTo>
                  <a:pt x="2736" y="1130"/>
                  <a:pt x="2736" y="1130"/>
                  <a:pt x="2736" y="1130"/>
                </a:cubicBezTo>
                <a:cubicBezTo>
                  <a:pt x="2738" y="1130"/>
                  <a:pt x="2738" y="1130"/>
                  <a:pt x="2738" y="1130"/>
                </a:cubicBezTo>
                <a:cubicBezTo>
                  <a:pt x="2738" y="1130"/>
                  <a:pt x="2738" y="1130"/>
                  <a:pt x="2738" y="1130"/>
                </a:cubicBezTo>
                <a:cubicBezTo>
                  <a:pt x="2740" y="1129"/>
                  <a:pt x="2740" y="1129"/>
                  <a:pt x="2740" y="1129"/>
                </a:cubicBezTo>
                <a:cubicBezTo>
                  <a:pt x="2744" y="1129"/>
                  <a:pt x="2744" y="1129"/>
                  <a:pt x="2744" y="1129"/>
                </a:cubicBezTo>
                <a:cubicBezTo>
                  <a:pt x="2746" y="1128"/>
                  <a:pt x="2746" y="1128"/>
                  <a:pt x="2746" y="1128"/>
                </a:cubicBezTo>
                <a:lnTo>
                  <a:pt x="2749" y="1128"/>
                </a:lnTo>
                <a:close/>
                <a:moveTo>
                  <a:pt x="2693" y="1131"/>
                </a:moveTo>
                <a:cubicBezTo>
                  <a:pt x="2695" y="1132"/>
                  <a:pt x="2695" y="1132"/>
                  <a:pt x="2695" y="1132"/>
                </a:cubicBezTo>
                <a:cubicBezTo>
                  <a:pt x="2698" y="1131"/>
                  <a:pt x="2698" y="1131"/>
                  <a:pt x="2698" y="1131"/>
                </a:cubicBezTo>
                <a:cubicBezTo>
                  <a:pt x="2699" y="1132"/>
                  <a:pt x="2699" y="1132"/>
                  <a:pt x="2699" y="1132"/>
                </a:cubicBezTo>
                <a:cubicBezTo>
                  <a:pt x="2701" y="1131"/>
                  <a:pt x="2701" y="1131"/>
                  <a:pt x="2701" y="1131"/>
                </a:cubicBezTo>
                <a:cubicBezTo>
                  <a:pt x="2702" y="1130"/>
                  <a:pt x="2702" y="1130"/>
                  <a:pt x="2702" y="1130"/>
                </a:cubicBezTo>
                <a:cubicBezTo>
                  <a:pt x="2704" y="1131"/>
                  <a:pt x="2704" y="1131"/>
                  <a:pt x="2704" y="1131"/>
                </a:cubicBezTo>
                <a:cubicBezTo>
                  <a:pt x="2706" y="1130"/>
                  <a:pt x="2706" y="1130"/>
                  <a:pt x="2706" y="1130"/>
                </a:cubicBezTo>
                <a:cubicBezTo>
                  <a:pt x="2708" y="1130"/>
                  <a:pt x="2708" y="1130"/>
                  <a:pt x="2708" y="1130"/>
                </a:cubicBezTo>
                <a:cubicBezTo>
                  <a:pt x="2711" y="1128"/>
                  <a:pt x="2711" y="1128"/>
                  <a:pt x="2711" y="1128"/>
                </a:cubicBezTo>
                <a:cubicBezTo>
                  <a:pt x="2711" y="1130"/>
                  <a:pt x="2711" y="1130"/>
                  <a:pt x="2711" y="1130"/>
                </a:cubicBezTo>
                <a:cubicBezTo>
                  <a:pt x="2713" y="1129"/>
                  <a:pt x="2713" y="1129"/>
                  <a:pt x="2713" y="1129"/>
                </a:cubicBezTo>
                <a:cubicBezTo>
                  <a:pt x="2716" y="1130"/>
                  <a:pt x="2716" y="1130"/>
                  <a:pt x="2716" y="1130"/>
                </a:cubicBezTo>
                <a:cubicBezTo>
                  <a:pt x="2715" y="1129"/>
                  <a:pt x="2715" y="1129"/>
                  <a:pt x="2715" y="1129"/>
                </a:cubicBezTo>
                <a:cubicBezTo>
                  <a:pt x="2717" y="1129"/>
                  <a:pt x="2717" y="1129"/>
                  <a:pt x="2717" y="1129"/>
                </a:cubicBezTo>
                <a:cubicBezTo>
                  <a:pt x="2718" y="1126"/>
                  <a:pt x="2718" y="1126"/>
                  <a:pt x="2718" y="1126"/>
                </a:cubicBezTo>
                <a:cubicBezTo>
                  <a:pt x="2717" y="1127"/>
                  <a:pt x="2717" y="1127"/>
                  <a:pt x="2717" y="1127"/>
                </a:cubicBezTo>
                <a:cubicBezTo>
                  <a:pt x="2716" y="1126"/>
                  <a:pt x="2716" y="1126"/>
                  <a:pt x="2716" y="1126"/>
                </a:cubicBezTo>
                <a:cubicBezTo>
                  <a:pt x="2716" y="1124"/>
                  <a:pt x="2716" y="1124"/>
                  <a:pt x="2716" y="1124"/>
                </a:cubicBezTo>
                <a:cubicBezTo>
                  <a:pt x="2714" y="1123"/>
                  <a:pt x="2714" y="1123"/>
                  <a:pt x="2714" y="1123"/>
                </a:cubicBezTo>
                <a:cubicBezTo>
                  <a:pt x="2715" y="1125"/>
                  <a:pt x="2715" y="1125"/>
                  <a:pt x="2715" y="1125"/>
                </a:cubicBezTo>
                <a:cubicBezTo>
                  <a:pt x="2714" y="1125"/>
                  <a:pt x="2714" y="1125"/>
                  <a:pt x="2714" y="1125"/>
                </a:cubicBezTo>
                <a:cubicBezTo>
                  <a:pt x="2713" y="1124"/>
                  <a:pt x="2713" y="1124"/>
                  <a:pt x="2713" y="1124"/>
                </a:cubicBezTo>
                <a:cubicBezTo>
                  <a:pt x="2711" y="1122"/>
                  <a:pt x="2711" y="1122"/>
                  <a:pt x="2711" y="1122"/>
                </a:cubicBezTo>
                <a:cubicBezTo>
                  <a:pt x="2709" y="1123"/>
                  <a:pt x="2709" y="1123"/>
                  <a:pt x="2709" y="1123"/>
                </a:cubicBezTo>
                <a:cubicBezTo>
                  <a:pt x="2707" y="1122"/>
                  <a:pt x="2707" y="1122"/>
                  <a:pt x="2707" y="1122"/>
                </a:cubicBezTo>
                <a:cubicBezTo>
                  <a:pt x="2706" y="1121"/>
                  <a:pt x="2706" y="1121"/>
                  <a:pt x="2706" y="1121"/>
                </a:cubicBezTo>
                <a:cubicBezTo>
                  <a:pt x="2703" y="1123"/>
                  <a:pt x="2703" y="1123"/>
                  <a:pt x="2703" y="1123"/>
                </a:cubicBezTo>
                <a:cubicBezTo>
                  <a:pt x="2703" y="1124"/>
                  <a:pt x="2703" y="1124"/>
                  <a:pt x="2703" y="1124"/>
                </a:cubicBezTo>
                <a:cubicBezTo>
                  <a:pt x="2707" y="1125"/>
                  <a:pt x="2707" y="1125"/>
                  <a:pt x="2707" y="1125"/>
                </a:cubicBezTo>
                <a:cubicBezTo>
                  <a:pt x="2709" y="1127"/>
                  <a:pt x="2709" y="1127"/>
                  <a:pt x="2709" y="1127"/>
                </a:cubicBezTo>
                <a:cubicBezTo>
                  <a:pt x="2706" y="1127"/>
                  <a:pt x="2706" y="1127"/>
                  <a:pt x="2706" y="1127"/>
                </a:cubicBezTo>
                <a:cubicBezTo>
                  <a:pt x="2705" y="1128"/>
                  <a:pt x="2705" y="1128"/>
                  <a:pt x="2705" y="1128"/>
                </a:cubicBezTo>
                <a:cubicBezTo>
                  <a:pt x="2702" y="1127"/>
                  <a:pt x="2702" y="1127"/>
                  <a:pt x="2702" y="1127"/>
                </a:cubicBezTo>
                <a:cubicBezTo>
                  <a:pt x="2702" y="1125"/>
                  <a:pt x="2702" y="1125"/>
                  <a:pt x="2702" y="1125"/>
                </a:cubicBezTo>
                <a:cubicBezTo>
                  <a:pt x="2700" y="1125"/>
                  <a:pt x="2700" y="1125"/>
                  <a:pt x="2700" y="1125"/>
                </a:cubicBezTo>
                <a:cubicBezTo>
                  <a:pt x="2699" y="1125"/>
                  <a:pt x="2699" y="1125"/>
                  <a:pt x="2699" y="1125"/>
                </a:cubicBezTo>
                <a:cubicBezTo>
                  <a:pt x="2697" y="1125"/>
                  <a:pt x="2697" y="1125"/>
                  <a:pt x="2697" y="1125"/>
                </a:cubicBezTo>
                <a:cubicBezTo>
                  <a:pt x="2694" y="1126"/>
                  <a:pt x="2694" y="1126"/>
                  <a:pt x="2694" y="1126"/>
                </a:cubicBezTo>
                <a:cubicBezTo>
                  <a:pt x="2694" y="1126"/>
                  <a:pt x="2693" y="1127"/>
                  <a:pt x="2693" y="1127"/>
                </a:cubicBezTo>
                <a:cubicBezTo>
                  <a:pt x="2692" y="1129"/>
                  <a:pt x="2692" y="1129"/>
                  <a:pt x="2692" y="1129"/>
                </a:cubicBezTo>
                <a:cubicBezTo>
                  <a:pt x="2693" y="1129"/>
                  <a:pt x="2693" y="1129"/>
                  <a:pt x="2693" y="1129"/>
                </a:cubicBezTo>
                <a:cubicBezTo>
                  <a:pt x="2693" y="1130"/>
                  <a:pt x="2693" y="1130"/>
                  <a:pt x="2693" y="1130"/>
                </a:cubicBezTo>
                <a:lnTo>
                  <a:pt x="2693" y="1131"/>
                </a:lnTo>
                <a:close/>
                <a:moveTo>
                  <a:pt x="2875" y="1094"/>
                </a:moveTo>
                <a:cubicBezTo>
                  <a:pt x="2874" y="1095"/>
                  <a:pt x="2874" y="1095"/>
                  <a:pt x="2874" y="1095"/>
                </a:cubicBezTo>
                <a:cubicBezTo>
                  <a:pt x="2873" y="1095"/>
                  <a:pt x="2873" y="1095"/>
                  <a:pt x="2873" y="1095"/>
                </a:cubicBezTo>
                <a:cubicBezTo>
                  <a:pt x="2874" y="1096"/>
                  <a:pt x="2874" y="1096"/>
                  <a:pt x="2874" y="1096"/>
                </a:cubicBezTo>
                <a:cubicBezTo>
                  <a:pt x="2874" y="1096"/>
                  <a:pt x="2874" y="1096"/>
                  <a:pt x="2874" y="1096"/>
                </a:cubicBezTo>
                <a:cubicBezTo>
                  <a:pt x="2875" y="1096"/>
                  <a:pt x="2875" y="1096"/>
                  <a:pt x="2875" y="1096"/>
                </a:cubicBezTo>
                <a:cubicBezTo>
                  <a:pt x="2874" y="1097"/>
                  <a:pt x="2874" y="1097"/>
                  <a:pt x="2874" y="1097"/>
                </a:cubicBezTo>
                <a:cubicBezTo>
                  <a:pt x="2874" y="1098"/>
                  <a:pt x="2874" y="1098"/>
                  <a:pt x="2874" y="1098"/>
                </a:cubicBezTo>
                <a:cubicBezTo>
                  <a:pt x="2875" y="1098"/>
                  <a:pt x="2875" y="1098"/>
                  <a:pt x="2875" y="1098"/>
                </a:cubicBezTo>
                <a:cubicBezTo>
                  <a:pt x="2876" y="1097"/>
                  <a:pt x="2876" y="1097"/>
                  <a:pt x="2876" y="1097"/>
                </a:cubicBezTo>
                <a:cubicBezTo>
                  <a:pt x="2877" y="1097"/>
                  <a:pt x="2877" y="1097"/>
                  <a:pt x="2877" y="1097"/>
                </a:cubicBezTo>
                <a:cubicBezTo>
                  <a:pt x="2878" y="1096"/>
                  <a:pt x="2878" y="1096"/>
                  <a:pt x="2878" y="1096"/>
                </a:cubicBezTo>
                <a:cubicBezTo>
                  <a:pt x="2878" y="1095"/>
                  <a:pt x="2878" y="1095"/>
                  <a:pt x="2878" y="1095"/>
                </a:cubicBezTo>
                <a:cubicBezTo>
                  <a:pt x="2877" y="1095"/>
                  <a:pt x="2877" y="1095"/>
                  <a:pt x="2877" y="1095"/>
                </a:cubicBezTo>
                <a:cubicBezTo>
                  <a:pt x="2876" y="1094"/>
                  <a:pt x="2876" y="1094"/>
                  <a:pt x="2876" y="1094"/>
                </a:cubicBezTo>
                <a:lnTo>
                  <a:pt x="2875" y="1094"/>
                </a:lnTo>
                <a:close/>
                <a:moveTo>
                  <a:pt x="2877" y="1105"/>
                </a:moveTo>
                <a:cubicBezTo>
                  <a:pt x="2877" y="1104"/>
                  <a:pt x="2877" y="1104"/>
                  <a:pt x="2877" y="1104"/>
                </a:cubicBezTo>
                <a:cubicBezTo>
                  <a:pt x="2876" y="1103"/>
                  <a:pt x="2876" y="1103"/>
                  <a:pt x="2876" y="1103"/>
                </a:cubicBezTo>
                <a:cubicBezTo>
                  <a:pt x="2876" y="1103"/>
                  <a:pt x="2875" y="1103"/>
                  <a:pt x="2875" y="1103"/>
                </a:cubicBezTo>
                <a:cubicBezTo>
                  <a:pt x="2875" y="1104"/>
                  <a:pt x="2875" y="1104"/>
                  <a:pt x="2875" y="1104"/>
                </a:cubicBezTo>
                <a:cubicBezTo>
                  <a:pt x="2876" y="1105"/>
                  <a:pt x="2876" y="1105"/>
                  <a:pt x="2876" y="1105"/>
                </a:cubicBezTo>
                <a:lnTo>
                  <a:pt x="2877" y="1105"/>
                </a:lnTo>
                <a:close/>
                <a:moveTo>
                  <a:pt x="2878" y="1094"/>
                </a:moveTo>
                <a:cubicBezTo>
                  <a:pt x="2877" y="1093"/>
                  <a:pt x="2877" y="1093"/>
                  <a:pt x="2877" y="1093"/>
                </a:cubicBezTo>
                <a:cubicBezTo>
                  <a:pt x="2876" y="1093"/>
                  <a:pt x="2876" y="1093"/>
                  <a:pt x="2876" y="1093"/>
                </a:cubicBezTo>
                <a:cubicBezTo>
                  <a:pt x="2877" y="1094"/>
                  <a:pt x="2877" y="1094"/>
                  <a:pt x="2877" y="1094"/>
                </a:cubicBezTo>
                <a:lnTo>
                  <a:pt x="2878" y="1094"/>
                </a:lnTo>
                <a:close/>
                <a:moveTo>
                  <a:pt x="2878" y="1100"/>
                </a:moveTo>
                <a:cubicBezTo>
                  <a:pt x="2878" y="1100"/>
                  <a:pt x="2878" y="1100"/>
                  <a:pt x="2878" y="1100"/>
                </a:cubicBezTo>
                <a:cubicBezTo>
                  <a:pt x="2878" y="1099"/>
                  <a:pt x="2878" y="1099"/>
                  <a:pt x="2878" y="1099"/>
                </a:cubicBezTo>
                <a:cubicBezTo>
                  <a:pt x="2877" y="1098"/>
                  <a:pt x="2877" y="1098"/>
                  <a:pt x="2877" y="1098"/>
                </a:cubicBezTo>
                <a:cubicBezTo>
                  <a:pt x="2877" y="1098"/>
                  <a:pt x="2877" y="1098"/>
                  <a:pt x="2877" y="1098"/>
                </a:cubicBezTo>
                <a:cubicBezTo>
                  <a:pt x="2875" y="1099"/>
                  <a:pt x="2875" y="1099"/>
                  <a:pt x="2875" y="1099"/>
                </a:cubicBezTo>
                <a:cubicBezTo>
                  <a:pt x="2874" y="1100"/>
                  <a:pt x="2874" y="1100"/>
                  <a:pt x="2874" y="1100"/>
                </a:cubicBezTo>
                <a:cubicBezTo>
                  <a:pt x="2874" y="1101"/>
                  <a:pt x="2874" y="1101"/>
                  <a:pt x="2874" y="1101"/>
                </a:cubicBezTo>
                <a:cubicBezTo>
                  <a:pt x="2876" y="1102"/>
                  <a:pt x="2876" y="1102"/>
                  <a:pt x="2876" y="1102"/>
                </a:cubicBezTo>
                <a:cubicBezTo>
                  <a:pt x="2877" y="1102"/>
                  <a:pt x="2877" y="1102"/>
                  <a:pt x="2877" y="1102"/>
                </a:cubicBezTo>
                <a:cubicBezTo>
                  <a:pt x="2878" y="1101"/>
                  <a:pt x="2878" y="1101"/>
                  <a:pt x="2878" y="1101"/>
                </a:cubicBezTo>
                <a:lnTo>
                  <a:pt x="2878" y="1100"/>
                </a:lnTo>
                <a:close/>
                <a:moveTo>
                  <a:pt x="2878" y="1106"/>
                </a:moveTo>
                <a:cubicBezTo>
                  <a:pt x="2878" y="1106"/>
                  <a:pt x="2878" y="1106"/>
                  <a:pt x="2878" y="1106"/>
                </a:cubicBezTo>
                <a:cubicBezTo>
                  <a:pt x="2877" y="1106"/>
                  <a:pt x="2877" y="1106"/>
                  <a:pt x="2877" y="1106"/>
                </a:cubicBezTo>
                <a:cubicBezTo>
                  <a:pt x="2878" y="1107"/>
                  <a:pt x="2878" y="1107"/>
                  <a:pt x="2878" y="1107"/>
                </a:cubicBezTo>
                <a:lnTo>
                  <a:pt x="2878" y="1106"/>
                </a:lnTo>
                <a:close/>
                <a:moveTo>
                  <a:pt x="2872" y="1100"/>
                </a:moveTo>
                <a:cubicBezTo>
                  <a:pt x="2873" y="1102"/>
                  <a:pt x="2873" y="1102"/>
                  <a:pt x="2873" y="1102"/>
                </a:cubicBezTo>
                <a:cubicBezTo>
                  <a:pt x="2874" y="1103"/>
                  <a:pt x="2874" y="1103"/>
                  <a:pt x="2874" y="1103"/>
                </a:cubicBezTo>
                <a:cubicBezTo>
                  <a:pt x="2875" y="1102"/>
                  <a:pt x="2875" y="1102"/>
                  <a:pt x="2875" y="1102"/>
                </a:cubicBezTo>
                <a:cubicBezTo>
                  <a:pt x="2873" y="1101"/>
                  <a:pt x="2873" y="1101"/>
                  <a:pt x="2873" y="1101"/>
                </a:cubicBezTo>
                <a:cubicBezTo>
                  <a:pt x="2873" y="1100"/>
                  <a:pt x="2873" y="1100"/>
                  <a:pt x="2873" y="1100"/>
                </a:cubicBezTo>
                <a:cubicBezTo>
                  <a:pt x="2872" y="1099"/>
                  <a:pt x="2872" y="1099"/>
                  <a:pt x="2872" y="1099"/>
                </a:cubicBezTo>
                <a:lnTo>
                  <a:pt x="2872" y="1100"/>
                </a:lnTo>
                <a:close/>
                <a:moveTo>
                  <a:pt x="2872" y="1096"/>
                </a:moveTo>
                <a:cubicBezTo>
                  <a:pt x="2872" y="1097"/>
                  <a:pt x="2872" y="1097"/>
                  <a:pt x="2872" y="1097"/>
                </a:cubicBezTo>
                <a:cubicBezTo>
                  <a:pt x="2873" y="1097"/>
                  <a:pt x="2873" y="1097"/>
                  <a:pt x="2873" y="1097"/>
                </a:cubicBezTo>
                <a:cubicBezTo>
                  <a:pt x="2873" y="1096"/>
                  <a:pt x="2873" y="1096"/>
                  <a:pt x="2873" y="1096"/>
                </a:cubicBezTo>
                <a:lnTo>
                  <a:pt x="2872" y="1096"/>
                </a:lnTo>
                <a:close/>
                <a:moveTo>
                  <a:pt x="2737" y="972"/>
                </a:moveTo>
                <a:cubicBezTo>
                  <a:pt x="2736" y="973"/>
                  <a:pt x="2736" y="973"/>
                  <a:pt x="2736" y="973"/>
                </a:cubicBezTo>
                <a:cubicBezTo>
                  <a:pt x="2737" y="974"/>
                  <a:pt x="2737" y="974"/>
                  <a:pt x="2737" y="974"/>
                </a:cubicBezTo>
                <a:cubicBezTo>
                  <a:pt x="2739" y="974"/>
                  <a:pt x="2739" y="974"/>
                  <a:pt x="2739" y="974"/>
                </a:cubicBezTo>
                <a:cubicBezTo>
                  <a:pt x="2740" y="973"/>
                  <a:pt x="2740" y="973"/>
                  <a:pt x="2740" y="973"/>
                </a:cubicBezTo>
                <a:cubicBezTo>
                  <a:pt x="2741" y="974"/>
                  <a:pt x="2741" y="974"/>
                  <a:pt x="2741" y="974"/>
                </a:cubicBezTo>
                <a:cubicBezTo>
                  <a:pt x="2742" y="973"/>
                  <a:pt x="2742" y="973"/>
                  <a:pt x="2742" y="973"/>
                </a:cubicBezTo>
                <a:cubicBezTo>
                  <a:pt x="2742" y="972"/>
                  <a:pt x="2742" y="972"/>
                  <a:pt x="2742" y="972"/>
                </a:cubicBezTo>
                <a:cubicBezTo>
                  <a:pt x="2740" y="972"/>
                  <a:pt x="2740" y="972"/>
                  <a:pt x="2740" y="972"/>
                </a:cubicBezTo>
                <a:lnTo>
                  <a:pt x="2737" y="972"/>
                </a:lnTo>
                <a:close/>
                <a:moveTo>
                  <a:pt x="2850" y="1112"/>
                </a:moveTo>
                <a:cubicBezTo>
                  <a:pt x="2849" y="1111"/>
                  <a:pt x="2849" y="1111"/>
                  <a:pt x="2849" y="1111"/>
                </a:cubicBezTo>
                <a:cubicBezTo>
                  <a:pt x="2847" y="1110"/>
                  <a:pt x="2847" y="1110"/>
                  <a:pt x="2847" y="1110"/>
                </a:cubicBezTo>
                <a:lnTo>
                  <a:pt x="2850" y="1112"/>
                </a:lnTo>
                <a:close/>
                <a:moveTo>
                  <a:pt x="2850" y="1108"/>
                </a:moveTo>
                <a:cubicBezTo>
                  <a:pt x="2849" y="1110"/>
                  <a:pt x="2849" y="1110"/>
                  <a:pt x="2849" y="1110"/>
                </a:cubicBezTo>
                <a:cubicBezTo>
                  <a:pt x="2851" y="1109"/>
                  <a:pt x="2851" y="1109"/>
                  <a:pt x="2851" y="1109"/>
                </a:cubicBezTo>
                <a:lnTo>
                  <a:pt x="2850" y="1108"/>
                </a:lnTo>
                <a:close/>
                <a:moveTo>
                  <a:pt x="2816" y="1112"/>
                </a:moveTo>
                <a:cubicBezTo>
                  <a:pt x="2816" y="1111"/>
                  <a:pt x="2816" y="1111"/>
                  <a:pt x="2816" y="1111"/>
                </a:cubicBezTo>
                <a:cubicBezTo>
                  <a:pt x="2815" y="1110"/>
                  <a:pt x="2815" y="1110"/>
                  <a:pt x="2815" y="1110"/>
                </a:cubicBezTo>
                <a:cubicBezTo>
                  <a:pt x="2814" y="1111"/>
                  <a:pt x="2814" y="1111"/>
                  <a:pt x="2814" y="1111"/>
                </a:cubicBezTo>
                <a:cubicBezTo>
                  <a:pt x="2814" y="1112"/>
                  <a:pt x="2814" y="1112"/>
                  <a:pt x="2814" y="1112"/>
                </a:cubicBezTo>
                <a:lnTo>
                  <a:pt x="2816" y="1112"/>
                </a:lnTo>
                <a:close/>
                <a:moveTo>
                  <a:pt x="2847" y="1111"/>
                </a:moveTo>
                <a:cubicBezTo>
                  <a:pt x="2846" y="1111"/>
                  <a:pt x="2846" y="1111"/>
                  <a:pt x="2846" y="1111"/>
                </a:cubicBezTo>
                <a:cubicBezTo>
                  <a:pt x="2845" y="1112"/>
                  <a:pt x="2845" y="1112"/>
                  <a:pt x="2845" y="1112"/>
                </a:cubicBezTo>
                <a:cubicBezTo>
                  <a:pt x="2845" y="1113"/>
                  <a:pt x="2845" y="1113"/>
                  <a:pt x="2845" y="1113"/>
                </a:cubicBezTo>
                <a:cubicBezTo>
                  <a:pt x="2842" y="1115"/>
                  <a:pt x="2842" y="1115"/>
                  <a:pt x="2842" y="1115"/>
                </a:cubicBezTo>
                <a:cubicBezTo>
                  <a:pt x="2842" y="1116"/>
                  <a:pt x="2842" y="1116"/>
                  <a:pt x="2842" y="1116"/>
                </a:cubicBezTo>
                <a:cubicBezTo>
                  <a:pt x="2842" y="1117"/>
                  <a:pt x="2842" y="1117"/>
                  <a:pt x="2842" y="1117"/>
                </a:cubicBezTo>
                <a:cubicBezTo>
                  <a:pt x="2841" y="1118"/>
                  <a:pt x="2841" y="1118"/>
                  <a:pt x="2841" y="1118"/>
                </a:cubicBezTo>
                <a:cubicBezTo>
                  <a:pt x="2841" y="1119"/>
                  <a:pt x="2841" y="1119"/>
                  <a:pt x="2841" y="1119"/>
                </a:cubicBezTo>
                <a:cubicBezTo>
                  <a:pt x="2843" y="1120"/>
                  <a:pt x="2843" y="1120"/>
                  <a:pt x="2843" y="1120"/>
                </a:cubicBezTo>
                <a:cubicBezTo>
                  <a:pt x="2844" y="1120"/>
                  <a:pt x="2844" y="1120"/>
                  <a:pt x="2844" y="1120"/>
                </a:cubicBezTo>
                <a:cubicBezTo>
                  <a:pt x="2846" y="1117"/>
                  <a:pt x="2846" y="1117"/>
                  <a:pt x="2846" y="1117"/>
                </a:cubicBezTo>
                <a:cubicBezTo>
                  <a:pt x="2847" y="1115"/>
                  <a:pt x="2847" y="1115"/>
                  <a:pt x="2847" y="1115"/>
                </a:cubicBezTo>
                <a:cubicBezTo>
                  <a:pt x="2847" y="1113"/>
                  <a:pt x="2847" y="1113"/>
                  <a:pt x="2847" y="1113"/>
                </a:cubicBezTo>
                <a:cubicBezTo>
                  <a:pt x="2847" y="1112"/>
                  <a:pt x="2847" y="1112"/>
                  <a:pt x="2847" y="1112"/>
                </a:cubicBezTo>
                <a:lnTo>
                  <a:pt x="2847" y="1111"/>
                </a:lnTo>
                <a:close/>
                <a:moveTo>
                  <a:pt x="2857" y="1096"/>
                </a:moveTo>
                <a:cubicBezTo>
                  <a:pt x="2857" y="1098"/>
                  <a:pt x="2857" y="1098"/>
                  <a:pt x="2857" y="1098"/>
                </a:cubicBezTo>
                <a:cubicBezTo>
                  <a:pt x="2858" y="1098"/>
                  <a:pt x="2858" y="1098"/>
                  <a:pt x="2858" y="1098"/>
                </a:cubicBezTo>
                <a:cubicBezTo>
                  <a:pt x="2858" y="1096"/>
                  <a:pt x="2858" y="1096"/>
                  <a:pt x="2858" y="1096"/>
                </a:cubicBezTo>
                <a:cubicBezTo>
                  <a:pt x="2857" y="1094"/>
                  <a:pt x="2857" y="1094"/>
                  <a:pt x="2857" y="1094"/>
                </a:cubicBezTo>
                <a:lnTo>
                  <a:pt x="2857" y="1096"/>
                </a:lnTo>
                <a:close/>
                <a:moveTo>
                  <a:pt x="2853" y="1154"/>
                </a:moveTo>
                <a:cubicBezTo>
                  <a:pt x="2854" y="1156"/>
                  <a:pt x="2854" y="1156"/>
                  <a:pt x="2854" y="1156"/>
                </a:cubicBezTo>
                <a:cubicBezTo>
                  <a:pt x="2854" y="1154"/>
                  <a:pt x="2854" y="1154"/>
                  <a:pt x="2854" y="1154"/>
                </a:cubicBezTo>
                <a:cubicBezTo>
                  <a:pt x="2854" y="1153"/>
                  <a:pt x="2854" y="1153"/>
                  <a:pt x="2854" y="1153"/>
                </a:cubicBezTo>
                <a:cubicBezTo>
                  <a:pt x="2853" y="1153"/>
                  <a:pt x="2853" y="1153"/>
                  <a:pt x="2853" y="1153"/>
                </a:cubicBezTo>
                <a:lnTo>
                  <a:pt x="2853" y="1154"/>
                </a:lnTo>
                <a:close/>
                <a:moveTo>
                  <a:pt x="2859" y="1097"/>
                </a:moveTo>
                <a:cubicBezTo>
                  <a:pt x="2859" y="1098"/>
                  <a:pt x="2859" y="1098"/>
                  <a:pt x="2859" y="1098"/>
                </a:cubicBezTo>
                <a:cubicBezTo>
                  <a:pt x="2860" y="1098"/>
                  <a:pt x="2860" y="1098"/>
                  <a:pt x="2860" y="1098"/>
                </a:cubicBezTo>
                <a:cubicBezTo>
                  <a:pt x="2861" y="1094"/>
                  <a:pt x="2861" y="1094"/>
                  <a:pt x="2861" y="1094"/>
                </a:cubicBezTo>
                <a:cubicBezTo>
                  <a:pt x="2862" y="1092"/>
                  <a:pt x="2862" y="1092"/>
                  <a:pt x="2862" y="1092"/>
                </a:cubicBezTo>
                <a:cubicBezTo>
                  <a:pt x="2860" y="1093"/>
                  <a:pt x="2860" y="1093"/>
                  <a:pt x="2860" y="1093"/>
                </a:cubicBezTo>
                <a:lnTo>
                  <a:pt x="2859" y="1097"/>
                </a:lnTo>
                <a:close/>
                <a:moveTo>
                  <a:pt x="2788" y="1058"/>
                </a:moveTo>
                <a:cubicBezTo>
                  <a:pt x="2788" y="1060"/>
                  <a:pt x="2788" y="1060"/>
                  <a:pt x="2788" y="1060"/>
                </a:cubicBezTo>
                <a:cubicBezTo>
                  <a:pt x="2789" y="1062"/>
                  <a:pt x="2789" y="1062"/>
                  <a:pt x="2789" y="1062"/>
                </a:cubicBezTo>
                <a:cubicBezTo>
                  <a:pt x="2790" y="1063"/>
                  <a:pt x="2790" y="1063"/>
                  <a:pt x="2790" y="1063"/>
                </a:cubicBezTo>
                <a:cubicBezTo>
                  <a:pt x="2790" y="1062"/>
                  <a:pt x="2790" y="1062"/>
                  <a:pt x="2790" y="1062"/>
                </a:cubicBezTo>
                <a:cubicBezTo>
                  <a:pt x="2789" y="1060"/>
                  <a:pt x="2789" y="1060"/>
                  <a:pt x="2789" y="1060"/>
                </a:cubicBezTo>
                <a:cubicBezTo>
                  <a:pt x="2789" y="1058"/>
                  <a:pt x="2789" y="1058"/>
                  <a:pt x="2789" y="1058"/>
                </a:cubicBezTo>
                <a:lnTo>
                  <a:pt x="2788" y="1058"/>
                </a:lnTo>
                <a:close/>
                <a:moveTo>
                  <a:pt x="2756" y="895"/>
                </a:moveTo>
                <a:cubicBezTo>
                  <a:pt x="2755" y="895"/>
                  <a:pt x="2755" y="895"/>
                  <a:pt x="2755" y="895"/>
                </a:cubicBezTo>
                <a:cubicBezTo>
                  <a:pt x="2755" y="896"/>
                  <a:pt x="2755" y="896"/>
                  <a:pt x="2755" y="896"/>
                </a:cubicBezTo>
                <a:cubicBezTo>
                  <a:pt x="2757" y="899"/>
                  <a:pt x="2757" y="899"/>
                  <a:pt x="2757" y="899"/>
                </a:cubicBezTo>
                <a:cubicBezTo>
                  <a:pt x="2758" y="898"/>
                  <a:pt x="2758" y="898"/>
                  <a:pt x="2758" y="898"/>
                </a:cubicBezTo>
                <a:cubicBezTo>
                  <a:pt x="2758" y="897"/>
                  <a:pt x="2758" y="897"/>
                  <a:pt x="2758" y="897"/>
                </a:cubicBezTo>
                <a:lnTo>
                  <a:pt x="2756" y="895"/>
                </a:lnTo>
                <a:close/>
                <a:moveTo>
                  <a:pt x="2767" y="923"/>
                </a:moveTo>
                <a:cubicBezTo>
                  <a:pt x="2767" y="922"/>
                  <a:pt x="2767" y="922"/>
                  <a:pt x="2767" y="922"/>
                </a:cubicBezTo>
                <a:cubicBezTo>
                  <a:pt x="2767" y="920"/>
                  <a:pt x="2767" y="920"/>
                  <a:pt x="2767" y="920"/>
                </a:cubicBezTo>
                <a:cubicBezTo>
                  <a:pt x="2767" y="916"/>
                  <a:pt x="2767" y="916"/>
                  <a:pt x="2767" y="916"/>
                </a:cubicBezTo>
                <a:cubicBezTo>
                  <a:pt x="2766" y="917"/>
                  <a:pt x="2766" y="917"/>
                  <a:pt x="2766" y="917"/>
                </a:cubicBezTo>
                <a:cubicBezTo>
                  <a:pt x="2766" y="921"/>
                  <a:pt x="2766" y="921"/>
                  <a:pt x="2766" y="921"/>
                </a:cubicBezTo>
                <a:cubicBezTo>
                  <a:pt x="2764" y="924"/>
                  <a:pt x="2764" y="924"/>
                  <a:pt x="2764" y="924"/>
                </a:cubicBezTo>
                <a:cubicBezTo>
                  <a:pt x="2764" y="926"/>
                  <a:pt x="2764" y="926"/>
                  <a:pt x="2764" y="926"/>
                </a:cubicBezTo>
                <a:cubicBezTo>
                  <a:pt x="2763" y="929"/>
                  <a:pt x="2763" y="929"/>
                  <a:pt x="2763" y="929"/>
                </a:cubicBezTo>
                <a:cubicBezTo>
                  <a:pt x="2761" y="931"/>
                  <a:pt x="2761" y="931"/>
                  <a:pt x="2761" y="931"/>
                </a:cubicBezTo>
                <a:cubicBezTo>
                  <a:pt x="2761" y="933"/>
                  <a:pt x="2761" y="933"/>
                  <a:pt x="2761" y="933"/>
                </a:cubicBezTo>
                <a:cubicBezTo>
                  <a:pt x="2762" y="935"/>
                  <a:pt x="2762" y="935"/>
                  <a:pt x="2762" y="935"/>
                </a:cubicBezTo>
                <a:cubicBezTo>
                  <a:pt x="2763" y="933"/>
                  <a:pt x="2763" y="933"/>
                  <a:pt x="2763" y="933"/>
                </a:cubicBezTo>
                <a:cubicBezTo>
                  <a:pt x="2764" y="929"/>
                  <a:pt x="2764" y="929"/>
                  <a:pt x="2764" y="929"/>
                </a:cubicBezTo>
                <a:cubicBezTo>
                  <a:pt x="2767" y="925"/>
                  <a:pt x="2767" y="925"/>
                  <a:pt x="2767" y="925"/>
                </a:cubicBezTo>
                <a:lnTo>
                  <a:pt x="2767" y="923"/>
                </a:lnTo>
                <a:close/>
                <a:moveTo>
                  <a:pt x="2743" y="890"/>
                </a:moveTo>
                <a:cubicBezTo>
                  <a:pt x="2742" y="891"/>
                  <a:pt x="2742" y="891"/>
                  <a:pt x="2742" y="891"/>
                </a:cubicBezTo>
                <a:cubicBezTo>
                  <a:pt x="2743" y="893"/>
                  <a:pt x="2743" y="893"/>
                  <a:pt x="2743" y="893"/>
                </a:cubicBezTo>
                <a:cubicBezTo>
                  <a:pt x="2745" y="894"/>
                  <a:pt x="2745" y="894"/>
                  <a:pt x="2745" y="894"/>
                </a:cubicBezTo>
                <a:cubicBezTo>
                  <a:pt x="2745" y="893"/>
                  <a:pt x="2745" y="893"/>
                  <a:pt x="2745" y="893"/>
                </a:cubicBezTo>
                <a:cubicBezTo>
                  <a:pt x="2746" y="892"/>
                  <a:pt x="2746" y="892"/>
                  <a:pt x="2746" y="892"/>
                </a:cubicBezTo>
                <a:cubicBezTo>
                  <a:pt x="2745" y="891"/>
                  <a:pt x="2745" y="891"/>
                  <a:pt x="2745" y="891"/>
                </a:cubicBezTo>
                <a:lnTo>
                  <a:pt x="2743" y="890"/>
                </a:lnTo>
                <a:close/>
                <a:moveTo>
                  <a:pt x="2754" y="923"/>
                </a:moveTo>
                <a:cubicBezTo>
                  <a:pt x="2754" y="922"/>
                  <a:pt x="2754" y="922"/>
                  <a:pt x="2754" y="922"/>
                </a:cubicBezTo>
                <a:cubicBezTo>
                  <a:pt x="2753" y="922"/>
                  <a:pt x="2753" y="922"/>
                  <a:pt x="2753" y="922"/>
                </a:cubicBezTo>
                <a:cubicBezTo>
                  <a:pt x="2752" y="922"/>
                  <a:pt x="2752" y="922"/>
                  <a:pt x="2752" y="922"/>
                </a:cubicBezTo>
                <a:cubicBezTo>
                  <a:pt x="2751" y="924"/>
                  <a:pt x="2751" y="924"/>
                  <a:pt x="2751" y="924"/>
                </a:cubicBezTo>
                <a:cubicBezTo>
                  <a:pt x="2752" y="925"/>
                  <a:pt x="2752" y="925"/>
                  <a:pt x="2752" y="925"/>
                </a:cubicBezTo>
                <a:lnTo>
                  <a:pt x="2754" y="923"/>
                </a:lnTo>
                <a:close/>
                <a:moveTo>
                  <a:pt x="2784" y="1057"/>
                </a:moveTo>
                <a:cubicBezTo>
                  <a:pt x="2786" y="1057"/>
                  <a:pt x="2786" y="1057"/>
                  <a:pt x="2786" y="1057"/>
                </a:cubicBezTo>
                <a:cubicBezTo>
                  <a:pt x="2791" y="1056"/>
                  <a:pt x="2791" y="1056"/>
                  <a:pt x="2791" y="1056"/>
                </a:cubicBezTo>
                <a:cubicBezTo>
                  <a:pt x="2793" y="1056"/>
                  <a:pt x="2793" y="1056"/>
                  <a:pt x="2793" y="1056"/>
                </a:cubicBezTo>
                <a:cubicBezTo>
                  <a:pt x="2791" y="1055"/>
                  <a:pt x="2791" y="1055"/>
                  <a:pt x="2791" y="1055"/>
                </a:cubicBezTo>
                <a:cubicBezTo>
                  <a:pt x="2787" y="1055"/>
                  <a:pt x="2787" y="1055"/>
                  <a:pt x="2787" y="1055"/>
                </a:cubicBezTo>
                <a:cubicBezTo>
                  <a:pt x="2786" y="1056"/>
                  <a:pt x="2786" y="1056"/>
                  <a:pt x="2786" y="1056"/>
                </a:cubicBezTo>
                <a:cubicBezTo>
                  <a:pt x="2784" y="1055"/>
                  <a:pt x="2784" y="1055"/>
                  <a:pt x="2784" y="1055"/>
                </a:cubicBezTo>
                <a:cubicBezTo>
                  <a:pt x="2783" y="1056"/>
                  <a:pt x="2783" y="1056"/>
                  <a:pt x="2783" y="1056"/>
                </a:cubicBezTo>
                <a:cubicBezTo>
                  <a:pt x="2784" y="1056"/>
                  <a:pt x="2784" y="1056"/>
                  <a:pt x="2784" y="1056"/>
                </a:cubicBezTo>
                <a:lnTo>
                  <a:pt x="2784" y="1057"/>
                </a:lnTo>
                <a:close/>
                <a:moveTo>
                  <a:pt x="2872" y="1105"/>
                </a:moveTo>
                <a:cubicBezTo>
                  <a:pt x="2871" y="1107"/>
                  <a:pt x="2871" y="1107"/>
                  <a:pt x="2871" y="1107"/>
                </a:cubicBezTo>
                <a:cubicBezTo>
                  <a:pt x="2872" y="1108"/>
                  <a:pt x="2872" y="1108"/>
                  <a:pt x="2872" y="1108"/>
                </a:cubicBezTo>
                <a:cubicBezTo>
                  <a:pt x="2873" y="1108"/>
                  <a:pt x="2873" y="1108"/>
                  <a:pt x="2873" y="1108"/>
                </a:cubicBezTo>
                <a:cubicBezTo>
                  <a:pt x="2875" y="1106"/>
                  <a:pt x="2875" y="1106"/>
                  <a:pt x="2875" y="1106"/>
                </a:cubicBezTo>
                <a:cubicBezTo>
                  <a:pt x="2876" y="1105"/>
                  <a:pt x="2876" y="1105"/>
                  <a:pt x="2876" y="1105"/>
                </a:cubicBezTo>
                <a:cubicBezTo>
                  <a:pt x="2875" y="1105"/>
                  <a:pt x="2875" y="1105"/>
                  <a:pt x="2875" y="1105"/>
                </a:cubicBezTo>
                <a:cubicBezTo>
                  <a:pt x="2874" y="1104"/>
                  <a:pt x="2874" y="1104"/>
                  <a:pt x="2874" y="1104"/>
                </a:cubicBezTo>
                <a:cubicBezTo>
                  <a:pt x="2872" y="1102"/>
                  <a:pt x="2872" y="1102"/>
                  <a:pt x="2872" y="1102"/>
                </a:cubicBezTo>
                <a:cubicBezTo>
                  <a:pt x="2871" y="1101"/>
                  <a:pt x="2871" y="1101"/>
                  <a:pt x="2871" y="1101"/>
                </a:cubicBezTo>
                <a:cubicBezTo>
                  <a:pt x="2872" y="1102"/>
                  <a:pt x="2872" y="1102"/>
                  <a:pt x="2872" y="1102"/>
                </a:cubicBezTo>
                <a:cubicBezTo>
                  <a:pt x="2872" y="1104"/>
                  <a:pt x="2872" y="1104"/>
                  <a:pt x="2872" y="1104"/>
                </a:cubicBezTo>
                <a:cubicBezTo>
                  <a:pt x="2872" y="1105"/>
                  <a:pt x="2872" y="1105"/>
                  <a:pt x="2872" y="1105"/>
                </a:cubicBezTo>
                <a:cubicBezTo>
                  <a:pt x="2873" y="1106"/>
                  <a:pt x="2873" y="1106"/>
                  <a:pt x="2873" y="1106"/>
                </a:cubicBezTo>
                <a:cubicBezTo>
                  <a:pt x="2872" y="1105"/>
                  <a:pt x="2872" y="1105"/>
                  <a:pt x="2872" y="1105"/>
                </a:cubicBezTo>
                <a:close/>
                <a:moveTo>
                  <a:pt x="2762" y="922"/>
                </a:moveTo>
                <a:cubicBezTo>
                  <a:pt x="2762" y="920"/>
                  <a:pt x="2762" y="920"/>
                  <a:pt x="2762" y="920"/>
                </a:cubicBezTo>
                <a:cubicBezTo>
                  <a:pt x="2761" y="919"/>
                  <a:pt x="2761" y="919"/>
                  <a:pt x="2761" y="919"/>
                </a:cubicBezTo>
                <a:cubicBezTo>
                  <a:pt x="2760" y="920"/>
                  <a:pt x="2760" y="920"/>
                  <a:pt x="2760" y="920"/>
                </a:cubicBezTo>
                <a:cubicBezTo>
                  <a:pt x="2758" y="919"/>
                  <a:pt x="2758" y="919"/>
                  <a:pt x="2758" y="919"/>
                </a:cubicBezTo>
                <a:cubicBezTo>
                  <a:pt x="2757" y="920"/>
                  <a:pt x="2757" y="920"/>
                  <a:pt x="2757" y="920"/>
                </a:cubicBezTo>
                <a:cubicBezTo>
                  <a:pt x="2757" y="922"/>
                  <a:pt x="2757" y="922"/>
                  <a:pt x="2757" y="922"/>
                </a:cubicBezTo>
                <a:cubicBezTo>
                  <a:pt x="2756" y="924"/>
                  <a:pt x="2756" y="924"/>
                  <a:pt x="2756" y="924"/>
                </a:cubicBezTo>
                <a:cubicBezTo>
                  <a:pt x="2756" y="927"/>
                  <a:pt x="2756" y="927"/>
                  <a:pt x="2756" y="927"/>
                </a:cubicBezTo>
                <a:cubicBezTo>
                  <a:pt x="2755" y="929"/>
                  <a:pt x="2755" y="929"/>
                  <a:pt x="2755" y="929"/>
                </a:cubicBezTo>
                <a:cubicBezTo>
                  <a:pt x="2752" y="930"/>
                  <a:pt x="2752" y="930"/>
                  <a:pt x="2752" y="930"/>
                </a:cubicBezTo>
                <a:cubicBezTo>
                  <a:pt x="2751" y="931"/>
                  <a:pt x="2751" y="931"/>
                  <a:pt x="2751" y="931"/>
                </a:cubicBezTo>
                <a:cubicBezTo>
                  <a:pt x="2751" y="934"/>
                  <a:pt x="2751" y="934"/>
                  <a:pt x="2751" y="934"/>
                </a:cubicBezTo>
                <a:cubicBezTo>
                  <a:pt x="2753" y="934"/>
                  <a:pt x="2753" y="934"/>
                  <a:pt x="2753" y="934"/>
                </a:cubicBezTo>
                <a:cubicBezTo>
                  <a:pt x="2755" y="936"/>
                  <a:pt x="2755" y="936"/>
                  <a:pt x="2755" y="936"/>
                </a:cubicBezTo>
                <a:cubicBezTo>
                  <a:pt x="2757" y="936"/>
                  <a:pt x="2757" y="936"/>
                  <a:pt x="2757" y="936"/>
                </a:cubicBezTo>
                <a:cubicBezTo>
                  <a:pt x="2757" y="938"/>
                  <a:pt x="2757" y="938"/>
                  <a:pt x="2757" y="938"/>
                </a:cubicBezTo>
                <a:cubicBezTo>
                  <a:pt x="2759" y="939"/>
                  <a:pt x="2759" y="939"/>
                  <a:pt x="2759" y="939"/>
                </a:cubicBezTo>
                <a:cubicBezTo>
                  <a:pt x="2761" y="938"/>
                  <a:pt x="2761" y="938"/>
                  <a:pt x="2761" y="938"/>
                </a:cubicBezTo>
                <a:cubicBezTo>
                  <a:pt x="2761" y="936"/>
                  <a:pt x="2761" y="936"/>
                  <a:pt x="2761" y="936"/>
                </a:cubicBezTo>
                <a:cubicBezTo>
                  <a:pt x="2759" y="934"/>
                  <a:pt x="2759" y="934"/>
                  <a:pt x="2759" y="934"/>
                </a:cubicBezTo>
                <a:cubicBezTo>
                  <a:pt x="2759" y="930"/>
                  <a:pt x="2759" y="930"/>
                  <a:pt x="2759" y="930"/>
                </a:cubicBezTo>
                <a:cubicBezTo>
                  <a:pt x="2760" y="924"/>
                  <a:pt x="2760" y="924"/>
                  <a:pt x="2760" y="924"/>
                </a:cubicBezTo>
                <a:lnTo>
                  <a:pt x="2762" y="922"/>
                </a:lnTo>
                <a:close/>
                <a:moveTo>
                  <a:pt x="2748" y="968"/>
                </a:moveTo>
                <a:cubicBezTo>
                  <a:pt x="2749" y="969"/>
                  <a:pt x="2749" y="969"/>
                  <a:pt x="2749" y="969"/>
                </a:cubicBezTo>
                <a:cubicBezTo>
                  <a:pt x="2751" y="967"/>
                  <a:pt x="2751" y="967"/>
                  <a:pt x="2751" y="967"/>
                </a:cubicBezTo>
                <a:cubicBezTo>
                  <a:pt x="2752" y="966"/>
                  <a:pt x="2752" y="966"/>
                  <a:pt x="2752" y="966"/>
                </a:cubicBezTo>
                <a:cubicBezTo>
                  <a:pt x="2750" y="965"/>
                  <a:pt x="2750" y="965"/>
                  <a:pt x="2750" y="965"/>
                </a:cubicBezTo>
                <a:cubicBezTo>
                  <a:pt x="2749" y="965"/>
                  <a:pt x="2749" y="965"/>
                  <a:pt x="2749" y="965"/>
                </a:cubicBezTo>
                <a:cubicBezTo>
                  <a:pt x="2748" y="966"/>
                  <a:pt x="2748" y="966"/>
                  <a:pt x="2748" y="966"/>
                </a:cubicBezTo>
                <a:cubicBezTo>
                  <a:pt x="2746" y="966"/>
                  <a:pt x="2746" y="966"/>
                  <a:pt x="2746" y="966"/>
                </a:cubicBezTo>
                <a:cubicBezTo>
                  <a:pt x="2746" y="967"/>
                  <a:pt x="2746" y="967"/>
                  <a:pt x="2746" y="967"/>
                </a:cubicBezTo>
                <a:lnTo>
                  <a:pt x="2748" y="968"/>
                </a:lnTo>
                <a:close/>
                <a:moveTo>
                  <a:pt x="2803" y="1041"/>
                </a:moveTo>
                <a:cubicBezTo>
                  <a:pt x="2803" y="1040"/>
                  <a:pt x="2803" y="1040"/>
                  <a:pt x="2803" y="1040"/>
                </a:cubicBezTo>
                <a:cubicBezTo>
                  <a:pt x="2802" y="1040"/>
                  <a:pt x="2802" y="1040"/>
                  <a:pt x="2802" y="1040"/>
                </a:cubicBezTo>
                <a:cubicBezTo>
                  <a:pt x="2801" y="1042"/>
                  <a:pt x="2801" y="1042"/>
                  <a:pt x="2801" y="1042"/>
                </a:cubicBezTo>
                <a:cubicBezTo>
                  <a:pt x="2802" y="1043"/>
                  <a:pt x="2802" y="1043"/>
                  <a:pt x="2802" y="1043"/>
                </a:cubicBezTo>
                <a:lnTo>
                  <a:pt x="2803" y="1041"/>
                </a:lnTo>
                <a:close/>
                <a:moveTo>
                  <a:pt x="2784" y="1123"/>
                </a:moveTo>
                <a:cubicBezTo>
                  <a:pt x="2783" y="1122"/>
                  <a:pt x="2783" y="1122"/>
                  <a:pt x="2783" y="1122"/>
                </a:cubicBezTo>
                <a:cubicBezTo>
                  <a:pt x="2783" y="1123"/>
                  <a:pt x="2783" y="1123"/>
                  <a:pt x="2783" y="1123"/>
                </a:cubicBezTo>
                <a:cubicBezTo>
                  <a:pt x="2783" y="1124"/>
                  <a:pt x="2783" y="1124"/>
                  <a:pt x="2783" y="1124"/>
                </a:cubicBezTo>
                <a:lnTo>
                  <a:pt x="2784" y="1123"/>
                </a:lnTo>
                <a:close/>
                <a:moveTo>
                  <a:pt x="2787" y="1001"/>
                </a:moveTo>
                <a:cubicBezTo>
                  <a:pt x="2786" y="999"/>
                  <a:pt x="2786" y="999"/>
                  <a:pt x="2786" y="999"/>
                </a:cubicBezTo>
                <a:cubicBezTo>
                  <a:pt x="2784" y="996"/>
                  <a:pt x="2784" y="996"/>
                  <a:pt x="2784" y="996"/>
                </a:cubicBezTo>
                <a:cubicBezTo>
                  <a:pt x="2784" y="998"/>
                  <a:pt x="2784" y="998"/>
                  <a:pt x="2784" y="998"/>
                </a:cubicBezTo>
                <a:cubicBezTo>
                  <a:pt x="2784" y="1000"/>
                  <a:pt x="2784" y="1000"/>
                  <a:pt x="2784" y="1000"/>
                </a:cubicBezTo>
                <a:cubicBezTo>
                  <a:pt x="2786" y="1002"/>
                  <a:pt x="2786" y="1002"/>
                  <a:pt x="2786" y="1002"/>
                </a:cubicBezTo>
                <a:lnTo>
                  <a:pt x="2787" y="1001"/>
                </a:lnTo>
                <a:close/>
                <a:moveTo>
                  <a:pt x="2789" y="1118"/>
                </a:moveTo>
                <a:cubicBezTo>
                  <a:pt x="2792" y="1119"/>
                  <a:pt x="2792" y="1119"/>
                  <a:pt x="2792" y="1119"/>
                </a:cubicBezTo>
                <a:cubicBezTo>
                  <a:pt x="2793" y="1120"/>
                  <a:pt x="2793" y="1120"/>
                  <a:pt x="2793" y="1120"/>
                </a:cubicBezTo>
                <a:cubicBezTo>
                  <a:pt x="2794" y="1119"/>
                  <a:pt x="2794" y="1119"/>
                  <a:pt x="2794" y="1119"/>
                </a:cubicBezTo>
                <a:cubicBezTo>
                  <a:pt x="2795" y="1118"/>
                  <a:pt x="2795" y="1118"/>
                  <a:pt x="2795" y="1118"/>
                </a:cubicBezTo>
                <a:cubicBezTo>
                  <a:pt x="2797" y="1117"/>
                  <a:pt x="2797" y="1117"/>
                  <a:pt x="2797" y="1117"/>
                </a:cubicBezTo>
                <a:cubicBezTo>
                  <a:pt x="2796" y="1116"/>
                  <a:pt x="2796" y="1116"/>
                  <a:pt x="2796" y="1116"/>
                </a:cubicBezTo>
                <a:cubicBezTo>
                  <a:pt x="2794" y="1115"/>
                  <a:pt x="2794" y="1115"/>
                  <a:pt x="2794" y="1115"/>
                </a:cubicBezTo>
                <a:cubicBezTo>
                  <a:pt x="2793" y="1116"/>
                  <a:pt x="2793" y="1116"/>
                  <a:pt x="2793" y="1116"/>
                </a:cubicBezTo>
                <a:cubicBezTo>
                  <a:pt x="2789" y="1117"/>
                  <a:pt x="2789" y="1117"/>
                  <a:pt x="2789" y="1117"/>
                </a:cubicBezTo>
                <a:cubicBezTo>
                  <a:pt x="2788" y="1116"/>
                  <a:pt x="2788" y="1116"/>
                  <a:pt x="2788" y="1116"/>
                </a:cubicBezTo>
                <a:cubicBezTo>
                  <a:pt x="2787" y="1117"/>
                  <a:pt x="2787" y="1117"/>
                  <a:pt x="2787" y="1117"/>
                </a:cubicBezTo>
                <a:cubicBezTo>
                  <a:pt x="2786" y="1119"/>
                  <a:pt x="2786" y="1119"/>
                  <a:pt x="2786" y="1119"/>
                </a:cubicBezTo>
                <a:cubicBezTo>
                  <a:pt x="2787" y="1120"/>
                  <a:pt x="2787" y="1120"/>
                  <a:pt x="2787" y="1120"/>
                </a:cubicBezTo>
                <a:lnTo>
                  <a:pt x="2789" y="1118"/>
                </a:lnTo>
                <a:close/>
                <a:moveTo>
                  <a:pt x="2797" y="996"/>
                </a:moveTo>
                <a:cubicBezTo>
                  <a:pt x="2798" y="996"/>
                  <a:pt x="2798" y="996"/>
                  <a:pt x="2798" y="996"/>
                </a:cubicBezTo>
                <a:cubicBezTo>
                  <a:pt x="2798" y="994"/>
                  <a:pt x="2798" y="994"/>
                  <a:pt x="2798" y="994"/>
                </a:cubicBezTo>
                <a:cubicBezTo>
                  <a:pt x="2797" y="994"/>
                  <a:pt x="2797" y="994"/>
                  <a:pt x="2797" y="994"/>
                </a:cubicBezTo>
                <a:cubicBezTo>
                  <a:pt x="2797" y="994"/>
                  <a:pt x="2797" y="996"/>
                  <a:pt x="2797" y="996"/>
                </a:cubicBezTo>
                <a:close/>
                <a:moveTo>
                  <a:pt x="2799" y="993"/>
                </a:moveTo>
                <a:cubicBezTo>
                  <a:pt x="2799" y="991"/>
                  <a:pt x="2799" y="991"/>
                  <a:pt x="2799" y="991"/>
                </a:cubicBezTo>
                <a:cubicBezTo>
                  <a:pt x="2799" y="989"/>
                  <a:pt x="2799" y="989"/>
                  <a:pt x="2799" y="989"/>
                </a:cubicBezTo>
                <a:cubicBezTo>
                  <a:pt x="2797" y="989"/>
                  <a:pt x="2797" y="989"/>
                  <a:pt x="2797" y="989"/>
                </a:cubicBezTo>
                <a:cubicBezTo>
                  <a:pt x="2797" y="989"/>
                  <a:pt x="2797" y="989"/>
                  <a:pt x="2797" y="989"/>
                </a:cubicBezTo>
                <a:cubicBezTo>
                  <a:pt x="2797" y="992"/>
                  <a:pt x="2797" y="992"/>
                  <a:pt x="2797" y="992"/>
                </a:cubicBezTo>
                <a:cubicBezTo>
                  <a:pt x="2797" y="994"/>
                  <a:pt x="2797" y="994"/>
                  <a:pt x="2797" y="994"/>
                </a:cubicBezTo>
                <a:lnTo>
                  <a:pt x="2799" y="993"/>
                </a:lnTo>
                <a:close/>
                <a:moveTo>
                  <a:pt x="2799" y="1077"/>
                </a:moveTo>
                <a:cubicBezTo>
                  <a:pt x="2801" y="1075"/>
                  <a:pt x="2801" y="1075"/>
                  <a:pt x="2801" y="1075"/>
                </a:cubicBezTo>
                <a:cubicBezTo>
                  <a:pt x="2803" y="1075"/>
                  <a:pt x="2803" y="1075"/>
                  <a:pt x="2803" y="1075"/>
                </a:cubicBezTo>
                <a:cubicBezTo>
                  <a:pt x="2803" y="1073"/>
                  <a:pt x="2803" y="1073"/>
                  <a:pt x="2803" y="1073"/>
                </a:cubicBezTo>
                <a:cubicBezTo>
                  <a:pt x="2801" y="1071"/>
                  <a:pt x="2801" y="1071"/>
                  <a:pt x="2801" y="1071"/>
                </a:cubicBezTo>
                <a:cubicBezTo>
                  <a:pt x="2801" y="1070"/>
                  <a:pt x="2801" y="1070"/>
                  <a:pt x="2801" y="1070"/>
                </a:cubicBezTo>
                <a:cubicBezTo>
                  <a:pt x="2798" y="1069"/>
                  <a:pt x="2798" y="1069"/>
                  <a:pt x="2798" y="1069"/>
                </a:cubicBezTo>
                <a:cubicBezTo>
                  <a:pt x="2794" y="1069"/>
                  <a:pt x="2794" y="1069"/>
                  <a:pt x="2794" y="1069"/>
                </a:cubicBezTo>
                <a:cubicBezTo>
                  <a:pt x="2793" y="1070"/>
                  <a:pt x="2793" y="1070"/>
                  <a:pt x="2793" y="1070"/>
                </a:cubicBezTo>
                <a:cubicBezTo>
                  <a:pt x="2791" y="1069"/>
                  <a:pt x="2791" y="1069"/>
                  <a:pt x="2791" y="1069"/>
                </a:cubicBezTo>
                <a:cubicBezTo>
                  <a:pt x="2789" y="1071"/>
                  <a:pt x="2789" y="1071"/>
                  <a:pt x="2789" y="1071"/>
                </a:cubicBezTo>
                <a:cubicBezTo>
                  <a:pt x="2789" y="1073"/>
                  <a:pt x="2789" y="1073"/>
                  <a:pt x="2789" y="1073"/>
                </a:cubicBezTo>
                <a:cubicBezTo>
                  <a:pt x="2790" y="1075"/>
                  <a:pt x="2790" y="1075"/>
                  <a:pt x="2790" y="1075"/>
                </a:cubicBezTo>
                <a:cubicBezTo>
                  <a:pt x="2793" y="1076"/>
                  <a:pt x="2793" y="1076"/>
                  <a:pt x="2793" y="1076"/>
                </a:cubicBezTo>
                <a:cubicBezTo>
                  <a:pt x="2794" y="1077"/>
                  <a:pt x="2794" y="1077"/>
                  <a:pt x="2794" y="1077"/>
                </a:cubicBezTo>
                <a:cubicBezTo>
                  <a:pt x="2797" y="1076"/>
                  <a:pt x="2797" y="1076"/>
                  <a:pt x="2797" y="1076"/>
                </a:cubicBezTo>
                <a:lnTo>
                  <a:pt x="2799" y="1077"/>
                </a:lnTo>
                <a:close/>
                <a:moveTo>
                  <a:pt x="2758" y="907"/>
                </a:moveTo>
                <a:cubicBezTo>
                  <a:pt x="2758" y="908"/>
                  <a:pt x="2758" y="908"/>
                  <a:pt x="2758" y="908"/>
                </a:cubicBezTo>
                <a:cubicBezTo>
                  <a:pt x="2760" y="906"/>
                  <a:pt x="2760" y="906"/>
                  <a:pt x="2760" y="906"/>
                </a:cubicBezTo>
                <a:cubicBezTo>
                  <a:pt x="2761" y="905"/>
                  <a:pt x="2761" y="905"/>
                  <a:pt x="2761" y="905"/>
                </a:cubicBezTo>
                <a:cubicBezTo>
                  <a:pt x="2763" y="908"/>
                  <a:pt x="2763" y="908"/>
                  <a:pt x="2763" y="908"/>
                </a:cubicBezTo>
                <a:cubicBezTo>
                  <a:pt x="2766" y="909"/>
                  <a:pt x="2766" y="909"/>
                  <a:pt x="2766" y="909"/>
                </a:cubicBezTo>
                <a:cubicBezTo>
                  <a:pt x="2768" y="909"/>
                  <a:pt x="2768" y="909"/>
                  <a:pt x="2768" y="909"/>
                </a:cubicBezTo>
                <a:cubicBezTo>
                  <a:pt x="2768" y="908"/>
                  <a:pt x="2768" y="908"/>
                  <a:pt x="2768" y="908"/>
                </a:cubicBezTo>
                <a:cubicBezTo>
                  <a:pt x="2766" y="906"/>
                  <a:pt x="2766" y="906"/>
                  <a:pt x="2766" y="906"/>
                </a:cubicBezTo>
                <a:cubicBezTo>
                  <a:pt x="2763" y="904"/>
                  <a:pt x="2763" y="904"/>
                  <a:pt x="2763" y="904"/>
                </a:cubicBezTo>
                <a:cubicBezTo>
                  <a:pt x="2762" y="904"/>
                  <a:pt x="2762" y="904"/>
                  <a:pt x="2762" y="904"/>
                </a:cubicBezTo>
                <a:cubicBezTo>
                  <a:pt x="2760" y="902"/>
                  <a:pt x="2760" y="902"/>
                  <a:pt x="2760" y="902"/>
                </a:cubicBezTo>
                <a:cubicBezTo>
                  <a:pt x="2759" y="902"/>
                  <a:pt x="2759" y="902"/>
                  <a:pt x="2759" y="902"/>
                </a:cubicBezTo>
                <a:cubicBezTo>
                  <a:pt x="2760" y="902"/>
                  <a:pt x="2760" y="902"/>
                  <a:pt x="2760" y="902"/>
                </a:cubicBezTo>
                <a:cubicBezTo>
                  <a:pt x="2758" y="901"/>
                  <a:pt x="2758" y="901"/>
                  <a:pt x="2758" y="901"/>
                </a:cubicBezTo>
                <a:cubicBezTo>
                  <a:pt x="2758" y="903"/>
                  <a:pt x="2758" y="903"/>
                  <a:pt x="2758" y="903"/>
                </a:cubicBezTo>
                <a:cubicBezTo>
                  <a:pt x="2759" y="905"/>
                  <a:pt x="2759" y="905"/>
                  <a:pt x="2759" y="905"/>
                </a:cubicBezTo>
                <a:cubicBezTo>
                  <a:pt x="2758" y="906"/>
                  <a:pt x="2758" y="906"/>
                  <a:pt x="2758" y="906"/>
                </a:cubicBezTo>
                <a:lnTo>
                  <a:pt x="2758" y="907"/>
                </a:lnTo>
                <a:close/>
                <a:moveTo>
                  <a:pt x="2747" y="900"/>
                </a:moveTo>
                <a:cubicBezTo>
                  <a:pt x="2746" y="902"/>
                  <a:pt x="2746" y="902"/>
                  <a:pt x="2746" y="902"/>
                </a:cubicBezTo>
                <a:cubicBezTo>
                  <a:pt x="2745" y="904"/>
                  <a:pt x="2745" y="904"/>
                  <a:pt x="2745" y="904"/>
                </a:cubicBezTo>
                <a:cubicBezTo>
                  <a:pt x="2746" y="907"/>
                  <a:pt x="2746" y="907"/>
                  <a:pt x="2746" y="907"/>
                </a:cubicBezTo>
                <a:cubicBezTo>
                  <a:pt x="2747" y="906"/>
                  <a:pt x="2747" y="906"/>
                  <a:pt x="2747" y="906"/>
                </a:cubicBezTo>
                <a:cubicBezTo>
                  <a:pt x="2748" y="904"/>
                  <a:pt x="2748" y="904"/>
                  <a:pt x="2748" y="904"/>
                </a:cubicBezTo>
                <a:cubicBezTo>
                  <a:pt x="2747" y="902"/>
                  <a:pt x="2747" y="902"/>
                  <a:pt x="2747" y="902"/>
                </a:cubicBezTo>
                <a:cubicBezTo>
                  <a:pt x="2747" y="900"/>
                  <a:pt x="2747" y="900"/>
                  <a:pt x="2747" y="900"/>
                </a:cubicBezTo>
                <a:close/>
                <a:moveTo>
                  <a:pt x="2722" y="984"/>
                </a:moveTo>
                <a:cubicBezTo>
                  <a:pt x="2721" y="985"/>
                  <a:pt x="2721" y="985"/>
                  <a:pt x="2721" y="985"/>
                </a:cubicBezTo>
                <a:cubicBezTo>
                  <a:pt x="2722" y="987"/>
                  <a:pt x="2722" y="987"/>
                  <a:pt x="2722" y="987"/>
                </a:cubicBezTo>
                <a:cubicBezTo>
                  <a:pt x="2722" y="986"/>
                  <a:pt x="2722" y="986"/>
                  <a:pt x="2722" y="986"/>
                </a:cubicBezTo>
                <a:lnTo>
                  <a:pt x="2722" y="984"/>
                </a:lnTo>
                <a:close/>
                <a:moveTo>
                  <a:pt x="2748" y="910"/>
                </a:moveTo>
                <a:cubicBezTo>
                  <a:pt x="2746" y="908"/>
                  <a:pt x="2746" y="908"/>
                  <a:pt x="2746" y="908"/>
                </a:cubicBezTo>
                <a:cubicBezTo>
                  <a:pt x="2744" y="909"/>
                  <a:pt x="2744" y="909"/>
                  <a:pt x="2744" y="909"/>
                </a:cubicBezTo>
                <a:cubicBezTo>
                  <a:pt x="2744" y="910"/>
                  <a:pt x="2744" y="910"/>
                  <a:pt x="2744" y="910"/>
                </a:cubicBezTo>
                <a:cubicBezTo>
                  <a:pt x="2746" y="911"/>
                  <a:pt x="2746" y="911"/>
                  <a:pt x="2746" y="911"/>
                </a:cubicBezTo>
                <a:cubicBezTo>
                  <a:pt x="2747" y="911"/>
                  <a:pt x="2747" y="911"/>
                  <a:pt x="2747" y="911"/>
                </a:cubicBezTo>
                <a:cubicBezTo>
                  <a:pt x="2747" y="913"/>
                  <a:pt x="2747" y="913"/>
                  <a:pt x="2747" y="913"/>
                </a:cubicBezTo>
                <a:cubicBezTo>
                  <a:pt x="2747" y="915"/>
                  <a:pt x="2747" y="915"/>
                  <a:pt x="2747" y="915"/>
                </a:cubicBezTo>
                <a:cubicBezTo>
                  <a:pt x="2747" y="918"/>
                  <a:pt x="2747" y="918"/>
                  <a:pt x="2747" y="918"/>
                </a:cubicBezTo>
                <a:cubicBezTo>
                  <a:pt x="2746" y="921"/>
                  <a:pt x="2746" y="921"/>
                  <a:pt x="2746" y="921"/>
                </a:cubicBezTo>
                <a:cubicBezTo>
                  <a:pt x="2747" y="924"/>
                  <a:pt x="2747" y="924"/>
                  <a:pt x="2747" y="924"/>
                </a:cubicBezTo>
                <a:cubicBezTo>
                  <a:pt x="2748" y="924"/>
                  <a:pt x="2748" y="924"/>
                  <a:pt x="2748" y="924"/>
                </a:cubicBezTo>
                <a:cubicBezTo>
                  <a:pt x="2748" y="923"/>
                  <a:pt x="2748" y="923"/>
                  <a:pt x="2748" y="923"/>
                </a:cubicBezTo>
                <a:cubicBezTo>
                  <a:pt x="2750" y="921"/>
                  <a:pt x="2750" y="921"/>
                  <a:pt x="2750" y="921"/>
                </a:cubicBezTo>
                <a:cubicBezTo>
                  <a:pt x="2752" y="922"/>
                  <a:pt x="2752" y="922"/>
                  <a:pt x="2752" y="922"/>
                </a:cubicBezTo>
                <a:cubicBezTo>
                  <a:pt x="2752" y="921"/>
                  <a:pt x="2752" y="921"/>
                  <a:pt x="2752" y="921"/>
                </a:cubicBezTo>
                <a:cubicBezTo>
                  <a:pt x="2753" y="921"/>
                  <a:pt x="2753" y="921"/>
                  <a:pt x="2753" y="921"/>
                </a:cubicBezTo>
                <a:cubicBezTo>
                  <a:pt x="2754" y="920"/>
                  <a:pt x="2754" y="920"/>
                  <a:pt x="2754" y="920"/>
                </a:cubicBezTo>
                <a:cubicBezTo>
                  <a:pt x="2756" y="918"/>
                  <a:pt x="2756" y="918"/>
                  <a:pt x="2756" y="918"/>
                </a:cubicBezTo>
                <a:cubicBezTo>
                  <a:pt x="2757" y="915"/>
                  <a:pt x="2757" y="915"/>
                  <a:pt x="2757" y="915"/>
                </a:cubicBezTo>
                <a:cubicBezTo>
                  <a:pt x="2758" y="915"/>
                  <a:pt x="2758" y="915"/>
                  <a:pt x="2758" y="915"/>
                </a:cubicBezTo>
                <a:cubicBezTo>
                  <a:pt x="2759" y="913"/>
                  <a:pt x="2759" y="913"/>
                  <a:pt x="2759" y="913"/>
                </a:cubicBezTo>
                <a:cubicBezTo>
                  <a:pt x="2758" y="911"/>
                  <a:pt x="2758" y="911"/>
                  <a:pt x="2758" y="911"/>
                </a:cubicBezTo>
                <a:cubicBezTo>
                  <a:pt x="2757" y="912"/>
                  <a:pt x="2757" y="912"/>
                  <a:pt x="2757" y="912"/>
                </a:cubicBezTo>
                <a:cubicBezTo>
                  <a:pt x="2755" y="914"/>
                  <a:pt x="2755" y="914"/>
                  <a:pt x="2755" y="914"/>
                </a:cubicBezTo>
                <a:cubicBezTo>
                  <a:pt x="2754" y="912"/>
                  <a:pt x="2754" y="912"/>
                  <a:pt x="2754" y="912"/>
                </a:cubicBezTo>
                <a:cubicBezTo>
                  <a:pt x="2753" y="912"/>
                  <a:pt x="2753" y="912"/>
                  <a:pt x="2753" y="912"/>
                </a:cubicBezTo>
                <a:cubicBezTo>
                  <a:pt x="2751" y="912"/>
                  <a:pt x="2751" y="912"/>
                  <a:pt x="2751" y="912"/>
                </a:cubicBezTo>
                <a:cubicBezTo>
                  <a:pt x="2749" y="912"/>
                  <a:pt x="2749" y="912"/>
                  <a:pt x="2749" y="912"/>
                </a:cubicBezTo>
                <a:cubicBezTo>
                  <a:pt x="2750" y="911"/>
                  <a:pt x="2750" y="911"/>
                  <a:pt x="2750" y="911"/>
                </a:cubicBezTo>
                <a:lnTo>
                  <a:pt x="2748" y="910"/>
                </a:lnTo>
                <a:close/>
                <a:moveTo>
                  <a:pt x="2725" y="923"/>
                </a:moveTo>
                <a:cubicBezTo>
                  <a:pt x="2724" y="922"/>
                  <a:pt x="2724" y="922"/>
                  <a:pt x="2724" y="922"/>
                </a:cubicBezTo>
                <a:cubicBezTo>
                  <a:pt x="2724" y="923"/>
                  <a:pt x="2724" y="923"/>
                  <a:pt x="2724" y="923"/>
                </a:cubicBezTo>
                <a:cubicBezTo>
                  <a:pt x="2723" y="924"/>
                  <a:pt x="2723" y="924"/>
                  <a:pt x="2723" y="924"/>
                </a:cubicBezTo>
                <a:cubicBezTo>
                  <a:pt x="2723" y="925"/>
                  <a:pt x="2723" y="925"/>
                  <a:pt x="2723" y="925"/>
                </a:cubicBezTo>
                <a:cubicBezTo>
                  <a:pt x="2724" y="925"/>
                  <a:pt x="2724" y="925"/>
                  <a:pt x="2724" y="925"/>
                </a:cubicBezTo>
                <a:cubicBezTo>
                  <a:pt x="2726" y="925"/>
                  <a:pt x="2726" y="925"/>
                  <a:pt x="2726" y="925"/>
                </a:cubicBezTo>
                <a:cubicBezTo>
                  <a:pt x="2726" y="924"/>
                  <a:pt x="2726" y="924"/>
                  <a:pt x="2726" y="924"/>
                </a:cubicBezTo>
                <a:lnTo>
                  <a:pt x="2725" y="923"/>
                </a:lnTo>
                <a:close/>
                <a:moveTo>
                  <a:pt x="2723" y="912"/>
                </a:moveTo>
                <a:cubicBezTo>
                  <a:pt x="2724" y="911"/>
                  <a:pt x="2724" y="911"/>
                  <a:pt x="2724" y="911"/>
                </a:cubicBezTo>
                <a:cubicBezTo>
                  <a:pt x="2725" y="910"/>
                  <a:pt x="2725" y="910"/>
                  <a:pt x="2725" y="910"/>
                </a:cubicBezTo>
                <a:cubicBezTo>
                  <a:pt x="2724" y="909"/>
                  <a:pt x="2724" y="909"/>
                  <a:pt x="2724" y="909"/>
                </a:cubicBezTo>
                <a:cubicBezTo>
                  <a:pt x="2722" y="908"/>
                  <a:pt x="2722" y="908"/>
                  <a:pt x="2722" y="908"/>
                </a:cubicBezTo>
                <a:cubicBezTo>
                  <a:pt x="2722" y="909"/>
                  <a:pt x="2722" y="909"/>
                  <a:pt x="2722" y="909"/>
                </a:cubicBezTo>
                <a:cubicBezTo>
                  <a:pt x="2722" y="912"/>
                  <a:pt x="2722" y="912"/>
                  <a:pt x="2722" y="912"/>
                </a:cubicBezTo>
                <a:lnTo>
                  <a:pt x="2723" y="912"/>
                </a:lnTo>
                <a:close/>
                <a:moveTo>
                  <a:pt x="2728" y="982"/>
                </a:moveTo>
                <a:cubicBezTo>
                  <a:pt x="2730" y="981"/>
                  <a:pt x="2730" y="981"/>
                  <a:pt x="2730" y="981"/>
                </a:cubicBezTo>
                <a:cubicBezTo>
                  <a:pt x="2730" y="979"/>
                  <a:pt x="2730" y="979"/>
                  <a:pt x="2730" y="979"/>
                </a:cubicBezTo>
                <a:cubicBezTo>
                  <a:pt x="2729" y="979"/>
                  <a:pt x="2729" y="979"/>
                  <a:pt x="2729" y="979"/>
                </a:cubicBezTo>
                <a:cubicBezTo>
                  <a:pt x="2725" y="982"/>
                  <a:pt x="2725" y="982"/>
                  <a:pt x="2725" y="982"/>
                </a:cubicBezTo>
                <a:cubicBezTo>
                  <a:pt x="2726" y="983"/>
                  <a:pt x="2726" y="983"/>
                  <a:pt x="2726" y="983"/>
                </a:cubicBezTo>
                <a:lnTo>
                  <a:pt x="2728" y="982"/>
                </a:lnTo>
                <a:close/>
                <a:moveTo>
                  <a:pt x="2753" y="904"/>
                </a:moveTo>
                <a:cubicBezTo>
                  <a:pt x="2753" y="903"/>
                  <a:pt x="2753" y="903"/>
                  <a:pt x="2753" y="903"/>
                </a:cubicBezTo>
                <a:cubicBezTo>
                  <a:pt x="2751" y="902"/>
                  <a:pt x="2751" y="902"/>
                  <a:pt x="2751" y="902"/>
                </a:cubicBezTo>
                <a:cubicBezTo>
                  <a:pt x="2750" y="903"/>
                  <a:pt x="2750" y="903"/>
                  <a:pt x="2750" y="903"/>
                </a:cubicBezTo>
                <a:cubicBezTo>
                  <a:pt x="2751" y="904"/>
                  <a:pt x="2751" y="904"/>
                  <a:pt x="2751" y="904"/>
                </a:cubicBezTo>
                <a:lnTo>
                  <a:pt x="2753" y="904"/>
                </a:lnTo>
                <a:close/>
                <a:moveTo>
                  <a:pt x="2770" y="923"/>
                </a:moveTo>
                <a:cubicBezTo>
                  <a:pt x="2770" y="921"/>
                  <a:pt x="2770" y="921"/>
                  <a:pt x="2770" y="921"/>
                </a:cubicBezTo>
                <a:cubicBezTo>
                  <a:pt x="2770" y="922"/>
                  <a:pt x="2770" y="922"/>
                  <a:pt x="2770" y="922"/>
                </a:cubicBezTo>
                <a:lnTo>
                  <a:pt x="2770" y="923"/>
                </a:lnTo>
                <a:close/>
                <a:moveTo>
                  <a:pt x="2766" y="931"/>
                </a:moveTo>
                <a:cubicBezTo>
                  <a:pt x="2767" y="933"/>
                  <a:pt x="2767" y="933"/>
                  <a:pt x="2767" y="933"/>
                </a:cubicBezTo>
                <a:cubicBezTo>
                  <a:pt x="2767" y="934"/>
                  <a:pt x="2767" y="934"/>
                  <a:pt x="2767" y="934"/>
                </a:cubicBezTo>
                <a:cubicBezTo>
                  <a:pt x="2769" y="933"/>
                  <a:pt x="2769" y="933"/>
                  <a:pt x="2769" y="933"/>
                </a:cubicBezTo>
                <a:cubicBezTo>
                  <a:pt x="2772" y="932"/>
                  <a:pt x="2772" y="932"/>
                  <a:pt x="2772" y="932"/>
                </a:cubicBezTo>
                <a:cubicBezTo>
                  <a:pt x="2773" y="931"/>
                  <a:pt x="2773" y="931"/>
                  <a:pt x="2773" y="931"/>
                </a:cubicBezTo>
                <a:cubicBezTo>
                  <a:pt x="2773" y="929"/>
                  <a:pt x="2773" y="929"/>
                  <a:pt x="2773" y="929"/>
                </a:cubicBezTo>
                <a:cubicBezTo>
                  <a:pt x="2772" y="928"/>
                  <a:pt x="2772" y="928"/>
                  <a:pt x="2772" y="928"/>
                </a:cubicBezTo>
                <a:cubicBezTo>
                  <a:pt x="2771" y="928"/>
                  <a:pt x="2771" y="928"/>
                  <a:pt x="2771" y="928"/>
                </a:cubicBezTo>
                <a:cubicBezTo>
                  <a:pt x="2767" y="930"/>
                  <a:pt x="2767" y="930"/>
                  <a:pt x="2767" y="930"/>
                </a:cubicBezTo>
                <a:lnTo>
                  <a:pt x="2766" y="931"/>
                </a:lnTo>
                <a:close/>
                <a:moveTo>
                  <a:pt x="2774" y="937"/>
                </a:moveTo>
                <a:cubicBezTo>
                  <a:pt x="2774" y="938"/>
                  <a:pt x="2774" y="938"/>
                  <a:pt x="2774" y="938"/>
                </a:cubicBezTo>
                <a:cubicBezTo>
                  <a:pt x="2776" y="939"/>
                  <a:pt x="2776" y="939"/>
                  <a:pt x="2776" y="939"/>
                </a:cubicBezTo>
                <a:cubicBezTo>
                  <a:pt x="2776" y="937"/>
                  <a:pt x="2776" y="937"/>
                  <a:pt x="2776" y="937"/>
                </a:cubicBezTo>
                <a:cubicBezTo>
                  <a:pt x="2774" y="936"/>
                  <a:pt x="2774" y="936"/>
                  <a:pt x="2774" y="936"/>
                </a:cubicBezTo>
                <a:lnTo>
                  <a:pt x="2774" y="937"/>
                </a:lnTo>
                <a:close/>
                <a:moveTo>
                  <a:pt x="2769" y="913"/>
                </a:moveTo>
                <a:cubicBezTo>
                  <a:pt x="2771" y="914"/>
                  <a:pt x="2771" y="914"/>
                  <a:pt x="2771" y="914"/>
                </a:cubicBezTo>
                <a:cubicBezTo>
                  <a:pt x="2772" y="914"/>
                  <a:pt x="2772" y="914"/>
                  <a:pt x="2772" y="914"/>
                </a:cubicBezTo>
                <a:cubicBezTo>
                  <a:pt x="2773" y="912"/>
                  <a:pt x="2773" y="912"/>
                  <a:pt x="2773" y="912"/>
                </a:cubicBezTo>
                <a:cubicBezTo>
                  <a:pt x="2770" y="912"/>
                  <a:pt x="2770" y="912"/>
                  <a:pt x="2770" y="912"/>
                </a:cubicBezTo>
                <a:lnTo>
                  <a:pt x="2769" y="913"/>
                </a:lnTo>
                <a:close/>
                <a:moveTo>
                  <a:pt x="2780" y="930"/>
                </a:moveTo>
                <a:cubicBezTo>
                  <a:pt x="2781" y="931"/>
                  <a:pt x="2781" y="931"/>
                  <a:pt x="2781" y="931"/>
                </a:cubicBezTo>
                <a:cubicBezTo>
                  <a:pt x="2781" y="930"/>
                  <a:pt x="2781" y="930"/>
                  <a:pt x="2781" y="930"/>
                </a:cubicBezTo>
                <a:cubicBezTo>
                  <a:pt x="2780" y="928"/>
                  <a:pt x="2780" y="928"/>
                  <a:pt x="2780" y="928"/>
                </a:cubicBezTo>
                <a:lnTo>
                  <a:pt x="2780" y="930"/>
                </a:lnTo>
                <a:close/>
                <a:moveTo>
                  <a:pt x="2777" y="921"/>
                </a:moveTo>
                <a:cubicBezTo>
                  <a:pt x="2777" y="918"/>
                  <a:pt x="2777" y="918"/>
                  <a:pt x="2777" y="918"/>
                </a:cubicBezTo>
                <a:cubicBezTo>
                  <a:pt x="2776" y="916"/>
                  <a:pt x="2776" y="916"/>
                  <a:pt x="2776" y="916"/>
                </a:cubicBezTo>
                <a:cubicBezTo>
                  <a:pt x="2775" y="915"/>
                  <a:pt x="2775" y="915"/>
                  <a:pt x="2775" y="915"/>
                </a:cubicBezTo>
                <a:cubicBezTo>
                  <a:pt x="2773" y="916"/>
                  <a:pt x="2773" y="916"/>
                  <a:pt x="2773" y="916"/>
                </a:cubicBezTo>
                <a:cubicBezTo>
                  <a:pt x="2771" y="915"/>
                  <a:pt x="2771" y="915"/>
                  <a:pt x="2771" y="915"/>
                </a:cubicBezTo>
                <a:cubicBezTo>
                  <a:pt x="2770" y="915"/>
                  <a:pt x="2770" y="915"/>
                  <a:pt x="2770" y="915"/>
                </a:cubicBezTo>
                <a:cubicBezTo>
                  <a:pt x="2771" y="917"/>
                  <a:pt x="2771" y="917"/>
                  <a:pt x="2771" y="917"/>
                </a:cubicBezTo>
                <a:cubicBezTo>
                  <a:pt x="2771" y="919"/>
                  <a:pt x="2771" y="919"/>
                  <a:pt x="2771" y="919"/>
                </a:cubicBezTo>
                <a:cubicBezTo>
                  <a:pt x="2772" y="920"/>
                  <a:pt x="2772" y="920"/>
                  <a:pt x="2772" y="920"/>
                </a:cubicBezTo>
                <a:cubicBezTo>
                  <a:pt x="2773" y="919"/>
                  <a:pt x="2773" y="919"/>
                  <a:pt x="2773" y="919"/>
                </a:cubicBezTo>
                <a:cubicBezTo>
                  <a:pt x="2774" y="920"/>
                  <a:pt x="2774" y="920"/>
                  <a:pt x="2774" y="920"/>
                </a:cubicBezTo>
                <a:cubicBezTo>
                  <a:pt x="2774" y="923"/>
                  <a:pt x="2774" y="923"/>
                  <a:pt x="2774" y="923"/>
                </a:cubicBezTo>
                <a:cubicBezTo>
                  <a:pt x="2775" y="925"/>
                  <a:pt x="2775" y="925"/>
                  <a:pt x="2775" y="925"/>
                </a:cubicBezTo>
                <a:cubicBezTo>
                  <a:pt x="2775" y="927"/>
                  <a:pt x="2775" y="927"/>
                  <a:pt x="2775" y="927"/>
                </a:cubicBezTo>
                <a:cubicBezTo>
                  <a:pt x="2777" y="929"/>
                  <a:pt x="2777" y="929"/>
                  <a:pt x="2777" y="929"/>
                </a:cubicBezTo>
                <a:cubicBezTo>
                  <a:pt x="2777" y="926"/>
                  <a:pt x="2777" y="926"/>
                  <a:pt x="2777" y="926"/>
                </a:cubicBezTo>
                <a:cubicBezTo>
                  <a:pt x="2778" y="927"/>
                  <a:pt x="2778" y="927"/>
                  <a:pt x="2778" y="927"/>
                </a:cubicBezTo>
                <a:cubicBezTo>
                  <a:pt x="2780" y="927"/>
                  <a:pt x="2780" y="927"/>
                  <a:pt x="2780" y="927"/>
                </a:cubicBezTo>
                <a:cubicBezTo>
                  <a:pt x="2780" y="925"/>
                  <a:pt x="2780" y="925"/>
                  <a:pt x="2780" y="925"/>
                </a:cubicBezTo>
                <a:cubicBezTo>
                  <a:pt x="2779" y="922"/>
                  <a:pt x="2779" y="922"/>
                  <a:pt x="2779" y="922"/>
                </a:cubicBezTo>
                <a:lnTo>
                  <a:pt x="2777" y="921"/>
                </a:lnTo>
                <a:close/>
                <a:moveTo>
                  <a:pt x="2734" y="969"/>
                </a:moveTo>
                <a:cubicBezTo>
                  <a:pt x="2735" y="968"/>
                  <a:pt x="2735" y="968"/>
                  <a:pt x="2735" y="968"/>
                </a:cubicBezTo>
                <a:cubicBezTo>
                  <a:pt x="2735" y="967"/>
                  <a:pt x="2735" y="967"/>
                  <a:pt x="2735" y="967"/>
                </a:cubicBezTo>
                <a:cubicBezTo>
                  <a:pt x="2733" y="969"/>
                  <a:pt x="2733" y="969"/>
                  <a:pt x="2733" y="969"/>
                </a:cubicBezTo>
                <a:lnTo>
                  <a:pt x="2734" y="969"/>
                </a:lnTo>
                <a:close/>
                <a:moveTo>
                  <a:pt x="2762" y="938"/>
                </a:moveTo>
                <a:cubicBezTo>
                  <a:pt x="2763" y="939"/>
                  <a:pt x="2763" y="939"/>
                  <a:pt x="2763" y="939"/>
                </a:cubicBezTo>
                <a:cubicBezTo>
                  <a:pt x="2765" y="939"/>
                  <a:pt x="2765" y="939"/>
                  <a:pt x="2765" y="939"/>
                </a:cubicBezTo>
                <a:cubicBezTo>
                  <a:pt x="2765" y="937"/>
                  <a:pt x="2765" y="937"/>
                  <a:pt x="2765" y="937"/>
                </a:cubicBezTo>
                <a:cubicBezTo>
                  <a:pt x="2764" y="937"/>
                  <a:pt x="2764" y="937"/>
                  <a:pt x="2764" y="937"/>
                </a:cubicBezTo>
                <a:cubicBezTo>
                  <a:pt x="2763" y="937"/>
                  <a:pt x="2763" y="937"/>
                  <a:pt x="2763" y="937"/>
                </a:cubicBezTo>
                <a:lnTo>
                  <a:pt x="2762" y="938"/>
                </a:lnTo>
                <a:close/>
                <a:moveTo>
                  <a:pt x="3114" y="1128"/>
                </a:moveTo>
                <a:cubicBezTo>
                  <a:pt x="3115" y="1127"/>
                  <a:pt x="3115" y="1127"/>
                  <a:pt x="3115" y="1127"/>
                </a:cubicBezTo>
                <a:cubicBezTo>
                  <a:pt x="3115" y="1126"/>
                  <a:pt x="3115" y="1126"/>
                  <a:pt x="3115" y="1126"/>
                </a:cubicBezTo>
                <a:cubicBezTo>
                  <a:pt x="3113" y="1126"/>
                  <a:pt x="3113" y="1126"/>
                  <a:pt x="3113" y="1126"/>
                </a:cubicBezTo>
                <a:cubicBezTo>
                  <a:pt x="3113" y="1127"/>
                  <a:pt x="3113" y="1127"/>
                  <a:pt x="3113" y="1127"/>
                </a:cubicBezTo>
                <a:lnTo>
                  <a:pt x="3114" y="1128"/>
                </a:lnTo>
                <a:close/>
                <a:moveTo>
                  <a:pt x="3099" y="1642"/>
                </a:moveTo>
                <a:cubicBezTo>
                  <a:pt x="3100" y="1642"/>
                  <a:pt x="3100" y="1642"/>
                  <a:pt x="3100" y="1642"/>
                </a:cubicBezTo>
                <a:cubicBezTo>
                  <a:pt x="3100" y="1641"/>
                  <a:pt x="3100" y="1641"/>
                  <a:pt x="3100" y="1641"/>
                </a:cubicBezTo>
                <a:cubicBezTo>
                  <a:pt x="3099" y="1640"/>
                  <a:pt x="3099" y="1640"/>
                  <a:pt x="3099" y="1640"/>
                </a:cubicBezTo>
                <a:cubicBezTo>
                  <a:pt x="3098" y="1641"/>
                  <a:pt x="3098" y="1641"/>
                  <a:pt x="3098" y="1641"/>
                </a:cubicBezTo>
                <a:cubicBezTo>
                  <a:pt x="3098" y="1641"/>
                  <a:pt x="3098" y="1641"/>
                  <a:pt x="3098" y="1641"/>
                </a:cubicBezTo>
                <a:lnTo>
                  <a:pt x="3099" y="1642"/>
                </a:lnTo>
                <a:close/>
                <a:moveTo>
                  <a:pt x="3131" y="1133"/>
                </a:moveTo>
                <a:cubicBezTo>
                  <a:pt x="3131" y="1136"/>
                  <a:pt x="3131" y="1136"/>
                  <a:pt x="3131" y="1136"/>
                </a:cubicBezTo>
                <a:cubicBezTo>
                  <a:pt x="3133" y="1138"/>
                  <a:pt x="3133" y="1138"/>
                  <a:pt x="3133" y="1138"/>
                </a:cubicBezTo>
                <a:cubicBezTo>
                  <a:pt x="3135" y="1140"/>
                  <a:pt x="3135" y="1140"/>
                  <a:pt x="3135" y="1140"/>
                </a:cubicBezTo>
                <a:cubicBezTo>
                  <a:pt x="3138" y="1139"/>
                  <a:pt x="3138" y="1139"/>
                  <a:pt x="3138" y="1139"/>
                </a:cubicBezTo>
                <a:cubicBezTo>
                  <a:pt x="3139" y="1141"/>
                  <a:pt x="3139" y="1141"/>
                  <a:pt x="3139" y="1141"/>
                </a:cubicBezTo>
                <a:cubicBezTo>
                  <a:pt x="3141" y="1141"/>
                  <a:pt x="3141" y="1141"/>
                  <a:pt x="3141" y="1141"/>
                </a:cubicBezTo>
                <a:cubicBezTo>
                  <a:pt x="3142" y="1139"/>
                  <a:pt x="3142" y="1139"/>
                  <a:pt x="3142" y="1139"/>
                </a:cubicBezTo>
                <a:cubicBezTo>
                  <a:pt x="3142" y="1138"/>
                  <a:pt x="3142" y="1138"/>
                  <a:pt x="3142" y="1138"/>
                </a:cubicBezTo>
                <a:cubicBezTo>
                  <a:pt x="3141" y="1138"/>
                  <a:pt x="3141" y="1138"/>
                  <a:pt x="3141" y="1138"/>
                </a:cubicBezTo>
                <a:cubicBezTo>
                  <a:pt x="3139" y="1136"/>
                  <a:pt x="3139" y="1136"/>
                  <a:pt x="3139" y="1136"/>
                </a:cubicBezTo>
                <a:cubicBezTo>
                  <a:pt x="3136" y="1135"/>
                  <a:pt x="3136" y="1135"/>
                  <a:pt x="3136" y="1135"/>
                </a:cubicBezTo>
                <a:cubicBezTo>
                  <a:pt x="3134" y="1135"/>
                  <a:pt x="3134" y="1135"/>
                  <a:pt x="3134" y="1135"/>
                </a:cubicBezTo>
                <a:cubicBezTo>
                  <a:pt x="3132" y="1133"/>
                  <a:pt x="3132" y="1133"/>
                  <a:pt x="3132" y="1133"/>
                </a:cubicBezTo>
                <a:lnTo>
                  <a:pt x="3131" y="1133"/>
                </a:lnTo>
                <a:close/>
                <a:moveTo>
                  <a:pt x="3139" y="1132"/>
                </a:moveTo>
                <a:cubicBezTo>
                  <a:pt x="3139" y="1131"/>
                  <a:pt x="3139" y="1131"/>
                  <a:pt x="3139" y="1131"/>
                </a:cubicBezTo>
                <a:cubicBezTo>
                  <a:pt x="3137" y="1130"/>
                  <a:pt x="3137" y="1130"/>
                  <a:pt x="3137" y="1130"/>
                </a:cubicBezTo>
                <a:cubicBezTo>
                  <a:pt x="3137" y="1132"/>
                  <a:pt x="3137" y="1132"/>
                  <a:pt x="3137" y="1132"/>
                </a:cubicBezTo>
                <a:lnTo>
                  <a:pt x="3139" y="1132"/>
                </a:lnTo>
                <a:close/>
                <a:moveTo>
                  <a:pt x="3100" y="1105"/>
                </a:moveTo>
                <a:cubicBezTo>
                  <a:pt x="3101" y="1108"/>
                  <a:pt x="3101" y="1108"/>
                  <a:pt x="3101" y="1108"/>
                </a:cubicBezTo>
                <a:cubicBezTo>
                  <a:pt x="3104" y="1110"/>
                  <a:pt x="3104" y="1110"/>
                  <a:pt x="3104" y="1110"/>
                </a:cubicBezTo>
                <a:cubicBezTo>
                  <a:pt x="3107" y="1112"/>
                  <a:pt x="3107" y="1112"/>
                  <a:pt x="3107" y="1112"/>
                </a:cubicBezTo>
                <a:cubicBezTo>
                  <a:pt x="3109" y="1113"/>
                  <a:pt x="3109" y="1113"/>
                  <a:pt x="3109" y="1113"/>
                </a:cubicBezTo>
                <a:cubicBezTo>
                  <a:pt x="3111" y="1113"/>
                  <a:pt x="3111" y="1113"/>
                  <a:pt x="3111" y="1113"/>
                </a:cubicBezTo>
                <a:cubicBezTo>
                  <a:pt x="3110" y="1112"/>
                  <a:pt x="3110" y="1112"/>
                  <a:pt x="3110" y="1112"/>
                </a:cubicBezTo>
                <a:cubicBezTo>
                  <a:pt x="3108" y="1110"/>
                  <a:pt x="3108" y="1110"/>
                  <a:pt x="3108" y="1110"/>
                </a:cubicBezTo>
                <a:cubicBezTo>
                  <a:pt x="3107" y="1109"/>
                  <a:pt x="3107" y="1109"/>
                  <a:pt x="3107" y="1109"/>
                </a:cubicBezTo>
                <a:cubicBezTo>
                  <a:pt x="3107" y="1108"/>
                  <a:pt x="3107" y="1108"/>
                  <a:pt x="3107" y="1108"/>
                </a:cubicBezTo>
                <a:cubicBezTo>
                  <a:pt x="3105" y="1107"/>
                  <a:pt x="3105" y="1107"/>
                  <a:pt x="3105" y="1107"/>
                </a:cubicBezTo>
                <a:cubicBezTo>
                  <a:pt x="3102" y="1106"/>
                  <a:pt x="3102" y="1106"/>
                  <a:pt x="3102" y="1106"/>
                </a:cubicBezTo>
                <a:cubicBezTo>
                  <a:pt x="3102" y="1105"/>
                  <a:pt x="3102" y="1105"/>
                  <a:pt x="3102" y="1105"/>
                </a:cubicBezTo>
                <a:cubicBezTo>
                  <a:pt x="3100" y="1104"/>
                  <a:pt x="3100" y="1104"/>
                  <a:pt x="3100" y="1104"/>
                </a:cubicBezTo>
                <a:lnTo>
                  <a:pt x="3100" y="1105"/>
                </a:lnTo>
                <a:close/>
                <a:moveTo>
                  <a:pt x="3101" y="1101"/>
                </a:moveTo>
                <a:cubicBezTo>
                  <a:pt x="3098" y="1104"/>
                  <a:pt x="3098" y="1104"/>
                  <a:pt x="3098" y="1104"/>
                </a:cubicBezTo>
                <a:cubicBezTo>
                  <a:pt x="3100" y="1103"/>
                  <a:pt x="3100" y="1103"/>
                  <a:pt x="3100" y="1103"/>
                </a:cubicBezTo>
                <a:lnTo>
                  <a:pt x="3101" y="1101"/>
                </a:lnTo>
                <a:close/>
                <a:moveTo>
                  <a:pt x="3103" y="1118"/>
                </a:moveTo>
                <a:cubicBezTo>
                  <a:pt x="3103" y="1117"/>
                  <a:pt x="3103" y="1117"/>
                  <a:pt x="3103" y="1117"/>
                </a:cubicBezTo>
                <a:cubicBezTo>
                  <a:pt x="3101" y="1115"/>
                  <a:pt x="3101" y="1115"/>
                  <a:pt x="3101" y="1115"/>
                </a:cubicBezTo>
                <a:cubicBezTo>
                  <a:pt x="3101" y="1117"/>
                  <a:pt x="3101" y="1117"/>
                  <a:pt x="3101" y="1117"/>
                </a:cubicBezTo>
                <a:cubicBezTo>
                  <a:pt x="3101" y="1118"/>
                  <a:pt x="3101" y="1118"/>
                  <a:pt x="3101" y="1118"/>
                </a:cubicBezTo>
                <a:cubicBezTo>
                  <a:pt x="3101" y="1119"/>
                  <a:pt x="3101" y="1119"/>
                  <a:pt x="3101" y="1119"/>
                </a:cubicBezTo>
                <a:lnTo>
                  <a:pt x="3103" y="1118"/>
                </a:lnTo>
                <a:close/>
                <a:moveTo>
                  <a:pt x="3126" y="1121"/>
                </a:moveTo>
                <a:cubicBezTo>
                  <a:pt x="3128" y="1123"/>
                  <a:pt x="3128" y="1123"/>
                  <a:pt x="3128" y="1123"/>
                </a:cubicBezTo>
                <a:cubicBezTo>
                  <a:pt x="3129" y="1124"/>
                  <a:pt x="3129" y="1124"/>
                  <a:pt x="3129" y="1124"/>
                </a:cubicBezTo>
                <a:cubicBezTo>
                  <a:pt x="3130" y="1125"/>
                  <a:pt x="3130" y="1125"/>
                  <a:pt x="3130" y="1125"/>
                </a:cubicBezTo>
                <a:cubicBezTo>
                  <a:pt x="3131" y="1124"/>
                  <a:pt x="3131" y="1124"/>
                  <a:pt x="3131" y="1124"/>
                </a:cubicBezTo>
                <a:cubicBezTo>
                  <a:pt x="3132" y="1125"/>
                  <a:pt x="3132" y="1125"/>
                  <a:pt x="3132" y="1125"/>
                </a:cubicBezTo>
                <a:cubicBezTo>
                  <a:pt x="3132" y="1124"/>
                  <a:pt x="3132" y="1124"/>
                  <a:pt x="3132" y="1124"/>
                </a:cubicBezTo>
                <a:cubicBezTo>
                  <a:pt x="3132" y="1123"/>
                  <a:pt x="3132" y="1123"/>
                  <a:pt x="3132" y="1123"/>
                </a:cubicBezTo>
                <a:cubicBezTo>
                  <a:pt x="3129" y="1119"/>
                  <a:pt x="3129" y="1119"/>
                  <a:pt x="3129" y="1119"/>
                </a:cubicBezTo>
                <a:cubicBezTo>
                  <a:pt x="3125" y="1117"/>
                  <a:pt x="3125" y="1117"/>
                  <a:pt x="3125" y="1117"/>
                </a:cubicBezTo>
                <a:cubicBezTo>
                  <a:pt x="3123" y="1115"/>
                  <a:pt x="3123" y="1115"/>
                  <a:pt x="3123" y="1115"/>
                </a:cubicBezTo>
                <a:cubicBezTo>
                  <a:pt x="3119" y="1115"/>
                  <a:pt x="3119" y="1115"/>
                  <a:pt x="3119" y="1115"/>
                </a:cubicBezTo>
                <a:cubicBezTo>
                  <a:pt x="3119" y="1115"/>
                  <a:pt x="3122" y="1116"/>
                  <a:pt x="3122" y="1116"/>
                </a:cubicBezTo>
                <a:lnTo>
                  <a:pt x="3126" y="1121"/>
                </a:lnTo>
                <a:close/>
                <a:moveTo>
                  <a:pt x="3200" y="1211"/>
                </a:moveTo>
                <a:cubicBezTo>
                  <a:pt x="3200" y="1212"/>
                  <a:pt x="3200" y="1212"/>
                  <a:pt x="3200" y="1212"/>
                </a:cubicBezTo>
                <a:cubicBezTo>
                  <a:pt x="3201" y="1212"/>
                  <a:pt x="3201" y="1212"/>
                  <a:pt x="3201" y="1212"/>
                </a:cubicBezTo>
                <a:cubicBezTo>
                  <a:pt x="3202" y="1213"/>
                  <a:pt x="3202" y="1213"/>
                  <a:pt x="3202" y="1213"/>
                </a:cubicBezTo>
                <a:cubicBezTo>
                  <a:pt x="3202" y="1214"/>
                  <a:pt x="3202" y="1214"/>
                  <a:pt x="3202" y="1214"/>
                </a:cubicBezTo>
                <a:cubicBezTo>
                  <a:pt x="3201" y="1217"/>
                  <a:pt x="3201" y="1217"/>
                  <a:pt x="3201" y="1217"/>
                </a:cubicBezTo>
                <a:cubicBezTo>
                  <a:pt x="3202" y="1219"/>
                  <a:pt x="3202" y="1219"/>
                  <a:pt x="3202" y="1219"/>
                </a:cubicBezTo>
                <a:cubicBezTo>
                  <a:pt x="3204" y="1217"/>
                  <a:pt x="3204" y="1217"/>
                  <a:pt x="3204" y="1217"/>
                </a:cubicBezTo>
                <a:cubicBezTo>
                  <a:pt x="3206" y="1217"/>
                  <a:pt x="3206" y="1217"/>
                  <a:pt x="3206" y="1217"/>
                </a:cubicBezTo>
                <a:cubicBezTo>
                  <a:pt x="3205" y="1216"/>
                  <a:pt x="3205" y="1216"/>
                  <a:pt x="3205" y="1216"/>
                </a:cubicBezTo>
                <a:cubicBezTo>
                  <a:pt x="3203" y="1213"/>
                  <a:pt x="3203" y="1213"/>
                  <a:pt x="3203" y="1213"/>
                </a:cubicBezTo>
                <a:cubicBezTo>
                  <a:pt x="3203" y="1211"/>
                  <a:pt x="3203" y="1211"/>
                  <a:pt x="3203" y="1211"/>
                </a:cubicBezTo>
                <a:cubicBezTo>
                  <a:pt x="3202" y="1210"/>
                  <a:pt x="3202" y="1210"/>
                  <a:pt x="3202" y="1210"/>
                </a:cubicBezTo>
                <a:cubicBezTo>
                  <a:pt x="3200" y="1210"/>
                  <a:pt x="3200" y="1210"/>
                  <a:pt x="3200" y="1210"/>
                </a:cubicBezTo>
                <a:lnTo>
                  <a:pt x="3200" y="1211"/>
                </a:lnTo>
                <a:close/>
                <a:moveTo>
                  <a:pt x="3197" y="1569"/>
                </a:moveTo>
                <a:cubicBezTo>
                  <a:pt x="3196" y="1570"/>
                  <a:pt x="3196" y="1570"/>
                  <a:pt x="3196" y="1570"/>
                </a:cubicBezTo>
                <a:cubicBezTo>
                  <a:pt x="3195" y="1571"/>
                  <a:pt x="3195" y="1571"/>
                  <a:pt x="3195" y="1571"/>
                </a:cubicBezTo>
                <a:cubicBezTo>
                  <a:pt x="3196" y="1571"/>
                  <a:pt x="3196" y="1571"/>
                  <a:pt x="3196" y="1571"/>
                </a:cubicBezTo>
                <a:lnTo>
                  <a:pt x="3197" y="1569"/>
                </a:lnTo>
                <a:close/>
                <a:moveTo>
                  <a:pt x="3195" y="1204"/>
                </a:moveTo>
                <a:cubicBezTo>
                  <a:pt x="3196" y="1207"/>
                  <a:pt x="3196" y="1207"/>
                  <a:pt x="3196" y="1207"/>
                </a:cubicBezTo>
                <a:cubicBezTo>
                  <a:pt x="3198" y="1207"/>
                  <a:pt x="3198" y="1207"/>
                  <a:pt x="3198" y="1207"/>
                </a:cubicBezTo>
                <a:cubicBezTo>
                  <a:pt x="3199" y="1205"/>
                  <a:pt x="3199" y="1205"/>
                  <a:pt x="3199" y="1205"/>
                </a:cubicBezTo>
                <a:cubicBezTo>
                  <a:pt x="3200" y="1206"/>
                  <a:pt x="3200" y="1206"/>
                  <a:pt x="3200" y="1206"/>
                </a:cubicBezTo>
                <a:cubicBezTo>
                  <a:pt x="3201" y="1205"/>
                  <a:pt x="3201" y="1205"/>
                  <a:pt x="3201" y="1205"/>
                </a:cubicBezTo>
                <a:cubicBezTo>
                  <a:pt x="3201" y="1202"/>
                  <a:pt x="3201" y="1202"/>
                  <a:pt x="3201" y="1202"/>
                </a:cubicBezTo>
                <a:cubicBezTo>
                  <a:pt x="3200" y="1201"/>
                  <a:pt x="3200" y="1201"/>
                  <a:pt x="3200" y="1201"/>
                </a:cubicBezTo>
                <a:cubicBezTo>
                  <a:pt x="3201" y="1199"/>
                  <a:pt x="3201" y="1199"/>
                  <a:pt x="3201" y="1199"/>
                </a:cubicBezTo>
                <a:cubicBezTo>
                  <a:pt x="3200" y="1198"/>
                  <a:pt x="3200" y="1198"/>
                  <a:pt x="3200" y="1198"/>
                </a:cubicBezTo>
                <a:cubicBezTo>
                  <a:pt x="3199" y="1199"/>
                  <a:pt x="3199" y="1199"/>
                  <a:pt x="3199" y="1199"/>
                </a:cubicBezTo>
                <a:cubicBezTo>
                  <a:pt x="3199" y="1200"/>
                  <a:pt x="3199" y="1200"/>
                  <a:pt x="3199" y="1200"/>
                </a:cubicBezTo>
                <a:cubicBezTo>
                  <a:pt x="3198" y="1201"/>
                  <a:pt x="3198" y="1201"/>
                  <a:pt x="3198" y="1201"/>
                </a:cubicBezTo>
                <a:cubicBezTo>
                  <a:pt x="3197" y="1200"/>
                  <a:pt x="3197" y="1200"/>
                  <a:pt x="3197" y="1200"/>
                </a:cubicBezTo>
                <a:cubicBezTo>
                  <a:pt x="3197" y="1196"/>
                  <a:pt x="3197" y="1196"/>
                  <a:pt x="3197" y="1196"/>
                </a:cubicBezTo>
                <a:cubicBezTo>
                  <a:pt x="3197" y="1196"/>
                  <a:pt x="3195" y="1195"/>
                  <a:pt x="3195" y="1195"/>
                </a:cubicBezTo>
                <a:cubicBezTo>
                  <a:pt x="3194" y="1199"/>
                  <a:pt x="3194" y="1199"/>
                  <a:pt x="3194" y="1199"/>
                </a:cubicBezTo>
                <a:cubicBezTo>
                  <a:pt x="3195" y="1201"/>
                  <a:pt x="3195" y="1201"/>
                  <a:pt x="3195" y="1201"/>
                </a:cubicBezTo>
                <a:lnTo>
                  <a:pt x="3195" y="1204"/>
                </a:lnTo>
                <a:close/>
                <a:moveTo>
                  <a:pt x="3141" y="1125"/>
                </a:moveTo>
                <a:cubicBezTo>
                  <a:pt x="3141" y="1127"/>
                  <a:pt x="3141" y="1127"/>
                  <a:pt x="3141" y="1127"/>
                </a:cubicBezTo>
                <a:cubicBezTo>
                  <a:pt x="3142" y="1128"/>
                  <a:pt x="3142" y="1128"/>
                  <a:pt x="3142" y="1128"/>
                </a:cubicBezTo>
                <a:cubicBezTo>
                  <a:pt x="3143" y="1131"/>
                  <a:pt x="3143" y="1131"/>
                  <a:pt x="3143" y="1131"/>
                </a:cubicBezTo>
                <a:cubicBezTo>
                  <a:pt x="3147" y="1135"/>
                  <a:pt x="3147" y="1135"/>
                  <a:pt x="3147" y="1135"/>
                </a:cubicBezTo>
                <a:cubicBezTo>
                  <a:pt x="3148" y="1135"/>
                  <a:pt x="3148" y="1135"/>
                  <a:pt x="3148" y="1135"/>
                </a:cubicBezTo>
                <a:cubicBezTo>
                  <a:pt x="3149" y="1137"/>
                  <a:pt x="3149" y="1137"/>
                  <a:pt x="3149" y="1137"/>
                </a:cubicBezTo>
                <a:cubicBezTo>
                  <a:pt x="3150" y="1138"/>
                  <a:pt x="3150" y="1138"/>
                  <a:pt x="3150" y="1138"/>
                </a:cubicBezTo>
                <a:cubicBezTo>
                  <a:pt x="3151" y="1136"/>
                  <a:pt x="3151" y="1136"/>
                  <a:pt x="3151" y="1136"/>
                </a:cubicBezTo>
                <a:cubicBezTo>
                  <a:pt x="3149" y="1134"/>
                  <a:pt x="3149" y="1134"/>
                  <a:pt x="3149" y="1134"/>
                </a:cubicBezTo>
                <a:cubicBezTo>
                  <a:pt x="3147" y="1133"/>
                  <a:pt x="3147" y="1133"/>
                  <a:pt x="3147" y="1133"/>
                </a:cubicBezTo>
                <a:cubicBezTo>
                  <a:pt x="3146" y="1131"/>
                  <a:pt x="3146" y="1131"/>
                  <a:pt x="3146" y="1131"/>
                </a:cubicBezTo>
                <a:cubicBezTo>
                  <a:pt x="3144" y="1128"/>
                  <a:pt x="3144" y="1128"/>
                  <a:pt x="3144" y="1128"/>
                </a:cubicBezTo>
                <a:cubicBezTo>
                  <a:pt x="3144" y="1126"/>
                  <a:pt x="3144" y="1126"/>
                  <a:pt x="3144" y="1126"/>
                </a:cubicBezTo>
                <a:cubicBezTo>
                  <a:pt x="3142" y="1124"/>
                  <a:pt x="3142" y="1124"/>
                  <a:pt x="3142" y="1124"/>
                </a:cubicBezTo>
                <a:cubicBezTo>
                  <a:pt x="3140" y="1124"/>
                  <a:pt x="3140" y="1124"/>
                  <a:pt x="3140" y="1124"/>
                </a:cubicBezTo>
                <a:cubicBezTo>
                  <a:pt x="3140" y="1124"/>
                  <a:pt x="3140" y="1124"/>
                  <a:pt x="3140" y="1124"/>
                </a:cubicBezTo>
                <a:lnTo>
                  <a:pt x="3141" y="1125"/>
                </a:lnTo>
                <a:close/>
                <a:moveTo>
                  <a:pt x="3110" y="1119"/>
                </a:moveTo>
                <a:cubicBezTo>
                  <a:pt x="3109" y="1119"/>
                  <a:pt x="3109" y="1119"/>
                  <a:pt x="3109" y="1119"/>
                </a:cubicBezTo>
                <a:cubicBezTo>
                  <a:pt x="3108" y="1120"/>
                  <a:pt x="3108" y="1120"/>
                  <a:pt x="3108" y="1120"/>
                </a:cubicBezTo>
                <a:cubicBezTo>
                  <a:pt x="3107" y="1122"/>
                  <a:pt x="3107" y="1122"/>
                  <a:pt x="3107" y="1122"/>
                </a:cubicBezTo>
                <a:cubicBezTo>
                  <a:pt x="3109" y="1123"/>
                  <a:pt x="3109" y="1123"/>
                  <a:pt x="3109" y="1123"/>
                </a:cubicBezTo>
                <a:cubicBezTo>
                  <a:pt x="3110" y="1123"/>
                  <a:pt x="3110" y="1123"/>
                  <a:pt x="3110" y="1123"/>
                </a:cubicBezTo>
                <a:cubicBezTo>
                  <a:pt x="3110" y="1124"/>
                  <a:pt x="3110" y="1124"/>
                  <a:pt x="3110" y="1124"/>
                </a:cubicBezTo>
                <a:cubicBezTo>
                  <a:pt x="3112" y="1125"/>
                  <a:pt x="3112" y="1125"/>
                  <a:pt x="3112" y="1125"/>
                </a:cubicBezTo>
                <a:cubicBezTo>
                  <a:pt x="3113" y="1125"/>
                  <a:pt x="3113" y="1125"/>
                  <a:pt x="3113" y="1125"/>
                </a:cubicBezTo>
                <a:cubicBezTo>
                  <a:pt x="3113" y="1123"/>
                  <a:pt x="3113" y="1123"/>
                  <a:pt x="3113" y="1123"/>
                </a:cubicBezTo>
                <a:cubicBezTo>
                  <a:pt x="3112" y="1122"/>
                  <a:pt x="3112" y="1122"/>
                  <a:pt x="3112" y="1122"/>
                </a:cubicBezTo>
                <a:cubicBezTo>
                  <a:pt x="3111" y="1121"/>
                  <a:pt x="3111" y="1121"/>
                  <a:pt x="3111" y="1121"/>
                </a:cubicBezTo>
                <a:lnTo>
                  <a:pt x="3110" y="1119"/>
                </a:lnTo>
                <a:close/>
                <a:moveTo>
                  <a:pt x="3149" y="1145"/>
                </a:moveTo>
                <a:cubicBezTo>
                  <a:pt x="3146" y="1144"/>
                  <a:pt x="3146" y="1144"/>
                  <a:pt x="3146" y="1144"/>
                </a:cubicBezTo>
                <a:cubicBezTo>
                  <a:pt x="3147" y="1146"/>
                  <a:pt x="3147" y="1146"/>
                  <a:pt x="3147" y="1146"/>
                </a:cubicBezTo>
                <a:cubicBezTo>
                  <a:pt x="3148" y="1148"/>
                  <a:pt x="3148" y="1148"/>
                  <a:pt x="3148" y="1148"/>
                </a:cubicBezTo>
                <a:cubicBezTo>
                  <a:pt x="3150" y="1150"/>
                  <a:pt x="3150" y="1150"/>
                  <a:pt x="3150" y="1150"/>
                </a:cubicBezTo>
                <a:cubicBezTo>
                  <a:pt x="3154" y="1151"/>
                  <a:pt x="3154" y="1151"/>
                  <a:pt x="3154" y="1151"/>
                </a:cubicBezTo>
                <a:cubicBezTo>
                  <a:pt x="3156" y="1151"/>
                  <a:pt x="3156" y="1151"/>
                  <a:pt x="3156" y="1151"/>
                </a:cubicBezTo>
                <a:cubicBezTo>
                  <a:pt x="3155" y="1151"/>
                  <a:pt x="3155" y="1151"/>
                  <a:pt x="3155" y="1151"/>
                </a:cubicBezTo>
                <a:cubicBezTo>
                  <a:pt x="3156" y="1149"/>
                  <a:pt x="3156" y="1149"/>
                  <a:pt x="3156" y="1149"/>
                </a:cubicBezTo>
                <a:cubicBezTo>
                  <a:pt x="3154" y="1148"/>
                  <a:pt x="3154" y="1148"/>
                  <a:pt x="3154" y="1148"/>
                </a:cubicBezTo>
                <a:cubicBezTo>
                  <a:pt x="3151" y="1147"/>
                  <a:pt x="3151" y="1147"/>
                  <a:pt x="3151" y="1147"/>
                </a:cubicBezTo>
                <a:lnTo>
                  <a:pt x="3149" y="1145"/>
                </a:lnTo>
                <a:close/>
                <a:moveTo>
                  <a:pt x="3195" y="1570"/>
                </a:moveTo>
                <a:cubicBezTo>
                  <a:pt x="3195" y="1569"/>
                  <a:pt x="3195" y="1569"/>
                  <a:pt x="3195" y="1569"/>
                </a:cubicBezTo>
                <a:cubicBezTo>
                  <a:pt x="3193" y="1570"/>
                  <a:pt x="3193" y="1570"/>
                  <a:pt x="3193" y="1570"/>
                </a:cubicBezTo>
                <a:cubicBezTo>
                  <a:pt x="3194" y="1570"/>
                  <a:pt x="3194" y="1570"/>
                  <a:pt x="3194" y="1570"/>
                </a:cubicBezTo>
                <a:lnTo>
                  <a:pt x="3195" y="1570"/>
                </a:lnTo>
                <a:close/>
                <a:moveTo>
                  <a:pt x="3135" y="1158"/>
                </a:moveTo>
                <a:cubicBezTo>
                  <a:pt x="3133" y="1158"/>
                  <a:pt x="3133" y="1158"/>
                  <a:pt x="3133" y="1158"/>
                </a:cubicBezTo>
                <a:cubicBezTo>
                  <a:pt x="3133" y="1159"/>
                  <a:pt x="3133" y="1159"/>
                  <a:pt x="3133" y="1159"/>
                </a:cubicBezTo>
                <a:cubicBezTo>
                  <a:pt x="3134" y="1160"/>
                  <a:pt x="3134" y="1160"/>
                  <a:pt x="3134" y="1160"/>
                </a:cubicBezTo>
                <a:cubicBezTo>
                  <a:pt x="3135" y="1160"/>
                  <a:pt x="3135" y="1160"/>
                  <a:pt x="3135" y="1160"/>
                </a:cubicBezTo>
                <a:cubicBezTo>
                  <a:pt x="3137" y="1161"/>
                  <a:pt x="3137" y="1161"/>
                  <a:pt x="3137" y="1161"/>
                </a:cubicBezTo>
                <a:cubicBezTo>
                  <a:pt x="3138" y="1160"/>
                  <a:pt x="3138" y="1160"/>
                  <a:pt x="3138" y="1160"/>
                </a:cubicBezTo>
                <a:cubicBezTo>
                  <a:pt x="3136" y="1159"/>
                  <a:pt x="3136" y="1159"/>
                  <a:pt x="3136" y="1159"/>
                </a:cubicBezTo>
                <a:lnTo>
                  <a:pt x="3135" y="1158"/>
                </a:lnTo>
                <a:close/>
                <a:moveTo>
                  <a:pt x="3065" y="1084"/>
                </a:moveTo>
                <a:cubicBezTo>
                  <a:pt x="3066" y="1082"/>
                  <a:pt x="3066" y="1082"/>
                  <a:pt x="3066" y="1082"/>
                </a:cubicBezTo>
                <a:cubicBezTo>
                  <a:pt x="3066" y="1080"/>
                  <a:pt x="3066" y="1080"/>
                  <a:pt x="3066" y="1080"/>
                </a:cubicBezTo>
                <a:cubicBezTo>
                  <a:pt x="3065" y="1080"/>
                  <a:pt x="3065" y="1080"/>
                  <a:pt x="3065" y="1080"/>
                </a:cubicBezTo>
                <a:cubicBezTo>
                  <a:pt x="3064" y="1076"/>
                  <a:pt x="3064" y="1076"/>
                  <a:pt x="3064" y="1076"/>
                </a:cubicBezTo>
                <a:cubicBezTo>
                  <a:pt x="3063" y="1076"/>
                  <a:pt x="3063" y="1076"/>
                  <a:pt x="3063" y="1076"/>
                </a:cubicBezTo>
                <a:cubicBezTo>
                  <a:pt x="3061" y="1073"/>
                  <a:pt x="3061" y="1073"/>
                  <a:pt x="3061" y="1073"/>
                </a:cubicBezTo>
                <a:cubicBezTo>
                  <a:pt x="3059" y="1072"/>
                  <a:pt x="3059" y="1072"/>
                  <a:pt x="3059" y="1072"/>
                </a:cubicBezTo>
                <a:cubicBezTo>
                  <a:pt x="3057" y="1070"/>
                  <a:pt x="3057" y="1070"/>
                  <a:pt x="3057" y="1070"/>
                </a:cubicBezTo>
                <a:cubicBezTo>
                  <a:pt x="3055" y="1069"/>
                  <a:pt x="3055" y="1069"/>
                  <a:pt x="3055" y="1069"/>
                </a:cubicBezTo>
                <a:cubicBezTo>
                  <a:pt x="3051" y="1066"/>
                  <a:pt x="3051" y="1066"/>
                  <a:pt x="3051" y="1066"/>
                </a:cubicBezTo>
                <a:cubicBezTo>
                  <a:pt x="3048" y="1065"/>
                  <a:pt x="3048" y="1065"/>
                  <a:pt x="3048" y="1065"/>
                </a:cubicBezTo>
                <a:cubicBezTo>
                  <a:pt x="3043" y="1063"/>
                  <a:pt x="3043" y="1063"/>
                  <a:pt x="3043" y="1063"/>
                </a:cubicBezTo>
                <a:cubicBezTo>
                  <a:pt x="3043" y="1064"/>
                  <a:pt x="3043" y="1064"/>
                  <a:pt x="3043" y="1064"/>
                </a:cubicBezTo>
                <a:cubicBezTo>
                  <a:pt x="3045" y="1065"/>
                  <a:pt x="3045" y="1065"/>
                  <a:pt x="3045" y="1065"/>
                </a:cubicBezTo>
                <a:cubicBezTo>
                  <a:pt x="3052" y="1069"/>
                  <a:pt x="3052" y="1069"/>
                  <a:pt x="3052" y="1069"/>
                </a:cubicBezTo>
                <a:cubicBezTo>
                  <a:pt x="3055" y="1071"/>
                  <a:pt x="3055" y="1071"/>
                  <a:pt x="3055" y="1071"/>
                </a:cubicBezTo>
                <a:cubicBezTo>
                  <a:pt x="3058" y="1072"/>
                  <a:pt x="3058" y="1072"/>
                  <a:pt x="3058" y="1072"/>
                </a:cubicBezTo>
                <a:cubicBezTo>
                  <a:pt x="3061" y="1075"/>
                  <a:pt x="3061" y="1075"/>
                  <a:pt x="3061" y="1075"/>
                </a:cubicBezTo>
                <a:cubicBezTo>
                  <a:pt x="3063" y="1081"/>
                  <a:pt x="3063" y="1081"/>
                  <a:pt x="3063" y="1081"/>
                </a:cubicBezTo>
                <a:cubicBezTo>
                  <a:pt x="3062" y="1082"/>
                  <a:pt x="3062" y="1082"/>
                  <a:pt x="3062" y="1082"/>
                </a:cubicBezTo>
                <a:cubicBezTo>
                  <a:pt x="3063" y="1084"/>
                  <a:pt x="3063" y="1084"/>
                  <a:pt x="3063" y="1084"/>
                </a:cubicBezTo>
                <a:cubicBezTo>
                  <a:pt x="3065" y="1087"/>
                  <a:pt x="3065" y="1087"/>
                  <a:pt x="3065" y="1087"/>
                </a:cubicBezTo>
                <a:lnTo>
                  <a:pt x="3065" y="1084"/>
                </a:lnTo>
                <a:close/>
                <a:moveTo>
                  <a:pt x="3067" y="1158"/>
                </a:moveTo>
                <a:cubicBezTo>
                  <a:pt x="3065" y="1156"/>
                  <a:pt x="3065" y="1156"/>
                  <a:pt x="3065" y="1156"/>
                </a:cubicBezTo>
                <a:cubicBezTo>
                  <a:pt x="3064" y="1156"/>
                  <a:pt x="3064" y="1156"/>
                  <a:pt x="3064" y="1156"/>
                </a:cubicBezTo>
                <a:cubicBezTo>
                  <a:pt x="3066" y="1159"/>
                  <a:pt x="3066" y="1159"/>
                  <a:pt x="3066" y="1159"/>
                </a:cubicBezTo>
                <a:cubicBezTo>
                  <a:pt x="3068" y="1159"/>
                  <a:pt x="3068" y="1159"/>
                  <a:pt x="3068" y="1159"/>
                </a:cubicBezTo>
                <a:cubicBezTo>
                  <a:pt x="3069" y="1160"/>
                  <a:pt x="3069" y="1160"/>
                  <a:pt x="3069" y="1160"/>
                </a:cubicBezTo>
                <a:cubicBezTo>
                  <a:pt x="3070" y="1159"/>
                  <a:pt x="3070" y="1159"/>
                  <a:pt x="3070" y="1159"/>
                </a:cubicBezTo>
                <a:cubicBezTo>
                  <a:pt x="3069" y="1158"/>
                  <a:pt x="3069" y="1158"/>
                  <a:pt x="3069" y="1158"/>
                </a:cubicBezTo>
                <a:lnTo>
                  <a:pt x="3067" y="1158"/>
                </a:lnTo>
                <a:close/>
                <a:moveTo>
                  <a:pt x="3072" y="1156"/>
                </a:moveTo>
                <a:cubicBezTo>
                  <a:pt x="3073" y="1157"/>
                  <a:pt x="3073" y="1157"/>
                  <a:pt x="3073" y="1157"/>
                </a:cubicBezTo>
                <a:cubicBezTo>
                  <a:pt x="3073" y="1157"/>
                  <a:pt x="3073" y="1157"/>
                  <a:pt x="3073" y="1157"/>
                </a:cubicBezTo>
                <a:cubicBezTo>
                  <a:pt x="3075" y="1157"/>
                  <a:pt x="3075" y="1157"/>
                  <a:pt x="3075" y="1157"/>
                </a:cubicBezTo>
                <a:cubicBezTo>
                  <a:pt x="3075" y="1156"/>
                  <a:pt x="3075" y="1156"/>
                  <a:pt x="3075" y="1156"/>
                </a:cubicBezTo>
                <a:cubicBezTo>
                  <a:pt x="3074" y="1155"/>
                  <a:pt x="3074" y="1155"/>
                  <a:pt x="3074" y="1155"/>
                </a:cubicBezTo>
                <a:lnTo>
                  <a:pt x="3072" y="1156"/>
                </a:lnTo>
                <a:close/>
                <a:moveTo>
                  <a:pt x="3059" y="1130"/>
                </a:moveTo>
                <a:cubicBezTo>
                  <a:pt x="3059" y="1131"/>
                  <a:pt x="3059" y="1131"/>
                  <a:pt x="3059" y="1131"/>
                </a:cubicBezTo>
                <a:cubicBezTo>
                  <a:pt x="3059" y="1133"/>
                  <a:pt x="3059" y="1133"/>
                  <a:pt x="3059" y="1133"/>
                </a:cubicBezTo>
                <a:cubicBezTo>
                  <a:pt x="3060" y="1132"/>
                  <a:pt x="3060" y="1132"/>
                  <a:pt x="3060" y="1132"/>
                </a:cubicBezTo>
                <a:cubicBezTo>
                  <a:pt x="3062" y="1134"/>
                  <a:pt x="3062" y="1134"/>
                  <a:pt x="3062" y="1134"/>
                </a:cubicBezTo>
                <a:cubicBezTo>
                  <a:pt x="3062" y="1133"/>
                  <a:pt x="3062" y="1133"/>
                  <a:pt x="3062" y="1133"/>
                </a:cubicBezTo>
                <a:lnTo>
                  <a:pt x="3059" y="1130"/>
                </a:lnTo>
                <a:close/>
                <a:moveTo>
                  <a:pt x="3035" y="1086"/>
                </a:moveTo>
                <a:cubicBezTo>
                  <a:pt x="3034" y="1087"/>
                  <a:pt x="3034" y="1087"/>
                  <a:pt x="3034" y="1087"/>
                </a:cubicBezTo>
                <a:cubicBezTo>
                  <a:pt x="3036" y="1089"/>
                  <a:pt x="3036" y="1089"/>
                  <a:pt x="3036" y="1089"/>
                </a:cubicBezTo>
                <a:cubicBezTo>
                  <a:pt x="3037" y="1088"/>
                  <a:pt x="3037" y="1088"/>
                  <a:pt x="3037" y="1088"/>
                </a:cubicBezTo>
                <a:cubicBezTo>
                  <a:pt x="3036" y="1086"/>
                  <a:pt x="3036" y="1086"/>
                  <a:pt x="3036" y="1086"/>
                </a:cubicBezTo>
                <a:lnTo>
                  <a:pt x="3035" y="1086"/>
                </a:lnTo>
                <a:close/>
                <a:moveTo>
                  <a:pt x="3039" y="1062"/>
                </a:moveTo>
                <a:cubicBezTo>
                  <a:pt x="3038" y="1062"/>
                  <a:pt x="3038" y="1062"/>
                  <a:pt x="3038" y="1062"/>
                </a:cubicBezTo>
                <a:cubicBezTo>
                  <a:pt x="3035" y="1062"/>
                  <a:pt x="3035" y="1062"/>
                  <a:pt x="3035" y="1062"/>
                </a:cubicBezTo>
                <a:cubicBezTo>
                  <a:pt x="3035" y="1064"/>
                  <a:pt x="3035" y="1064"/>
                  <a:pt x="3035" y="1064"/>
                </a:cubicBezTo>
                <a:cubicBezTo>
                  <a:pt x="3037" y="1065"/>
                  <a:pt x="3037" y="1065"/>
                  <a:pt x="3037" y="1065"/>
                </a:cubicBezTo>
                <a:cubicBezTo>
                  <a:pt x="3039" y="1064"/>
                  <a:pt x="3039" y="1064"/>
                  <a:pt x="3039" y="1064"/>
                </a:cubicBezTo>
                <a:lnTo>
                  <a:pt x="3039" y="1062"/>
                </a:lnTo>
                <a:close/>
                <a:moveTo>
                  <a:pt x="3079" y="1082"/>
                </a:moveTo>
                <a:cubicBezTo>
                  <a:pt x="3078" y="1083"/>
                  <a:pt x="3078" y="1083"/>
                  <a:pt x="3078" y="1083"/>
                </a:cubicBezTo>
                <a:cubicBezTo>
                  <a:pt x="3077" y="1083"/>
                  <a:pt x="3077" y="1083"/>
                  <a:pt x="3077" y="1083"/>
                </a:cubicBezTo>
                <a:cubicBezTo>
                  <a:pt x="3077" y="1084"/>
                  <a:pt x="3077" y="1084"/>
                  <a:pt x="3077" y="1084"/>
                </a:cubicBezTo>
                <a:cubicBezTo>
                  <a:pt x="3079" y="1085"/>
                  <a:pt x="3079" y="1085"/>
                  <a:pt x="3079" y="1085"/>
                </a:cubicBezTo>
                <a:cubicBezTo>
                  <a:pt x="3080" y="1083"/>
                  <a:pt x="3080" y="1083"/>
                  <a:pt x="3080" y="1083"/>
                </a:cubicBezTo>
                <a:lnTo>
                  <a:pt x="3079" y="1082"/>
                </a:lnTo>
                <a:close/>
                <a:moveTo>
                  <a:pt x="3111" y="1664"/>
                </a:moveTo>
                <a:cubicBezTo>
                  <a:pt x="3111" y="1663"/>
                  <a:pt x="3111" y="1663"/>
                  <a:pt x="3111" y="1663"/>
                </a:cubicBezTo>
                <a:cubicBezTo>
                  <a:pt x="3110" y="1664"/>
                  <a:pt x="3110" y="1664"/>
                  <a:pt x="3110" y="1664"/>
                </a:cubicBezTo>
                <a:lnTo>
                  <a:pt x="3111" y="1664"/>
                </a:lnTo>
                <a:close/>
                <a:moveTo>
                  <a:pt x="3200" y="1571"/>
                </a:moveTo>
                <a:cubicBezTo>
                  <a:pt x="3199" y="1571"/>
                  <a:pt x="3199" y="1571"/>
                  <a:pt x="3199" y="1571"/>
                </a:cubicBezTo>
                <a:cubicBezTo>
                  <a:pt x="3199" y="1569"/>
                  <a:pt x="3199" y="1569"/>
                  <a:pt x="3199" y="1569"/>
                </a:cubicBezTo>
                <a:cubicBezTo>
                  <a:pt x="3197" y="1569"/>
                  <a:pt x="3197" y="1569"/>
                  <a:pt x="3197" y="1569"/>
                </a:cubicBezTo>
                <a:cubicBezTo>
                  <a:pt x="3196" y="1571"/>
                  <a:pt x="3196" y="1571"/>
                  <a:pt x="3196" y="1571"/>
                </a:cubicBezTo>
                <a:cubicBezTo>
                  <a:pt x="3197" y="1572"/>
                  <a:pt x="3197" y="1572"/>
                  <a:pt x="3197" y="1572"/>
                </a:cubicBezTo>
                <a:cubicBezTo>
                  <a:pt x="3198" y="1572"/>
                  <a:pt x="3198" y="1572"/>
                  <a:pt x="3198" y="1572"/>
                </a:cubicBezTo>
                <a:cubicBezTo>
                  <a:pt x="3196" y="1573"/>
                  <a:pt x="3196" y="1573"/>
                  <a:pt x="3196" y="1573"/>
                </a:cubicBezTo>
                <a:cubicBezTo>
                  <a:pt x="3195" y="1572"/>
                  <a:pt x="3195" y="1572"/>
                  <a:pt x="3195" y="1572"/>
                </a:cubicBezTo>
                <a:cubicBezTo>
                  <a:pt x="3195" y="1571"/>
                  <a:pt x="3195" y="1571"/>
                  <a:pt x="3195" y="1571"/>
                </a:cubicBezTo>
                <a:cubicBezTo>
                  <a:pt x="3194" y="1571"/>
                  <a:pt x="3194" y="1571"/>
                  <a:pt x="3194" y="1571"/>
                </a:cubicBezTo>
                <a:cubicBezTo>
                  <a:pt x="3193" y="1571"/>
                  <a:pt x="3193" y="1571"/>
                  <a:pt x="3193" y="1571"/>
                </a:cubicBezTo>
                <a:cubicBezTo>
                  <a:pt x="3192" y="1572"/>
                  <a:pt x="3192" y="1572"/>
                  <a:pt x="3192" y="1572"/>
                </a:cubicBezTo>
                <a:cubicBezTo>
                  <a:pt x="3190" y="1574"/>
                  <a:pt x="3190" y="1574"/>
                  <a:pt x="3190" y="1574"/>
                </a:cubicBezTo>
                <a:cubicBezTo>
                  <a:pt x="3189" y="1573"/>
                  <a:pt x="3189" y="1573"/>
                  <a:pt x="3189" y="1573"/>
                </a:cubicBezTo>
                <a:cubicBezTo>
                  <a:pt x="3188" y="1570"/>
                  <a:pt x="3188" y="1570"/>
                  <a:pt x="3188" y="1570"/>
                </a:cubicBezTo>
                <a:cubicBezTo>
                  <a:pt x="3189" y="1569"/>
                  <a:pt x="3189" y="1569"/>
                  <a:pt x="3189" y="1569"/>
                </a:cubicBezTo>
                <a:cubicBezTo>
                  <a:pt x="3190" y="1568"/>
                  <a:pt x="3190" y="1568"/>
                  <a:pt x="3190" y="1568"/>
                </a:cubicBezTo>
                <a:cubicBezTo>
                  <a:pt x="3190" y="1567"/>
                  <a:pt x="3190" y="1567"/>
                  <a:pt x="3190" y="1567"/>
                </a:cubicBezTo>
                <a:cubicBezTo>
                  <a:pt x="3190" y="1567"/>
                  <a:pt x="3190" y="1567"/>
                  <a:pt x="3190" y="1567"/>
                </a:cubicBezTo>
                <a:cubicBezTo>
                  <a:pt x="3190" y="1566"/>
                  <a:pt x="3190" y="1566"/>
                  <a:pt x="3190" y="1566"/>
                </a:cubicBezTo>
                <a:cubicBezTo>
                  <a:pt x="3189" y="1566"/>
                  <a:pt x="3189" y="1566"/>
                  <a:pt x="3189" y="1566"/>
                </a:cubicBezTo>
                <a:cubicBezTo>
                  <a:pt x="3188" y="1566"/>
                  <a:pt x="3188" y="1566"/>
                  <a:pt x="3188" y="1566"/>
                </a:cubicBezTo>
                <a:cubicBezTo>
                  <a:pt x="3187" y="1566"/>
                  <a:pt x="3187" y="1566"/>
                  <a:pt x="3187" y="1566"/>
                </a:cubicBezTo>
                <a:cubicBezTo>
                  <a:pt x="3186" y="1565"/>
                  <a:pt x="3186" y="1565"/>
                  <a:pt x="3186" y="1565"/>
                </a:cubicBezTo>
                <a:cubicBezTo>
                  <a:pt x="3187" y="1564"/>
                  <a:pt x="3187" y="1564"/>
                  <a:pt x="3187" y="1564"/>
                </a:cubicBezTo>
                <a:cubicBezTo>
                  <a:pt x="3188" y="1562"/>
                  <a:pt x="3188" y="1562"/>
                  <a:pt x="3188" y="1562"/>
                </a:cubicBezTo>
                <a:cubicBezTo>
                  <a:pt x="3186" y="1562"/>
                  <a:pt x="3186" y="1562"/>
                  <a:pt x="3186" y="1562"/>
                </a:cubicBezTo>
                <a:cubicBezTo>
                  <a:pt x="3183" y="1564"/>
                  <a:pt x="3183" y="1564"/>
                  <a:pt x="3183" y="1564"/>
                </a:cubicBezTo>
                <a:cubicBezTo>
                  <a:pt x="3182" y="1564"/>
                  <a:pt x="3182" y="1564"/>
                  <a:pt x="3182" y="1564"/>
                </a:cubicBezTo>
                <a:cubicBezTo>
                  <a:pt x="3180" y="1566"/>
                  <a:pt x="3180" y="1566"/>
                  <a:pt x="3180" y="1566"/>
                </a:cubicBezTo>
                <a:cubicBezTo>
                  <a:pt x="3180" y="1568"/>
                  <a:pt x="3180" y="1568"/>
                  <a:pt x="3180" y="1568"/>
                </a:cubicBezTo>
                <a:cubicBezTo>
                  <a:pt x="3178" y="1573"/>
                  <a:pt x="3178" y="1573"/>
                  <a:pt x="3178" y="1573"/>
                </a:cubicBezTo>
                <a:cubicBezTo>
                  <a:pt x="3176" y="1575"/>
                  <a:pt x="3176" y="1575"/>
                  <a:pt x="3176" y="1575"/>
                </a:cubicBezTo>
                <a:cubicBezTo>
                  <a:pt x="3175" y="1575"/>
                  <a:pt x="3175" y="1575"/>
                  <a:pt x="3175" y="1575"/>
                </a:cubicBezTo>
                <a:cubicBezTo>
                  <a:pt x="3173" y="1578"/>
                  <a:pt x="3173" y="1578"/>
                  <a:pt x="3173" y="1578"/>
                </a:cubicBezTo>
                <a:cubicBezTo>
                  <a:pt x="3172" y="1580"/>
                  <a:pt x="3172" y="1580"/>
                  <a:pt x="3172" y="1580"/>
                </a:cubicBezTo>
                <a:cubicBezTo>
                  <a:pt x="3171" y="1580"/>
                  <a:pt x="3171" y="1580"/>
                  <a:pt x="3171" y="1580"/>
                </a:cubicBezTo>
                <a:cubicBezTo>
                  <a:pt x="3169" y="1580"/>
                  <a:pt x="3169" y="1580"/>
                  <a:pt x="3169" y="1580"/>
                </a:cubicBezTo>
                <a:cubicBezTo>
                  <a:pt x="3167" y="1581"/>
                  <a:pt x="3167" y="1581"/>
                  <a:pt x="3167" y="1581"/>
                </a:cubicBezTo>
                <a:cubicBezTo>
                  <a:pt x="3167" y="1583"/>
                  <a:pt x="3167" y="1583"/>
                  <a:pt x="3167" y="1583"/>
                </a:cubicBezTo>
                <a:cubicBezTo>
                  <a:pt x="3166" y="1585"/>
                  <a:pt x="3166" y="1585"/>
                  <a:pt x="3166" y="1585"/>
                </a:cubicBezTo>
                <a:cubicBezTo>
                  <a:pt x="3165" y="1586"/>
                  <a:pt x="3165" y="1586"/>
                  <a:pt x="3165" y="1586"/>
                </a:cubicBezTo>
                <a:cubicBezTo>
                  <a:pt x="3164" y="1588"/>
                  <a:pt x="3164" y="1588"/>
                  <a:pt x="3164" y="1588"/>
                </a:cubicBezTo>
                <a:cubicBezTo>
                  <a:pt x="3164" y="1590"/>
                  <a:pt x="3164" y="1590"/>
                  <a:pt x="3164" y="1590"/>
                </a:cubicBezTo>
                <a:cubicBezTo>
                  <a:pt x="3163" y="1591"/>
                  <a:pt x="3163" y="1591"/>
                  <a:pt x="3163" y="1591"/>
                </a:cubicBezTo>
                <a:cubicBezTo>
                  <a:pt x="3162" y="1593"/>
                  <a:pt x="3162" y="1593"/>
                  <a:pt x="3162" y="1593"/>
                </a:cubicBezTo>
                <a:cubicBezTo>
                  <a:pt x="3159" y="1597"/>
                  <a:pt x="3159" y="1597"/>
                  <a:pt x="3159" y="1597"/>
                </a:cubicBezTo>
                <a:cubicBezTo>
                  <a:pt x="3155" y="1600"/>
                  <a:pt x="3155" y="1600"/>
                  <a:pt x="3155" y="1600"/>
                </a:cubicBezTo>
                <a:cubicBezTo>
                  <a:pt x="3153" y="1600"/>
                  <a:pt x="3153" y="1600"/>
                  <a:pt x="3153" y="1600"/>
                </a:cubicBezTo>
                <a:cubicBezTo>
                  <a:pt x="3150" y="1602"/>
                  <a:pt x="3150" y="1602"/>
                  <a:pt x="3150" y="1602"/>
                </a:cubicBezTo>
                <a:cubicBezTo>
                  <a:pt x="3150" y="1603"/>
                  <a:pt x="3150" y="1603"/>
                  <a:pt x="3150" y="1603"/>
                </a:cubicBezTo>
                <a:cubicBezTo>
                  <a:pt x="3148" y="1603"/>
                  <a:pt x="3148" y="1603"/>
                  <a:pt x="3148" y="1603"/>
                </a:cubicBezTo>
                <a:cubicBezTo>
                  <a:pt x="3144" y="1605"/>
                  <a:pt x="3144" y="1605"/>
                  <a:pt x="3144" y="1605"/>
                </a:cubicBezTo>
                <a:cubicBezTo>
                  <a:pt x="3141" y="1608"/>
                  <a:pt x="3141" y="1608"/>
                  <a:pt x="3141" y="1608"/>
                </a:cubicBezTo>
                <a:cubicBezTo>
                  <a:pt x="3139" y="1608"/>
                  <a:pt x="3139" y="1608"/>
                  <a:pt x="3139" y="1608"/>
                </a:cubicBezTo>
                <a:cubicBezTo>
                  <a:pt x="3136" y="1611"/>
                  <a:pt x="3136" y="1611"/>
                  <a:pt x="3136" y="1611"/>
                </a:cubicBezTo>
                <a:cubicBezTo>
                  <a:pt x="3135" y="1612"/>
                  <a:pt x="3135" y="1612"/>
                  <a:pt x="3135" y="1612"/>
                </a:cubicBezTo>
                <a:cubicBezTo>
                  <a:pt x="3136" y="1613"/>
                  <a:pt x="3136" y="1613"/>
                  <a:pt x="3136" y="1613"/>
                </a:cubicBezTo>
                <a:cubicBezTo>
                  <a:pt x="3136" y="1615"/>
                  <a:pt x="3136" y="1615"/>
                  <a:pt x="3136" y="1615"/>
                </a:cubicBezTo>
                <a:cubicBezTo>
                  <a:pt x="3134" y="1614"/>
                  <a:pt x="3134" y="1614"/>
                  <a:pt x="3134" y="1614"/>
                </a:cubicBezTo>
                <a:cubicBezTo>
                  <a:pt x="3134" y="1613"/>
                  <a:pt x="3134" y="1613"/>
                  <a:pt x="3134" y="1613"/>
                </a:cubicBezTo>
                <a:cubicBezTo>
                  <a:pt x="3132" y="1614"/>
                  <a:pt x="3132" y="1614"/>
                  <a:pt x="3132" y="1614"/>
                </a:cubicBezTo>
                <a:cubicBezTo>
                  <a:pt x="3130" y="1614"/>
                  <a:pt x="3130" y="1614"/>
                  <a:pt x="3130" y="1614"/>
                </a:cubicBezTo>
                <a:cubicBezTo>
                  <a:pt x="3129" y="1614"/>
                  <a:pt x="3129" y="1614"/>
                  <a:pt x="3129" y="1614"/>
                </a:cubicBezTo>
                <a:cubicBezTo>
                  <a:pt x="3128" y="1614"/>
                  <a:pt x="3128" y="1614"/>
                  <a:pt x="3128" y="1614"/>
                </a:cubicBezTo>
                <a:cubicBezTo>
                  <a:pt x="3125" y="1616"/>
                  <a:pt x="3125" y="1616"/>
                  <a:pt x="3125" y="1616"/>
                </a:cubicBezTo>
                <a:cubicBezTo>
                  <a:pt x="3124" y="1618"/>
                  <a:pt x="3124" y="1618"/>
                  <a:pt x="3124" y="1618"/>
                </a:cubicBezTo>
                <a:cubicBezTo>
                  <a:pt x="3121" y="1620"/>
                  <a:pt x="3121" y="1620"/>
                  <a:pt x="3121" y="1620"/>
                </a:cubicBezTo>
                <a:cubicBezTo>
                  <a:pt x="3119" y="1620"/>
                  <a:pt x="3119" y="1620"/>
                  <a:pt x="3119" y="1620"/>
                </a:cubicBezTo>
                <a:cubicBezTo>
                  <a:pt x="3118" y="1623"/>
                  <a:pt x="3118" y="1623"/>
                  <a:pt x="3118" y="1623"/>
                </a:cubicBezTo>
                <a:cubicBezTo>
                  <a:pt x="3117" y="1625"/>
                  <a:pt x="3117" y="1625"/>
                  <a:pt x="3117" y="1625"/>
                </a:cubicBezTo>
                <a:cubicBezTo>
                  <a:pt x="3117" y="1624"/>
                  <a:pt x="3117" y="1624"/>
                  <a:pt x="3117" y="1624"/>
                </a:cubicBezTo>
                <a:cubicBezTo>
                  <a:pt x="3116" y="1623"/>
                  <a:pt x="3116" y="1623"/>
                  <a:pt x="3116" y="1623"/>
                </a:cubicBezTo>
                <a:cubicBezTo>
                  <a:pt x="3115" y="1624"/>
                  <a:pt x="3115" y="1624"/>
                  <a:pt x="3115" y="1624"/>
                </a:cubicBezTo>
                <a:cubicBezTo>
                  <a:pt x="3114" y="1625"/>
                  <a:pt x="3114" y="1625"/>
                  <a:pt x="3114" y="1625"/>
                </a:cubicBezTo>
                <a:cubicBezTo>
                  <a:pt x="3114" y="1627"/>
                  <a:pt x="3114" y="1627"/>
                  <a:pt x="3114" y="1627"/>
                </a:cubicBezTo>
                <a:cubicBezTo>
                  <a:pt x="3113" y="1628"/>
                  <a:pt x="3113" y="1628"/>
                  <a:pt x="3113" y="1628"/>
                </a:cubicBezTo>
                <a:cubicBezTo>
                  <a:pt x="3112" y="1628"/>
                  <a:pt x="3112" y="1628"/>
                  <a:pt x="3112" y="1628"/>
                </a:cubicBezTo>
                <a:cubicBezTo>
                  <a:pt x="3109" y="1631"/>
                  <a:pt x="3109" y="1631"/>
                  <a:pt x="3109" y="1631"/>
                </a:cubicBezTo>
                <a:cubicBezTo>
                  <a:pt x="3108" y="1631"/>
                  <a:pt x="3108" y="1631"/>
                  <a:pt x="3108" y="1631"/>
                </a:cubicBezTo>
                <a:cubicBezTo>
                  <a:pt x="3107" y="1632"/>
                  <a:pt x="3107" y="1632"/>
                  <a:pt x="3107" y="1632"/>
                </a:cubicBezTo>
                <a:cubicBezTo>
                  <a:pt x="3107" y="1636"/>
                  <a:pt x="3107" y="1636"/>
                  <a:pt x="3107" y="1636"/>
                </a:cubicBezTo>
                <a:cubicBezTo>
                  <a:pt x="3106" y="1637"/>
                  <a:pt x="3106" y="1637"/>
                  <a:pt x="3106" y="1637"/>
                </a:cubicBezTo>
                <a:cubicBezTo>
                  <a:pt x="3105" y="1635"/>
                  <a:pt x="3105" y="1635"/>
                  <a:pt x="3105" y="1635"/>
                </a:cubicBezTo>
                <a:cubicBezTo>
                  <a:pt x="3105" y="1635"/>
                  <a:pt x="3105" y="1635"/>
                  <a:pt x="3105" y="1635"/>
                </a:cubicBezTo>
                <a:cubicBezTo>
                  <a:pt x="3104" y="1636"/>
                  <a:pt x="3104" y="1636"/>
                  <a:pt x="3104" y="1636"/>
                </a:cubicBezTo>
                <a:cubicBezTo>
                  <a:pt x="3103" y="1636"/>
                  <a:pt x="3103" y="1636"/>
                  <a:pt x="3103" y="1636"/>
                </a:cubicBezTo>
                <a:cubicBezTo>
                  <a:pt x="3101" y="1639"/>
                  <a:pt x="3101" y="1639"/>
                  <a:pt x="3101" y="1639"/>
                </a:cubicBezTo>
                <a:cubicBezTo>
                  <a:pt x="3102" y="1640"/>
                  <a:pt x="3102" y="1640"/>
                  <a:pt x="3102" y="1640"/>
                </a:cubicBezTo>
                <a:cubicBezTo>
                  <a:pt x="3103" y="1642"/>
                  <a:pt x="3103" y="1642"/>
                  <a:pt x="3103" y="1642"/>
                </a:cubicBezTo>
                <a:cubicBezTo>
                  <a:pt x="3104" y="1643"/>
                  <a:pt x="3104" y="1643"/>
                  <a:pt x="3104" y="1643"/>
                </a:cubicBezTo>
                <a:cubicBezTo>
                  <a:pt x="3103" y="1644"/>
                  <a:pt x="3103" y="1644"/>
                  <a:pt x="3103" y="1644"/>
                </a:cubicBezTo>
                <a:cubicBezTo>
                  <a:pt x="3101" y="1643"/>
                  <a:pt x="3101" y="1643"/>
                  <a:pt x="3101" y="1643"/>
                </a:cubicBezTo>
                <a:cubicBezTo>
                  <a:pt x="3099" y="1644"/>
                  <a:pt x="3099" y="1644"/>
                  <a:pt x="3099" y="1644"/>
                </a:cubicBezTo>
                <a:cubicBezTo>
                  <a:pt x="3097" y="1646"/>
                  <a:pt x="3097" y="1646"/>
                  <a:pt x="3097" y="1646"/>
                </a:cubicBezTo>
                <a:cubicBezTo>
                  <a:pt x="3098" y="1647"/>
                  <a:pt x="3098" y="1647"/>
                  <a:pt x="3098" y="1647"/>
                </a:cubicBezTo>
                <a:cubicBezTo>
                  <a:pt x="3099" y="1647"/>
                  <a:pt x="3099" y="1647"/>
                  <a:pt x="3099" y="1647"/>
                </a:cubicBezTo>
                <a:cubicBezTo>
                  <a:pt x="3098" y="1648"/>
                  <a:pt x="3098" y="1648"/>
                  <a:pt x="3098" y="1648"/>
                </a:cubicBezTo>
                <a:cubicBezTo>
                  <a:pt x="3098" y="1649"/>
                  <a:pt x="3098" y="1649"/>
                  <a:pt x="3098" y="1649"/>
                </a:cubicBezTo>
                <a:cubicBezTo>
                  <a:pt x="3099" y="1651"/>
                  <a:pt x="3099" y="1651"/>
                  <a:pt x="3099" y="1651"/>
                </a:cubicBezTo>
                <a:cubicBezTo>
                  <a:pt x="3100" y="1651"/>
                  <a:pt x="3100" y="1651"/>
                  <a:pt x="3100" y="1651"/>
                </a:cubicBezTo>
                <a:cubicBezTo>
                  <a:pt x="3103" y="1652"/>
                  <a:pt x="3103" y="1652"/>
                  <a:pt x="3103" y="1652"/>
                </a:cubicBezTo>
                <a:cubicBezTo>
                  <a:pt x="3103" y="1652"/>
                  <a:pt x="3103" y="1652"/>
                  <a:pt x="3103" y="1652"/>
                </a:cubicBezTo>
                <a:cubicBezTo>
                  <a:pt x="3104" y="1652"/>
                  <a:pt x="3104" y="1652"/>
                  <a:pt x="3104" y="1652"/>
                </a:cubicBezTo>
                <a:cubicBezTo>
                  <a:pt x="3104" y="1651"/>
                  <a:pt x="3104" y="1651"/>
                  <a:pt x="3104" y="1651"/>
                </a:cubicBezTo>
                <a:cubicBezTo>
                  <a:pt x="3105" y="1651"/>
                  <a:pt x="3105" y="1651"/>
                  <a:pt x="3105" y="1651"/>
                </a:cubicBezTo>
                <a:cubicBezTo>
                  <a:pt x="3106" y="1652"/>
                  <a:pt x="3106" y="1652"/>
                  <a:pt x="3106" y="1652"/>
                </a:cubicBezTo>
                <a:cubicBezTo>
                  <a:pt x="3107" y="1653"/>
                  <a:pt x="3107" y="1653"/>
                  <a:pt x="3107" y="1653"/>
                </a:cubicBezTo>
                <a:cubicBezTo>
                  <a:pt x="3107" y="1654"/>
                  <a:pt x="3107" y="1654"/>
                  <a:pt x="3107" y="1654"/>
                </a:cubicBezTo>
                <a:cubicBezTo>
                  <a:pt x="3108" y="1655"/>
                  <a:pt x="3108" y="1655"/>
                  <a:pt x="3108" y="1655"/>
                </a:cubicBezTo>
                <a:cubicBezTo>
                  <a:pt x="3109" y="1655"/>
                  <a:pt x="3109" y="1655"/>
                  <a:pt x="3109" y="1655"/>
                </a:cubicBezTo>
                <a:cubicBezTo>
                  <a:pt x="3110" y="1656"/>
                  <a:pt x="3110" y="1656"/>
                  <a:pt x="3110" y="1656"/>
                </a:cubicBezTo>
                <a:cubicBezTo>
                  <a:pt x="3110" y="1658"/>
                  <a:pt x="3110" y="1658"/>
                  <a:pt x="3110" y="1658"/>
                </a:cubicBezTo>
                <a:cubicBezTo>
                  <a:pt x="3112" y="1659"/>
                  <a:pt x="3112" y="1659"/>
                  <a:pt x="3112" y="1659"/>
                </a:cubicBezTo>
                <a:cubicBezTo>
                  <a:pt x="3114" y="1660"/>
                  <a:pt x="3114" y="1660"/>
                  <a:pt x="3114" y="1660"/>
                </a:cubicBezTo>
                <a:cubicBezTo>
                  <a:pt x="3112" y="1661"/>
                  <a:pt x="3112" y="1661"/>
                  <a:pt x="3112" y="1661"/>
                </a:cubicBezTo>
                <a:cubicBezTo>
                  <a:pt x="3113" y="1662"/>
                  <a:pt x="3113" y="1662"/>
                  <a:pt x="3113" y="1662"/>
                </a:cubicBezTo>
                <a:cubicBezTo>
                  <a:pt x="3115" y="1660"/>
                  <a:pt x="3115" y="1660"/>
                  <a:pt x="3115" y="1660"/>
                </a:cubicBezTo>
                <a:cubicBezTo>
                  <a:pt x="3115" y="1661"/>
                  <a:pt x="3115" y="1661"/>
                  <a:pt x="3115" y="1661"/>
                </a:cubicBezTo>
                <a:cubicBezTo>
                  <a:pt x="3117" y="1662"/>
                  <a:pt x="3117" y="1662"/>
                  <a:pt x="3117" y="1662"/>
                </a:cubicBezTo>
                <a:cubicBezTo>
                  <a:pt x="3119" y="1662"/>
                  <a:pt x="3119" y="1662"/>
                  <a:pt x="3119" y="1662"/>
                </a:cubicBezTo>
                <a:cubicBezTo>
                  <a:pt x="3123" y="1660"/>
                  <a:pt x="3123" y="1660"/>
                  <a:pt x="3123" y="1660"/>
                </a:cubicBezTo>
                <a:cubicBezTo>
                  <a:pt x="3126" y="1658"/>
                  <a:pt x="3126" y="1658"/>
                  <a:pt x="3126" y="1658"/>
                </a:cubicBezTo>
                <a:cubicBezTo>
                  <a:pt x="3128" y="1657"/>
                  <a:pt x="3128" y="1657"/>
                  <a:pt x="3128" y="1657"/>
                </a:cubicBezTo>
                <a:cubicBezTo>
                  <a:pt x="3128" y="1656"/>
                  <a:pt x="3128" y="1656"/>
                  <a:pt x="3128" y="1656"/>
                </a:cubicBezTo>
                <a:cubicBezTo>
                  <a:pt x="3127" y="1654"/>
                  <a:pt x="3127" y="1654"/>
                  <a:pt x="3127" y="1654"/>
                </a:cubicBezTo>
                <a:cubicBezTo>
                  <a:pt x="3129" y="1655"/>
                  <a:pt x="3129" y="1655"/>
                  <a:pt x="3129" y="1655"/>
                </a:cubicBezTo>
                <a:cubicBezTo>
                  <a:pt x="3128" y="1656"/>
                  <a:pt x="3128" y="1656"/>
                  <a:pt x="3128" y="1656"/>
                </a:cubicBezTo>
                <a:cubicBezTo>
                  <a:pt x="3131" y="1655"/>
                  <a:pt x="3131" y="1655"/>
                  <a:pt x="3131" y="1655"/>
                </a:cubicBezTo>
                <a:cubicBezTo>
                  <a:pt x="3131" y="1653"/>
                  <a:pt x="3131" y="1653"/>
                  <a:pt x="3131" y="1653"/>
                </a:cubicBezTo>
                <a:cubicBezTo>
                  <a:pt x="3133" y="1651"/>
                  <a:pt x="3133" y="1651"/>
                  <a:pt x="3133" y="1651"/>
                </a:cubicBezTo>
                <a:cubicBezTo>
                  <a:pt x="3136" y="1650"/>
                  <a:pt x="3136" y="1650"/>
                  <a:pt x="3136" y="1650"/>
                </a:cubicBezTo>
                <a:cubicBezTo>
                  <a:pt x="3138" y="1650"/>
                  <a:pt x="3138" y="1650"/>
                  <a:pt x="3138" y="1650"/>
                </a:cubicBezTo>
                <a:cubicBezTo>
                  <a:pt x="3139" y="1649"/>
                  <a:pt x="3139" y="1649"/>
                  <a:pt x="3139" y="1649"/>
                </a:cubicBezTo>
                <a:cubicBezTo>
                  <a:pt x="3139" y="1649"/>
                  <a:pt x="3139" y="1649"/>
                  <a:pt x="3139" y="1649"/>
                </a:cubicBezTo>
                <a:cubicBezTo>
                  <a:pt x="3137" y="1649"/>
                  <a:pt x="3137" y="1649"/>
                  <a:pt x="3137" y="1649"/>
                </a:cubicBezTo>
                <a:cubicBezTo>
                  <a:pt x="3138" y="1649"/>
                  <a:pt x="3138" y="1649"/>
                  <a:pt x="3138" y="1649"/>
                </a:cubicBezTo>
                <a:cubicBezTo>
                  <a:pt x="3139" y="1648"/>
                  <a:pt x="3139" y="1648"/>
                  <a:pt x="3139" y="1648"/>
                </a:cubicBezTo>
                <a:cubicBezTo>
                  <a:pt x="3138" y="1648"/>
                  <a:pt x="3138" y="1648"/>
                  <a:pt x="3138" y="1648"/>
                </a:cubicBezTo>
                <a:cubicBezTo>
                  <a:pt x="3140" y="1645"/>
                  <a:pt x="3140" y="1645"/>
                  <a:pt x="3140" y="1645"/>
                </a:cubicBezTo>
                <a:cubicBezTo>
                  <a:pt x="3142" y="1642"/>
                  <a:pt x="3142" y="1642"/>
                  <a:pt x="3142" y="1642"/>
                </a:cubicBezTo>
                <a:cubicBezTo>
                  <a:pt x="3143" y="1639"/>
                  <a:pt x="3143" y="1639"/>
                  <a:pt x="3143" y="1639"/>
                </a:cubicBezTo>
                <a:cubicBezTo>
                  <a:pt x="3144" y="1638"/>
                  <a:pt x="3144" y="1638"/>
                  <a:pt x="3144" y="1638"/>
                </a:cubicBezTo>
                <a:cubicBezTo>
                  <a:pt x="3148" y="1634"/>
                  <a:pt x="3148" y="1634"/>
                  <a:pt x="3148" y="1634"/>
                </a:cubicBezTo>
                <a:cubicBezTo>
                  <a:pt x="3149" y="1633"/>
                  <a:pt x="3149" y="1633"/>
                  <a:pt x="3149" y="1633"/>
                </a:cubicBezTo>
                <a:cubicBezTo>
                  <a:pt x="3150" y="1631"/>
                  <a:pt x="3150" y="1631"/>
                  <a:pt x="3150" y="1631"/>
                </a:cubicBezTo>
                <a:cubicBezTo>
                  <a:pt x="3152" y="1627"/>
                  <a:pt x="3152" y="1627"/>
                  <a:pt x="3152" y="1627"/>
                </a:cubicBezTo>
                <a:cubicBezTo>
                  <a:pt x="3153" y="1626"/>
                  <a:pt x="3153" y="1626"/>
                  <a:pt x="3153" y="1626"/>
                </a:cubicBezTo>
                <a:cubicBezTo>
                  <a:pt x="3153" y="1624"/>
                  <a:pt x="3153" y="1624"/>
                  <a:pt x="3153" y="1624"/>
                </a:cubicBezTo>
                <a:cubicBezTo>
                  <a:pt x="3155" y="1622"/>
                  <a:pt x="3155" y="1622"/>
                  <a:pt x="3155" y="1622"/>
                </a:cubicBezTo>
                <a:cubicBezTo>
                  <a:pt x="3156" y="1621"/>
                  <a:pt x="3156" y="1621"/>
                  <a:pt x="3156" y="1621"/>
                </a:cubicBezTo>
                <a:cubicBezTo>
                  <a:pt x="3157" y="1619"/>
                  <a:pt x="3157" y="1619"/>
                  <a:pt x="3157" y="1619"/>
                </a:cubicBezTo>
                <a:cubicBezTo>
                  <a:pt x="3158" y="1620"/>
                  <a:pt x="3158" y="1620"/>
                  <a:pt x="3158" y="1620"/>
                </a:cubicBezTo>
                <a:cubicBezTo>
                  <a:pt x="3159" y="1620"/>
                  <a:pt x="3159" y="1620"/>
                  <a:pt x="3159" y="1620"/>
                </a:cubicBezTo>
                <a:cubicBezTo>
                  <a:pt x="3160" y="1619"/>
                  <a:pt x="3160" y="1619"/>
                  <a:pt x="3160" y="1619"/>
                </a:cubicBezTo>
                <a:cubicBezTo>
                  <a:pt x="3161" y="1619"/>
                  <a:pt x="3161" y="1619"/>
                  <a:pt x="3161" y="1619"/>
                </a:cubicBezTo>
                <a:cubicBezTo>
                  <a:pt x="3163" y="1619"/>
                  <a:pt x="3163" y="1619"/>
                  <a:pt x="3163" y="1619"/>
                </a:cubicBezTo>
                <a:cubicBezTo>
                  <a:pt x="3164" y="1617"/>
                  <a:pt x="3164" y="1617"/>
                  <a:pt x="3164" y="1617"/>
                </a:cubicBezTo>
                <a:cubicBezTo>
                  <a:pt x="3164" y="1615"/>
                  <a:pt x="3164" y="1615"/>
                  <a:pt x="3164" y="1615"/>
                </a:cubicBezTo>
                <a:cubicBezTo>
                  <a:pt x="3162" y="1614"/>
                  <a:pt x="3162" y="1614"/>
                  <a:pt x="3162" y="1614"/>
                </a:cubicBezTo>
                <a:cubicBezTo>
                  <a:pt x="3164" y="1615"/>
                  <a:pt x="3164" y="1615"/>
                  <a:pt x="3164" y="1615"/>
                </a:cubicBezTo>
                <a:cubicBezTo>
                  <a:pt x="3165" y="1617"/>
                  <a:pt x="3165" y="1617"/>
                  <a:pt x="3165" y="1617"/>
                </a:cubicBezTo>
                <a:cubicBezTo>
                  <a:pt x="3165" y="1617"/>
                  <a:pt x="3165" y="1617"/>
                  <a:pt x="3165" y="1617"/>
                </a:cubicBezTo>
                <a:cubicBezTo>
                  <a:pt x="3167" y="1616"/>
                  <a:pt x="3167" y="1616"/>
                  <a:pt x="3167" y="1616"/>
                </a:cubicBezTo>
                <a:cubicBezTo>
                  <a:pt x="3167" y="1616"/>
                  <a:pt x="3167" y="1616"/>
                  <a:pt x="3167" y="1616"/>
                </a:cubicBezTo>
                <a:cubicBezTo>
                  <a:pt x="3168" y="1615"/>
                  <a:pt x="3168" y="1615"/>
                  <a:pt x="3168" y="1615"/>
                </a:cubicBezTo>
                <a:cubicBezTo>
                  <a:pt x="3169" y="1615"/>
                  <a:pt x="3169" y="1615"/>
                  <a:pt x="3169" y="1615"/>
                </a:cubicBezTo>
                <a:cubicBezTo>
                  <a:pt x="3169" y="1616"/>
                  <a:pt x="3169" y="1616"/>
                  <a:pt x="3169" y="1616"/>
                </a:cubicBezTo>
                <a:cubicBezTo>
                  <a:pt x="3168" y="1617"/>
                  <a:pt x="3168" y="1617"/>
                  <a:pt x="3168" y="1617"/>
                </a:cubicBezTo>
                <a:cubicBezTo>
                  <a:pt x="3170" y="1617"/>
                  <a:pt x="3170" y="1617"/>
                  <a:pt x="3170" y="1617"/>
                </a:cubicBezTo>
                <a:cubicBezTo>
                  <a:pt x="3171" y="1617"/>
                  <a:pt x="3171" y="1617"/>
                  <a:pt x="3171" y="1617"/>
                </a:cubicBezTo>
                <a:cubicBezTo>
                  <a:pt x="3172" y="1616"/>
                  <a:pt x="3172" y="1616"/>
                  <a:pt x="3172" y="1616"/>
                </a:cubicBezTo>
                <a:cubicBezTo>
                  <a:pt x="3172" y="1615"/>
                  <a:pt x="3172" y="1615"/>
                  <a:pt x="3172" y="1615"/>
                </a:cubicBezTo>
                <a:cubicBezTo>
                  <a:pt x="3172" y="1614"/>
                  <a:pt x="3172" y="1614"/>
                  <a:pt x="3172" y="1614"/>
                </a:cubicBezTo>
                <a:cubicBezTo>
                  <a:pt x="3173" y="1615"/>
                  <a:pt x="3173" y="1615"/>
                  <a:pt x="3173" y="1615"/>
                </a:cubicBezTo>
                <a:cubicBezTo>
                  <a:pt x="3173" y="1617"/>
                  <a:pt x="3173" y="1617"/>
                  <a:pt x="3173" y="1617"/>
                </a:cubicBezTo>
                <a:cubicBezTo>
                  <a:pt x="3173" y="1617"/>
                  <a:pt x="3173" y="1617"/>
                  <a:pt x="3173" y="1617"/>
                </a:cubicBezTo>
                <a:cubicBezTo>
                  <a:pt x="3174" y="1617"/>
                  <a:pt x="3174" y="1617"/>
                  <a:pt x="3174" y="1617"/>
                </a:cubicBezTo>
                <a:cubicBezTo>
                  <a:pt x="3175" y="1614"/>
                  <a:pt x="3175" y="1614"/>
                  <a:pt x="3175" y="1614"/>
                </a:cubicBezTo>
                <a:cubicBezTo>
                  <a:pt x="3174" y="1613"/>
                  <a:pt x="3174" y="1613"/>
                  <a:pt x="3174" y="1613"/>
                </a:cubicBezTo>
                <a:cubicBezTo>
                  <a:pt x="3172" y="1612"/>
                  <a:pt x="3172" y="1612"/>
                  <a:pt x="3172" y="1612"/>
                </a:cubicBezTo>
                <a:cubicBezTo>
                  <a:pt x="3173" y="1611"/>
                  <a:pt x="3173" y="1611"/>
                  <a:pt x="3173" y="1611"/>
                </a:cubicBezTo>
                <a:cubicBezTo>
                  <a:pt x="3173" y="1609"/>
                  <a:pt x="3173" y="1609"/>
                  <a:pt x="3173" y="1609"/>
                </a:cubicBezTo>
                <a:cubicBezTo>
                  <a:pt x="3173" y="1606"/>
                  <a:pt x="3173" y="1606"/>
                  <a:pt x="3173" y="1606"/>
                </a:cubicBezTo>
                <a:cubicBezTo>
                  <a:pt x="3175" y="1605"/>
                  <a:pt x="3175" y="1605"/>
                  <a:pt x="3175" y="1605"/>
                </a:cubicBezTo>
                <a:cubicBezTo>
                  <a:pt x="3178" y="1604"/>
                  <a:pt x="3178" y="1604"/>
                  <a:pt x="3178" y="1604"/>
                </a:cubicBezTo>
                <a:cubicBezTo>
                  <a:pt x="3181" y="1602"/>
                  <a:pt x="3181" y="1602"/>
                  <a:pt x="3181" y="1602"/>
                </a:cubicBezTo>
                <a:cubicBezTo>
                  <a:pt x="3181" y="1601"/>
                  <a:pt x="3181" y="1601"/>
                  <a:pt x="3181" y="1601"/>
                </a:cubicBezTo>
                <a:cubicBezTo>
                  <a:pt x="3183" y="1599"/>
                  <a:pt x="3183" y="1599"/>
                  <a:pt x="3183" y="1599"/>
                </a:cubicBezTo>
                <a:cubicBezTo>
                  <a:pt x="3184" y="1597"/>
                  <a:pt x="3184" y="1597"/>
                  <a:pt x="3184" y="1597"/>
                </a:cubicBezTo>
                <a:cubicBezTo>
                  <a:pt x="3186" y="1595"/>
                  <a:pt x="3186" y="1595"/>
                  <a:pt x="3186" y="1595"/>
                </a:cubicBezTo>
                <a:cubicBezTo>
                  <a:pt x="3187" y="1595"/>
                  <a:pt x="3187" y="1595"/>
                  <a:pt x="3187" y="1595"/>
                </a:cubicBezTo>
                <a:cubicBezTo>
                  <a:pt x="3187" y="1594"/>
                  <a:pt x="3187" y="1594"/>
                  <a:pt x="3187" y="1594"/>
                </a:cubicBezTo>
                <a:cubicBezTo>
                  <a:pt x="3191" y="1590"/>
                  <a:pt x="3191" y="1590"/>
                  <a:pt x="3191" y="1590"/>
                </a:cubicBezTo>
                <a:cubicBezTo>
                  <a:pt x="3191" y="1589"/>
                  <a:pt x="3191" y="1589"/>
                  <a:pt x="3191" y="1589"/>
                </a:cubicBezTo>
                <a:cubicBezTo>
                  <a:pt x="3196" y="1585"/>
                  <a:pt x="3196" y="1585"/>
                  <a:pt x="3196" y="1585"/>
                </a:cubicBezTo>
                <a:cubicBezTo>
                  <a:pt x="3198" y="1583"/>
                  <a:pt x="3198" y="1583"/>
                  <a:pt x="3198" y="1583"/>
                </a:cubicBezTo>
                <a:cubicBezTo>
                  <a:pt x="3197" y="1583"/>
                  <a:pt x="3197" y="1583"/>
                  <a:pt x="3197" y="1583"/>
                </a:cubicBezTo>
                <a:cubicBezTo>
                  <a:pt x="3197" y="1581"/>
                  <a:pt x="3197" y="1581"/>
                  <a:pt x="3197" y="1581"/>
                </a:cubicBezTo>
                <a:cubicBezTo>
                  <a:pt x="3196" y="1579"/>
                  <a:pt x="3196" y="1579"/>
                  <a:pt x="3196" y="1579"/>
                </a:cubicBezTo>
                <a:cubicBezTo>
                  <a:pt x="3196" y="1577"/>
                  <a:pt x="3196" y="1577"/>
                  <a:pt x="3196" y="1577"/>
                </a:cubicBezTo>
                <a:cubicBezTo>
                  <a:pt x="3197" y="1576"/>
                  <a:pt x="3197" y="1576"/>
                  <a:pt x="3197" y="1576"/>
                </a:cubicBezTo>
                <a:cubicBezTo>
                  <a:pt x="3197" y="1576"/>
                  <a:pt x="3197" y="1576"/>
                  <a:pt x="3197" y="1576"/>
                </a:cubicBezTo>
                <a:cubicBezTo>
                  <a:pt x="3199" y="1573"/>
                  <a:pt x="3199" y="1573"/>
                  <a:pt x="3199" y="1573"/>
                </a:cubicBezTo>
                <a:cubicBezTo>
                  <a:pt x="3198" y="1574"/>
                  <a:pt x="3198" y="1574"/>
                  <a:pt x="3198" y="1574"/>
                </a:cubicBezTo>
                <a:cubicBezTo>
                  <a:pt x="3196" y="1574"/>
                  <a:pt x="3196" y="1574"/>
                  <a:pt x="3196" y="1574"/>
                </a:cubicBezTo>
                <a:cubicBezTo>
                  <a:pt x="3198" y="1573"/>
                  <a:pt x="3198" y="1573"/>
                  <a:pt x="3198" y="1573"/>
                </a:cubicBezTo>
                <a:lnTo>
                  <a:pt x="3200" y="1571"/>
                </a:lnTo>
                <a:close/>
                <a:moveTo>
                  <a:pt x="3105" y="1118"/>
                </a:moveTo>
                <a:cubicBezTo>
                  <a:pt x="3104" y="1119"/>
                  <a:pt x="3104" y="1119"/>
                  <a:pt x="3104" y="1119"/>
                </a:cubicBezTo>
                <a:cubicBezTo>
                  <a:pt x="3104" y="1118"/>
                  <a:pt x="3104" y="1120"/>
                  <a:pt x="3104" y="1120"/>
                </a:cubicBezTo>
                <a:cubicBezTo>
                  <a:pt x="3105" y="1120"/>
                  <a:pt x="3105" y="1120"/>
                  <a:pt x="3105" y="1120"/>
                </a:cubicBezTo>
                <a:cubicBezTo>
                  <a:pt x="3107" y="1120"/>
                  <a:pt x="3107" y="1120"/>
                  <a:pt x="3107" y="1120"/>
                </a:cubicBezTo>
                <a:cubicBezTo>
                  <a:pt x="3107" y="1119"/>
                  <a:pt x="3107" y="1119"/>
                  <a:pt x="3107" y="1119"/>
                </a:cubicBezTo>
                <a:lnTo>
                  <a:pt x="3105" y="1118"/>
                </a:lnTo>
                <a:close/>
                <a:moveTo>
                  <a:pt x="3080" y="1088"/>
                </a:moveTo>
                <a:cubicBezTo>
                  <a:pt x="3080" y="1089"/>
                  <a:pt x="3080" y="1089"/>
                  <a:pt x="3080" y="1089"/>
                </a:cubicBezTo>
                <a:cubicBezTo>
                  <a:pt x="3081" y="1090"/>
                  <a:pt x="3081" y="1090"/>
                  <a:pt x="3081" y="1090"/>
                </a:cubicBezTo>
                <a:cubicBezTo>
                  <a:pt x="3081" y="1092"/>
                  <a:pt x="3081" y="1092"/>
                  <a:pt x="3081" y="1092"/>
                </a:cubicBezTo>
                <a:cubicBezTo>
                  <a:pt x="3082" y="1090"/>
                  <a:pt x="3082" y="1090"/>
                  <a:pt x="3082" y="1090"/>
                </a:cubicBezTo>
                <a:cubicBezTo>
                  <a:pt x="3082" y="1088"/>
                  <a:pt x="3082" y="1088"/>
                  <a:pt x="3082" y="1088"/>
                </a:cubicBezTo>
                <a:lnTo>
                  <a:pt x="3080" y="1088"/>
                </a:lnTo>
                <a:close/>
                <a:moveTo>
                  <a:pt x="3109" y="1125"/>
                </a:moveTo>
                <a:cubicBezTo>
                  <a:pt x="3108" y="1124"/>
                  <a:pt x="3108" y="1124"/>
                  <a:pt x="3108" y="1124"/>
                </a:cubicBezTo>
                <a:cubicBezTo>
                  <a:pt x="3107" y="1125"/>
                  <a:pt x="3107" y="1125"/>
                  <a:pt x="3107" y="1125"/>
                </a:cubicBezTo>
                <a:cubicBezTo>
                  <a:pt x="3108" y="1126"/>
                  <a:pt x="3108" y="1126"/>
                  <a:pt x="3108" y="1126"/>
                </a:cubicBezTo>
                <a:lnTo>
                  <a:pt x="3109" y="1125"/>
                </a:lnTo>
                <a:close/>
                <a:moveTo>
                  <a:pt x="3106" y="1664"/>
                </a:moveTo>
                <a:cubicBezTo>
                  <a:pt x="3108" y="1664"/>
                  <a:pt x="3108" y="1664"/>
                  <a:pt x="3108" y="1664"/>
                </a:cubicBezTo>
                <a:cubicBezTo>
                  <a:pt x="3108" y="1664"/>
                  <a:pt x="3108" y="1664"/>
                  <a:pt x="3108" y="1664"/>
                </a:cubicBezTo>
                <a:cubicBezTo>
                  <a:pt x="3107" y="1663"/>
                  <a:pt x="3107" y="1663"/>
                  <a:pt x="3107" y="1663"/>
                </a:cubicBezTo>
                <a:cubicBezTo>
                  <a:pt x="3106" y="1661"/>
                  <a:pt x="3106" y="1661"/>
                  <a:pt x="3106" y="1661"/>
                </a:cubicBezTo>
                <a:cubicBezTo>
                  <a:pt x="3105" y="1659"/>
                  <a:pt x="3105" y="1659"/>
                  <a:pt x="3105" y="1659"/>
                </a:cubicBezTo>
                <a:cubicBezTo>
                  <a:pt x="3103" y="1660"/>
                  <a:pt x="3103" y="1660"/>
                  <a:pt x="3103" y="1660"/>
                </a:cubicBezTo>
                <a:cubicBezTo>
                  <a:pt x="3103" y="1661"/>
                  <a:pt x="3103" y="1661"/>
                  <a:pt x="3103" y="1661"/>
                </a:cubicBezTo>
                <a:cubicBezTo>
                  <a:pt x="3103" y="1663"/>
                  <a:pt x="3103" y="1663"/>
                  <a:pt x="3103" y="1663"/>
                </a:cubicBezTo>
                <a:cubicBezTo>
                  <a:pt x="3102" y="1665"/>
                  <a:pt x="3102" y="1665"/>
                  <a:pt x="3102" y="1665"/>
                </a:cubicBezTo>
                <a:cubicBezTo>
                  <a:pt x="3101" y="1665"/>
                  <a:pt x="3101" y="1665"/>
                  <a:pt x="3101" y="1665"/>
                </a:cubicBezTo>
                <a:cubicBezTo>
                  <a:pt x="3101" y="1666"/>
                  <a:pt x="3101" y="1666"/>
                  <a:pt x="3101" y="1666"/>
                </a:cubicBezTo>
                <a:cubicBezTo>
                  <a:pt x="3100" y="1667"/>
                  <a:pt x="3100" y="1667"/>
                  <a:pt x="3100" y="1667"/>
                </a:cubicBezTo>
                <a:cubicBezTo>
                  <a:pt x="3098" y="1669"/>
                  <a:pt x="3098" y="1669"/>
                  <a:pt x="3098" y="1669"/>
                </a:cubicBezTo>
                <a:cubicBezTo>
                  <a:pt x="3098" y="1670"/>
                  <a:pt x="3098" y="1670"/>
                  <a:pt x="3098" y="1670"/>
                </a:cubicBezTo>
                <a:cubicBezTo>
                  <a:pt x="3099" y="1670"/>
                  <a:pt x="3099" y="1670"/>
                  <a:pt x="3099" y="1670"/>
                </a:cubicBezTo>
                <a:cubicBezTo>
                  <a:pt x="3101" y="1668"/>
                  <a:pt x="3101" y="1668"/>
                  <a:pt x="3101" y="1668"/>
                </a:cubicBezTo>
                <a:cubicBezTo>
                  <a:pt x="3101" y="1668"/>
                  <a:pt x="3101" y="1668"/>
                  <a:pt x="3101" y="1668"/>
                </a:cubicBezTo>
                <a:cubicBezTo>
                  <a:pt x="3102" y="1668"/>
                  <a:pt x="3102" y="1668"/>
                  <a:pt x="3102" y="1668"/>
                </a:cubicBezTo>
                <a:cubicBezTo>
                  <a:pt x="3103" y="1668"/>
                  <a:pt x="3103" y="1668"/>
                  <a:pt x="3103" y="1668"/>
                </a:cubicBezTo>
                <a:cubicBezTo>
                  <a:pt x="3104" y="1668"/>
                  <a:pt x="3104" y="1668"/>
                  <a:pt x="3104" y="1668"/>
                </a:cubicBezTo>
                <a:cubicBezTo>
                  <a:pt x="3106" y="1667"/>
                  <a:pt x="3106" y="1667"/>
                  <a:pt x="3106" y="1667"/>
                </a:cubicBezTo>
                <a:cubicBezTo>
                  <a:pt x="3107" y="1667"/>
                  <a:pt x="3107" y="1667"/>
                  <a:pt x="3107" y="1667"/>
                </a:cubicBezTo>
                <a:cubicBezTo>
                  <a:pt x="3108" y="1666"/>
                  <a:pt x="3108" y="1666"/>
                  <a:pt x="3108" y="1666"/>
                </a:cubicBezTo>
                <a:cubicBezTo>
                  <a:pt x="3107" y="1665"/>
                  <a:pt x="3107" y="1665"/>
                  <a:pt x="3107" y="1665"/>
                </a:cubicBezTo>
                <a:cubicBezTo>
                  <a:pt x="3107" y="1665"/>
                  <a:pt x="3107" y="1665"/>
                  <a:pt x="3107" y="1665"/>
                </a:cubicBezTo>
                <a:cubicBezTo>
                  <a:pt x="3106" y="1664"/>
                  <a:pt x="3106" y="1664"/>
                  <a:pt x="3106" y="1664"/>
                </a:cubicBezTo>
                <a:cubicBezTo>
                  <a:pt x="3105" y="1664"/>
                  <a:pt x="3105" y="1664"/>
                  <a:pt x="3105" y="1664"/>
                </a:cubicBezTo>
                <a:cubicBezTo>
                  <a:pt x="3106" y="1664"/>
                  <a:pt x="3106" y="1664"/>
                  <a:pt x="3106" y="1664"/>
                </a:cubicBezTo>
                <a:close/>
                <a:moveTo>
                  <a:pt x="3089" y="1098"/>
                </a:moveTo>
                <a:cubicBezTo>
                  <a:pt x="3087" y="1097"/>
                  <a:pt x="3087" y="1097"/>
                  <a:pt x="3087" y="1097"/>
                </a:cubicBezTo>
                <a:cubicBezTo>
                  <a:pt x="3086" y="1094"/>
                  <a:pt x="3086" y="1094"/>
                  <a:pt x="3086" y="1094"/>
                </a:cubicBezTo>
                <a:cubicBezTo>
                  <a:pt x="3085" y="1092"/>
                  <a:pt x="3085" y="1092"/>
                  <a:pt x="3085" y="1092"/>
                </a:cubicBezTo>
                <a:cubicBezTo>
                  <a:pt x="3083" y="1093"/>
                  <a:pt x="3083" y="1093"/>
                  <a:pt x="3083" y="1093"/>
                </a:cubicBezTo>
                <a:cubicBezTo>
                  <a:pt x="3082" y="1095"/>
                  <a:pt x="3082" y="1095"/>
                  <a:pt x="3082" y="1095"/>
                </a:cubicBezTo>
                <a:cubicBezTo>
                  <a:pt x="3083" y="1096"/>
                  <a:pt x="3083" y="1096"/>
                  <a:pt x="3083" y="1096"/>
                </a:cubicBezTo>
                <a:cubicBezTo>
                  <a:pt x="3083" y="1099"/>
                  <a:pt x="3083" y="1099"/>
                  <a:pt x="3083" y="1099"/>
                </a:cubicBezTo>
                <a:cubicBezTo>
                  <a:pt x="3085" y="1100"/>
                  <a:pt x="3085" y="1100"/>
                  <a:pt x="3085" y="1100"/>
                </a:cubicBezTo>
                <a:cubicBezTo>
                  <a:pt x="3087" y="1104"/>
                  <a:pt x="3087" y="1104"/>
                  <a:pt x="3087" y="1104"/>
                </a:cubicBezTo>
                <a:cubicBezTo>
                  <a:pt x="3086" y="1105"/>
                  <a:pt x="3086" y="1105"/>
                  <a:pt x="3086" y="1105"/>
                </a:cubicBezTo>
                <a:cubicBezTo>
                  <a:pt x="3087" y="1107"/>
                  <a:pt x="3087" y="1107"/>
                  <a:pt x="3087" y="1107"/>
                </a:cubicBezTo>
                <a:cubicBezTo>
                  <a:pt x="3089" y="1107"/>
                  <a:pt x="3089" y="1107"/>
                  <a:pt x="3089" y="1107"/>
                </a:cubicBezTo>
                <a:cubicBezTo>
                  <a:pt x="3090" y="1107"/>
                  <a:pt x="3090" y="1107"/>
                  <a:pt x="3090" y="1107"/>
                </a:cubicBezTo>
                <a:cubicBezTo>
                  <a:pt x="3093" y="1107"/>
                  <a:pt x="3093" y="1107"/>
                  <a:pt x="3093" y="1107"/>
                </a:cubicBezTo>
                <a:cubicBezTo>
                  <a:pt x="3093" y="1106"/>
                  <a:pt x="3093" y="1106"/>
                  <a:pt x="3093" y="1106"/>
                </a:cubicBezTo>
                <a:cubicBezTo>
                  <a:pt x="3094" y="1106"/>
                  <a:pt x="3094" y="1106"/>
                  <a:pt x="3094" y="1106"/>
                </a:cubicBezTo>
                <a:cubicBezTo>
                  <a:pt x="3095" y="1103"/>
                  <a:pt x="3095" y="1103"/>
                  <a:pt x="3095" y="1103"/>
                </a:cubicBezTo>
                <a:cubicBezTo>
                  <a:pt x="3093" y="1100"/>
                  <a:pt x="3093" y="1100"/>
                  <a:pt x="3093" y="1100"/>
                </a:cubicBezTo>
                <a:lnTo>
                  <a:pt x="3089" y="1098"/>
                </a:lnTo>
                <a:close/>
                <a:moveTo>
                  <a:pt x="3095" y="1107"/>
                </a:moveTo>
                <a:cubicBezTo>
                  <a:pt x="3097" y="1108"/>
                  <a:pt x="3097" y="1108"/>
                  <a:pt x="3097" y="1108"/>
                </a:cubicBezTo>
                <a:cubicBezTo>
                  <a:pt x="3096" y="1106"/>
                  <a:pt x="3096" y="1106"/>
                  <a:pt x="3096" y="1106"/>
                </a:cubicBezTo>
                <a:lnTo>
                  <a:pt x="3095" y="1107"/>
                </a:lnTo>
                <a:close/>
                <a:moveTo>
                  <a:pt x="3203" y="1280"/>
                </a:moveTo>
                <a:cubicBezTo>
                  <a:pt x="3203" y="1278"/>
                  <a:pt x="3203" y="1278"/>
                  <a:pt x="3203" y="1278"/>
                </a:cubicBezTo>
                <a:cubicBezTo>
                  <a:pt x="3202" y="1277"/>
                  <a:pt x="3202" y="1277"/>
                  <a:pt x="3202" y="1277"/>
                </a:cubicBezTo>
                <a:cubicBezTo>
                  <a:pt x="3199" y="1277"/>
                  <a:pt x="3199" y="1277"/>
                  <a:pt x="3199" y="1277"/>
                </a:cubicBezTo>
                <a:cubicBezTo>
                  <a:pt x="3199" y="1279"/>
                  <a:pt x="3199" y="1279"/>
                  <a:pt x="3199" y="1279"/>
                </a:cubicBezTo>
                <a:cubicBezTo>
                  <a:pt x="3201" y="1281"/>
                  <a:pt x="3201" y="1281"/>
                  <a:pt x="3201" y="1281"/>
                </a:cubicBezTo>
                <a:cubicBezTo>
                  <a:pt x="3202" y="1280"/>
                  <a:pt x="3202" y="1280"/>
                  <a:pt x="3202" y="1280"/>
                </a:cubicBezTo>
                <a:lnTo>
                  <a:pt x="3203" y="1280"/>
                </a:lnTo>
                <a:close/>
                <a:moveTo>
                  <a:pt x="1304" y="171"/>
                </a:moveTo>
                <a:cubicBezTo>
                  <a:pt x="1305" y="172"/>
                  <a:pt x="1305" y="172"/>
                  <a:pt x="1305" y="172"/>
                </a:cubicBezTo>
                <a:cubicBezTo>
                  <a:pt x="1305" y="172"/>
                  <a:pt x="1305" y="172"/>
                  <a:pt x="1305" y="172"/>
                </a:cubicBezTo>
                <a:cubicBezTo>
                  <a:pt x="1306" y="173"/>
                  <a:pt x="1306" y="173"/>
                  <a:pt x="1306" y="173"/>
                </a:cubicBezTo>
                <a:cubicBezTo>
                  <a:pt x="1308" y="171"/>
                  <a:pt x="1308" y="171"/>
                  <a:pt x="1308" y="171"/>
                </a:cubicBezTo>
                <a:cubicBezTo>
                  <a:pt x="1308" y="170"/>
                  <a:pt x="1308" y="170"/>
                  <a:pt x="1308" y="170"/>
                </a:cubicBezTo>
                <a:cubicBezTo>
                  <a:pt x="1307" y="169"/>
                  <a:pt x="1307" y="169"/>
                  <a:pt x="1307" y="169"/>
                </a:cubicBezTo>
                <a:cubicBezTo>
                  <a:pt x="1307" y="169"/>
                  <a:pt x="1307" y="169"/>
                  <a:pt x="1307" y="169"/>
                </a:cubicBezTo>
                <a:cubicBezTo>
                  <a:pt x="1309" y="168"/>
                  <a:pt x="1309" y="168"/>
                  <a:pt x="1309" y="168"/>
                </a:cubicBezTo>
                <a:cubicBezTo>
                  <a:pt x="1309" y="169"/>
                  <a:pt x="1309" y="169"/>
                  <a:pt x="1309" y="169"/>
                </a:cubicBezTo>
                <a:cubicBezTo>
                  <a:pt x="1310" y="170"/>
                  <a:pt x="1310" y="170"/>
                  <a:pt x="1310" y="170"/>
                </a:cubicBezTo>
                <a:cubicBezTo>
                  <a:pt x="1311" y="168"/>
                  <a:pt x="1311" y="168"/>
                  <a:pt x="1311" y="168"/>
                </a:cubicBezTo>
                <a:cubicBezTo>
                  <a:pt x="1311" y="167"/>
                  <a:pt x="1311" y="167"/>
                  <a:pt x="1311" y="167"/>
                </a:cubicBezTo>
                <a:cubicBezTo>
                  <a:pt x="1311" y="165"/>
                  <a:pt x="1311" y="165"/>
                  <a:pt x="1311" y="165"/>
                </a:cubicBezTo>
                <a:cubicBezTo>
                  <a:pt x="1312" y="165"/>
                  <a:pt x="1312" y="165"/>
                  <a:pt x="1312" y="165"/>
                </a:cubicBezTo>
                <a:cubicBezTo>
                  <a:pt x="1312" y="166"/>
                  <a:pt x="1312" y="166"/>
                  <a:pt x="1312" y="166"/>
                </a:cubicBezTo>
                <a:cubicBezTo>
                  <a:pt x="1313" y="167"/>
                  <a:pt x="1313" y="167"/>
                  <a:pt x="1313" y="167"/>
                </a:cubicBezTo>
                <a:cubicBezTo>
                  <a:pt x="1314" y="166"/>
                  <a:pt x="1314" y="166"/>
                  <a:pt x="1314" y="166"/>
                </a:cubicBezTo>
                <a:cubicBezTo>
                  <a:pt x="1315" y="165"/>
                  <a:pt x="1315" y="165"/>
                  <a:pt x="1315" y="165"/>
                </a:cubicBezTo>
                <a:cubicBezTo>
                  <a:pt x="1316" y="165"/>
                  <a:pt x="1316" y="165"/>
                  <a:pt x="1316" y="165"/>
                </a:cubicBezTo>
                <a:cubicBezTo>
                  <a:pt x="1316" y="164"/>
                  <a:pt x="1316" y="164"/>
                  <a:pt x="1316" y="164"/>
                </a:cubicBezTo>
                <a:cubicBezTo>
                  <a:pt x="1316" y="163"/>
                  <a:pt x="1316" y="163"/>
                  <a:pt x="1316" y="163"/>
                </a:cubicBezTo>
                <a:cubicBezTo>
                  <a:pt x="1316" y="163"/>
                  <a:pt x="1316" y="163"/>
                  <a:pt x="1316" y="163"/>
                </a:cubicBezTo>
                <a:cubicBezTo>
                  <a:pt x="1317" y="163"/>
                  <a:pt x="1317" y="163"/>
                  <a:pt x="1317" y="163"/>
                </a:cubicBezTo>
                <a:cubicBezTo>
                  <a:pt x="1318" y="164"/>
                  <a:pt x="1318" y="164"/>
                  <a:pt x="1318" y="164"/>
                </a:cubicBezTo>
                <a:cubicBezTo>
                  <a:pt x="1319" y="163"/>
                  <a:pt x="1319" y="163"/>
                  <a:pt x="1319" y="163"/>
                </a:cubicBezTo>
                <a:cubicBezTo>
                  <a:pt x="1320" y="163"/>
                  <a:pt x="1320" y="163"/>
                  <a:pt x="1320" y="163"/>
                </a:cubicBezTo>
                <a:cubicBezTo>
                  <a:pt x="1320" y="162"/>
                  <a:pt x="1320" y="162"/>
                  <a:pt x="1320" y="162"/>
                </a:cubicBezTo>
                <a:cubicBezTo>
                  <a:pt x="1320" y="161"/>
                  <a:pt x="1320" y="161"/>
                  <a:pt x="1320" y="161"/>
                </a:cubicBezTo>
                <a:cubicBezTo>
                  <a:pt x="1319" y="160"/>
                  <a:pt x="1319" y="160"/>
                  <a:pt x="1319" y="160"/>
                </a:cubicBezTo>
                <a:cubicBezTo>
                  <a:pt x="1320" y="160"/>
                  <a:pt x="1320" y="160"/>
                  <a:pt x="1320" y="160"/>
                </a:cubicBezTo>
                <a:cubicBezTo>
                  <a:pt x="1322" y="160"/>
                  <a:pt x="1322" y="160"/>
                  <a:pt x="1322" y="160"/>
                </a:cubicBezTo>
                <a:cubicBezTo>
                  <a:pt x="1322" y="160"/>
                  <a:pt x="1322" y="160"/>
                  <a:pt x="1322" y="160"/>
                </a:cubicBezTo>
                <a:cubicBezTo>
                  <a:pt x="1323" y="159"/>
                  <a:pt x="1323" y="159"/>
                  <a:pt x="1323" y="159"/>
                </a:cubicBezTo>
                <a:cubicBezTo>
                  <a:pt x="1323" y="158"/>
                  <a:pt x="1323" y="158"/>
                  <a:pt x="1323" y="158"/>
                </a:cubicBezTo>
                <a:cubicBezTo>
                  <a:pt x="1324" y="159"/>
                  <a:pt x="1324" y="159"/>
                  <a:pt x="1324" y="159"/>
                </a:cubicBezTo>
                <a:cubicBezTo>
                  <a:pt x="1325" y="159"/>
                  <a:pt x="1325" y="159"/>
                  <a:pt x="1325" y="159"/>
                </a:cubicBezTo>
                <a:cubicBezTo>
                  <a:pt x="1326" y="160"/>
                  <a:pt x="1326" y="160"/>
                  <a:pt x="1326" y="160"/>
                </a:cubicBezTo>
                <a:cubicBezTo>
                  <a:pt x="1326" y="159"/>
                  <a:pt x="1326" y="159"/>
                  <a:pt x="1326" y="159"/>
                </a:cubicBezTo>
                <a:cubicBezTo>
                  <a:pt x="1326" y="158"/>
                  <a:pt x="1326" y="158"/>
                  <a:pt x="1326" y="158"/>
                </a:cubicBezTo>
                <a:cubicBezTo>
                  <a:pt x="1325" y="157"/>
                  <a:pt x="1325" y="157"/>
                  <a:pt x="1325" y="157"/>
                </a:cubicBezTo>
                <a:cubicBezTo>
                  <a:pt x="1325" y="157"/>
                  <a:pt x="1325" y="157"/>
                  <a:pt x="1325" y="157"/>
                </a:cubicBezTo>
                <a:cubicBezTo>
                  <a:pt x="1327" y="156"/>
                  <a:pt x="1327" y="156"/>
                  <a:pt x="1327" y="156"/>
                </a:cubicBezTo>
                <a:cubicBezTo>
                  <a:pt x="1328" y="156"/>
                  <a:pt x="1328" y="156"/>
                  <a:pt x="1328" y="156"/>
                </a:cubicBezTo>
                <a:cubicBezTo>
                  <a:pt x="1330" y="156"/>
                  <a:pt x="1330" y="156"/>
                  <a:pt x="1330" y="156"/>
                </a:cubicBezTo>
                <a:cubicBezTo>
                  <a:pt x="1332" y="154"/>
                  <a:pt x="1332" y="154"/>
                  <a:pt x="1332" y="154"/>
                </a:cubicBezTo>
                <a:cubicBezTo>
                  <a:pt x="1333" y="153"/>
                  <a:pt x="1333" y="153"/>
                  <a:pt x="1333" y="153"/>
                </a:cubicBezTo>
                <a:cubicBezTo>
                  <a:pt x="1333" y="152"/>
                  <a:pt x="1333" y="152"/>
                  <a:pt x="1333" y="152"/>
                </a:cubicBezTo>
                <a:cubicBezTo>
                  <a:pt x="1330" y="153"/>
                  <a:pt x="1330" y="153"/>
                  <a:pt x="1330" y="153"/>
                </a:cubicBezTo>
                <a:cubicBezTo>
                  <a:pt x="1328" y="153"/>
                  <a:pt x="1328" y="153"/>
                  <a:pt x="1328" y="153"/>
                </a:cubicBezTo>
                <a:cubicBezTo>
                  <a:pt x="1327" y="152"/>
                  <a:pt x="1327" y="152"/>
                  <a:pt x="1327" y="152"/>
                </a:cubicBezTo>
                <a:cubicBezTo>
                  <a:pt x="1324" y="152"/>
                  <a:pt x="1324" y="152"/>
                  <a:pt x="1324" y="152"/>
                </a:cubicBezTo>
                <a:cubicBezTo>
                  <a:pt x="1323" y="152"/>
                  <a:pt x="1323" y="152"/>
                  <a:pt x="1323" y="152"/>
                </a:cubicBezTo>
                <a:cubicBezTo>
                  <a:pt x="1320" y="152"/>
                  <a:pt x="1320" y="152"/>
                  <a:pt x="1320" y="152"/>
                </a:cubicBezTo>
                <a:cubicBezTo>
                  <a:pt x="1318" y="151"/>
                  <a:pt x="1318" y="151"/>
                  <a:pt x="1318" y="151"/>
                </a:cubicBezTo>
                <a:cubicBezTo>
                  <a:pt x="1315" y="150"/>
                  <a:pt x="1315" y="150"/>
                  <a:pt x="1315" y="150"/>
                </a:cubicBezTo>
                <a:cubicBezTo>
                  <a:pt x="1313" y="148"/>
                  <a:pt x="1313" y="148"/>
                  <a:pt x="1313" y="148"/>
                </a:cubicBezTo>
                <a:cubicBezTo>
                  <a:pt x="1312" y="147"/>
                  <a:pt x="1312" y="147"/>
                  <a:pt x="1312" y="147"/>
                </a:cubicBezTo>
                <a:cubicBezTo>
                  <a:pt x="1311" y="147"/>
                  <a:pt x="1311" y="147"/>
                  <a:pt x="1311" y="147"/>
                </a:cubicBezTo>
                <a:cubicBezTo>
                  <a:pt x="1310" y="148"/>
                  <a:pt x="1310" y="148"/>
                  <a:pt x="1310" y="148"/>
                </a:cubicBezTo>
                <a:cubicBezTo>
                  <a:pt x="1309" y="148"/>
                  <a:pt x="1309" y="148"/>
                  <a:pt x="1309" y="148"/>
                </a:cubicBezTo>
                <a:cubicBezTo>
                  <a:pt x="1310" y="147"/>
                  <a:pt x="1310" y="147"/>
                  <a:pt x="1310" y="147"/>
                </a:cubicBezTo>
                <a:cubicBezTo>
                  <a:pt x="1310" y="146"/>
                  <a:pt x="1310" y="146"/>
                  <a:pt x="1310" y="146"/>
                </a:cubicBezTo>
                <a:cubicBezTo>
                  <a:pt x="1309" y="147"/>
                  <a:pt x="1309" y="147"/>
                  <a:pt x="1309" y="147"/>
                </a:cubicBezTo>
                <a:cubicBezTo>
                  <a:pt x="1306" y="149"/>
                  <a:pt x="1306" y="149"/>
                  <a:pt x="1306" y="149"/>
                </a:cubicBezTo>
                <a:cubicBezTo>
                  <a:pt x="1304" y="150"/>
                  <a:pt x="1304" y="150"/>
                  <a:pt x="1304" y="150"/>
                </a:cubicBezTo>
                <a:cubicBezTo>
                  <a:pt x="1302" y="150"/>
                  <a:pt x="1302" y="150"/>
                  <a:pt x="1302" y="150"/>
                </a:cubicBezTo>
                <a:cubicBezTo>
                  <a:pt x="1301" y="150"/>
                  <a:pt x="1301" y="150"/>
                  <a:pt x="1301" y="150"/>
                </a:cubicBezTo>
                <a:cubicBezTo>
                  <a:pt x="1300" y="150"/>
                  <a:pt x="1300" y="150"/>
                  <a:pt x="1300" y="150"/>
                </a:cubicBezTo>
                <a:cubicBezTo>
                  <a:pt x="1299" y="149"/>
                  <a:pt x="1299" y="149"/>
                  <a:pt x="1299" y="149"/>
                </a:cubicBezTo>
                <a:cubicBezTo>
                  <a:pt x="1299" y="149"/>
                  <a:pt x="1298" y="150"/>
                  <a:pt x="1297" y="150"/>
                </a:cubicBezTo>
                <a:cubicBezTo>
                  <a:pt x="1297" y="150"/>
                  <a:pt x="1296" y="150"/>
                  <a:pt x="1296" y="150"/>
                </a:cubicBezTo>
                <a:cubicBezTo>
                  <a:pt x="1293" y="152"/>
                  <a:pt x="1293" y="152"/>
                  <a:pt x="1293" y="152"/>
                </a:cubicBezTo>
                <a:cubicBezTo>
                  <a:pt x="1293" y="153"/>
                  <a:pt x="1293" y="153"/>
                  <a:pt x="1293" y="153"/>
                </a:cubicBezTo>
                <a:cubicBezTo>
                  <a:pt x="1292" y="152"/>
                  <a:pt x="1292" y="152"/>
                  <a:pt x="1292" y="152"/>
                </a:cubicBezTo>
                <a:cubicBezTo>
                  <a:pt x="1291" y="152"/>
                  <a:pt x="1291" y="152"/>
                  <a:pt x="1291" y="152"/>
                </a:cubicBezTo>
                <a:cubicBezTo>
                  <a:pt x="1288" y="152"/>
                  <a:pt x="1288" y="152"/>
                  <a:pt x="1288" y="152"/>
                </a:cubicBezTo>
                <a:cubicBezTo>
                  <a:pt x="1286" y="151"/>
                  <a:pt x="1286" y="151"/>
                  <a:pt x="1286" y="151"/>
                </a:cubicBezTo>
                <a:cubicBezTo>
                  <a:pt x="1285" y="151"/>
                  <a:pt x="1285" y="151"/>
                  <a:pt x="1285" y="151"/>
                </a:cubicBezTo>
                <a:cubicBezTo>
                  <a:pt x="1285" y="151"/>
                  <a:pt x="1285" y="151"/>
                  <a:pt x="1285" y="151"/>
                </a:cubicBezTo>
                <a:cubicBezTo>
                  <a:pt x="1286" y="149"/>
                  <a:pt x="1286" y="149"/>
                  <a:pt x="1286" y="149"/>
                </a:cubicBezTo>
                <a:cubicBezTo>
                  <a:pt x="1287" y="149"/>
                  <a:pt x="1287" y="149"/>
                  <a:pt x="1287" y="149"/>
                </a:cubicBezTo>
                <a:cubicBezTo>
                  <a:pt x="1289" y="150"/>
                  <a:pt x="1289" y="150"/>
                  <a:pt x="1289" y="150"/>
                </a:cubicBezTo>
                <a:cubicBezTo>
                  <a:pt x="1290" y="151"/>
                  <a:pt x="1290" y="151"/>
                  <a:pt x="1290" y="151"/>
                </a:cubicBezTo>
                <a:cubicBezTo>
                  <a:pt x="1291" y="150"/>
                  <a:pt x="1291" y="150"/>
                  <a:pt x="1291" y="150"/>
                </a:cubicBezTo>
                <a:cubicBezTo>
                  <a:pt x="1294" y="150"/>
                  <a:pt x="1294" y="150"/>
                  <a:pt x="1294" y="150"/>
                </a:cubicBezTo>
                <a:cubicBezTo>
                  <a:pt x="1295" y="148"/>
                  <a:pt x="1295" y="148"/>
                  <a:pt x="1295" y="148"/>
                </a:cubicBezTo>
                <a:cubicBezTo>
                  <a:pt x="1297" y="148"/>
                  <a:pt x="1297" y="148"/>
                  <a:pt x="1297" y="148"/>
                </a:cubicBezTo>
                <a:cubicBezTo>
                  <a:pt x="1299" y="149"/>
                  <a:pt x="1299" y="149"/>
                  <a:pt x="1299" y="149"/>
                </a:cubicBezTo>
                <a:cubicBezTo>
                  <a:pt x="1301" y="148"/>
                  <a:pt x="1301" y="148"/>
                  <a:pt x="1301" y="148"/>
                </a:cubicBezTo>
                <a:cubicBezTo>
                  <a:pt x="1301" y="147"/>
                  <a:pt x="1301" y="147"/>
                  <a:pt x="1301" y="147"/>
                </a:cubicBezTo>
                <a:cubicBezTo>
                  <a:pt x="1301" y="146"/>
                  <a:pt x="1301" y="146"/>
                  <a:pt x="1301" y="146"/>
                </a:cubicBezTo>
                <a:cubicBezTo>
                  <a:pt x="1300" y="146"/>
                  <a:pt x="1300" y="146"/>
                  <a:pt x="1300" y="146"/>
                </a:cubicBezTo>
                <a:cubicBezTo>
                  <a:pt x="1299" y="146"/>
                  <a:pt x="1299" y="146"/>
                  <a:pt x="1299" y="146"/>
                </a:cubicBezTo>
                <a:cubicBezTo>
                  <a:pt x="1298" y="145"/>
                  <a:pt x="1298" y="145"/>
                  <a:pt x="1298" y="145"/>
                </a:cubicBezTo>
                <a:cubicBezTo>
                  <a:pt x="1297" y="146"/>
                  <a:pt x="1297" y="146"/>
                  <a:pt x="1297" y="146"/>
                </a:cubicBezTo>
                <a:cubicBezTo>
                  <a:pt x="1295" y="145"/>
                  <a:pt x="1295" y="145"/>
                  <a:pt x="1295" y="145"/>
                </a:cubicBezTo>
                <a:cubicBezTo>
                  <a:pt x="1292" y="145"/>
                  <a:pt x="1292" y="145"/>
                  <a:pt x="1292" y="145"/>
                </a:cubicBezTo>
                <a:cubicBezTo>
                  <a:pt x="1290" y="146"/>
                  <a:pt x="1290" y="146"/>
                  <a:pt x="1290" y="146"/>
                </a:cubicBezTo>
                <a:cubicBezTo>
                  <a:pt x="1289" y="146"/>
                  <a:pt x="1289" y="146"/>
                  <a:pt x="1289" y="146"/>
                </a:cubicBezTo>
                <a:cubicBezTo>
                  <a:pt x="1286" y="145"/>
                  <a:pt x="1286" y="145"/>
                  <a:pt x="1286" y="145"/>
                </a:cubicBezTo>
                <a:cubicBezTo>
                  <a:pt x="1286" y="144"/>
                  <a:pt x="1286" y="144"/>
                  <a:pt x="1286" y="144"/>
                </a:cubicBezTo>
                <a:cubicBezTo>
                  <a:pt x="1285" y="144"/>
                  <a:pt x="1285" y="144"/>
                  <a:pt x="1285" y="144"/>
                </a:cubicBezTo>
                <a:cubicBezTo>
                  <a:pt x="1283" y="144"/>
                  <a:pt x="1283" y="144"/>
                  <a:pt x="1283" y="144"/>
                </a:cubicBezTo>
                <a:cubicBezTo>
                  <a:pt x="1281" y="144"/>
                  <a:pt x="1281" y="144"/>
                  <a:pt x="1281" y="144"/>
                </a:cubicBezTo>
                <a:cubicBezTo>
                  <a:pt x="1277" y="146"/>
                  <a:pt x="1277" y="146"/>
                  <a:pt x="1277" y="146"/>
                </a:cubicBezTo>
                <a:cubicBezTo>
                  <a:pt x="1277" y="146"/>
                  <a:pt x="1277" y="146"/>
                  <a:pt x="1277" y="146"/>
                </a:cubicBezTo>
                <a:cubicBezTo>
                  <a:pt x="1278" y="144"/>
                  <a:pt x="1278" y="144"/>
                  <a:pt x="1278" y="144"/>
                </a:cubicBezTo>
                <a:cubicBezTo>
                  <a:pt x="1279" y="143"/>
                  <a:pt x="1279" y="143"/>
                  <a:pt x="1279" y="143"/>
                </a:cubicBezTo>
                <a:cubicBezTo>
                  <a:pt x="1280" y="143"/>
                  <a:pt x="1280" y="143"/>
                  <a:pt x="1280" y="143"/>
                </a:cubicBezTo>
                <a:cubicBezTo>
                  <a:pt x="1282" y="143"/>
                  <a:pt x="1282" y="143"/>
                  <a:pt x="1282" y="143"/>
                </a:cubicBezTo>
                <a:cubicBezTo>
                  <a:pt x="1286" y="141"/>
                  <a:pt x="1286" y="141"/>
                  <a:pt x="1286" y="141"/>
                </a:cubicBezTo>
                <a:cubicBezTo>
                  <a:pt x="1287" y="141"/>
                  <a:pt x="1287" y="141"/>
                  <a:pt x="1287" y="141"/>
                </a:cubicBezTo>
                <a:cubicBezTo>
                  <a:pt x="1287" y="139"/>
                  <a:pt x="1287" y="139"/>
                  <a:pt x="1287" y="139"/>
                </a:cubicBezTo>
                <a:cubicBezTo>
                  <a:pt x="1288" y="138"/>
                  <a:pt x="1288" y="138"/>
                  <a:pt x="1288" y="138"/>
                </a:cubicBezTo>
                <a:cubicBezTo>
                  <a:pt x="1289" y="138"/>
                  <a:pt x="1289" y="138"/>
                  <a:pt x="1289" y="138"/>
                </a:cubicBezTo>
                <a:cubicBezTo>
                  <a:pt x="1289" y="138"/>
                  <a:pt x="1289" y="138"/>
                  <a:pt x="1289" y="138"/>
                </a:cubicBezTo>
                <a:cubicBezTo>
                  <a:pt x="1290" y="137"/>
                  <a:pt x="1290" y="137"/>
                  <a:pt x="1290" y="137"/>
                </a:cubicBezTo>
                <a:cubicBezTo>
                  <a:pt x="1290" y="136"/>
                  <a:pt x="1290" y="136"/>
                  <a:pt x="1290" y="136"/>
                </a:cubicBezTo>
                <a:cubicBezTo>
                  <a:pt x="1289" y="135"/>
                  <a:pt x="1289" y="135"/>
                  <a:pt x="1289" y="135"/>
                </a:cubicBezTo>
                <a:cubicBezTo>
                  <a:pt x="1288" y="134"/>
                  <a:pt x="1288" y="134"/>
                  <a:pt x="1288" y="134"/>
                </a:cubicBezTo>
                <a:cubicBezTo>
                  <a:pt x="1287" y="134"/>
                  <a:pt x="1287" y="134"/>
                  <a:pt x="1287" y="134"/>
                </a:cubicBezTo>
                <a:cubicBezTo>
                  <a:pt x="1289" y="133"/>
                  <a:pt x="1289" y="133"/>
                  <a:pt x="1289" y="133"/>
                </a:cubicBezTo>
                <a:cubicBezTo>
                  <a:pt x="1289" y="133"/>
                  <a:pt x="1289" y="133"/>
                  <a:pt x="1289" y="133"/>
                </a:cubicBezTo>
                <a:cubicBezTo>
                  <a:pt x="1290" y="134"/>
                  <a:pt x="1290" y="134"/>
                  <a:pt x="1290" y="134"/>
                </a:cubicBezTo>
                <a:cubicBezTo>
                  <a:pt x="1291" y="134"/>
                  <a:pt x="1291" y="134"/>
                  <a:pt x="1291" y="134"/>
                </a:cubicBezTo>
                <a:cubicBezTo>
                  <a:pt x="1292" y="133"/>
                  <a:pt x="1292" y="133"/>
                  <a:pt x="1292" y="133"/>
                </a:cubicBezTo>
                <a:cubicBezTo>
                  <a:pt x="1291" y="132"/>
                  <a:pt x="1291" y="132"/>
                  <a:pt x="1291" y="132"/>
                </a:cubicBezTo>
                <a:cubicBezTo>
                  <a:pt x="1291" y="132"/>
                  <a:pt x="1291" y="132"/>
                  <a:pt x="1291" y="132"/>
                </a:cubicBezTo>
                <a:cubicBezTo>
                  <a:pt x="1291" y="130"/>
                  <a:pt x="1291" y="130"/>
                  <a:pt x="1291" y="130"/>
                </a:cubicBezTo>
                <a:cubicBezTo>
                  <a:pt x="1292" y="130"/>
                  <a:pt x="1292" y="130"/>
                  <a:pt x="1292" y="130"/>
                </a:cubicBezTo>
                <a:cubicBezTo>
                  <a:pt x="1293" y="131"/>
                  <a:pt x="1293" y="131"/>
                  <a:pt x="1293" y="131"/>
                </a:cubicBezTo>
                <a:cubicBezTo>
                  <a:pt x="1293" y="132"/>
                  <a:pt x="1293" y="132"/>
                  <a:pt x="1293" y="132"/>
                </a:cubicBezTo>
                <a:cubicBezTo>
                  <a:pt x="1294" y="134"/>
                  <a:pt x="1294" y="134"/>
                  <a:pt x="1294" y="134"/>
                </a:cubicBezTo>
                <a:cubicBezTo>
                  <a:pt x="1295" y="135"/>
                  <a:pt x="1295" y="135"/>
                  <a:pt x="1295" y="135"/>
                </a:cubicBezTo>
                <a:cubicBezTo>
                  <a:pt x="1297" y="134"/>
                  <a:pt x="1297" y="134"/>
                  <a:pt x="1297" y="134"/>
                </a:cubicBezTo>
                <a:cubicBezTo>
                  <a:pt x="1299" y="134"/>
                  <a:pt x="1299" y="134"/>
                  <a:pt x="1299" y="134"/>
                </a:cubicBezTo>
                <a:cubicBezTo>
                  <a:pt x="1304" y="132"/>
                  <a:pt x="1304" y="132"/>
                  <a:pt x="1304" y="132"/>
                </a:cubicBezTo>
                <a:cubicBezTo>
                  <a:pt x="1306" y="132"/>
                  <a:pt x="1306" y="132"/>
                  <a:pt x="1306" y="132"/>
                </a:cubicBezTo>
                <a:cubicBezTo>
                  <a:pt x="1307" y="131"/>
                  <a:pt x="1307" y="131"/>
                  <a:pt x="1307" y="131"/>
                </a:cubicBezTo>
                <a:cubicBezTo>
                  <a:pt x="1308" y="130"/>
                  <a:pt x="1308" y="130"/>
                  <a:pt x="1308" y="130"/>
                </a:cubicBezTo>
                <a:cubicBezTo>
                  <a:pt x="1309" y="129"/>
                  <a:pt x="1309" y="129"/>
                  <a:pt x="1309" y="129"/>
                </a:cubicBezTo>
                <a:cubicBezTo>
                  <a:pt x="1310" y="128"/>
                  <a:pt x="1310" y="128"/>
                  <a:pt x="1310" y="128"/>
                </a:cubicBezTo>
                <a:cubicBezTo>
                  <a:pt x="1309" y="126"/>
                  <a:pt x="1309" y="126"/>
                  <a:pt x="1309" y="126"/>
                </a:cubicBezTo>
                <a:cubicBezTo>
                  <a:pt x="1308" y="124"/>
                  <a:pt x="1308" y="124"/>
                  <a:pt x="1308" y="124"/>
                </a:cubicBezTo>
                <a:cubicBezTo>
                  <a:pt x="1307" y="124"/>
                  <a:pt x="1307" y="124"/>
                  <a:pt x="1307" y="124"/>
                </a:cubicBezTo>
                <a:cubicBezTo>
                  <a:pt x="1306" y="123"/>
                  <a:pt x="1306" y="123"/>
                  <a:pt x="1306" y="123"/>
                </a:cubicBezTo>
                <a:cubicBezTo>
                  <a:pt x="1301" y="122"/>
                  <a:pt x="1301" y="122"/>
                  <a:pt x="1301" y="122"/>
                </a:cubicBezTo>
                <a:cubicBezTo>
                  <a:pt x="1300" y="122"/>
                  <a:pt x="1300" y="122"/>
                  <a:pt x="1300" y="122"/>
                </a:cubicBezTo>
                <a:cubicBezTo>
                  <a:pt x="1298" y="123"/>
                  <a:pt x="1298" y="123"/>
                  <a:pt x="1298" y="123"/>
                </a:cubicBezTo>
                <a:cubicBezTo>
                  <a:pt x="1298" y="122"/>
                  <a:pt x="1298" y="122"/>
                  <a:pt x="1298" y="122"/>
                </a:cubicBezTo>
                <a:cubicBezTo>
                  <a:pt x="1298" y="121"/>
                  <a:pt x="1298" y="121"/>
                  <a:pt x="1298" y="121"/>
                </a:cubicBezTo>
                <a:cubicBezTo>
                  <a:pt x="1297" y="120"/>
                  <a:pt x="1297" y="120"/>
                  <a:pt x="1297" y="120"/>
                </a:cubicBezTo>
                <a:cubicBezTo>
                  <a:pt x="1295" y="121"/>
                  <a:pt x="1295" y="121"/>
                  <a:pt x="1295" y="121"/>
                </a:cubicBezTo>
                <a:cubicBezTo>
                  <a:pt x="1294" y="121"/>
                  <a:pt x="1294" y="121"/>
                  <a:pt x="1294" y="121"/>
                </a:cubicBezTo>
                <a:cubicBezTo>
                  <a:pt x="1292" y="122"/>
                  <a:pt x="1292" y="122"/>
                  <a:pt x="1292" y="122"/>
                </a:cubicBezTo>
                <a:cubicBezTo>
                  <a:pt x="1291" y="123"/>
                  <a:pt x="1291" y="123"/>
                  <a:pt x="1291" y="123"/>
                </a:cubicBezTo>
                <a:cubicBezTo>
                  <a:pt x="1289" y="122"/>
                  <a:pt x="1289" y="122"/>
                  <a:pt x="1289" y="122"/>
                </a:cubicBezTo>
                <a:cubicBezTo>
                  <a:pt x="1289" y="121"/>
                  <a:pt x="1289" y="121"/>
                  <a:pt x="1289" y="121"/>
                </a:cubicBezTo>
                <a:cubicBezTo>
                  <a:pt x="1290" y="122"/>
                  <a:pt x="1290" y="122"/>
                  <a:pt x="1290" y="122"/>
                </a:cubicBezTo>
                <a:cubicBezTo>
                  <a:pt x="1292" y="121"/>
                  <a:pt x="1292" y="121"/>
                  <a:pt x="1292" y="121"/>
                </a:cubicBezTo>
                <a:cubicBezTo>
                  <a:pt x="1293" y="120"/>
                  <a:pt x="1293" y="120"/>
                  <a:pt x="1293" y="120"/>
                </a:cubicBezTo>
                <a:cubicBezTo>
                  <a:pt x="1295" y="120"/>
                  <a:pt x="1295" y="120"/>
                  <a:pt x="1295" y="120"/>
                </a:cubicBezTo>
                <a:cubicBezTo>
                  <a:pt x="1295" y="119"/>
                  <a:pt x="1295" y="119"/>
                  <a:pt x="1295" y="119"/>
                </a:cubicBezTo>
                <a:cubicBezTo>
                  <a:pt x="1294" y="118"/>
                  <a:pt x="1294" y="118"/>
                  <a:pt x="1294" y="118"/>
                </a:cubicBezTo>
                <a:cubicBezTo>
                  <a:pt x="1293" y="116"/>
                  <a:pt x="1293" y="116"/>
                  <a:pt x="1293" y="116"/>
                </a:cubicBezTo>
                <a:cubicBezTo>
                  <a:pt x="1292" y="115"/>
                  <a:pt x="1292" y="115"/>
                  <a:pt x="1292" y="115"/>
                </a:cubicBezTo>
                <a:cubicBezTo>
                  <a:pt x="1290" y="115"/>
                  <a:pt x="1290" y="115"/>
                  <a:pt x="1290" y="115"/>
                </a:cubicBezTo>
                <a:cubicBezTo>
                  <a:pt x="1291" y="114"/>
                  <a:pt x="1291" y="114"/>
                  <a:pt x="1291" y="114"/>
                </a:cubicBezTo>
                <a:cubicBezTo>
                  <a:pt x="1293" y="113"/>
                  <a:pt x="1293" y="113"/>
                  <a:pt x="1293" y="113"/>
                </a:cubicBezTo>
                <a:cubicBezTo>
                  <a:pt x="1293" y="113"/>
                  <a:pt x="1293" y="113"/>
                  <a:pt x="1293" y="113"/>
                </a:cubicBezTo>
                <a:cubicBezTo>
                  <a:pt x="1293" y="111"/>
                  <a:pt x="1293" y="111"/>
                  <a:pt x="1293" y="111"/>
                </a:cubicBezTo>
                <a:cubicBezTo>
                  <a:pt x="1293" y="110"/>
                  <a:pt x="1293" y="110"/>
                  <a:pt x="1293" y="110"/>
                </a:cubicBezTo>
                <a:cubicBezTo>
                  <a:pt x="1294" y="111"/>
                  <a:pt x="1294" y="111"/>
                  <a:pt x="1294" y="111"/>
                </a:cubicBezTo>
                <a:cubicBezTo>
                  <a:pt x="1295" y="113"/>
                  <a:pt x="1295" y="113"/>
                  <a:pt x="1295" y="113"/>
                </a:cubicBezTo>
                <a:cubicBezTo>
                  <a:pt x="1296" y="115"/>
                  <a:pt x="1296" y="115"/>
                  <a:pt x="1296" y="115"/>
                </a:cubicBezTo>
                <a:cubicBezTo>
                  <a:pt x="1296" y="116"/>
                  <a:pt x="1296" y="116"/>
                  <a:pt x="1296" y="116"/>
                </a:cubicBezTo>
                <a:cubicBezTo>
                  <a:pt x="1298" y="118"/>
                  <a:pt x="1298" y="118"/>
                  <a:pt x="1298" y="118"/>
                </a:cubicBezTo>
                <a:cubicBezTo>
                  <a:pt x="1298" y="119"/>
                  <a:pt x="1298" y="119"/>
                  <a:pt x="1298" y="119"/>
                </a:cubicBezTo>
                <a:cubicBezTo>
                  <a:pt x="1300" y="120"/>
                  <a:pt x="1300" y="120"/>
                  <a:pt x="1300" y="120"/>
                </a:cubicBezTo>
                <a:cubicBezTo>
                  <a:pt x="1300" y="121"/>
                  <a:pt x="1300" y="121"/>
                  <a:pt x="1300" y="121"/>
                </a:cubicBezTo>
                <a:cubicBezTo>
                  <a:pt x="1302" y="120"/>
                  <a:pt x="1302" y="120"/>
                  <a:pt x="1302" y="120"/>
                </a:cubicBezTo>
                <a:cubicBezTo>
                  <a:pt x="1302" y="120"/>
                  <a:pt x="1302" y="120"/>
                  <a:pt x="1302" y="120"/>
                </a:cubicBezTo>
                <a:cubicBezTo>
                  <a:pt x="1304" y="120"/>
                  <a:pt x="1304" y="120"/>
                  <a:pt x="1304" y="120"/>
                </a:cubicBezTo>
                <a:cubicBezTo>
                  <a:pt x="1306" y="120"/>
                  <a:pt x="1306" y="120"/>
                  <a:pt x="1306" y="120"/>
                </a:cubicBezTo>
                <a:cubicBezTo>
                  <a:pt x="1307" y="119"/>
                  <a:pt x="1307" y="119"/>
                  <a:pt x="1307" y="119"/>
                </a:cubicBezTo>
                <a:cubicBezTo>
                  <a:pt x="1308" y="120"/>
                  <a:pt x="1308" y="120"/>
                  <a:pt x="1308" y="120"/>
                </a:cubicBezTo>
                <a:cubicBezTo>
                  <a:pt x="1308" y="122"/>
                  <a:pt x="1308" y="122"/>
                  <a:pt x="1308" y="122"/>
                </a:cubicBezTo>
                <a:cubicBezTo>
                  <a:pt x="1311" y="126"/>
                  <a:pt x="1311" y="126"/>
                  <a:pt x="1311" y="126"/>
                </a:cubicBezTo>
                <a:cubicBezTo>
                  <a:pt x="1313" y="127"/>
                  <a:pt x="1313" y="127"/>
                  <a:pt x="1313" y="127"/>
                </a:cubicBezTo>
                <a:cubicBezTo>
                  <a:pt x="1313" y="126"/>
                  <a:pt x="1313" y="126"/>
                  <a:pt x="1313" y="126"/>
                </a:cubicBezTo>
                <a:cubicBezTo>
                  <a:pt x="1315" y="126"/>
                  <a:pt x="1315" y="126"/>
                  <a:pt x="1315" y="126"/>
                </a:cubicBezTo>
                <a:cubicBezTo>
                  <a:pt x="1316" y="126"/>
                  <a:pt x="1316" y="126"/>
                  <a:pt x="1316" y="126"/>
                </a:cubicBezTo>
                <a:cubicBezTo>
                  <a:pt x="1316" y="127"/>
                  <a:pt x="1316" y="127"/>
                  <a:pt x="1316" y="127"/>
                </a:cubicBezTo>
                <a:cubicBezTo>
                  <a:pt x="1316" y="128"/>
                  <a:pt x="1316" y="128"/>
                  <a:pt x="1316" y="128"/>
                </a:cubicBezTo>
                <a:cubicBezTo>
                  <a:pt x="1315" y="130"/>
                  <a:pt x="1315" y="130"/>
                  <a:pt x="1315" y="130"/>
                </a:cubicBezTo>
                <a:cubicBezTo>
                  <a:pt x="1316" y="132"/>
                  <a:pt x="1316" y="132"/>
                  <a:pt x="1316" y="132"/>
                </a:cubicBezTo>
                <a:cubicBezTo>
                  <a:pt x="1317" y="134"/>
                  <a:pt x="1317" y="134"/>
                  <a:pt x="1317" y="134"/>
                </a:cubicBezTo>
                <a:cubicBezTo>
                  <a:pt x="1318" y="135"/>
                  <a:pt x="1318" y="135"/>
                  <a:pt x="1318" y="135"/>
                </a:cubicBezTo>
                <a:cubicBezTo>
                  <a:pt x="1318" y="138"/>
                  <a:pt x="1318" y="138"/>
                  <a:pt x="1318" y="138"/>
                </a:cubicBezTo>
                <a:cubicBezTo>
                  <a:pt x="1319" y="140"/>
                  <a:pt x="1319" y="140"/>
                  <a:pt x="1319" y="140"/>
                </a:cubicBezTo>
                <a:cubicBezTo>
                  <a:pt x="1320" y="141"/>
                  <a:pt x="1320" y="141"/>
                  <a:pt x="1320" y="141"/>
                </a:cubicBezTo>
                <a:cubicBezTo>
                  <a:pt x="1322" y="144"/>
                  <a:pt x="1322" y="144"/>
                  <a:pt x="1322" y="144"/>
                </a:cubicBezTo>
                <a:cubicBezTo>
                  <a:pt x="1324" y="146"/>
                  <a:pt x="1324" y="146"/>
                  <a:pt x="1324" y="146"/>
                </a:cubicBezTo>
                <a:cubicBezTo>
                  <a:pt x="1325" y="147"/>
                  <a:pt x="1325" y="147"/>
                  <a:pt x="1325" y="147"/>
                </a:cubicBezTo>
                <a:cubicBezTo>
                  <a:pt x="1327" y="147"/>
                  <a:pt x="1327" y="147"/>
                  <a:pt x="1327" y="147"/>
                </a:cubicBezTo>
                <a:cubicBezTo>
                  <a:pt x="1328" y="146"/>
                  <a:pt x="1328" y="146"/>
                  <a:pt x="1328" y="146"/>
                </a:cubicBezTo>
                <a:cubicBezTo>
                  <a:pt x="1329" y="146"/>
                  <a:pt x="1329" y="146"/>
                  <a:pt x="1329" y="146"/>
                </a:cubicBezTo>
                <a:cubicBezTo>
                  <a:pt x="1330" y="146"/>
                  <a:pt x="1330" y="146"/>
                  <a:pt x="1330" y="146"/>
                </a:cubicBezTo>
                <a:cubicBezTo>
                  <a:pt x="1330" y="145"/>
                  <a:pt x="1330" y="145"/>
                  <a:pt x="1330" y="145"/>
                </a:cubicBezTo>
                <a:cubicBezTo>
                  <a:pt x="1330" y="142"/>
                  <a:pt x="1330" y="142"/>
                  <a:pt x="1330" y="142"/>
                </a:cubicBezTo>
                <a:cubicBezTo>
                  <a:pt x="1330" y="140"/>
                  <a:pt x="1330" y="140"/>
                  <a:pt x="1330" y="140"/>
                </a:cubicBezTo>
                <a:cubicBezTo>
                  <a:pt x="1330" y="138"/>
                  <a:pt x="1330" y="138"/>
                  <a:pt x="1330" y="138"/>
                </a:cubicBezTo>
                <a:cubicBezTo>
                  <a:pt x="1331" y="137"/>
                  <a:pt x="1331" y="137"/>
                  <a:pt x="1331" y="137"/>
                </a:cubicBezTo>
                <a:cubicBezTo>
                  <a:pt x="1331" y="137"/>
                  <a:pt x="1331" y="137"/>
                  <a:pt x="1331" y="137"/>
                </a:cubicBezTo>
                <a:cubicBezTo>
                  <a:pt x="1332" y="138"/>
                  <a:pt x="1332" y="138"/>
                  <a:pt x="1332" y="138"/>
                </a:cubicBezTo>
                <a:cubicBezTo>
                  <a:pt x="1332" y="139"/>
                  <a:pt x="1332" y="139"/>
                  <a:pt x="1332" y="139"/>
                </a:cubicBezTo>
                <a:cubicBezTo>
                  <a:pt x="1332" y="141"/>
                  <a:pt x="1332" y="141"/>
                  <a:pt x="1332" y="141"/>
                </a:cubicBezTo>
                <a:cubicBezTo>
                  <a:pt x="1332" y="142"/>
                  <a:pt x="1332" y="142"/>
                  <a:pt x="1332" y="142"/>
                </a:cubicBezTo>
                <a:cubicBezTo>
                  <a:pt x="1331" y="144"/>
                  <a:pt x="1331" y="144"/>
                  <a:pt x="1331" y="144"/>
                </a:cubicBezTo>
                <a:cubicBezTo>
                  <a:pt x="1331" y="145"/>
                  <a:pt x="1331" y="145"/>
                  <a:pt x="1331" y="145"/>
                </a:cubicBezTo>
                <a:cubicBezTo>
                  <a:pt x="1332" y="146"/>
                  <a:pt x="1332" y="146"/>
                  <a:pt x="1332" y="146"/>
                </a:cubicBezTo>
                <a:cubicBezTo>
                  <a:pt x="1333" y="145"/>
                  <a:pt x="1333" y="145"/>
                  <a:pt x="1333" y="145"/>
                </a:cubicBezTo>
                <a:cubicBezTo>
                  <a:pt x="1334" y="144"/>
                  <a:pt x="1334" y="144"/>
                  <a:pt x="1334" y="144"/>
                </a:cubicBezTo>
                <a:cubicBezTo>
                  <a:pt x="1335" y="145"/>
                  <a:pt x="1335" y="145"/>
                  <a:pt x="1335" y="145"/>
                </a:cubicBezTo>
                <a:cubicBezTo>
                  <a:pt x="1335" y="146"/>
                  <a:pt x="1335" y="146"/>
                  <a:pt x="1335" y="146"/>
                </a:cubicBezTo>
                <a:cubicBezTo>
                  <a:pt x="1335" y="147"/>
                  <a:pt x="1335" y="147"/>
                  <a:pt x="1335" y="147"/>
                </a:cubicBezTo>
                <a:cubicBezTo>
                  <a:pt x="1335" y="148"/>
                  <a:pt x="1335" y="148"/>
                  <a:pt x="1335" y="148"/>
                </a:cubicBezTo>
                <a:cubicBezTo>
                  <a:pt x="1336" y="147"/>
                  <a:pt x="1336" y="147"/>
                  <a:pt x="1336" y="147"/>
                </a:cubicBezTo>
                <a:cubicBezTo>
                  <a:pt x="1337" y="147"/>
                  <a:pt x="1337" y="147"/>
                  <a:pt x="1337" y="147"/>
                </a:cubicBezTo>
                <a:cubicBezTo>
                  <a:pt x="1338" y="147"/>
                  <a:pt x="1338" y="147"/>
                  <a:pt x="1338" y="147"/>
                </a:cubicBezTo>
                <a:cubicBezTo>
                  <a:pt x="1338" y="145"/>
                  <a:pt x="1338" y="145"/>
                  <a:pt x="1338" y="145"/>
                </a:cubicBezTo>
                <a:cubicBezTo>
                  <a:pt x="1338" y="144"/>
                  <a:pt x="1338" y="144"/>
                  <a:pt x="1338" y="144"/>
                </a:cubicBezTo>
                <a:cubicBezTo>
                  <a:pt x="1338" y="141"/>
                  <a:pt x="1338" y="141"/>
                  <a:pt x="1338" y="141"/>
                </a:cubicBezTo>
                <a:cubicBezTo>
                  <a:pt x="1339" y="140"/>
                  <a:pt x="1339" y="140"/>
                  <a:pt x="1339" y="140"/>
                </a:cubicBezTo>
                <a:cubicBezTo>
                  <a:pt x="1339" y="138"/>
                  <a:pt x="1339" y="138"/>
                  <a:pt x="1339" y="138"/>
                </a:cubicBezTo>
                <a:cubicBezTo>
                  <a:pt x="1339" y="137"/>
                  <a:pt x="1339" y="137"/>
                  <a:pt x="1339" y="137"/>
                </a:cubicBezTo>
                <a:cubicBezTo>
                  <a:pt x="1338" y="136"/>
                  <a:pt x="1338" y="136"/>
                  <a:pt x="1338" y="136"/>
                </a:cubicBezTo>
                <a:cubicBezTo>
                  <a:pt x="1337" y="136"/>
                  <a:pt x="1337" y="136"/>
                  <a:pt x="1337" y="136"/>
                </a:cubicBezTo>
                <a:cubicBezTo>
                  <a:pt x="1338" y="135"/>
                  <a:pt x="1338" y="135"/>
                  <a:pt x="1338" y="135"/>
                </a:cubicBezTo>
                <a:cubicBezTo>
                  <a:pt x="1338" y="134"/>
                  <a:pt x="1338" y="134"/>
                  <a:pt x="1338" y="134"/>
                </a:cubicBezTo>
                <a:cubicBezTo>
                  <a:pt x="1338" y="133"/>
                  <a:pt x="1338" y="133"/>
                  <a:pt x="1338" y="133"/>
                </a:cubicBezTo>
                <a:cubicBezTo>
                  <a:pt x="1336" y="134"/>
                  <a:pt x="1336" y="134"/>
                  <a:pt x="1336" y="134"/>
                </a:cubicBezTo>
                <a:cubicBezTo>
                  <a:pt x="1336" y="133"/>
                  <a:pt x="1336" y="133"/>
                  <a:pt x="1336" y="133"/>
                </a:cubicBezTo>
                <a:cubicBezTo>
                  <a:pt x="1336" y="132"/>
                  <a:pt x="1336" y="132"/>
                  <a:pt x="1336" y="132"/>
                </a:cubicBezTo>
                <a:cubicBezTo>
                  <a:pt x="1338" y="132"/>
                  <a:pt x="1338" y="132"/>
                  <a:pt x="1338" y="132"/>
                </a:cubicBezTo>
                <a:cubicBezTo>
                  <a:pt x="1339" y="131"/>
                  <a:pt x="1339" y="131"/>
                  <a:pt x="1339" y="131"/>
                </a:cubicBezTo>
                <a:cubicBezTo>
                  <a:pt x="1339" y="129"/>
                  <a:pt x="1339" y="129"/>
                  <a:pt x="1339" y="129"/>
                </a:cubicBezTo>
                <a:cubicBezTo>
                  <a:pt x="1338" y="129"/>
                  <a:pt x="1338" y="129"/>
                  <a:pt x="1338" y="129"/>
                </a:cubicBezTo>
                <a:cubicBezTo>
                  <a:pt x="1337" y="129"/>
                  <a:pt x="1337" y="129"/>
                  <a:pt x="1337" y="129"/>
                </a:cubicBezTo>
                <a:cubicBezTo>
                  <a:pt x="1337" y="128"/>
                  <a:pt x="1337" y="128"/>
                  <a:pt x="1337" y="128"/>
                </a:cubicBezTo>
                <a:cubicBezTo>
                  <a:pt x="1338" y="127"/>
                  <a:pt x="1338" y="127"/>
                  <a:pt x="1338" y="127"/>
                </a:cubicBezTo>
                <a:cubicBezTo>
                  <a:pt x="1339" y="125"/>
                  <a:pt x="1339" y="125"/>
                  <a:pt x="1339" y="125"/>
                </a:cubicBezTo>
                <a:cubicBezTo>
                  <a:pt x="1339" y="124"/>
                  <a:pt x="1339" y="124"/>
                  <a:pt x="1339" y="124"/>
                </a:cubicBezTo>
                <a:cubicBezTo>
                  <a:pt x="1338" y="124"/>
                  <a:pt x="1338" y="124"/>
                  <a:pt x="1338" y="124"/>
                </a:cubicBezTo>
                <a:cubicBezTo>
                  <a:pt x="1337" y="125"/>
                  <a:pt x="1337" y="125"/>
                  <a:pt x="1337" y="125"/>
                </a:cubicBezTo>
                <a:cubicBezTo>
                  <a:pt x="1335" y="127"/>
                  <a:pt x="1335" y="127"/>
                  <a:pt x="1335" y="127"/>
                </a:cubicBezTo>
                <a:cubicBezTo>
                  <a:pt x="1335" y="130"/>
                  <a:pt x="1335" y="130"/>
                  <a:pt x="1335" y="130"/>
                </a:cubicBezTo>
                <a:cubicBezTo>
                  <a:pt x="1334" y="130"/>
                  <a:pt x="1334" y="130"/>
                  <a:pt x="1334" y="130"/>
                </a:cubicBezTo>
                <a:cubicBezTo>
                  <a:pt x="1334" y="129"/>
                  <a:pt x="1334" y="129"/>
                  <a:pt x="1334" y="129"/>
                </a:cubicBezTo>
                <a:cubicBezTo>
                  <a:pt x="1334" y="127"/>
                  <a:pt x="1334" y="127"/>
                  <a:pt x="1334" y="127"/>
                </a:cubicBezTo>
                <a:cubicBezTo>
                  <a:pt x="1334" y="126"/>
                  <a:pt x="1334" y="126"/>
                  <a:pt x="1334" y="126"/>
                </a:cubicBezTo>
                <a:cubicBezTo>
                  <a:pt x="1334" y="125"/>
                  <a:pt x="1334" y="125"/>
                  <a:pt x="1334" y="125"/>
                </a:cubicBezTo>
                <a:cubicBezTo>
                  <a:pt x="1334" y="124"/>
                  <a:pt x="1334" y="124"/>
                  <a:pt x="1334" y="124"/>
                </a:cubicBezTo>
                <a:cubicBezTo>
                  <a:pt x="1334" y="123"/>
                  <a:pt x="1334" y="123"/>
                  <a:pt x="1334" y="123"/>
                </a:cubicBezTo>
                <a:cubicBezTo>
                  <a:pt x="1336" y="122"/>
                  <a:pt x="1336" y="122"/>
                  <a:pt x="1336" y="122"/>
                </a:cubicBezTo>
                <a:cubicBezTo>
                  <a:pt x="1337" y="121"/>
                  <a:pt x="1337" y="121"/>
                  <a:pt x="1337" y="121"/>
                </a:cubicBezTo>
                <a:cubicBezTo>
                  <a:pt x="1338" y="119"/>
                  <a:pt x="1338" y="119"/>
                  <a:pt x="1338" y="119"/>
                </a:cubicBezTo>
                <a:cubicBezTo>
                  <a:pt x="1337" y="118"/>
                  <a:pt x="1337" y="118"/>
                  <a:pt x="1337" y="118"/>
                </a:cubicBezTo>
                <a:cubicBezTo>
                  <a:pt x="1336" y="118"/>
                  <a:pt x="1336" y="118"/>
                  <a:pt x="1336" y="118"/>
                </a:cubicBezTo>
                <a:cubicBezTo>
                  <a:pt x="1335" y="119"/>
                  <a:pt x="1335" y="119"/>
                  <a:pt x="1335" y="119"/>
                </a:cubicBezTo>
                <a:cubicBezTo>
                  <a:pt x="1335" y="120"/>
                  <a:pt x="1335" y="120"/>
                  <a:pt x="1335" y="120"/>
                </a:cubicBezTo>
                <a:cubicBezTo>
                  <a:pt x="1334" y="121"/>
                  <a:pt x="1334" y="121"/>
                  <a:pt x="1334" y="121"/>
                </a:cubicBezTo>
                <a:cubicBezTo>
                  <a:pt x="1335" y="119"/>
                  <a:pt x="1335" y="119"/>
                  <a:pt x="1335" y="119"/>
                </a:cubicBezTo>
                <a:cubicBezTo>
                  <a:pt x="1335" y="118"/>
                  <a:pt x="1335" y="118"/>
                  <a:pt x="1335" y="118"/>
                </a:cubicBezTo>
                <a:cubicBezTo>
                  <a:pt x="1335" y="118"/>
                  <a:pt x="1335" y="118"/>
                  <a:pt x="1335" y="118"/>
                </a:cubicBezTo>
                <a:cubicBezTo>
                  <a:pt x="1334" y="118"/>
                  <a:pt x="1334" y="118"/>
                  <a:pt x="1334" y="118"/>
                </a:cubicBezTo>
                <a:cubicBezTo>
                  <a:pt x="1332" y="119"/>
                  <a:pt x="1332" y="119"/>
                  <a:pt x="1332" y="119"/>
                </a:cubicBezTo>
                <a:cubicBezTo>
                  <a:pt x="1331" y="121"/>
                  <a:pt x="1331" y="121"/>
                  <a:pt x="1331" y="121"/>
                </a:cubicBezTo>
                <a:cubicBezTo>
                  <a:pt x="1331" y="120"/>
                  <a:pt x="1331" y="120"/>
                  <a:pt x="1331" y="120"/>
                </a:cubicBezTo>
                <a:cubicBezTo>
                  <a:pt x="1331" y="119"/>
                  <a:pt x="1331" y="119"/>
                  <a:pt x="1331" y="119"/>
                </a:cubicBezTo>
                <a:cubicBezTo>
                  <a:pt x="1332" y="118"/>
                  <a:pt x="1332" y="118"/>
                  <a:pt x="1332" y="118"/>
                </a:cubicBezTo>
                <a:cubicBezTo>
                  <a:pt x="1333" y="117"/>
                  <a:pt x="1333" y="117"/>
                  <a:pt x="1333" y="117"/>
                </a:cubicBezTo>
                <a:cubicBezTo>
                  <a:pt x="1334" y="115"/>
                  <a:pt x="1334" y="115"/>
                  <a:pt x="1334" y="115"/>
                </a:cubicBezTo>
                <a:cubicBezTo>
                  <a:pt x="1334" y="115"/>
                  <a:pt x="1334" y="115"/>
                  <a:pt x="1334" y="115"/>
                </a:cubicBezTo>
                <a:cubicBezTo>
                  <a:pt x="1333" y="114"/>
                  <a:pt x="1333" y="114"/>
                  <a:pt x="1333" y="114"/>
                </a:cubicBezTo>
                <a:cubicBezTo>
                  <a:pt x="1332" y="113"/>
                  <a:pt x="1332" y="113"/>
                  <a:pt x="1332" y="113"/>
                </a:cubicBezTo>
                <a:cubicBezTo>
                  <a:pt x="1332" y="113"/>
                  <a:pt x="1332" y="113"/>
                  <a:pt x="1332" y="113"/>
                </a:cubicBezTo>
                <a:cubicBezTo>
                  <a:pt x="1331" y="112"/>
                  <a:pt x="1331" y="112"/>
                  <a:pt x="1331" y="112"/>
                </a:cubicBezTo>
                <a:cubicBezTo>
                  <a:pt x="1330" y="111"/>
                  <a:pt x="1330" y="111"/>
                  <a:pt x="1330" y="111"/>
                </a:cubicBezTo>
                <a:cubicBezTo>
                  <a:pt x="1329" y="110"/>
                  <a:pt x="1329" y="110"/>
                  <a:pt x="1329" y="110"/>
                </a:cubicBezTo>
                <a:cubicBezTo>
                  <a:pt x="1328" y="109"/>
                  <a:pt x="1328" y="109"/>
                  <a:pt x="1328" y="109"/>
                </a:cubicBezTo>
                <a:cubicBezTo>
                  <a:pt x="1327" y="109"/>
                  <a:pt x="1327" y="109"/>
                  <a:pt x="1327" y="109"/>
                </a:cubicBezTo>
                <a:cubicBezTo>
                  <a:pt x="1327" y="108"/>
                  <a:pt x="1327" y="108"/>
                  <a:pt x="1327" y="108"/>
                </a:cubicBezTo>
                <a:cubicBezTo>
                  <a:pt x="1325" y="108"/>
                  <a:pt x="1325" y="108"/>
                  <a:pt x="1325" y="108"/>
                </a:cubicBezTo>
                <a:cubicBezTo>
                  <a:pt x="1325" y="107"/>
                  <a:pt x="1325" y="107"/>
                  <a:pt x="1325" y="107"/>
                </a:cubicBezTo>
                <a:cubicBezTo>
                  <a:pt x="1325" y="107"/>
                  <a:pt x="1325" y="107"/>
                  <a:pt x="1325" y="107"/>
                </a:cubicBezTo>
                <a:cubicBezTo>
                  <a:pt x="1322" y="104"/>
                  <a:pt x="1322" y="104"/>
                  <a:pt x="1322" y="104"/>
                </a:cubicBezTo>
                <a:cubicBezTo>
                  <a:pt x="1321" y="103"/>
                  <a:pt x="1321" y="103"/>
                  <a:pt x="1321" y="103"/>
                </a:cubicBezTo>
                <a:cubicBezTo>
                  <a:pt x="1319" y="103"/>
                  <a:pt x="1319" y="103"/>
                  <a:pt x="1319" y="103"/>
                </a:cubicBezTo>
                <a:cubicBezTo>
                  <a:pt x="1318" y="103"/>
                  <a:pt x="1318" y="103"/>
                  <a:pt x="1318" y="103"/>
                </a:cubicBezTo>
                <a:cubicBezTo>
                  <a:pt x="1316" y="103"/>
                  <a:pt x="1316" y="103"/>
                  <a:pt x="1316" y="103"/>
                </a:cubicBezTo>
                <a:cubicBezTo>
                  <a:pt x="1314" y="105"/>
                  <a:pt x="1314" y="105"/>
                  <a:pt x="1314" y="105"/>
                </a:cubicBezTo>
                <a:cubicBezTo>
                  <a:pt x="1314" y="104"/>
                  <a:pt x="1314" y="104"/>
                  <a:pt x="1314" y="104"/>
                </a:cubicBezTo>
                <a:cubicBezTo>
                  <a:pt x="1314" y="103"/>
                  <a:pt x="1314" y="103"/>
                  <a:pt x="1314" y="103"/>
                </a:cubicBezTo>
                <a:cubicBezTo>
                  <a:pt x="1311" y="102"/>
                  <a:pt x="1311" y="102"/>
                  <a:pt x="1311" y="102"/>
                </a:cubicBezTo>
                <a:cubicBezTo>
                  <a:pt x="1309" y="102"/>
                  <a:pt x="1309" y="102"/>
                  <a:pt x="1309" y="102"/>
                </a:cubicBezTo>
                <a:cubicBezTo>
                  <a:pt x="1307" y="102"/>
                  <a:pt x="1307" y="102"/>
                  <a:pt x="1307" y="102"/>
                </a:cubicBezTo>
                <a:cubicBezTo>
                  <a:pt x="1307" y="102"/>
                  <a:pt x="1307" y="102"/>
                  <a:pt x="1307" y="102"/>
                </a:cubicBezTo>
                <a:cubicBezTo>
                  <a:pt x="1308" y="100"/>
                  <a:pt x="1308" y="100"/>
                  <a:pt x="1308" y="100"/>
                </a:cubicBezTo>
                <a:cubicBezTo>
                  <a:pt x="1309" y="101"/>
                  <a:pt x="1309" y="101"/>
                  <a:pt x="1309" y="101"/>
                </a:cubicBezTo>
                <a:cubicBezTo>
                  <a:pt x="1312" y="101"/>
                  <a:pt x="1312" y="101"/>
                  <a:pt x="1312" y="101"/>
                </a:cubicBezTo>
                <a:cubicBezTo>
                  <a:pt x="1314" y="101"/>
                  <a:pt x="1314" y="101"/>
                  <a:pt x="1314" y="101"/>
                </a:cubicBezTo>
                <a:cubicBezTo>
                  <a:pt x="1315" y="102"/>
                  <a:pt x="1315" y="102"/>
                  <a:pt x="1315" y="102"/>
                </a:cubicBezTo>
                <a:cubicBezTo>
                  <a:pt x="1317" y="101"/>
                  <a:pt x="1317" y="101"/>
                  <a:pt x="1317" y="101"/>
                </a:cubicBezTo>
                <a:cubicBezTo>
                  <a:pt x="1318" y="100"/>
                  <a:pt x="1318" y="100"/>
                  <a:pt x="1318" y="100"/>
                </a:cubicBezTo>
                <a:cubicBezTo>
                  <a:pt x="1319" y="97"/>
                  <a:pt x="1319" y="97"/>
                  <a:pt x="1319" y="97"/>
                </a:cubicBezTo>
                <a:cubicBezTo>
                  <a:pt x="1318" y="96"/>
                  <a:pt x="1318" y="96"/>
                  <a:pt x="1318" y="96"/>
                </a:cubicBezTo>
                <a:cubicBezTo>
                  <a:pt x="1318" y="95"/>
                  <a:pt x="1318" y="95"/>
                  <a:pt x="1318" y="95"/>
                </a:cubicBezTo>
                <a:cubicBezTo>
                  <a:pt x="1317" y="95"/>
                  <a:pt x="1317" y="95"/>
                  <a:pt x="1317" y="95"/>
                </a:cubicBezTo>
                <a:cubicBezTo>
                  <a:pt x="1315" y="94"/>
                  <a:pt x="1315" y="94"/>
                  <a:pt x="1315" y="94"/>
                </a:cubicBezTo>
                <a:cubicBezTo>
                  <a:pt x="1314" y="93"/>
                  <a:pt x="1314" y="93"/>
                  <a:pt x="1314" y="93"/>
                </a:cubicBezTo>
                <a:cubicBezTo>
                  <a:pt x="1313" y="93"/>
                  <a:pt x="1313" y="93"/>
                  <a:pt x="1313" y="93"/>
                </a:cubicBezTo>
                <a:cubicBezTo>
                  <a:pt x="1311" y="95"/>
                  <a:pt x="1311" y="95"/>
                  <a:pt x="1311" y="95"/>
                </a:cubicBezTo>
                <a:cubicBezTo>
                  <a:pt x="1310" y="95"/>
                  <a:pt x="1310" y="95"/>
                  <a:pt x="1310" y="95"/>
                </a:cubicBezTo>
                <a:cubicBezTo>
                  <a:pt x="1309" y="95"/>
                  <a:pt x="1309" y="95"/>
                  <a:pt x="1309" y="95"/>
                </a:cubicBezTo>
                <a:cubicBezTo>
                  <a:pt x="1308" y="96"/>
                  <a:pt x="1308" y="96"/>
                  <a:pt x="1308" y="96"/>
                </a:cubicBezTo>
                <a:cubicBezTo>
                  <a:pt x="1308" y="96"/>
                  <a:pt x="1308" y="96"/>
                  <a:pt x="1308" y="96"/>
                </a:cubicBezTo>
                <a:cubicBezTo>
                  <a:pt x="1307" y="95"/>
                  <a:pt x="1307" y="95"/>
                  <a:pt x="1307" y="95"/>
                </a:cubicBezTo>
                <a:cubicBezTo>
                  <a:pt x="1307" y="94"/>
                  <a:pt x="1307" y="94"/>
                  <a:pt x="1307" y="94"/>
                </a:cubicBezTo>
                <a:cubicBezTo>
                  <a:pt x="1306" y="94"/>
                  <a:pt x="1306" y="94"/>
                  <a:pt x="1306" y="94"/>
                </a:cubicBezTo>
                <a:cubicBezTo>
                  <a:pt x="1304" y="95"/>
                  <a:pt x="1304" y="95"/>
                  <a:pt x="1304" y="95"/>
                </a:cubicBezTo>
                <a:cubicBezTo>
                  <a:pt x="1303" y="95"/>
                  <a:pt x="1303" y="95"/>
                  <a:pt x="1303" y="95"/>
                </a:cubicBezTo>
                <a:cubicBezTo>
                  <a:pt x="1302" y="95"/>
                  <a:pt x="1302" y="95"/>
                  <a:pt x="1302" y="95"/>
                </a:cubicBezTo>
                <a:cubicBezTo>
                  <a:pt x="1303" y="95"/>
                  <a:pt x="1303" y="95"/>
                  <a:pt x="1303" y="95"/>
                </a:cubicBezTo>
                <a:cubicBezTo>
                  <a:pt x="1304" y="94"/>
                  <a:pt x="1304" y="94"/>
                  <a:pt x="1304" y="94"/>
                </a:cubicBezTo>
                <a:cubicBezTo>
                  <a:pt x="1306" y="93"/>
                  <a:pt x="1306" y="93"/>
                  <a:pt x="1306" y="93"/>
                </a:cubicBezTo>
                <a:cubicBezTo>
                  <a:pt x="1307" y="93"/>
                  <a:pt x="1307" y="93"/>
                  <a:pt x="1307" y="93"/>
                </a:cubicBezTo>
                <a:cubicBezTo>
                  <a:pt x="1306" y="92"/>
                  <a:pt x="1306" y="92"/>
                  <a:pt x="1306" y="92"/>
                </a:cubicBezTo>
                <a:cubicBezTo>
                  <a:pt x="1305" y="91"/>
                  <a:pt x="1305" y="91"/>
                  <a:pt x="1305" y="91"/>
                </a:cubicBezTo>
                <a:cubicBezTo>
                  <a:pt x="1304" y="92"/>
                  <a:pt x="1304" y="92"/>
                  <a:pt x="1304" y="92"/>
                </a:cubicBezTo>
                <a:cubicBezTo>
                  <a:pt x="1302" y="92"/>
                  <a:pt x="1302" y="92"/>
                  <a:pt x="1302" y="92"/>
                </a:cubicBezTo>
                <a:cubicBezTo>
                  <a:pt x="1301" y="92"/>
                  <a:pt x="1301" y="92"/>
                  <a:pt x="1301" y="92"/>
                </a:cubicBezTo>
                <a:cubicBezTo>
                  <a:pt x="1301" y="91"/>
                  <a:pt x="1301" y="91"/>
                  <a:pt x="1301" y="91"/>
                </a:cubicBezTo>
                <a:cubicBezTo>
                  <a:pt x="1302" y="91"/>
                  <a:pt x="1302" y="91"/>
                  <a:pt x="1302" y="91"/>
                </a:cubicBezTo>
                <a:cubicBezTo>
                  <a:pt x="1303" y="91"/>
                  <a:pt x="1303" y="91"/>
                  <a:pt x="1303" y="91"/>
                </a:cubicBezTo>
                <a:cubicBezTo>
                  <a:pt x="1304" y="91"/>
                  <a:pt x="1304" y="91"/>
                  <a:pt x="1304" y="91"/>
                </a:cubicBezTo>
                <a:cubicBezTo>
                  <a:pt x="1305" y="90"/>
                  <a:pt x="1305" y="90"/>
                  <a:pt x="1305" y="90"/>
                </a:cubicBezTo>
                <a:cubicBezTo>
                  <a:pt x="1306" y="90"/>
                  <a:pt x="1306" y="90"/>
                  <a:pt x="1306" y="90"/>
                </a:cubicBezTo>
                <a:cubicBezTo>
                  <a:pt x="1307" y="91"/>
                  <a:pt x="1307" y="91"/>
                  <a:pt x="1307" y="91"/>
                </a:cubicBezTo>
                <a:cubicBezTo>
                  <a:pt x="1308" y="93"/>
                  <a:pt x="1308" y="93"/>
                  <a:pt x="1308" y="93"/>
                </a:cubicBezTo>
                <a:cubicBezTo>
                  <a:pt x="1310" y="93"/>
                  <a:pt x="1310" y="93"/>
                  <a:pt x="1310" y="93"/>
                </a:cubicBezTo>
                <a:cubicBezTo>
                  <a:pt x="1311" y="92"/>
                  <a:pt x="1311" y="92"/>
                  <a:pt x="1311" y="92"/>
                </a:cubicBezTo>
                <a:cubicBezTo>
                  <a:pt x="1313" y="91"/>
                  <a:pt x="1313" y="91"/>
                  <a:pt x="1313" y="91"/>
                </a:cubicBezTo>
                <a:cubicBezTo>
                  <a:pt x="1314" y="91"/>
                  <a:pt x="1314" y="91"/>
                  <a:pt x="1314" y="91"/>
                </a:cubicBezTo>
                <a:cubicBezTo>
                  <a:pt x="1316" y="91"/>
                  <a:pt x="1316" y="91"/>
                  <a:pt x="1316" y="91"/>
                </a:cubicBezTo>
                <a:cubicBezTo>
                  <a:pt x="1317" y="90"/>
                  <a:pt x="1317" y="90"/>
                  <a:pt x="1317" y="90"/>
                </a:cubicBezTo>
                <a:cubicBezTo>
                  <a:pt x="1318" y="89"/>
                  <a:pt x="1318" y="89"/>
                  <a:pt x="1318" y="89"/>
                </a:cubicBezTo>
                <a:cubicBezTo>
                  <a:pt x="1318" y="88"/>
                  <a:pt x="1318" y="88"/>
                  <a:pt x="1318" y="88"/>
                </a:cubicBezTo>
                <a:cubicBezTo>
                  <a:pt x="1318" y="87"/>
                  <a:pt x="1318" y="87"/>
                  <a:pt x="1318" y="87"/>
                </a:cubicBezTo>
                <a:cubicBezTo>
                  <a:pt x="1317" y="86"/>
                  <a:pt x="1317" y="86"/>
                  <a:pt x="1317" y="86"/>
                </a:cubicBezTo>
                <a:cubicBezTo>
                  <a:pt x="1314" y="86"/>
                  <a:pt x="1314" y="86"/>
                  <a:pt x="1314" y="86"/>
                </a:cubicBezTo>
                <a:cubicBezTo>
                  <a:pt x="1313" y="85"/>
                  <a:pt x="1313" y="85"/>
                  <a:pt x="1313" y="85"/>
                </a:cubicBezTo>
                <a:cubicBezTo>
                  <a:pt x="1312" y="84"/>
                  <a:pt x="1312" y="84"/>
                  <a:pt x="1312" y="84"/>
                </a:cubicBezTo>
                <a:cubicBezTo>
                  <a:pt x="1311" y="84"/>
                  <a:pt x="1311" y="84"/>
                  <a:pt x="1311" y="84"/>
                </a:cubicBezTo>
                <a:cubicBezTo>
                  <a:pt x="1309" y="84"/>
                  <a:pt x="1309" y="84"/>
                  <a:pt x="1309" y="84"/>
                </a:cubicBezTo>
                <a:cubicBezTo>
                  <a:pt x="1308" y="84"/>
                  <a:pt x="1308" y="84"/>
                  <a:pt x="1308" y="84"/>
                </a:cubicBezTo>
                <a:cubicBezTo>
                  <a:pt x="1307" y="85"/>
                  <a:pt x="1307" y="85"/>
                  <a:pt x="1307" y="85"/>
                </a:cubicBezTo>
                <a:cubicBezTo>
                  <a:pt x="1306" y="86"/>
                  <a:pt x="1306" y="86"/>
                  <a:pt x="1306" y="86"/>
                </a:cubicBezTo>
                <a:cubicBezTo>
                  <a:pt x="1306" y="86"/>
                  <a:pt x="1305" y="86"/>
                  <a:pt x="1305" y="86"/>
                </a:cubicBezTo>
                <a:cubicBezTo>
                  <a:pt x="1305" y="85"/>
                  <a:pt x="1303" y="85"/>
                  <a:pt x="1303" y="85"/>
                </a:cubicBezTo>
                <a:cubicBezTo>
                  <a:pt x="1301" y="85"/>
                  <a:pt x="1301" y="85"/>
                  <a:pt x="1301" y="85"/>
                </a:cubicBezTo>
                <a:cubicBezTo>
                  <a:pt x="1301" y="86"/>
                  <a:pt x="1301" y="86"/>
                  <a:pt x="1301" y="86"/>
                </a:cubicBezTo>
                <a:cubicBezTo>
                  <a:pt x="1301" y="87"/>
                  <a:pt x="1301" y="87"/>
                  <a:pt x="1301" y="87"/>
                </a:cubicBezTo>
                <a:cubicBezTo>
                  <a:pt x="1300" y="87"/>
                  <a:pt x="1300" y="87"/>
                  <a:pt x="1300" y="87"/>
                </a:cubicBezTo>
                <a:cubicBezTo>
                  <a:pt x="1299" y="86"/>
                  <a:pt x="1299" y="86"/>
                  <a:pt x="1299" y="86"/>
                </a:cubicBezTo>
                <a:cubicBezTo>
                  <a:pt x="1298" y="86"/>
                  <a:pt x="1298" y="86"/>
                  <a:pt x="1298" y="86"/>
                </a:cubicBezTo>
                <a:cubicBezTo>
                  <a:pt x="1298" y="85"/>
                  <a:pt x="1298" y="85"/>
                  <a:pt x="1298" y="85"/>
                </a:cubicBezTo>
                <a:cubicBezTo>
                  <a:pt x="1299" y="84"/>
                  <a:pt x="1299" y="84"/>
                  <a:pt x="1299" y="84"/>
                </a:cubicBezTo>
                <a:cubicBezTo>
                  <a:pt x="1301" y="83"/>
                  <a:pt x="1301" y="83"/>
                  <a:pt x="1301" y="83"/>
                </a:cubicBezTo>
                <a:cubicBezTo>
                  <a:pt x="1303" y="84"/>
                  <a:pt x="1303" y="84"/>
                  <a:pt x="1303" y="84"/>
                </a:cubicBezTo>
                <a:cubicBezTo>
                  <a:pt x="1306" y="84"/>
                  <a:pt x="1306" y="84"/>
                  <a:pt x="1306" y="84"/>
                </a:cubicBezTo>
                <a:cubicBezTo>
                  <a:pt x="1307" y="83"/>
                  <a:pt x="1307" y="83"/>
                  <a:pt x="1307" y="83"/>
                </a:cubicBezTo>
                <a:cubicBezTo>
                  <a:pt x="1307" y="82"/>
                  <a:pt x="1307" y="82"/>
                  <a:pt x="1307" y="82"/>
                </a:cubicBezTo>
                <a:cubicBezTo>
                  <a:pt x="1306" y="81"/>
                  <a:pt x="1306" y="81"/>
                  <a:pt x="1306" y="81"/>
                </a:cubicBezTo>
                <a:cubicBezTo>
                  <a:pt x="1304" y="79"/>
                  <a:pt x="1304" y="79"/>
                  <a:pt x="1304" y="79"/>
                </a:cubicBezTo>
                <a:cubicBezTo>
                  <a:pt x="1302" y="78"/>
                  <a:pt x="1302" y="78"/>
                  <a:pt x="1302" y="78"/>
                </a:cubicBezTo>
                <a:cubicBezTo>
                  <a:pt x="1302" y="77"/>
                  <a:pt x="1302" y="77"/>
                  <a:pt x="1302" y="77"/>
                </a:cubicBezTo>
                <a:cubicBezTo>
                  <a:pt x="1302" y="75"/>
                  <a:pt x="1302" y="75"/>
                  <a:pt x="1302" y="75"/>
                </a:cubicBezTo>
                <a:cubicBezTo>
                  <a:pt x="1302" y="75"/>
                  <a:pt x="1302" y="75"/>
                  <a:pt x="1302" y="75"/>
                </a:cubicBezTo>
                <a:cubicBezTo>
                  <a:pt x="1303" y="75"/>
                  <a:pt x="1303" y="75"/>
                  <a:pt x="1303" y="75"/>
                </a:cubicBezTo>
                <a:cubicBezTo>
                  <a:pt x="1303" y="76"/>
                  <a:pt x="1303" y="76"/>
                  <a:pt x="1303" y="76"/>
                </a:cubicBezTo>
                <a:cubicBezTo>
                  <a:pt x="1303" y="77"/>
                  <a:pt x="1303" y="77"/>
                  <a:pt x="1303" y="77"/>
                </a:cubicBezTo>
                <a:cubicBezTo>
                  <a:pt x="1304" y="78"/>
                  <a:pt x="1304" y="78"/>
                  <a:pt x="1304" y="78"/>
                </a:cubicBezTo>
                <a:cubicBezTo>
                  <a:pt x="1307" y="80"/>
                  <a:pt x="1307" y="80"/>
                  <a:pt x="1307" y="80"/>
                </a:cubicBezTo>
                <a:cubicBezTo>
                  <a:pt x="1307" y="81"/>
                  <a:pt x="1307" y="81"/>
                  <a:pt x="1307" y="81"/>
                </a:cubicBezTo>
                <a:cubicBezTo>
                  <a:pt x="1308" y="81"/>
                  <a:pt x="1308" y="81"/>
                  <a:pt x="1308" y="81"/>
                </a:cubicBezTo>
                <a:cubicBezTo>
                  <a:pt x="1309" y="81"/>
                  <a:pt x="1309" y="81"/>
                  <a:pt x="1309" y="81"/>
                </a:cubicBezTo>
                <a:cubicBezTo>
                  <a:pt x="1310" y="82"/>
                  <a:pt x="1310" y="82"/>
                  <a:pt x="1310" y="82"/>
                </a:cubicBezTo>
                <a:cubicBezTo>
                  <a:pt x="1312" y="83"/>
                  <a:pt x="1312" y="83"/>
                  <a:pt x="1312" y="83"/>
                </a:cubicBezTo>
                <a:cubicBezTo>
                  <a:pt x="1313" y="82"/>
                  <a:pt x="1313" y="82"/>
                  <a:pt x="1313" y="82"/>
                </a:cubicBezTo>
                <a:cubicBezTo>
                  <a:pt x="1315" y="81"/>
                  <a:pt x="1315" y="81"/>
                  <a:pt x="1315" y="81"/>
                </a:cubicBezTo>
                <a:cubicBezTo>
                  <a:pt x="1316" y="81"/>
                  <a:pt x="1316" y="81"/>
                  <a:pt x="1316" y="81"/>
                </a:cubicBezTo>
                <a:cubicBezTo>
                  <a:pt x="1317" y="80"/>
                  <a:pt x="1317" y="80"/>
                  <a:pt x="1317" y="80"/>
                </a:cubicBezTo>
                <a:cubicBezTo>
                  <a:pt x="1318" y="79"/>
                  <a:pt x="1318" y="79"/>
                  <a:pt x="1318" y="79"/>
                </a:cubicBezTo>
                <a:cubicBezTo>
                  <a:pt x="1320" y="78"/>
                  <a:pt x="1320" y="78"/>
                  <a:pt x="1320" y="78"/>
                </a:cubicBezTo>
                <a:cubicBezTo>
                  <a:pt x="1321" y="78"/>
                  <a:pt x="1321" y="78"/>
                  <a:pt x="1321" y="78"/>
                </a:cubicBezTo>
                <a:cubicBezTo>
                  <a:pt x="1321" y="77"/>
                  <a:pt x="1321" y="77"/>
                  <a:pt x="1321" y="77"/>
                </a:cubicBezTo>
                <a:cubicBezTo>
                  <a:pt x="1320" y="76"/>
                  <a:pt x="1320" y="76"/>
                  <a:pt x="1320" y="76"/>
                </a:cubicBezTo>
                <a:cubicBezTo>
                  <a:pt x="1319" y="75"/>
                  <a:pt x="1319" y="75"/>
                  <a:pt x="1319" y="75"/>
                </a:cubicBezTo>
                <a:cubicBezTo>
                  <a:pt x="1319" y="74"/>
                  <a:pt x="1319" y="74"/>
                  <a:pt x="1319" y="74"/>
                </a:cubicBezTo>
                <a:cubicBezTo>
                  <a:pt x="1317" y="70"/>
                  <a:pt x="1317" y="70"/>
                  <a:pt x="1317" y="70"/>
                </a:cubicBezTo>
                <a:cubicBezTo>
                  <a:pt x="1315" y="69"/>
                  <a:pt x="1315" y="69"/>
                  <a:pt x="1315" y="69"/>
                </a:cubicBezTo>
                <a:cubicBezTo>
                  <a:pt x="1315" y="68"/>
                  <a:pt x="1315" y="68"/>
                  <a:pt x="1315" y="68"/>
                </a:cubicBezTo>
                <a:cubicBezTo>
                  <a:pt x="1315" y="68"/>
                  <a:pt x="1315" y="68"/>
                  <a:pt x="1315" y="68"/>
                </a:cubicBezTo>
                <a:cubicBezTo>
                  <a:pt x="1316" y="68"/>
                  <a:pt x="1316" y="68"/>
                  <a:pt x="1316" y="68"/>
                </a:cubicBezTo>
                <a:cubicBezTo>
                  <a:pt x="1317" y="68"/>
                  <a:pt x="1317" y="68"/>
                  <a:pt x="1317" y="68"/>
                </a:cubicBezTo>
                <a:cubicBezTo>
                  <a:pt x="1317" y="69"/>
                  <a:pt x="1317" y="69"/>
                  <a:pt x="1317" y="69"/>
                </a:cubicBezTo>
                <a:cubicBezTo>
                  <a:pt x="1318" y="70"/>
                  <a:pt x="1318" y="70"/>
                  <a:pt x="1318" y="70"/>
                </a:cubicBezTo>
                <a:cubicBezTo>
                  <a:pt x="1320" y="74"/>
                  <a:pt x="1320" y="74"/>
                  <a:pt x="1320" y="74"/>
                </a:cubicBezTo>
                <a:cubicBezTo>
                  <a:pt x="1323" y="78"/>
                  <a:pt x="1323" y="78"/>
                  <a:pt x="1323" y="78"/>
                </a:cubicBezTo>
                <a:cubicBezTo>
                  <a:pt x="1324" y="78"/>
                  <a:pt x="1324" y="78"/>
                  <a:pt x="1324" y="78"/>
                </a:cubicBezTo>
                <a:cubicBezTo>
                  <a:pt x="1324" y="77"/>
                  <a:pt x="1324" y="77"/>
                  <a:pt x="1324" y="77"/>
                </a:cubicBezTo>
                <a:cubicBezTo>
                  <a:pt x="1324" y="76"/>
                  <a:pt x="1324" y="76"/>
                  <a:pt x="1324" y="76"/>
                </a:cubicBezTo>
                <a:cubicBezTo>
                  <a:pt x="1324" y="73"/>
                  <a:pt x="1324" y="73"/>
                  <a:pt x="1324" y="73"/>
                </a:cubicBezTo>
                <a:cubicBezTo>
                  <a:pt x="1324" y="71"/>
                  <a:pt x="1324" y="71"/>
                  <a:pt x="1324" y="71"/>
                </a:cubicBezTo>
                <a:cubicBezTo>
                  <a:pt x="1325" y="70"/>
                  <a:pt x="1325" y="70"/>
                  <a:pt x="1325" y="70"/>
                </a:cubicBezTo>
                <a:cubicBezTo>
                  <a:pt x="1326" y="70"/>
                  <a:pt x="1326" y="70"/>
                  <a:pt x="1326" y="70"/>
                </a:cubicBezTo>
                <a:cubicBezTo>
                  <a:pt x="1327" y="71"/>
                  <a:pt x="1327" y="71"/>
                  <a:pt x="1327" y="71"/>
                </a:cubicBezTo>
                <a:cubicBezTo>
                  <a:pt x="1327" y="72"/>
                  <a:pt x="1327" y="72"/>
                  <a:pt x="1327" y="72"/>
                </a:cubicBezTo>
                <a:cubicBezTo>
                  <a:pt x="1327" y="73"/>
                  <a:pt x="1327" y="73"/>
                  <a:pt x="1327" y="73"/>
                </a:cubicBezTo>
                <a:cubicBezTo>
                  <a:pt x="1328" y="73"/>
                  <a:pt x="1328" y="73"/>
                  <a:pt x="1328" y="73"/>
                </a:cubicBezTo>
                <a:cubicBezTo>
                  <a:pt x="1332" y="74"/>
                  <a:pt x="1332" y="74"/>
                  <a:pt x="1332" y="74"/>
                </a:cubicBezTo>
                <a:cubicBezTo>
                  <a:pt x="1335" y="76"/>
                  <a:pt x="1335" y="76"/>
                  <a:pt x="1335" y="76"/>
                </a:cubicBezTo>
                <a:cubicBezTo>
                  <a:pt x="1336" y="77"/>
                  <a:pt x="1336" y="77"/>
                  <a:pt x="1336" y="77"/>
                </a:cubicBezTo>
                <a:cubicBezTo>
                  <a:pt x="1337" y="76"/>
                  <a:pt x="1337" y="76"/>
                  <a:pt x="1337" y="76"/>
                </a:cubicBezTo>
                <a:cubicBezTo>
                  <a:pt x="1338" y="76"/>
                  <a:pt x="1338" y="76"/>
                  <a:pt x="1338" y="76"/>
                </a:cubicBezTo>
                <a:cubicBezTo>
                  <a:pt x="1339" y="77"/>
                  <a:pt x="1339" y="77"/>
                  <a:pt x="1339" y="77"/>
                </a:cubicBezTo>
                <a:cubicBezTo>
                  <a:pt x="1338" y="77"/>
                  <a:pt x="1338" y="77"/>
                  <a:pt x="1338" y="77"/>
                </a:cubicBezTo>
                <a:cubicBezTo>
                  <a:pt x="1336" y="78"/>
                  <a:pt x="1336" y="78"/>
                  <a:pt x="1336" y="78"/>
                </a:cubicBezTo>
                <a:cubicBezTo>
                  <a:pt x="1335" y="78"/>
                  <a:pt x="1335" y="78"/>
                  <a:pt x="1335" y="78"/>
                </a:cubicBezTo>
                <a:cubicBezTo>
                  <a:pt x="1333" y="77"/>
                  <a:pt x="1333" y="77"/>
                  <a:pt x="1333" y="77"/>
                </a:cubicBezTo>
                <a:cubicBezTo>
                  <a:pt x="1330" y="75"/>
                  <a:pt x="1330" y="75"/>
                  <a:pt x="1330" y="75"/>
                </a:cubicBezTo>
                <a:cubicBezTo>
                  <a:pt x="1329" y="74"/>
                  <a:pt x="1329" y="74"/>
                  <a:pt x="1329" y="74"/>
                </a:cubicBezTo>
                <a:cubicBezTo>
                  <a:pt x="1328" y="74"/>
                  <a:pt x="1328" y="74"/>
                  <a:pt x="1328" y="74"/>
                </a:cubicBezTo>
                <a:cubicBezTo>
                  <a:pt x="1327" y="74"/>
                  <a:pt x="1327" y="74"/>
                  <a:pt x="1327" y="74"/>
                </a:cubicBezTo>
                <a:cubicBezTo>
                  <a:pt x="1327" y="75"/>
                  <a:pt x="1327" y="75"/>
                  <a:pt x="1327" y="75"/>
                </a:cubicBezTo>
                <a:cubicBezTo>
                  <a:pt x="1327" y="76"/>
                  <a:pt x="1327" y="76"/>
                  <a:pt x="1327" y="76"/>
                </a:cubicBezTo>
                <a:cubicBezTo>
                  <a:pt x="1327" y="77"/>
                  <a:pt x="1327" y="77"/>
                  <a:pt x="1327" y="77"/>
                </a:cubicBezTo>
                <a:cubicBezTo>
                  <a:pt x="1331" y="81"/>
                  <a:pt x="1331" y="81"/>
                  <a:pt x="1331" y="81"/>
                </a:cubicBezTo>
                <a:cubicBezTo>
                  <a:pt x="1333" y="83"/>
                  <a:pt x="1333" y="83"/>
                  <a:pt x="1333" y="83"/>
                </a:cubicBezTo>
                <a:cubicBezTo>
                  <a:pt x="1336" y="84"/>
                  <a:pt x="1336" y="84"/>
                  <a:pt x="1336" y="84"/>
                </a:cubicBezTo>
                <a:cubicBezTo>
                  <a:pt x="1337" y="86"/>
                  <a:pt x="1337" y="86"/>
                  <a:pt x="1337" y="86"/>
                </a:cubicBezTo>
                <a:cubicBezTo>
                  <a:pt x="1339" y="86"/>
                  <a:pt x="1339" y="86"/>
                  <a:pt x="1339" y="86"/>
                </a:cubicBezTo>
                <a:cubicBezTo>
                  <a:pt x="1340" y="86"/>
                  <a:pt x="1340" y="86"/>
                  <a:pt x="1340" y="86"/>
                </a:cubicBezTo>
                <a:cubicBezTo>
                  <a:pt x="1340" y="85"/>
                  <a:pt x="1340" y="85"/>
                  <a:pt x="1340" y="85"/>
                </a:cubicBezTo>
                <a:cubicBezTo>
                  <a:pt x="1341" y="83"/>
                  <a:pt x="1341" y="83"/>
                  <a:pt x="1341" y="83"/>
                </a:cubicBezTo>
                <a:cubicBezTo>
                  <a:pt x="1342" y="83"/>
                  <a:pt x="1342" y="83"/>
                  <a:pt x="1342" y="83"/>
                </a:cubicBezTo>
                <a:cubicBezTo>
                  <a:pt x="1343" y="83"/>
                  <a:pt x="1343" y="83"/>
                  <a:pt x="1343" y="83"/>
                </a:cubicBezTo>
                <a:cubicBezTo>
                  <a:pt x="1344" y="82"/>
                  <a:pt x="1344" y="82"/>
                  <a:pt x="1344" y="82"/>
                </a:cubicBezTo>
                <a:cubicBezTo>
                  <a:pt x="1344" y="81"/>
                  <a:pt x="1344" y="81"/>
                  <a:pt x="1344" y="81"/>
                </a:cubicBezTo>
                <a:cubicBezTo>
                  <a:pt x="1345" y="80"/>
                  <a:pt x="1345" y="80"/>
                  <a:pt x="1345" y="80"/>
                </a:cubicBezTo>
                <a:cubicBezTo>
                  <a:pt x="1346" y="80"/>
                  <a:pt x="1346" y="80"/>
                  <a:pt x="1346" y="80"/>
                </a:cubicBezTo>
                <a:cubicBezTo>
                  <a:pt x="1347" y="81"/>
                  <a:pt x="1347" y="81"/>
                  <a:pt x="1347" y="81"/>
                </a:cubicBezTo>
                <a:cubicBezTo>
                  <a:pt x="1349" y="81"/>
                  <a:pt x="1349" y="81"/>
                  <a:pt x="1349" y="81"/>
                </a:cubicBezTo>
                <a:cubicBezTo>
                  <a:pt x="1351" y="81"/>
                  <a:pt x="1351" y="81"/>
                  <a:pt x="1351" y="81"/>
                </a:cubicBezTo>
                <a:cubicBezTo>
                  <a:pt x="1353" y="81"/>
                  <a:pt x="1353" y="81"/>
                  <a:pt x="1353" y="81"/>
                </a:cubicBezTo>
                <a:cubicBezTo>
                  <a:pt x="1353" y="80"/>
                  <a:pt x="1353" y="80"/>
                  <a:pt x="1353" y="80"/>
                </a:cubicBezTo>
                <a:cubicBezTo>
                  <a:pt x="1353" y="78"/>
                  <a:pt x="1353" y="78"/>
                  <a:pt x="1353" y="78"/>
                </a:cubicBezTo>
                <a:cubicBezTo>
                  <a:pt x="1353" y="76"/>
                  <a:pt x="1353" y="76"/>
                  <a:pt x="1353" y="76"/>
                </a:cubicBezTo>
                <a:cubicBezTo>
                  <a:pt x="1354" y="75"/>
                  <a:pt x="1354" y="75"/>
                  <a:pt x="1354" y="75"/>
                </a:cubicBezTo>
                <a:cubicBezTo>
                  <a:pt x="1355" y="72"/>
                  <a:pt x="1355" y="72"/>
                  <a:pt x="1355" y="72"/>
                </a:cubicBezTo>
                <a:cubicBezTo>
                  <a:pt x="1355" y="71"/>
                  <a:pt x="1355" y="71"/>
                  <a:pt x="1355" y="71"/>
                </a:cubicBezTo>
                <a:cubicBezTo>
                  <a:pt x="1355" y="70"/>
                  <a:pt x="1355" y="70"/>
                  <a:pt x="1355" y="70"/>
                </a:cubicBezTo>
                <a:cubicBezTo>
                  <a:pt x="1354" y="70"/>
                  <a:pt x="1354" y="70"/>
                  <a:pt x="1354" y="70"/>
                </a:cubicBezTo>
                <a:cubicBezTo>
                  <a:pt x="1352" y="70"/>
                  <a:pt x="1352" y="70"/>
                  <a:pt x="1352" y="70"/>
                </a:cubicBezTo>
                <a:cubicBezTo>
                  <a:pt x="1351" y="71"/>
                  <a:pt x="1351" y="71"/>
                  <a:pt x="1351" y="71"/>
                </a:cubicBezTo>
                <a:cubicBezTo>
                  <a:pt x="1351" y="70"/>
                  <a:pt x="1351" y="70"/>
                  <a:pt x="1351" y="70"/>
                </a:cubicBezTo>
                <a:cubicBezTo>
                  <a:pt x="1350" y="70"/>
                  <a:pt x="1350" y="70"/>
                  <a:pt x="1350" y="70"/>
                </a:cubicBezTo>
                <a:cubicBezTo>
                  <a:pt x="1349" y="71"/>
                  <a:pt x="1349" y="71"/>
                  <a:pt x="1349" y="71"/>
                </a:cubicBezTo>
                <a:cubicBezTo>
                  <a:pt x="1348" y="70"/>
                  <a:pt x="1348" y="70"/>
                  <a:pt x="1348" y="70"/>
                </a:cubicBezTo>
                <a:cubicBezTo>
                  <a:pt x="1347" y="69"/>
                  <a:pt x="1347" y="69"/>
                  <a:pt x="1347" y="69"/>
                </a:cubicBezTo>
                <a:cubicBezTo>
                  <a:pt x="1346" y="68"/>
                  <a:pt x="1346" y="68"/>
                  <a:pt x="1346" y="68"/>
                </a:cubicBezTo>
                <a:cubicBezTo>
                  <a:pt x="1346" y="67"/>
                  <a:pt x="1346" y="67"/>
                  <a:pt x="1346" y="67"/>
                </a:cubicBezTo>
                <a:cubicBezTo>
                  <a:pt x="1345" y="66"/>
                  <a:pt x="1345" y="66"/>
                  <a:pt x="1345" y="66"/>
                </a:cubicBezTo>
                <a:cubicBezTo>
                  <a:pt x="1344" y="68"/>
                  <a:pt x="1344" y="68"/>
                  <a:pt x="1344" y="68"/>
                </a:cubicBezTo>
                <a:cubicBezTo>
                  <a:pt x="1344" y="70"/>
                  <a:pt x="1344" y="70"/>
                  <a:pt x="1344" y="70"/>
                </a:cubicBezTo>
                <a:cubicBezTo>
                  <a:pt x="1345" y="70"/>
                  <a:pt x="1345" y="70"/>
                  <a:pt x="1345" y="70"/>
                </a:cubicBezTo>
                <a:cubicBezTo>
                  <a:pt x="1345" y="72"/>
                  <a:pt x="1345" y="72"/>
                  <a:pt x="1345" y="72"/>
                </a:cubicBezTo>
                <a:cubicBezTo>
                  <a:pt x="1344" y="73"/>
                  <a:pt x="1344" y="73"/>
                  <a:pt x="1344" y="73"/>
                </a:cubicBezTo>
                <a:cubicBezTo>
                  <a:pt x="1344" y="75"/>
                  <a:pt x="1344" y="75"/>
                  <a:pt x="1344" y="75"/>
                </a:cubicBezTo>
                <a:cubicBezTo>
                  <a:pt x="1344" y="74"/>
                  <a:pt x="1344" y="74"/>
                  <a:pt x="1344" y="74"/>
                </a:cubicBezTo>
                <a:cubicBezTo>
                  <a:pt x="1344" y="71"/>
                  <a:pt x="1344" y="71"/>
                  <a:pt x="1344" y="71"/>
                </a:cubicBezTo>
                <a:cubicBezTo>
                  <a:pt x="1344" y="70"/>
                  <a:pt x="1344" y="70"/>
                  <a:pt x="1344" y="70"/>
                </a:cubicBezTo>
                <a:cubicBezTo>
                  <a:pt x="1343" y="69"/>
                  <a:pt x="1343" y="69"/>
                  <a:pt x="1343" y="69"/>
                </a:cubicBezTo>
                <a:cubicBezTo>
                  <a:pt x="1342" y="67"/>
                  <a:pt x="1342" y="67"/>
                  <a:pt x="1342" y="67"/>
                </a:cubicBezTo>
                <a:cubicBezTo>
                  <a:pt x="1341" y="66"/>
                  <a:pt x="1341" y="66"/>
                  <a:pt x="1341" y="66"/>
                </a:cubicBezTo>
                <a:cubicBezTo>
                  <a:pt x="1340" y="65"/>
                  <a:pt x="1340" y="65"/>
                  <a:pt x="1340" y="65"/>
                </a:cubicBezTo>
                <a:cubicBezTo>
                  <a:pt x="1341" y="65"/>
                  <a:pt x="1341" y="65"/>
                  <a:pt x="1341" y="65"/>
                </a:cubicBezTo>
                <a:cubicBezTo>
                  <a:pt x="1342" y="64"/>
                  <a:pt x="1342" y="64"/>
                  <a:pt x="1342" y="64"/>
                </a:cubicBezTo>
                <a:cubicBezTo>
                  <a:pt x="1343" y="62"/>
                  <a:pt x="1343" y="62"/>
                  <a:pt x="1343" y="62"/>
                </a:cubicBezTo>
                <a:cubicBezTo>
                  <a:pt x="1343" y="61"/>
                  <a:pt x="1343" y="61"/>
                  <a:pt x="1343" y="61"/>
                </a:cubicBezTo>
                <a:cubicBezTo>
                  <a:pt x="1343" y="60"/>
                  <a:pt x="1343" y="60"/>
                  <a:pt x="1343" y="60"/>
                </a:cubicBezTo>
                <a:cubicBezTo>
                  <a:pt x="1341" y="60"/>
                  <a:pt x="1341" y="60"/>
                  <a:pt x="1341" y="60"/>
                </a:cubicBezTo>
                <a:cubicBezTo>
                  <a:pt x="1342" y="59"/>
                  <a:pt x="1342" y="59"/>
                  <a:pt x="1342" y="59"/>
                </a:cubicBezTo>
                <a:cubicBezTo>
                  <a:pt x="1344" y="59"/>
                  <a:pt x="1344" y="59"/>
                  <a:pt x="1344" y="59"/>
                </a:cubicBezTo>
                <a:cubicBezTo>
                  <a:pt x="1345" y="59"/>
                  <a:pt x="1345" y="59"/>
                  <a:pt x="1345" y="59"/>
                </a:cubicBezTo>
                <a:cubicBezTo>
                  <a:pt x="1346" y="57"/>
                  <a:pt x="1346" y="57"/>
                  <a:pt x="1346" y="57"/>
                </a:cubicBezTo>
                <a:cubicBezTo>
                  <a:pt x="1345" y="55"/>
                  <a:pt x="1345" y="55"/>
                  <a:pt x="1345" y="55"/>
                </a:cubicBezTo>
                <a:cubicBezTo>
                  <a:pt x="1345" y="54"/>
                  <a:pt x="1345" y="54"/>
                  <a:pt x="1345" y="54"/>
                </a:cubicBezTo>
                <a:cubicBezTo>
                  <a:pt x="1345" y="53"/>
                  <a:pt x="1345" y="53"/>
                  <a:pt x="1345" y="53"/>
                </a:cubicBezTo>
                <a:cubicBezTo>
                  <a:pt x="1345" y="53"/>
                  <a:pt x="1345" y="53"/>
                  <a:pt x="1345" y="53"/>
                </a:cubicBezTo>
                <a:cubicBezTo>
                  <a:pt x="1347" y="54"/>
                  <a:pt x="1347" y="54"/>
                  <a:pt x="1347" y="54"/>
                </a:cubicBezTo>
                <a:cubicBezTo>
                  <a:pt x="1347" y="56"/>
                  <a:pt x="1347" y="56"/>
                  <a:pt x="1347" y="56"/>
                </a:cubicBezTo>
                <a:cubicBezTo>
                  <a:pt x="1348" y="56"/>
                  <a:pt x="1348" y="56"/>
                  <a:pt x="1348" y="56"/>
                </a:cubicBezTo>
                <a:cubicBezTo>
                  <a:pt x="1349" y="56"/>
                  <a:pt x="1349" y="56"/>
                  <a:pt x="1349" y="56"/>
                </a:cubicBezTo>
                <a:cubicBezTo>
                  <a:pt x="1351" y="55"/>
                  <a:pt x="1351" y="55"/>
                  <a:pt x="1351" y="55"/>
                </a:cubicBezTo>
                <a:cubicBezTo>
                  <a:pt x="1352" y="56"/>
                  <a:pt x="1352" y="56"/>
                  <a:pt x="1352" y="56"/>
                </a:cubicBezTo>
                <a:cubicBezTo>
                  <a:pt x="1354" y="57"/>
                  <a:pt x="1354" y="57"/>
                  <a:pt x="1354" y="57"/>
                </a:cubicBezTo>
                <a:cubicBezTo>
                  <a:pt x="1355" y="57"/>
                  <a:pt x="1355" y="57"/>
                  <a:pt x="1355" y="57"/>
                </a:cubicBezTo>
                <a:cubicBezTo>
                  <a:pt x="1357" y="59"/>
                  <a:pt x="1357" y="59"/>
                  <a:pt x="1357" y="59"/>
                </a:cubicBezTo>
                <a:cubicBezTo>
                  <a:pt x="1357" y="60"/>
                  <a:pt x="1357" y="60"/>
                  <a:pt x="1357" y="60"/>
                </a:cubicBezTo>
                <a:cubicBezTo>
                  <a:pt x="1358" y="62"/>
                  <a:pt x="1358" y="62"/>
                  <a:pt x="1358" y="62"/>
                </a:cubicBezTo>
                <a:cubicBezTo>
                  <a:pt x="1359" y="63"/>
                  <a:pt x="1359" y="63"/>
                  <a:pt x="1359" y="63"/>
                </a:cubicBezTo>
                <a:cubicBezTo>
                  <a:pt x="1359" y="64"/>
                  <a:pt x="1359" y="64"/>
                  <a:pt x="1359" y="64"/>
                </a:cubicBezTo>
                <a:cubicBezTo>
                  <a:pt x="1360" y="64"/>
                  <a:pt x="1360" y="64"/>
                  <a:pt x="1360" y="64"/>
                </a:cubicBezTo>
                <a:cubicBezTo>
                  <a:pt x="1363" y="63"/>
                  <a:pt x="1363" y="63"/>
                  <a:pt x="1363" y="63"/>
                </a:cubicBezTo>
                <a:cubicBezTo>
                  <a:pt x="1364" y="60"/>
                  <a:pt x="1364" y="60"/>
                  <a:pt x="1364" y="60"/>
                </a:cubicBezTo>
                <a:cubicBezTo>
                  <a:pt x="1365" y="58"/>
                  <a:pt x="1365" y="58"/>
                  <a:pt x="1365" y="58"/>
                </a:cubicBezTo>
                <a:cubicBezTo>
                  <a:pt x="1364" y="57"/>
                  <a:pt x="1364" y="57"/>
                  <a:pt x="1364" y="57"/>
                </a:cubicBezTo>
                <a:cubicBezTo>
                  <a:pt x="1364" y="56"/>
                  <a:pt x="1364" y="56"/>
                  <a:pt x="1364" y="56"/>
                </a:cubicBezTo>
                <a:cubicBezTo>
                  <a:pt x="1365" y="55"/>
                  <a:pt x="1365" y="55"/>
                  <a:pt x="1365" y="55"/>
                </a:cubicBezTo>
                <a:cubicBezTo>
                  <a:pt x="1365" y="54"/>
                  <a:pt x="1365" y="54"/>
                  <a:pt x="1365" y="54"/>
                </a:cubicBezTo>
                <a:cubicBezTo>
                  <a:pt x="1363" y="54"/>
                  <a:pt x="1363" y="54"/>
                  <a:pt x="1363" y="54"/>
                </a:cubicBezTo>
                <a:cubicBezTo>
                  <a:pt x="1361" y="54"/>
                  <a:pt x="1361" y="54"/>
                  <a:pt x="1361" y="54"/>
                </a:cubicBezTo>
                <a:cubicBezTo>
                  <a:pt x="1361" y="55"/>
                  <a:pt x="1361" y="55"/>
                  <a:pt x="1361" y="55"/>
                </a:cubicBezTo>
                <a:cubicBezTo>
                  <a:pt x="1359" y="54"/>
                  <a:pt x="1359" y="54"/>
                  <a:pt x="1359" y="54"/>
                </a:cubicBezTo>
                <a:cubicBezTo>
                  <a:pt x="1357" y="52"/>
                  <a:pt x="1357" y="52"/>
                  <a:pt x="1357" y="52"/>
                </a:cubicBezTo>
                <a:cubicBezTo>
                  <a:pt x="1355" y="52"/>
                  <a:pt x="1355" y="52"/>
                  <a:pt x="1355" y="52"/>
                </a:cubicBezTo>
                <a:cubicBezTo>
                  <a:pt x="1354" y="52"/>
                  <a:pt x="1354" y="52"/>
                  <a:pt x="1354" y="52"/>
                </a:cubicBezTo>
                <a:cubicBezTo>
                  <a:pt x="1353" y="51"/>
                  <a:pt x="1353" y="51"/>
                  <a:pt x="1353" y="51"/>
                </a:cubicBezTo>
                <a:cubicBezTo>
                  <a:pt x="1353" y="51"/>
                  <a:pt x="1353" y="51"/>
                  <a:pt x="1353" y="51"/>
                </a:cubicBezTo>
                <a:cubicBezTo>
                  <a:pt x="1354" y="51"/>
                  <a:pt x="1354" y="51"/>
                  <a:pt x="1354" y="51"/>
                </a:cubicBezTo>
                <a:cubicBezTo>
                  <a:pt x="1355" y="49"/>
                  <a:pt x="1355" y="49"/>
                  <a:pt x="1355" y="49"/>
                </a:cubicBezTo>
                <a:cubicBezTo>
                  <a:pt x="1355" y="46"/>
                  <a:pt x="1355" y="46"/>
                  <a:pt x="1355" y="46"/>
                </a:cubicBezTo>
                <a:cubicBezTo>
                  <a:pt x="1355" y="45"/>
                  <a:pt x="1355" y="45"/>
                  <a:pt x="1355" y="45"/>
                </a:cubicBezTo>
                <a:cubicBezTo>
                  <a:pt x="1356" y="44"/>
                  <a:pt x="1356" y="44"/>
                  <a:pt x="1356" y="44"/>
                </a:cubicBezTo>
                <a:cubicBezTo>
                  <a:pt x="1353" y="43"/>
                  <a:pt x="1353" y="43"/>
                  <a:pt x="1353" y="43"/>
                </a:cubicBezTo>
                <a:cubicBezTo>
                  <a:pt x="1352" y="43"/>
                  <a:pt x="1352" y="43"/>
                  <a:pt x="1352" y="43"/>
                </a:cubicBezTo>
                <a:cubicBezTo>
                  <a:pt x="1351" y="45"/>
                  <a:pt x="1351" y="45"/>
                  <a:pt x="1351" y="45"/>
                </a:cubicBezTo>
                <a:cubicBezTo>
                  <a:pt x="1349" y="46"/>
                  <a:pt x="1349" y="46"/>
                  <a:pt x="1349" y="46"/>
                </a:cubicBezTo>
                <a:cubicBezTo>
                  <a:pt x="1347" y="45"/>
                  <a:pt x="1347" y="45"/>
                  <a:pt x="1347" y="45"/>
                </a:cubicBezTo>
                <a:cubicBezTo>
                  <a:pt x="1346" y="44"/>
                  <a:pt x="1346" y="44"/>
                  <a:pt x="1346" y="44"/>
                </a:cubicBezTo>
                <a:cubicBezTo>
                  <a:pt x="1346" y="42"/>
                  <a:pt x="1346" y="42"/>
                  <a:pt x="1346" y="42"/>
                </a:cubicBezTo>
                <a:cubicBezTo>
                  <a:pt x="1345" y="41"/>
                  <a:pt x="1345" y="41"/>
                  <a:pt x="1345" y="41"/>
                </a:cubicBezTo>
                <a:cubicBezTo>
                  <a:pt x="1345" y="40"/>
                  <a:pt x="1345" y="40"/>
                  <a:pt x="1345" y="40"/>
                </a:cubicBezTo>
                <a:cubicBezTo>
                  <a:pt x="1346" y="41"/>
                  <a:pt x="1346" y="41"/>
                  <a:pt x="1346" y="41"/>
                </a:cubicBezTo>
                <a:cubicBezTo>
                  <a:pt x="1347" y="42"/>
                  <a:pt x="1347" y="42"/>
                  <a:pt x="1347" y="42"/>
                </a:cubicBezTo>
                <a:cubicBezTo>
                  <a:pt x="1346" y="42"/>
                  <a:pt x="1346" y="42"/>
                  <a:pt x="1346" y="42"/>
                </a:cubicBezTo>
                <a:cubicBezTo>
                  <a:pt x="1347" y="44"/>
                  <a:pt x="1347" y="44"/>
                  <a:pt x="1347" y="44"/>
                </a:cubicBezTo>
                <a:cubicBezTo>
                  <a:pt x="1349" y="44"/>
                  <a:pt x="1349" y="44"/>
                  <a:pt x="1349" y="44"/>
                </a:cubicBezTo>
                <a:cubicBezTo>
                  <a:pt x="1350" y="44"/>
                  <a:pt x="1350" y="44"/>
                  <a:pt x="1350" y="44"/>
                </a:cubicBezTo>
                <a:cubicBezTo>
                  <a:pt x="1352" y="42"/>
                  <a:pt x="1352" y="42"/>
                  <a:pt x="1352" y="42"/>
                </a:cubicBezTo>
                <a:cubicBezTo>
                  <a:pt x="1353" y="42"/>
                  <a:pt x="1353" y="42"/>
                  <a:pt x="1353" y="42"/>
                </a:cubicBezTo>
                <a:cubicBezTo>
                  <a:pt x="1355" y="42"/>
                  <a:pt x="1355" y="42"/>
                  <a:pt x="1355" y="42"/>
                </a:cubicBezTo>
                <a:cubicBezTo>
                  <a:pt x="1356" y="42"/>
                  <a:pt x="1356" y="42"/>
                  <a:pt x="1356" y="42"/>
                </a:cubicBezTo>
                <a:cubicBezTo>
                  <a:pt x="1357" y="43"/>
                  <a:pt x="1357" y="43"/>
                  <a:pt x="1357" y="43"/>
                </a:cubicBezTo>
                <a:cubicBezTo>
                  <a:pt x="1357" y="42"/>
                  <a:pt x="1357" y="42"/>
                  <a:pt x="1357" y="42"/>
                </a:cubicBezTo>
                <a:cubicBezTo>
                  <a:pt x="1357" y="41"/>
                  <a:pt x="1357" y="41"/>
                  <a:pt x="1357" y="41"/>
                </a:cubicBezTo>
                <a:cubicBezTo>
                  <a:pt x="1353" y="37"/>
                  <a:pt x="1353" y="37"/>
                  <a:pt x="1353" y="37"/>
                </a:cubicBezTo>
                <a:cubicBezTo>
                  <a:pt x="1350" y="35"/>
                  <a:pt x="1350" y="35"/>
                  <a:pt x="1350" y="35"/>
                </a:cubicBezTo>
                <a:cubicBezTo>
                  <a:pt x="1348" y="35"/>
                  <a:pt x="1348" y="35"/>
                  <a:pt x="1348" y="35"/>
                </a:cubicBezTo>
                <a:cubicBezTo>
                  <a:pt x="1345" y="33"/>
                  <a:pt x="1345" y="33"/>
                  <a:pt x="1345" y="33"/>
                </a:cubicBezTo>
                <a:cubicBezTo>
                  <a:pt x="1343" y="31"/>
                  <a:pt x="1343" y="31"/>
                  <a:pt x="1343" y="31"/>
                </a:cubicBezTo>
                <a:cubicBezTo>
                  <a:pt x="1343" y="30"/>
                  <a:pt x="1343" y="30"/>
                  <a:pt x="1343" y="30"/>
                </a:cubicBezTo>
                <a:cubicBezTo>
                  <a:pt x="1343" y="29"/>
                  <a:pt x="1343" y="29"/>
                  <a:pt x="1343" y="29"/>
                </a:cubicBezTo>
                <a:cubicBezTo>
                  <a:pt x="1344" y="30"/>
                  <a:pt x="1344" y="30"/>
                  <a:pt x="1344" y="30"/>
                </a:cubicBezTo>
                <a:cubicBezTo>
                  <a:pt x="1345" y="32"/>
                  <a:pt x="1345" y="32"/>
                  <a:pt x="1345" y="32"/>
                </a:cubicBezTo>
                <a:cubicBezTo>
                  <a:pt x="1346" y="33"/>
                  <a:pt x="1346" y="33"/>
                  <a:pt x="1346" y="33"/>
                </a:cubicBezTo>
                <a:cubicBezTo>
                  <a:pt x="1349" y="33"/>
                  <a:pt x="1349" y="33"/>
                  <a:pt x="1349" y="33"/>
                </a:cubicBezTo>
                <a:cubicBezTo>
                  <a:pt x="1349" y="32"/>
                  <a:pt x="1349" y="32"/>
                  <a:pt x="1349" y="32"/>
                </a:cubicBezTo>
                <a:cubicBezTo>
                  <a:pt x="1349" y="31"/>
                  <a:pt x="1349" y="31"/>
                  <a:pt x="1349" y="31"/>
                </a:cubicBezTo>
                <a:cubicBezTo>
                  <a:pt x="1347" y="29"/>
                  <a:pt x="1347" y="29"/>
                  <a:pt x="1347" y="29"/>
                </a:cubicBezTo>
                <a:cubicBezTo>
                  <a:pt x="1347" y="29"/>
                  <a:pt x="1347" y="29"/>
                  <a:pt x="1347" y="29"/>
                </a:cubicBezTo>
                <a:cubicBezTo>
                  <a:pt x="1347" y="28"/>
                  <a:pt x="1347" y="28"/>
                  <a:pt x="1347" y="28"/>
                </a:cubicBezTo>
                <a:cubicBezTo>
                  <a:pt x="1347" y="28"/>
                  <a:pt x="1347" y="28"/>
                  <a:pt x="1347" y="28"/>
                </a:cubicBezTo>
                <a:cubicBezTo>
                  <a:pt x="1348" y="29"/>
                  <a:pt x="1348" y="29"/>
                  <a:pt x="1348" y="29"/>
                </a:cubicBezTo>
                <a:cubicBezTo>
                  <a:pt x="1351" y="31"/>
                  <a:pt x="1351" y="31"/>
                  <a:pt x="1351" y="31"/>
                </a:cubicBezTo>
                <a:cubicBezTo>
                  <a:pt x="1351" y="33"/>
                  <a:pt x="1351" y="33"/>
                  <a:pt x="1351" y="33"/>
                </a:cubicBezTo>
                <a:cubicBezTo>
                  <a:pt x="1351" y="34"/>
                  <a:pt x="1351" y="34"/>
                  <a:pt x="1351" y="34"/>
                </a:cubicBezTo>
                <a:cubicBezTo>
                  <a:pt x="1353" y="35"/>
                  <a:pt x="1353" y="35"/>
                  <a:pt x="1353" y="35"/>
                </a:cubicBezTo>
                <a:cubicBezTo>
                  <a:pt x="1355" y="37"/>
                  <a:pt x="1355" y="37"/>
                  <a:pt x="1355" y="37"/>
                </a:cubicBezTo>
                <a:cubicBezTo>
                  <a:pt x="1357" y="39"/>
                  <a:pt x="1357" y="39"/>
                  <a:pt x="1357" y="39"/>
                </a:cubicBezTo>
                <a:cubicBezTo>
                  <a:pt x="1358" y="40"/>
                  <a:pt x="1358" y="40"/>
                  <a:pt x="1358" y="40"/>
                </a:cubicBezTo>
                <a:cubicBezTo>
                  <a:pt x="1359" y="39"/>
                  <a:pt x="1359" y="39"/>
                  <a:pt x="1359" y="39"/>
                </a:cubicBezTo>
                <a:cubicBezTo>
                  <a:pt x="1360" y="40"/>
                  <a:pt x="1360" y="40"/>
                  <a:pt x="1360" y="40"/>
                </a:cubicBezTo>
                <a:cubicBezTo>
                  <a:pt x="1361" y="40"/>
                  <a:pt x="1361" y="40"/>
                  <a:pt x="1361" y="40"/>
                </a:cubicBezTo>
                <a:cubicBezTo>
                  <a:pt x="1359" y="42"/>
                  <a:pt x="1359" y="42"/>
                  <a:pt x="1359" y="42"/>
                </a:cubicBezTo>
                <a:cubicBezTo>
                  <a:pt x="1360" y="43"/>
                  <a:pt x="1360" y="43"/>
                  <a:pt x="1360" y="43"/>
                </a:cubicBezTo>
                <a:cubicBezTo>
                  <a:pt x="1361" y="44"/>
                  <a:pt x="1361" y="44"/>
                  <a:pt x="1361" y="44"/>
                </a:cubicBezTo>
                <a:cubicBezTo>
                  <a:pt x="1362" y="44"/>
                  <a:pt x="1362" y="44"/>
                  <a:pt x="1362" y="44"/>
                </a:cubicBezTo>
                <a:cubicBezTo>
                  <a:pt x="1363" y="43"/>
                  <a:pt x="1363" y="43"/>
                  <a:pt x="1363" y="43"/>
                </a:cubicBezTo>
                <a:cubicBezTo>
                  <a:pt x="1364" y="39"/>
                  <a:pt x="1364" y="39"/>
                  <a:pt x="1364" y="39"/>
                </a:cubicBezTo>
                <a:cubicBezTo>
                  <a:pt x="1365" y="38"/>
                  <a:pt x="1365" y="38"/>
                  <a:pt x="1365" y="38"/>
                </a:cubicBezTo>
                <a:cubicBezTo>
                  <a:pt x="1365" y="37"/>
                  <a:pt x="1365" y="37"/>
                  <a:pt x="1365" y="37"/>
                </a:cubicBezTo>
                <a:cubicBezTo>
                  <a:pt x="1365" y="35"/>
                  <a:pt x="1365" y="35"/>
                  <a:pt x="1365" y="35"/>
                </a:cubicBezTo>
                <a:cubicBezTo>
                  <a:pt x="1365" y="35"/>
                  <a:pt x="1365" y="35"/>
                  <a:pt x="1365" y="35"/>
                </a:cubicBezTo>
                <a:cubicBezTo>
                  <a:pt x="1365" y="32"/>
                  <a:pt x="1365" y="32"/>
                  <a:pt x="1365" y="32"/>
                </a:cubicBezTo>
                <a:cubicBezTo>
                  <a:pt x="1364" y="31"/>
                  <a:pt x="1364" y="31"/>
                  <a:pt x="1364" y="31"/>
                </a:cubicBezTo>
                <a:cubicBezTo>
                  <a:pt x="1364" y="30"/>
                  <a:pt x="1364" y="30"/>
                  <a:pt x="1364" y="30"/>
                </a:cubicBezTo>
                <a:cubicBezTo>
                  <a:pt x="1365" y="29"/>
                  <a:pt x="1365" y="29"/>
                  <a:pt x="1365" y="29"/>
                </a:cubicBezTo>
                <a:cubicBezTo>
                  <a:pt x="1365" y="30"/>
                  <a:pt x="1365" y="30"/>
                  <a:pt x="1365" y="30"/>
                </a:cubicBezTo>
                <a:cubicBezTo>
                  <a:pt x="1367" y="30"/>
                  <a:pt x="1367" y="30"/>
                  <a:pt x="1367" y="30"/>
                </a:cubicBezTo>
                <a:cubicBezTo>
                  <a:pt x="1367" y="30"/>
                  <a:pt x="1367" y="30"/>
                  <a:pt x="1367" y="30"/>
                </a:cubicBezTo>
                <a:cubicBezTo>
                  <a:pt x="1367" y="29"/>
                  <a:pt x="1367" y="29"/>
                  <a:pt x="1367" y="29"/>
                </a:cubicBezTo>
                <a:cubicBezTo>
                  <a:pt x="1365" y="27"/>
                  <a:pt x="1365" y="27"/>
                  <a:pt x="1365" y="27"/>
                </a:cubicBezTo>
                <a:cubicBezTo>
                  <a:pt x="1364" y="26"/>
                  <a:pt x="1364" y="26"/>
                  <a:pt x="1364" y="26"/>
                </a:cubicBezTo>
                <a:cubicBezTo>
                  <a:pt x="1363" y="25"/>
                  <a:pt x="1363" y="25"/>
                  <a:pt x="1363" y="25"/>
                </a:cubicBezTo>
                <a:cubicBezTo>
                  <a:pt x="1362" y="24"/>
                  <a:pt x="1362" y="24"/>
                  <a:pt x="1362" y="24"/>
                </a:cubicBezTo>
                <a:cubicBezTo>
                  <a:pt x="1360" y="24"/>
                  <a:pt x="1360" y="24"/>
                  <a:pt x="1360" y="24"/>
                </a:cubicBezTo>
                <a:cubicBezTo>
                  <a:pt x="1359" y="23"/>
                  <a:pt x="1359" y="23"/>
                  <a:pt x="1359" y="23"/>
                </a:cubicBezTo>
                <a:cubicBezTo>
                  <a:pt x="1358" y="22"/>
                  <a:pt x="1358" y="22"/>
                  <a:pt x="1358" y="22"/>
                </a:cubicBezTo>
                <a:cubicBezTo>
                  <a:pt x="1355" y="22"/>
                  <a:pt x="1355" y="22"/>
                  <a:pt x="1355" y="22"/>
                </a:cubicBezTo>
                <a:cubicBezTo>
                  <a:pt x="1353" y="22"/>
                  <a:pt x="1353" y="22"/>
                  <a:pt x="1353" y="22"/>
                </a:cubicBezTo>
                <a:cubicBezTo>
                  <a:pt x="1352" y="22"/>
                  <a:pt x="1352" y="22"/>
                  <a:pt x="1352" y="22"/>
                </a:cubicBezTo>
                <a:cubicBezTo>
                  <a:pt x="1352" y="22"/>
                  <a:pt x="1352" y="22"/>
                  <a:pt x="1352" y="22"/>
                </a:cubicBezTo>
                <a:cubicBezTo>
                  <a:pt x="1351" y="21"/>
                  <a:pt x="1351" y="21"/>
                  <a:pt x="1351" y="21"/>
                </a:cubicBezTo>
                <a:cubicBezTo>
                  <a:pt x="1352" y="20"/>
                  <a:pt x="1352" y="20"/>
                  <a:pt x="1352" y="20"/>
                </a:cubicBezTo>
                <a:cubicBezTo>
                  <a:pt x="1352" y="21"/>
                  <a:pt x="1352" y="21"/>
                  <a:pt x="1352" y="21"/>
                </a:cubicBezTo>
                <a:cubicBezTo>
                  <a:pt x="1353" y="21"/>
                  <a:pt x="1353" y="21"/>
                  <a:pt x="1353" y="21"/>
                </a:cubicBezTo>
                <a:cubicBezTo>
                  <a:pt x="1355" y="21"/>
                  <a:pt x="1355" y="21"/>
                  <a:pt x="1355" y="21"/>
                </a:cubicBezTo>
                <a:cubicBezTo>
                  <a:pt x="1358" y="21"/>
                  <a:pt x="1358" y="21"/>
                  <a:pt x="1358" y="21"/>
                </a:cubicBezTo>
                <a:cubicBezTo>
                  <a:pt x="1359" y="21"/>
                  <a:pt x="1359" y="21"/>
                  <a:pt x="1359" y="21"/>
                </a:cubicBezTo>
                <a:cubicBezTo>
                  <a:pt x="1360" y="21"/>
                  <a:pt x="1360" y="21"/>
                  <a:pt x="1360" y="21"/>
                </a:cubicBezTo>
                <a:cubicBezTo>
                  <a:pt x="1361" y="20"/>
                  <a:pt x="1361" y="20"/>
                  <a:pt x="1361" y="20"/>
                </a:cubicBezTo>
                <a:cubicBezTo>
                  <a:pt x="1363" y="21"/>
                  <a:pt x="1363" y="21"/>
                  <a:pt x="1363" y="21"/>
                </a:cubicBezTo>
                <a:cubicBezTo>
                  <a:pt x="1363" y="21"/>
                  <a:pt x="1363" y="21"/>
                  <a:pt x="1363" y="21"/>
                </a:cubicBezTo>
                <a:cubicBezTo>
                  <a:pt x="1365" y="21"/>
                  <a:pt x="1365" y="21"/>
                  <a:pt x="1365" y="21"/>
                </a:cubicBezTo>
                <a:cubicBezTo>
                  <a:pt x="1365" y="20"/>
                  <a:pt x="1365" y="20"/>
                  <a:pt x="1365" y="20"/>
                </a:cubicBezTo>
                <a:cubicBezTo>
                  <a:pt x="1365" y="19"/>
                  <a:pt x="1365" y="19"/>
                  <a:pt x="1365" y="19"/>
                </a:cubicBezTo>
                <a:cubicBezTo>
                  <a:pt x="1365" y="17"/>
                  <a:pt x="1365" y="17"/>
                  <a:pt x="1365" y="17"/>
                </a:cubicBezTo>
                <a:cubicBezTo>
                  <a:pt x="1365" y="16"/>
                  <a:pt x="1365" y="16"/>
                  <a:pt x="1365" y="16"/>
                </a:cubicBezTo>
                <a:cubicBezTo>
                  <a:pt x="1364" y="16"/>
                  <a:pt x="1364" y="16"/>
                  <a:pt x="1364" y="16"/>
                </a:cubicBezTo>
                <a:cubicBezTo>
                  <a:pt x="1363" y="16"/>
                  <a:pt x="1363" y="16"/>
                  <a:pt x="1363" y="16"/>
                </a:cubicBezTo>
                <a:cubicBezTo>
                  <a:pt x="1362" y="17"/>
                  <a:pt x="1362" y="17"/>
                  <a:pt x="1362" y="17"/>
                </a:cubicBezTo>
                <a:cubicBezTo>
                  <a:pt x="1360" y="16"/>
                  <a:pt x="1360" y="16"/>
                  <a:pt x="1360" y="16"/>
                </a:cubicBezTo>
                <a:cubicBezTo>
                  <a:pt x="1358" y="16"/>
                  <a:pt x="1358" y="16"/>
                  <a:pt x="1358" y="16"/>
                </a:cubicBezTo>
                <a:cubicBezTo>
                  <a:pt x="1357" y="15"/>
                  <a:pt x="1357" y="15"/>
                  <a:pt x="1357" y="15"/>
                </a:cubicBezTo>
                <a:cubicBezTo>
                  <a:pt x="1356" y="15"/>
                  <a:pt x="1356" y="15"/>
                  <a:pt x="1356" y="15"/>
                </a:cubicBezTo>
                <a:cubicBezTo>
                  <a:pt x="1354" y="15"/>
                  <a:pt x="1354" y="15"/>
                  <a:pt x="1354" y="15"/>
                </a:cubicBezTo>
                <a:cubicBezTo>
                  <a:pt x="1353" y="16"/>
                  <a:pt x="1353" y="16"/>
                  <a:pt x="1353" y="16"/>
                </a:cubicBezTo>
                <a:cubicBezTo>
                  <a:pt x="1352" y="16"/>
                  <a:pt x="1352" y="16"/>
                  <a:pt x="1352" y="16"/>
                </a:cubicBezTo>
                <a:cubicBezTo>
                  <a:pt x="1352" y="14"/>
                  <a:pt x="1352" y="14"/>
                  <a:pt x="1352" y="14"/>
                </a:cubicBezTo>
                <a:cubicBezTo>
                  <a:pt x="1353" y="13"/>
                  <a:pt x="1353" y="13"/>
                  <a:pt x="1353" y="13"/>
                </a:cubicBezTo>
                <a:cubicBezTo>
                  <a:pt x="1352" y="12"/>
                  <a:pt x="1352" y="12"/>
                  <a:pt x="1352" y="12"/>
                </a:cubicBezTo>
                <a:cubicBezTo>
                  <a:pt x="1350" y="12"/>
                  <a:pt x="1350" y="12"/>
                  <a:pt x="1350" y="12"/>
                </a:cubicBezTo>
                <a:cubicBezTo>
                  <a:pt x="1349" y="12"/>
                  <a:pt x="1349" y="12"/>
                  <a:pt x="1349" y="12"/>
                </a:cubicBezTo>
                <a:cubicBezTo>
                  <a:pt x="1347" y="12"/>
                  <a:pt x="1347" y="12"/>
                  <a:pt x="1347" y="12"/>
                </a:cubicBezTo>
                <a:cubicBezTo>
                  <a:pt x="1348" y="11"/>
                  <a:pt x="1348" y="11"/>
                  <a:pt x="1348" y="11"/>
                </a:cubicBezTo>
                <a:cubicBezTo>
                  <a:pt x="1349" y="11"/>
                  <a:pt x="1349" y="11"/>
                  <a:pt x="1349" y="11"/>
                </a:cubicBezTo>
                <a:cubicBezTo>
                  <a:pt x="1351" y="11"/>
                  <a:pt x="1351" y="11"/>
                  <a:pt x="1351" y="11"/>
                </a:cubicBezTo>
                <a:cubicBezTo>
                  <a:pt x="1352" y="11"/>
                  <a:pt x="1352" y="11"/>
                  <a:pt x="1352" y="11"/>
                </a:cubicBezTo>
                <a:cubicBezTo>
                  <a:pt x="1352" y="10"/>
                  <a:pt x="1352" y="10"/>
                  <a:pt x="1352" y="10"/>
                </a:cubicBezTo>
                <a:cubicBezTo>
                  <a:pt x="1351" y="9"/>
                  <a:pt x="1351" y="9"/>
                  <a:pt x="1351" y="9"/>
                </a:cubicBezTo>
                <a:cubicBezTo>
                  <a:pt x="1352" y="8"/>
                  <a:pt x="1352" y="8"/>
                  <a:pt x="1352" y="8"/>
                </a:cubicBezTo>
                <a:cubicBezTo>
                  <a:pt x="1351" y="7"/>
                  <a:pt x="1351" y="7"/>
                  <a:pt x="1351" y="7"/>
                </a:cubicBezTo>
                <a:cubicBezTo>
                  <a:pt x="1351" y="6"/>
                  <a:pt x="1351" y="6"/>
                  <a:pt x="1351" y="6"/>
                </a:cubicBezTo>
                <a:cubicBezTo>
                  <a:pt x="1352" y="5"/>
                  <a:pt x="1352" y="5"/>
                  <a:pt x="1352" y="5"/>
                </a:cubicBezTo>
                <a:cubicBezTo>
                  <a:pt x="1351" y="4"/>
                  <a:pt x="1351" y="4"/>
                  <a:pt x="1351" y="4"/>
                </a:cubicBezTo>
                <a:cubicBezTo>
                  <a:pt x="1351" y="3"/>
                  <a:pt x="1351" y="3"/>
                  <a:pt x="1351" y="3"/>
                </a:cubicBezTo>
                <a:cubicBezTo>
                  <a:pt x="1352" y="2"/>
                  <a:pt x="1352" y="2"/>
                  <a:pt x="1352" y="2"/>
                </a:cubicBezTo>
                <a:cubicBezTo>
                  <a:pt x="1353" y="3"/>
                  <a:pt x="1353" y="3"/>
                  <a:pt x="1353" y="3"/>
                </a:cubicBezTo>
                <a:cubicBezTo>
                  <a:pt x="1352" y="4"/>
                  <a:pt x="1352" y="4"/>
                  <a:pt x="1352" y="4"/>
                </a:cubicBezTo>
                <a:cubicBezTo>
                  <a:pt x="1353" y="5"/>
                  <a:pt x="1353" y="5"/>
                  <a:pt x="1353" y="5"/>
                </a:cubicBezTo>
                <a:cubicBezTo>
                  <a:pt x="1354" y="5"/>
                  <a:pt x="1354" y="5"/>
                  <a:pt x="1354" y="5"/>
                </a:cubicBezTo>
                <a:cubicBezTo>
                  <a:pt x="1356" y="4"/>
                  <a:pt x="1356" y="4"/>
                  <a:pt x="1356" y="4"/>
                </a:cubicBezTo>
                <a:cubicBezTo>
                  <a:pt x="1358" y="2"/>
                  <a:pt x="1358" y="2"/>
                  <a:pt x="1358" y="2"/>
                </a:cubicBezTo>
                <a:cubicBezTo>
                  <a:pt x="1359" y="2"/>
                  <a:pt x="1359" y="2"/>
                  <a:pt x="1359" y="2"/>
                </a:cubicBezTo>
                <a:cubicBezTo>
                  <a:pt x="1360" y="1"/>
                  <a:pt x="1360" y="1"/>
                  <a:pt x="1360" y="1"/>
                </a:cubicBezTo>
                <a:cubicBezTo>
                  <a:pt x="1359" y="0"/>
                  <a:pt x="1359" y="0"/>
                  <a:pt x="1359" y="0"/>
                </a:cubicBezTo>
                <a:cubicBezTo>
                  <a:pt x="1087" y="0"/>
                  <a:pt x="1087" y="0"/>
                  <a:pt x="1087" y="0"/>
                </a:cubicBezTo>
                <a:cubicBezTo>
                  <a:pt x="1087" y="0"/>
                  <a:pt x="1087" y="0"/>
                  <a:pt x="1087" y="0"/>
                </a:cubicBezTo>
                <a:cubicBezTo>
                  <a:pt x="1087" y="1"/>
                  <a:pt x="1087" y="1"/>
                  <a:pt x="1087" y="1"/>
                </a:cubicBezTo>
                <a:cubicBezTo>
                  <a:pt x="1086" y="2"/>
                  <a:pt x="1086" y="2"/>
                  <a:pt x="1086" y="2"/>
                </a:cubicBezTo>
                <a:cubicBezTo>
                  <a:pt x="1085" y="4"/>
                  <a:pt x="1085" y="4"/>
                  <a:pt x="1085" y="4"/>
                </a:cubicBezTo>
                <a:cubicBezTo>
                  <a:pt x="1084" y="5"/>
                  <a:pt x="1084" y="5"/>
                  <a:pt x="1084" y="5"/>
                </a:cubicBezTo>
                <a:cubicBezTo>
                  <a:pt x="1084" y="6"/>
                  <a:pt x="1084" y="6"/>
                  <a:pt x="1084" y="6"/>
                </a:cubicBezTo>
                <a:cubicBezTo>
                  <a:pt x="1086" y="6"/>
                  <a:pt x="1086" y="6"/>
                  <a:pt x="1086" y="6"/>
                </a:cubicBezTo>
                <a:cubicBezTo>
                  <a:pt x="1086" y="6"/>
                  <a:pt x="1086" y="6"/>
                  <a:pt x="1086" y="6"/>
                </a:cubicBezTo>
                <a:cubicBezTo>
                  <a:pt x="1086" y="7"/>
                  <a:pt x="1086" y="7"/>
                  <a:pt x="1086" y="7"/>
                </a:cubicBezTo>
                <a:cubicBezTo>
                  <a:pt x="1084" y="8"/>
                  <a:pt x="1084" y="8"/>
                  <a:pt x="1084" y="8"/>
                </a:cubicBezTo>
                <a:cubicBezTo>
                  <a:pt x="1082" y="10"/>
                  <a:pt x="1082" y="10"/>
                  <a:pt x="1082" y="10"/>
                </a:cubicBezTo>
                <a:cubicBezTo>
                  <a:pt x="1082" y="10"/>
                  <a:pt x="1082" y="10"/>
                  <a:pt x="1082" y="10"/>
                </a:cubicBezTo>
                <a:cubicBezTo>
                  <a:pt x="1082" y="11"/>
                  <a:pt x="1082" y="11"/>
                  <a:pt x="1082" y="11"/>
                </a:cubicBezTo>
                <a:cubicBezTo>
                  <a:pt x="1083" y="12"/>
                  <a:pt x="1083" y="12"/>
                  <a:pt x="1083" y="12"/>
                </a:cubicBezTo>
                <a:cubicBezTo>
                  <a:pt x="1083" y="13"/>
                  <a:pt x="1083" y="13"/>
                  <a:pt x="1083" y="13"/>
                </a:cubicBezTo>
                <a:cubicBezTo>
                  <a:pt x="1083" y="14"/>
                  <a:pt x="1083" y="14"/>
                  <a:pt x="1083" y="14"/>
                </a:cubicBezTo>
                <a:cubicBezTo>
                  <a:pt x="1087" y="17"/>
                  <a:pt x="1087" y="17"/>
                  <a:pt x="1087" y="17"/>
                </a:cubicBezTo>
                <a:cubicBezTo>
                  <a:pt x="1088" y="18"/>
                  <a:pt x="1088" y="18"/>
                  <a:pt x="1088" y="18"/>
                </a:cubicBezTo>
                <a:cubicBezTo>
                  <a:pt x="1088" y="20"/>
                  <a:pt x="1088" y="20"/>
                  <a:pt x="1088" y="20"/>
                </a:cubicBezTo>
                <a:cubicBezTo>
                  <a:pt x="1088" y="21"/>
                  <a:pt x="1088" y="21"/>
                  <a:pt x="1088" y="21"/>
                </a:cubicBezTo>
                <a:cubicBezTo>
                  <a:pt x="1087" y="22"/>
                  <a:pt x="1087" y="22"/>
                  <a:pt x="1087" y="22"/>
                </a:cubicBezTo>
                <a:cubicBezTo>
                  <a:pt x="1087" y="23"/>
                  <a:pt x="1087" y="23"/>
                  <a:pt x="1087" y="23"/>
                </a:cubicBezTo>
                <a:cubicBezTo>
                  <a:pt x="1088" y="24"/>
                  <a:pt x="1088" y="24"/>
                  <a:pt x="1088" y="24"/>
                </a:cubicBezTo>
                <a:cubicBezTo>
                  <a:pt x="1089" y="24"/>
                  <a:pt x="1089" y="24"/>
                  <a:pt x="1089" y="24"/>
                </a:cubicBezTo>
                <a:cubicBezTo>
                  <a:pt x="1090" y="25"/>
                  <a:pt x="1090" y="25"/>
                  <a:pt x="1090" y="25"/>
                </a:cubicBezTo>
                <a:cubicBezTo>
                  <a:pt x="1090" y="26"/>
                  <a:pt x="1090" y="26"/>
                  <a:pt x="1090" y="26"/>
                </a:cubicBezTo>
                <a:cubicBezTo>
                  <a:pt x="1091" y="28"/>
                  <a:pt x="1091" y="28"/>
                  <a:pt x="1091" y="28"/>
                </a:cubicBezTo>
                <a:cubicBezTo>
                  <a:pt x="1092" y="29"/>
                  <a:pt x="1092" y="29"/>
                  <a:pt x="1092" y="29"/>
                </a:cubicBezTo>
                <a:cubicBezTo>
                  <a:pt x="1092" y="31"/>
                  <a:pt x="1092" y="31"/>
                  <a:pt x="1092" y="31"/>
                </a:cubicBezTo>
                <a:cubicBezTo>
                  <a:pt x="1092" y="32"/>
                  <a:pt x="1092" y="32"/>
                  <a:pt x="1092" y="32"/>
                </a:cubicBezTo>
                <a:cubicBezTo>
                  <a:pt x="1090" y="33"/>
                  <a:pt x="1090" y="33"/>
                  <a:pt x="1090" y="33"/>
                </a:cubicBezTo>
                <a:cubicBezTo>
                  <a:pt x="1089" y="34"/>
                  <a:pt x="1089" y="34"/>
                  <a:pt x="1089" y="34"/>
                </a:cubicBezTo>
                <a:cubicBezTo>
                  <a:pt x="1088" y="35"/>
                  <a:pt x="1088" y="35"/>
                  <a:pt x="1088" y="35"/>
                </a:cubicBezTo>
                <a:cubicBezTo>
                  <a:pt x="1087" y="37"/>
                  <a:pt x="1087" y="37"/>
                  <a:pt x="1087" y="37"/>
                </a:cubicBezTo>
                <a:cubicBezTo>
                  <a:pt x="1086" y="37"/>
                  <a:pt x="1086" y="37"/>
                  <a:pt x="1086" y="37"/>
                </a:cubicBezTo>
                <a:cubicBezTo>
                  <a:pt x="1084" y="38"/>
                  <a:pt x="1084" y="38"/>
                  <a:pt x="1084" y="38"/>
                </a:cubicBezTo>
                <a:cubicBezTo>
                  <a:pt x="1084" y="39"/>
                  <a:pt x="1084" y="39"/>
                  <a:pt x="1084" y="39"/>
                </a:cubicBezTo>
                <a:cubicBezTo>
                  <a:pt x="1085" y="39"/>
                  <a:pt x="1085" y="39"/>
                  <a:pt x="1085" y="39"/>
                </a:cubicBezTo>
                <a:cubicBezTo>
                  <a:pt x="1086" y="39"/>
                  <a:pt x="1086" y="39"/>
                  <a:pt x="1086" y="39"/>
                </a:cubicBezTo>
                <a:cubicBezTo>
                  <a:pt x="1086" y="38"/>
                  <a:pt x="1086" y="38"/>
                  <a:pt x="1086" y="38"/>
                </a:cubicBezTo>
                <a:cubicBezTo>
                  <a:pt x="1088" y="38"/>
                  <a:pt x="1088" y="38"/>
                  <a:pt x="1088" y="38"/>
                </a:cubicBezTo>
                <a:cubicBezTo>
                  <a:pt x="1089" y="36"/>
                  <a:pt x="1089" y="36"/>
                  <a:pt x="1089" y="36"/>
                </a:cubicBezTo>
                <a:cubicBezTo>
                  <a:pt x="1090" y="36"/>
                  <a:pt x="1090" y="36"/>
                  <a:pt x="1090" y="36"/>
                </a:cubicBezTo>
                <a:cubicBezTo>
                  <a:pt x="1091" y="36"/>
                  <a:pt x="1091" y="36"/>
                  <a:pt x="1091" y="36"/>
                </a:cubicBezTo>
                <a:cubicBezTo>
                  <a:pt x="1090" y="39"/>
                  <a:pt x="1090" y="39"/>
                  <a:pt x="1090" y="39"/>
                </a:cubicBezTo>
                <a:cubicBezTo>
                  <a:pt x="1090" y="40"/>
                  <a:pt x="1090" y="40"/>
                  <a:pt x="1090" y="40"/>
                </a:cubicBezTo>
                <a:cubicBezTo>
                  <a:pt x="1090" y="41"/>
                  <a:pt x="1090" y="41"/>
                  <a:pt x="1090" y="41"/>
                </a:cubicBezTo>
                <a:cubicBezTo>
                  <a:pt x="1090" y="42"/>
                  <a:pt x="1090" y="42"/>
                  <a:pt x="1090" y="42"/>
                </a:cubicBezTo>
                <a:cubicBezTo>
                  <a:pt x="1091" y="44"/>
                  <a:pt x="1091" y="44"/>
                  <a:pt x="1091" y="44"/>
                </a:cubicBezTo>
                <a:cubicBezTo>
                  <a:pt x="1091" y="45"/>
                  <a:pt x="1091" y="45"/>
                  <a:pt x="1091" y="45"/>
                </a:cubicBezTo>
                <a:cubicBezTo>
                  <a:pt x="1090" y="47"/>
                  <a:pt x="1090" y="47"/>
                  <a:pt x="1090" y="47"/>
                </a:cubicBezTo>
                <a:cubicBezTo>
                  <a:pt x="1090" y="48"/>
                  <a:pt x="1090" y="48"/>
                  <a:pt x="1090" y="48"/>
                </a:cubicBezTo>
                <a:cubicBezTo>
                  <a:pt x="1091" y="49"/>
                  <a:pt x="1091" y="49"/>
                  <a:pt x="1091" y="49"/>
                </a:cubicBezTo>
                <a:cubicBezTo>
                  <a:pt x="1091" y="50"/>
                  <a:pt x="1091" y="50"/>
                  <a:pt x="1091" y="50"/>
                </a:cubicBezTo>
                <a:cubicBezTo>
                  <a:pt x="1090" y="49"/>
                  <a:pt x="1090" y="49"/>
                  <a:pt x="1090" y="49"/>
                </a:cubicBezTo>
                <a:cubicBezTo>
                  <a:pt x="1089" y="49"/>
                  <a:pt x="1089" y="49"/>
                  <a:pt x="1089" y="49"/>
                </a:cubicBezTo>
                <a:cubicBezTo>
                  <a:pt x="1090" y="51"/>
                  <a:pt x="1090" y="51"/>
                  <a:pt x="1090" y="51"/>
                </a:cubicBezTo>
                <a:cubicBezTo>
                  <a:pt x="1091" y="53"/>
                  <a:pt x="1091" y="53"/>
                  <a:pt x="1091" y="53"/>
                </a:cubicBezTo>
                <a:cubicBezTo>
                  <a:pt x="1091" y="54"/>
                  <a:pt x="1091" y="54"/>
                  <a:pt x="1091" y="54"/>
                </a:cubicBezTo>
                <a:cubicBezTo>
                  <a:pt x="1090" y="54"/>
                  <a:pt x="1090" y="54"/>
                  <a:pt x="1090" y="54"/>
                </a:cubicBezTo>
                <a:cubicBezTo>
                  <a:pt x="1089" y="55"/>
                  <a:pt x="1089" y="55"/>
                  <a:pt x="1089" y="55"/>
                </a:cubicBezTo>
                <a:cubicBezTo>
                  <a:pt x="1090" y="56"/>
                  <a:pt x="1090" y="56"/>
                  <a:pt x="1090" y="56"/>
                </a:cubicBezTo>
                <a:cubicBezTo>
                  <a:pt x="1090" y="57"/>
                  <a:pt x="1090" y="57"/>
                  <a:pt x="1090" y="57"/>
                </a:cubicBezTo>
                <a:cubicBezTo>
                  <a:pt x="1092" y="57"/>
                  <a:pt x="1092" y="57"/>
                  <a:pt x="1092" y="57"/>
                </a:cubicBezTo>
                <a:cubicBezTo>
                  <a:pt x="1092" y="58"/>
                  <a:pt x="1092" y="58"/>
                  <a:pt x="1092" y="58"/>
                </a:cubicBezTo>
                <a:cubicBezTo>
                  <a:pt x="1092" y="59"/>
                  <a:pt x="1092" y="59"/>
                  <a:pt x="1092" y="59"/>
                </a:cubicBezTo>
                <a:cubicBezTo>
                  <a:pt x="1091" y="60"/>
                  <a:pt x="1091" y="60"/>
                  <a:pt x="1091" y="60"/>
                </a:cubicBezTo>
                <a:cubicBezTo>
                  <a:pt x="1091" y="61"/>
                  <a:pt x="1091" y="61"/>
                  <a:pt x="1091" y="61"/>
                </a:cubicBezTo>
                <a:cubicBezTo>
                  <a:pt x="1090" y="63"/>
                  <a:pt x="1090" y="63"/>
                  <a:pt x="1090" y="63"/>
                </a:cubicBezTo>
                <a:cubicBezTo>
                  <a:pt x="1089" y="63"/>
                  <a:pt x="1089" y="63"/>
                  <a:pt x="1089" y="63"/>
                </a:cubicBezTo>
                <a:cubicBezTo>
                  <a:pt x="1088" y="63"/>
                  <a:pt x="1088" y="63"/>
                  <a:pt x="1088" y="63"/>
                </a:cubicBezTo>
                <a:cubicBezTo>
                  <a:pt x="1087" y="63"/>
                  <a:pt x="1087" y="63"/>
                  <a:pt x="1087" y="63"/>
                </a:cubicBezTo>
                <a:cubicBezTo>
                  <a:pt x="1087" y="64"/>
                  <a:pt x="1087" y="64"/>
                  <a:pt x="1087" y="64"/>
                </a:cubicBezTo>
                <a:cubicBezTo>
                  <a:pt x="1088" y="65"/>
                  <a:pt x="1088" y="65"/>
                  <a:pt x="1088" y="65"/>
                </a:cubicBezTo>
                <a:cubicBezTo>
                  <a:pt x="1089" y="65"/>
                  <a:pt x="1089" y="65"/>
                  <a:pt x="1089" y="65"/>
                </a:cubicBezTo>
                <a:cubicBezTo>
                  <a:pt x="1090" y="66"/>
                  <a:pt x="1090" y="66"/>
                  <a:pt x="1090" y="66"/>
                </a:cubicBezTo>
                <a:cubicBezTo>
                  <a:pt x="1091" y="66"/>
                  <a:pt x="1091" y="66"/>
                  <a:pt x="1091" y="66"/>
                </a:cubicBezTo>
                <a:cubicBezTo>
                  <a:pt x="1093" y="66"/>
                  <a:pt x="1093" y="66"/>
                  <a:pt x="1093" y="66"/>
                </a:cubicBezTo>
                <a:cubicBezTo>
                  <a:pt x="1093" y="67"/>
                  <a:pt x="1093" y="67"/>
                  <a:pt x="1093" y="67"/>
                </a:cubicBezTo>
                <a:cubicBezTo>
                  <a:pt x="1093" y="69"/>
                  <a:pt x="1093" y="69"/>
                  <a:pt x="1093" y="69"/>
                </a:cubicBezTo>
                <a:cubicBezTo>
                  <a:pt x="1093" y="71"/>
                  <a:pt x="1093" y="71"/>
                  <a:pt x="1093" y="71"/>
                </a:cubicBezTo>
                <a:cubicBezTo>
                  <a:pt x="1091" y="73"/>
                  <a:pt x="1091" y="73"/>
                  <a:pt x="1091" y="73"/>
                </a:cubicBezTo>
                <a:cubicBezTo>
                  <a:pt x="1091" y="75"/>
                  <a:pt x="1091" y="75"/>
                  <a:pt x="1091" y="75"/>
                </a:cubicBezTo>
                <a:cubicBezTo>
                  <a:pt x="1092" y="75"/>
                  <a:pt x="1092" y="75"/>
                  <a:pt x="1092" y="75"/>
                </a:cubicBezTo>
                <a:cubicBezTo>
                  <a:pt x="1091" y="78"/>
                  <a:pt x="1091" y="78"/>
                  <a:pt x="1091" y="78"/>
                </a:cubicBezTo>
                <a:cubicBezTo>
                  <a:pt x="1089" y="79"/>
                  <a:pt x="1089" y="79"/>
                  <a:pt x="1089" y="79"/>
                </a:cubicBezTo>
                <a:cubicBezTo>
                  <a:pt x="1087" y="79"/>
                  <a:pt x="1087" y="79"/>
                  <a:pt x="1087" y="79"/>
                </a:cubicBezTo>
                <a:cubicBezTo>
                  <a:pt x="1086" y="78"/>
                  <a:pt x="1086" y="78"/>
                  <a:pt x="1086" y="78"/>
                </a:cubicBezTo>
                <a:cubicBezTo>
                  <a:pt x="1085" y="78"/>
                  <a:pt x="1085" y="78"/>
                  <a:pt x="1085" y="78"/>
                </a:cubicBezTo>
                <a:cubicBezTo>
                  <a:pt x="1083" y="80"/>
                  <a:pt x="1083" y="80"/>
                  <a:pt x="1083" y="80"/>
                </a:cubicBezTo>
                <a:cubicBezTo>
                  <a:pt x="1083" y="81"/>
                  <a:pt x="1083" y="81"/>
                  <a:pt x="1083" y="81"/>
                </a:cubicBezTo>
                <a:cubicBezTo>
                  <a:pt x="1083" y="81"/>
                  <a:pt x="1083" y="81"/>
                  <a:pt x="1083" y="81"/>
                </a:cubicBezTo>
                <a:cubicBezTo>
                  <a:pt x="1084" y="81"/>
                  <a:pt x="1084" y="81"/>
                  <a:pt x="1084" y="81"/>
                </a:cubicBezTo>
                <a:cubicBezTo>
                  <a:pt x="1087" y="82"/>
                  <a:pt x="1087" y="82"/>
                  <a:pt x="1087" y="82"/>
                </a:cubicBezTo>
                <a:cubicBezTo>
                  <a:pt x="1088" y="81"/>
                  <a:pt x="1088" y="81"/>
                  <a:pt x="1088" y="81"/>
                </a:cubicBezTo>
                <a:cubicBezTo>
                  <a:pt x="1088" y="80"/>
                  <a:pt x="1088" y="80"/>
                  <a:pt x="1088" y="80"/>
                </a:cubicBezTo>
                <a:cubicBezTo>
                  <a:pt x="1088" y="81"/>
                  <a:pt x="1088" y="81"/>
                  <a:pt x="1088" y="81"/>
                </a:cubicBezTo>
                <a:cubicBezTo>
                  <a:pt x="1089" y="82"/>
                  <a:pt x="1089" y="82"/>
                  <a:pt x="1089" y="82"/>
                </a:cubicBezTo>
                <a:cubicBezTo>
                  <a:pt x="1089" y="82"/>
                  <a:pt x="1089" y="82"/>
                  <a:pt x="1089" y="82"/>
                </a:cubicBezTo>
                <a:cubicBezTo>
                  <a:pt x="1088" y="83"/>
                  <a:pt x="1088" y="83"/>
                  <a:pt x="1088" y="83"/>
                </a:cubicBezTo>
                <a:cubicBezTo>
                  <a:pt x="1087" y="83"/>
                  <a:pt x="1087" y="83"/>
                  <a:pt x="1087" y="83"/>
                </a:cubicBezTo>
                <a:cubicBezTo>
                  <a:pt x="1087" y="84"/>
                  <a:pt x="1087" y="84"/>
                  <a:pt x="1087" y="84"/>
                </a:cubicBezTo>
                <a:cubicBezTo>
                  <a:pt x="1087" y="85"/>
                  <a:pt x="1087" y="85"/>
                  <a:pt x="1087" y="85"/>
                </a:cubicBezTo>
                <a:cubicBezTo>
                  <a:pt x="1087" y="86"/>
                  <a:pt x="1087" y="86"/>
                  <a:pt x="1087" y="86"/>
                </a:cubicBezTo>
                <a:cubicBezTo>
                  <a:pt x="1085" y="86"/>
                  <a:pt x="1085" y="86"/>
                  <a:pt x="1085" y="86"/>
                </a:cubicBezTo>
                <a:cubicBezTo>
                  <a:pt x="1083" y="88"/>
                  <a:pt x="1083" y="88"/>
                  <a:pt x="1083" y="88"/>
                </a:cubicBezTo>
                <a:cubicBezTo>
                  <a:pt x="1081" y="89"/>
                  <a:pt x="1081" y="89"/>
                  <a:pt x="1081" y="89"/>
                </a:cubicBezTo>
                <a:cubicBezTo>
                  <a:pt x="1081" y="90"/>
                  <a:pt x="1081" y="90"/>
                  <a:pt x="1081" y="90"/>
                </a:cubicBezTo>
                <a:cubicBezTo>
                  <a:pt x="1083" y="91"/>
                  <a:pt x="1083" y="91"/>
                  <a:pt x="1083" y="91"/>
                </a:cubicBezTo>
                <a:cubicBezTo>
                  <a:pt x="1085" y="92"/>
                  <a:pt x="1085" y="92"/>
                  <a:pt x="1085" y="92"/>
                </a:cubicBezTo>
                <a:cubicBezTo>
                  <a:pt x="1087" y="91"/>
                  <a:pt x="1087" y="91"/>
                  <a:pt x="1087" y="91"/>
                </a:cubicBezTo>
                <a:cubicBezTo>
                  <a:pt x="1089" y="89"/>
                  <a:pt x="1089" y="89"/>
                  <a:pt x="1089" y="89"/>
                </a:cubicBezTo>
                <a:cubicBezTo>
                  <a:pt x="1090" y="87"/>
                  <a:pt x="1090" y="87"/>
                  <a:pt x="1090" y="87"/>
                </a:cubicBezTo>
                <a:cubicBezTo>
                  <a:pt x="1091" y="87"/>
                  <a:pt x="1091" y="87"/>
                  <a:pt x="1091" y="87"/>
                </a:cubicBezTo>
                <a:cubicBezTo>
                  <a:pt x="1091" y="87"/>
                  <a:pt x="1091" y="87"/>
                  <a:pt x="1091" y="87"/>
                </a:cubicBezTo>
                <a:cubicBezTo>
                  <a:pt x="1091" y="88"/>
                  <a:pt x="1091" y="88"/>
                  <a:pt x="1091" y="88"/>
                </a:cubicBezTo>
                <a:cubicBezTo>
                  <a:pt x="1090" y="91"/>
                  <a:pt x="1090" y="91"/>
                  <a:pt x="1090" y="91"/>
                </a:cubicBezTo>
                <a:cubicBezTo>
                  <a:pt x="1088" y="93"/>
                  <a:pt x="1088" y="93"/>
                  <a:pt x="1088" y="93"/>
                </a:cubicBezTo>
                <a:cubicBezTo>
                  <a:pt x="1087" y="93"/>
                  <a:pt x="1087" y="93"/>
                  <a:pt x="1087" y="93"/>
                </a:cubicBezTo>
                <a:cubicBezTo>
                  <a:pt x="1084" y="93"/>
                  <a:pt x="1084" y="93"/>
                  <a:pt x="1084" y="93"/>
                </a:cubicBezTo>
                <a:cubicBezTo>
                  <a:pt x="1083" y="93"/>
                  <a:pt x="1083" y="93"/>
                  <a:pt x="1083" y="93"/>
                </a:cubicBezTo>
                <a:cubicBezTo>
                  <a:pt x="1082" y="95"/>
                  <a:pt x="1082" y="95"/>
                  <a:pt x="1082" y="95"/>
                </a:cubicBezTo>
                <a:cubicBezTo>
                  <a:pt x="1081" y="95"/>
                  <a:pt x="1081" y="95"/>
                  <a:pt x="1081" y="95"/>
                </a:cubicBezTo>
                <a:cubicBezTo>
                  <a:pt x="1079" y="95"/>
                  <a:pt x="1079" y="95"/>
                  <a:pt x="1079" y="95"/>
                </a:cubicBezTo>
                <a:cubicBezTo>
                  <a:pt x="1078" y="96"/>
                  <a:pt x="1078" y="96"/>
                  <a:pt x="1078" y="96"/>
                </a:cubicBezTo>
                <a:cubicBezTo>
                  <a:pt x="1078" y="97"/>
                  <a:pt x="1078" y="97"/>
                  <a:pt x="1078" y="97"/>
                </a:cubicBezTo>
                <a:cubicBezTo>
                  <a:pt x="1078" y="97"/>
                  <a:pt x="1078" y="97"/>
                  <a:pt x="1078" y="97"/>
                </a:cubicBezTo>
                <a:cubicBezTo>
                  <a:pt x="1079" y="99"/>
                  <a:pt x="1079" y="99"/>
                  <a:pt x="1079" y="99"/>
                </a:cubicBezTo>
                <a:cubicBezTo>
                  <a:pt x="1078" y="100"/>
                  <a:pt x="1078" y="100"/>
                  <a:pt x="1078" y="100"/>
                </a:cubicBezTo>
                <a:cubicBezTo>
                  <a:pt x="1079" y="102"/>
                  <a:pt x="1079" y="102"/>
                  <a:pt x="1079" y="102"/>
                </a:cubicBezTo>
                <a:cubicBezTo>
                  <a:pt x="1079" y="102"/>
                  <a:pt x="1079" y="102"/>
                  <a:pt x="1079" y="102"/>
                </a:cubicBezTo>
                <a:cubicBezTo>
                  <a:pt x="1080" y="101"/>
                  <a:pt x="1080" y="101"/>
                  <a:pt x="1080" y="101"/>
                </a:cubicBezTo>
                <a:cubicBezTo>
                  <a:pt x="1081" y="101"/>
                  <a:pt x="1081" y="101"/>
                  <a:pt x="1081" y="101"/>
                </a:cubicBezTo>
                <a:cubicBezTo>
                  <a:pt x="1081" y="102"/>
                  <a:pt x="1081" y="102"/>
                  <a:pt x="1081" y="102"/>
                </a:cubicBezTo>
                <a:cubicBezTo>
                  <a:pt x="1082" y="103"/>
                  <a:pt x="1082" y="103"/>
                  <a:pt x="1082" y="103"/>
                </a:cubicBezTo>
                <a:cubicBezTo>
                  <a:pt x="1082" y="104"/>
                  <a:pt x="1082" y="104"/>
                  <a:pt x="1082" y="104"/>
                </a:cubicBezTo>
                <a:cubicBezTo>
                  <a:pt x="1083" y="105"/>
                  <a:pt x="1083" y="105"/>
                  <a:pt x="1083" y="105"/>
                </a:cubicBezTo>
                <a:cubicBezTo>
                  <a:pt x="1085" y="105"/>
                  <a:pt x="1085" y="105"/>
                  <a:pt x="1085" y="105"/>
                </a:cubicBezTo>
                <a:cubicBezTo>
                  <a:pt x="1087" y="104"/>
                  <a:pt x="1087" y="104"/>
                  <a:pt x="1087" y="104"/>
                </a:cubicBezTo>
                <a:cubicBezTo>
                  <a:pt x="1087" y="104"/>
                  <a:pt x="1087" y="104"/>
                  <a:pt x="1087" y="104"/>
                </a:cubicBezTo>
                <a:cubicBezTo>
                  <a:pt x="1088" y="104"/>
                  <a:pt x="1088" y="104"/>
                  <a:pt x="1088" y="104"/>
                </a:cubicBezTo>
                <a:cubicBezTo>
                  <a:pt x="1090" y="104"/>
                  <a:pt x="1090" y="104"/>
                  <a:pt x="1090" y="104"/>
                </a:cubicBezTo>
                <a:cubicBezTo>
                  <a:pt x="1091" y="102"/>
                  <a:pt x="1091" y="102"/>
                  <a:pt x="1091" y="102"/>
                </a:cubicBezTo>
                <a:cubicBezTo>
                  <a:pt x="1091" y="101"/>
                  <a:pt x="1091" y="101"/>
                  <a:pt x="1091" y="101"/>
                </a:cubicBezTo>
                <a:cubicBezTo>
                  <a:pt x="1091" y="99"/>
                  <a:pt x="1091" y="99"/>
                  <a:pt x="1091" y="99"/>
                </a:cubicBezTo>
                <a:cubicBezTo>
                  <a:pt x="1090" y="99"/>
                  <a:pt x="1090" y="99"/>
                  <a:pt x="1090" y="99"/>
                </a:cubicBezTo>
                <a:cubicBezTo>
                  <a:pt x="1091" y="99"/>
                  <a:pt x="1091" y="99"/>
                  <a:pt x="1091" y="99"/>
                </a:cubicBezTo>
                <a:cubicBezTo>
                  <a:pt x="1092" y="99"/>
                  <a:pt x="1092" y="99"/>
                  <a:pt x="1092" y="99"/>
                </a:cubicBezTo>
                <a:cubicBezTo>
                  <a:pt x="1092" y="98"/>
                  <a:pt x="1092" y="98"/>
                  <a:pt x="1092" y="98"/>
                </a:cubicBezTo>
                <a:cubicBezTo>
                  <a:pt x="1092" y="96"/>
                  <a:pt x="1092" y="96"/>
                  <a:pt x="1092" y="96"/>
                </a:cubicBezTo>
                <a:cubicBezTo>
                  <a:pt x="1093" y="97"/>
                  <a:pt x="1093" y="97"/>
                  <a:pt x="1093" y="97"/>
                </a:cubicBezTo>
                <a:cubicBezTo>
                  <a:pt x="1094" y="98"/>
                  <a:pt x="1094" y="98"/>
                  <a:pt x="1094" y="98"/>
                </a:cubicBezTo>
                <a:cubicBezTo>
                  <a:pt x="1095" y="98"/>
                  <a:pt x="1095" y="98"/>
                  <a:pt x="1095" y="98"/>
                </a:cubicBezTo>
                <a:cubicBezTo>
                  <a:pt x="1096" y="96"/>
                  <a:pt x="1096" y="96"/>
                  <a:pt x="1096" y="96"/>
                </a:cubicBezTo>
                <a:cubicBezTo>
                  <a:pt x="1096" y="94"/>
                  <a:pt x="1096" y="94"/>
                  <a:pt x="1096" y="94"/>
                </a:cubicBezTo>
                <a:cubicBezTo>
                  <a:pt x="1096" y="92"/>
                  <a:pt x="1096" y="92"/>
                  <a:pt x="1096" y="92"/>
                </a:cubicBezTo>
                <a:cubicBezTo>
                  <a:pt x="1095" y="90"/>
                  <a:pt x="1095" y="90"/>
                  <a:pt x="1095" y="90"/>
                </a:cubicBezTo>
                <a:cubicBezTo>
                  <a:pt x="1095" y="88"/>
                  <a:pt x="1095" y="88"/>
                  <a:pt x="1095" y="88"/>
                </a:cubicBezTo>
                <a:cubicBezTo>
                  <a:pt x="1095" y="85"/>
                  <a:pt x="1095" y="85"/>
                  <a:pt x="1095" y="85"/>
                </a:cubicBezTo>
                <a:cubicBezTo>
                  <a:pt x="1096" y="84"/>
                  <a:pt x="1096" y="84"/>
                  <a:pt x="1096" y="84"/>
                </a:cubicBezTo>
                <a:cubicBezTo>
                  <a:pt x="1096" y="84"/>
                  <a:pt x="1096" y="84"/>
                  <a:pt x="1096" y="84"/>
                </a:cubicBezTo>
                <a:cubicBezTo>
                  <a:pt x="1096" y="85"/>
                  <a:pt x="1096" y="85"/>
                  <a:pt x="1096" y="85"/>
                </a:cubicBezTo>
                <a:cubicBezTo>
                  <a:pt x="1096" y="87"/>
                  <a:pt x="1096" y="87"/>
                  <a:pt x="1096" y="87"/>
                </a:cubicBezTo>
                <a:cubicBezTo>
                  <a:pt x="1096" y="89"/>
                  <a:pt x="1096" y="89"/>
                  <a:pt x="1096" y="89"/>
                </a:cubicBezTo>
                <a:cubicBezTo>
                  <a:pt x="1097" y="91"/>
                  <a:pt x="1097" y="91"/>
                  <a:pt x="1097" y="91"/>
                </a:cubicBezTo>
                <a:cubicBezTo>
                  <a:pt x="1097" y="93"/>
                  <a:pt x="1097" y="93"/>
                  <a:pt x="1097" y="93"/>
                </a:cubicBezTo>
                <a:cubicBezTo>
                  <a:pt x="1096" y="96"/>
                  <a:pt x="1096" y="96"/>
                  <a:pt x="1096" y="96"/>
                </a:cubicBezTo>
                <a:cubicBezTo>
                  <a:pt x="1096" y="97"/>
                  <a:pt x="1096" y="97"/>
                  <a:pt x="1096" y="97"/>
                </a:cubicBezTo>
                <a:cubicBezTo>
                  <a:pt x="1097" y="97"/>
                  <a:pt x="1097" y="97"/>
                  <a:pt x="1097" y="97"/>
                </a:cubicBezTo>
                <a:cubicBezTo>
                  <a:pt x="1097" y="97"/>
                  <a:pt x="1097" y="97"/>
                  <a:pt x="1097" y="97"/>
                </a:cubicBezTo>
                <a:cubicBezTo>
                  <a:pt x="1099" y="96"/>
                  <a:pt x="1099" y="96"/>
                  <a:pt x="1099" y="96"/>
                </a:cubicBezTo>
                <a:cubicBezTo>
                  <a:pt x="1099" y="95"/>
                  <a:pt x="1099" y="95"/>
                  <a:pt x="1099" y="95"/>
                </a:cubicBezTo>
                <a:cubicBezTo>
                  <a:pt x="1101" y="93"/>
                  <a:pt x="1101" y="93"/>
                  <a:pt x="1101" y="93"/>
                </a:cubicBezTo>
                <a:cubicBezTo>
                  <a:pt x="1102" y="92"/>
                  <a:pt x="1102" y="92"/>
                  <a:pt x="1102" y="92"/>
                </a:cubicBezTo>
                <a:cubicBezTo>
                  <a:pt x="1103" y="92"/>
                  <a:pt x="1103" y="92"/>
                  <a:pt x="1103" y="92"/>
                </a:cubicBezTo>
                <a:cubicBezTo>
                  <a:pt x="1103" y="92"/>
                  <a:pt x="1103" y="92"/>
                  <a:pt x="1103" y="92"/>
                </a:cubicBezTo>
                <a:cubicBezTo>
                  <a:pt x="1102" y="93"/>
                  <a:pt x="1102" y="93"/>
                  <a:pt x="1102" y="93"/>
                </a:cubicBezTo>
                <a:cubicBezTo>
                  <a:pt x="1101" y="94"/>
                  <a:pt x="1101" y="94"/>
                  <a:pt x="1101" y="94"/>
                </a:cubicBezTo>
                <a:cubicBezTo>
                  <a:pt x="1100" y="96"/>
                  <a:pt x="1100" y="96"/>
                  <a:pt x="1100" y="96"/>
                </a:cubicBezTo>
                <a:cubicBezTo>
                  <a:pt x="1099" y="97"/>
                  <a:pt x="1099" y="97"/>
                  <a:pt x="1099" y="97"/>
                </a:cubicBezTo>
                <a:cubicBezTo>
                  <a:pt x="1099" y="98"/>
                  <a:pt x="1099" y="98"/>
                  <a:pt x="1099" y="98"/>
                </a:cubicBezTo>
                <a:cubicBezTo>
                  <a:pt x="1099" y="99"/>
                  <a:pt x="1099" y="99"/>
                  <a:pt x="1099" y="99"/>
                </a:cubicBezTo>
                <a:cubicBezTo>
                  <a:pt x="1101" y="99"/>
                  <a:pt x="1101" y="99"/>
                  <a:pt x="1101" y="99"/>
                </a:cubicBezTo>
                <a:cubicBezTo>
                  <a:pt x="1102" y="99"/>
                  <a:pt x="1102" y="99"/>
                  <a:pt x="1102" y="99"/>
                </a:cubicBezTo>
                <a:cubicBezTo>
                  <a:pt x="1103" y="100"/>
                  <a:pt x="1103" y="100"/>
                  <a:pt x="1103" y="100"/>
                </a:cubicBezTo>
                <a:cubicBezTo>
                  <a:pt x="1104" y="101"/>
                  <a:pt x="1104" y="101"/>
                  <a:pt x="1104" y="101"/>
                </a:cubicBezTo>
                <a:cubicBezTo>
                  <a:pt x="1106" y="100"/>
                  <a:pt x="1106" y="100"/>
                  <a:pt x="1106" y="100"/>
                </a:cubicBezTo>
                <a:cubicBezTo>
                  <a:pt x="1107" y="99"/>
                  <a:pt x="1107" y="99"/>
                  <a:pt x="1107" y="99"/>
                </a:cubicBezTo>
                <a:cubicBezTo>
                  <a:pt x="1108" y="99"/>
                  <a:pt x="1108" y="99"/>
                  <a:pt x="1108" y="99"/>
                </a:cubicBezTo>
                <a:cubicBezTo>
                  <a:pt x="1109" y="100"/>
                  <a:pt x="1109" y="100"/>
                  <a:pt x="1109" y="100"/>
                </a:cubicBezTo>
                <a:cubicBezTo>
                  <a:pt x="1108" y="100"/>
                  <a:pt x="1108" y="100"/>
                  <a:pt x="1108" y="100"/>
                </a:cubicBezTo>
                <a:cubicBezTo>
                  <a:pt x="1106" y="102"/>
                  <a:pt x="1106" y="102"/>
                  <a:pt x="1106" y="102"/>
                </a:cubicBezTo>
                <a:cubicBezTo>
                  <a:pt x="1103" y="102"/>
                  <a:pt x="1103" y="102"/>
                  <a:pt x="1103" y="102"/>
                </a:cubicBezTo>
                <a:cubicBezTo>
                  <a:pt x="1100" y="103"/>
                  <a:pt x="1100" y="103"/>
                  <a:pt x="1100" y="103"/>
                </a:cubicBezTo>
                <a:cubicBezTo>
                  <a:pt x="1099" y="104"/>
                  <a:pt x="1099" y="104"/>
                  <a:pt x="1099" y="104"/>
                </a:cubicBezTo>
                <a:cubicBezTo>
                  <a:pt x="1098" y="104"/>
                  <a:pt x="1098" y="104"/>
                  <a:pt x="1098" y="104"/>
                </a:cubicBezTo>
                <a:cubicBezTo>
                  <a:pt x="1098" y="105"/>
                  <a:pt x="1098" y="105"/>
                  <a:pt x="1098" y="105"/>
                </a:cubicBezTo>
                <a:cubicBezTo>
                  <a:pt x="1099" y="106"/>
                  <a:pt x="1099" y="106"/>
                  <a:pt x="1099" y="106"/>
                </a:cubicBezTo>
                <a:cubicBezTo>
                  <a:pt x="1101" y="106"/>
                  <a:pt x="1101" y="106"/>
                  <a:pt x="1101" y="106"/>
                </a:cubicBezTo>
                <a:cubicBezTo>
                  <a:pt x="1102" y="106"/>
                  <a:pt x="1102" y="106"/>
                  <a:pt x="1102" y="106"/>
                </a:cubicBezTo>
                <a:cubicBezTo>
                  <a:pt x="1103" y="106"/>
                  <a:pt x="1103" y="106"/>
                  <a:pt x="1103" y="106"/>
                </a:cubicBezTo>
                <a:cubicBezTo>
                  <a:pt x="1104" y="105"/>
                  <a:pt x="1104" y="105"/>
                  <a:pt x="1104" y="105"/>
                </a:cubicBezTo>
                <a:cubicBezTo>
                  <a:pt x="1107" y="105"/>
                  <a:pt x="1107" y="105"/>
                  <a:pt x="1107" y="105"/>
                </a:cubicBezTo>
                <a:cubicBezTo>
                  <a:pt x="1107" y="105"/>
                  <a:pt x="1107" y="105"/>
                  <a:pt x="1107" y="105"/>
                </a:cubicBezTo>
                <a:cubicBezTo>
                  <a:pt x="1107" y="106"/>
                  <a:pt x="1107" y="106"/>
                  <a:pt x="1107" y="106"/>
                </a:cubicBezTo>
                <a:cubicBezTo>
                  <a:pt x="1105" y="106"/>
                  <a:pt x="1105" y="106"/>
                  <a:pt x="1105" y="106"/>
                </a:cubicBezTo>
                <a:cubicBezTo>
                  <a:pt x="1104" y="107"/>
                  <a:pt x="1104" y="107"/>
                  <a:pt x="1104" y="107"/>
                </a:cubicBezTo>
                <a:cubicBezTo>
                  <a:pt x="1103" y="107"/>
                  <a:pt x="1103" y="107"/>
                  <a:pt x="1103" y="107"/>
                </a:cubicBezTo>
                <a:cubicBezTo>
                  <a:pt x="1102" y="107"/>
                  <a:pt x="1102" y="107"/>
                  <a:pt x="1102" y="107"/>
                </a:cubicBezTo>
                <a:cubicBezTo>
                  <a:pt x="1101" y="109"/>
                  <a:pt x="1101" y="109"/>
                  <a:pt x="1101" y="109"/>
                </a:cubicBezTo>
                <a:cubicBezTo>
                  <a:pt x="1100" y="110"/>
                  <a:pt x="1100" y="110"/>
                  <a:pt x="1100" y="110"/>
                </a:cubicBezTo>
                <a:cubicBezTo>
                  <a:pt x="1099" y="111"/>
                  <a:pt x="1099" y="111"/>
                  <a:pt x="1099" y="111"/>
                </a:cubicBezTo>
                <a:cubicBezTo>
                  <a:pt x="1099" y="112"/>
                  <a:pt x="1099" y="112"/>
                  <a:pt x="1099" y="112"/>
                </a:cubicBezTo>
                <a:cubicBezTo>
                  <a:pt x="1100" y="112"/>
                  <a:pt x="1100" y="112"/>
                  <a:pt x="1100" y="112"/>
                </a:cubicBezTo>
                <a:cubicBezTo>
                  <a:pt x="1103" y="110"/>
                  <a:pt x="1103" y="110"/>
                  <a:pt x="1103" y="110"/>
                </a:cubicBezTo>
                <a:cubicBezTo>
                  <a:pt x="1104" y="109"/>
                  <a:pt x="1104" y="109"/>
                  <a:pt x="1104" y="109"/>
                </a:cubicBezTo>
                <a:cubicBezTo>
                  <a:pt x="1105" y="109"/>
                  <a:pt x="1105" y="109"/>
                  <a:pt x="1105" y="109"/>
                </a:cubicBezTo>
                <a:cubicBezTo>
                  <a:pt x="1105" y="108"/>
                  <a:pt x="1105" y="108"/>
                  <a:pt x="1105" y="108"/>
                </a:cubicBezTo>
                <a:cubicBezTo>
                  <a:pt x="1106" y="108"/>
                  <a:pt x="1106" y="108"/>
                  <a:pt x="1106" y="108"/>
                </a:cubicBezTo>
                <a:cubicBezTo>
                  <a:pt x="1107" y="110"/>
                  <a:pt x="1107" y="110"/>
                  <a:pt x="1107" y="110"/>
                </a:cubicBezTo>
                <a:cubicBezTo>
                  <a:pt x="1107" y="111"/>
                  <a:pt x="1107" y="111"/>
                  <a:pt x="1107" y="111"/>
                </a:cubicBezTo>
                <a:cubicBezTo>
                  <a:pt x="1107" y="112"/>
                  <a:pt x="1107" y="112"/>
                  <a:pt x="1107" y="112"/>
                </a:cubicBezTo>
                <a:cubicBezTo>
                  <a:pt x="1106" y="111"/>
                  <a:pt x="1106" y="111"/>
                  <a:pt x="1106" y="111"/>
                </a:cubicBezTo>
                <a:cubicBezTo>
                  <a:pt x="1105" y="110"/>
                  <a:pt x="1105" y="110"/>
                  <a:pt x="1105" y="110"/>
                </a:cubicBezTo>
                <a:cubicBezTo>
                  <a:pt x="1103" y="112"/>
                  <a:pt x="1103" y="112"/>
                  <a:pt x="1103" y="112"/>
                </a:cubicBezTo>
                <a:cubicBezTo>
                  <a:pt x="1102" y="112"/>
                  <a:pt x="1102" y="112"/>
                  <a:pt x="1102" y="112"/>
                </a:cubicBezTo>
                <a:cubicBezTo>
                  <a:pt x="1102" y="113"/>
                  <a:pt x="1102" y="113"/>
                  <a:pt x="1102" y="113"/>
                </a:cubicBezTo>
                <a:cubicBezTo>
                  <a:pt x="1104" y="114"/>
                  <a:pt x="1104" y="114"/>
                  <a:pt x="1104" y="114"/>
                </a:cubicBezTo>
                <a:cubicBezTo>
                  <a:pt x="1106" y="113"/>
                  <a:pt x="1106" y="113"/>
                  <a:pt x="1106" y="113"/>
                </a:cubicBezTo>
                <a:cubicBezTo>
                  <a:pt x="1107" y="113"/>
                  <a:pt x="1107" y="113"/>
                  <a:pt x="1107" y="113"/>
                </a:cubicBezTo>
                <a:cubicBezTo>
                  <a:pt x="1108" y="113"/>
                  <a:pt x="1108" y="113"/>
                  <a:pt x="1108" y="113"/>
                </a:cubicBezTo>
                <a:cubicBezTo>
                  <a:pt x="1109" y="115"/>
                  <a:pt x="1109" y="115"/>
                  <a:pt x="1109" y="115"/>
                </a:cubicBezTo>
                <a:cubicBezTo>
                  <a:pt x="1109" y="116"/>
                  <a:pt x="1109" y="116"/>
                  <a:pt x="1109" y="116"/>
                </a:cubicBezTo>
                <a:cubicBezTo>
                  <a:pt x="1108" y="116"/>
                  <a:pt x="1108" y="116"/>
                  <a:pt x="1108" y="116"/>
                </a:cubicBezTo>
                <a:cubicBezTo>
                  <a:pt x="1104" y="115"/>
                  <a:pt x="1104" y="115"/>
                  <a:pt x="1104" y="115"/>
                </a:cubicBezTo>
                <a:cubicBezTo>
                  <a:pt x="1102" y="114"/>
                  <a:pt x="1102" y="114"/>
                  <a:pt x="1102" y="114"/>
                </a:cubicBezTo>
                <a:cubicBezTo>
                  <a:pt x="1102" y="115"/>
                  <a:pt x="1102" y="115"/>
                  <a:pt x="1102" y="115"/>
                </a:cubicBezTo>
                <a:cubicBezTo>
                  <a:pt x="1102" y="116"/>
                  <a:pt x="1102" y="116"/>
                  <a:pt x="1102" y="116"/>
                </a:cubicBezTo>
                <a:cubicBezTo>
                  <a:pt x="1104" y="117"/>
                  <a:pt x="1104" y="117"/>
                  <a:pt x="1104" y="117"/>
                </a:cubicBezTo>
                <a:cubicBezTo>
                  <a:pt x="1106" y="120"/>
                  <a:pt x="1106" y="120"/>
                  <a:pt x="1106" y="120"/>
                </a:cubicBezTo>
                <a:cubicBezTo>
                  <a:pt x="1107" y="121"/>
                  <a:pt x="1107" y="121"/>
                  <a:pt x="1107" y="121"/>
                </a:cubicBezTo>
                <a:cubicBezTo>
                  <a:pt x="1106" y="121"/>
                  <a:pt x="1106" y="121"/>
                  <a:pt x="1106" y="121"/>
                </a:cubicBezTo>
                <a:cubicBezTo>
                  <a:pt x="1105" y="120"/>
                  <a:pt x="1105" y="120"/>
                  <a:pt x="1105" y="120"/>
                </a:cubicBezTo>
                <a:cubicBezTo>
                  <a:pt x="1104" y="119"/>
                  <a:pt x="1104" y="119"/>
                  <a:pt x="1104" y="119"/>
                </a:cubicBezTo>
                <a:cubicBezTo>
                  <a:pt x="1104" y="120"/>
                  <a:pt x="1104" y="120"/>
                  <a:pt x="1104" y="120"/>
                </a:cubicBezTo>
                <a:cubicBezTo>
                  <a:pt x="1104" y="121"/>
                  <a:pt x="1104" y="121"/>
                  <a:pt x="1104" y="121"/>
                </a:cubicBezTo>
                <a:cubicBezTo>
                  <a:pt x="1106" y="123"/>
                  <a:pt x="1106" y="123"/>
                  <a:pt x="1106" y="123"/>
                </a:cubicBezTo>
                <a:cubicBezTo>
                  <a:pt x="1109" y="125"/>
                  <a:pt x="1109" y="125"/>
                  <a:pt x="1109" y="125"/>
                </a:cubicBezTo>
                <a:cubicBezTo>
                  <a:pt x="1109" y="126"/>
                  <a:pt x="1109" y="126"/>
                  <a:pt x="1109" y="126"/>
                </a:cubicBezTo>
                <a:cubicBezTo>
                  <a:pt x="1107" y="126"/>
                  <a:pt x="1107" y="126"/>
                  <a:pt x="1107" y="126"/>
                </a:cubicBezTo>
                <a:cubicBezTo>
                  <a:pt x="1107" y="127"/>
                  <a:pt x="1107" y="127"/>
                  <a:pt x="1107" y="127"/>
                </a:cubicBezTo>
                <a:cubicBezTo>
                  <a:pt x="1106" y="127"/>
                  <a:pt x="1106" y="127"/>
                  <a:pt x="1106" y="127"/>
                </a:cubicBezTo>
                <a:cubicBezTo>
                  <a:pt x="1105" y="125"/>
                  <a:pt x="1105" y="125"/>
                  <a:pt x="1105" y="125"/>
                </a:cubicBezTo>
                <a:cubicBezTo>
                  <a:pt x="1104" y="125"/>
                  <a:pt x="1104" y="125"/>
                  <a:pt x="1104" y="125"/>
                </a:cubicBezTo>
                <a:cubicBezTo>
                  <a:pt x="1104" y="126"/>
                  <a:pt x="1104" y="126"/>
                  <a:pt x="1104" y="126"/>
                </a:cubicBezTo>
                <a:cubicBezTo>
                  <a:pt x="1106" y="128"/>
                  <a:pt x="1106" y="128"/>
                  <a:pt x="1106" y="128"/>
                </a:cubicBezTo>
                <a:cubicBezTo>
                  <a:pt x="1107" y="129"/>
                  <a:pt x="1107" y="129"/>
                  <a:pt x="1107" y="129"/>
                </a:cubicBezTo>
                <a:cubicBezTo>
                  <a:pt x="1108" y="129"/>
                  <a:pt x="1108" y="129"/>
                  <a:pt x="1108" y="129"/>
                </a:cubicBezTo>
                <a:cubicBezTo>
                  <a:pt x="1109" y="128"/>
                  <a:pt x="1109" y="128"/>
                  <a:pt x="1109" y="128"/>
                </a:cubicBezTo>
                <a:cubicBezTo>
                  <a:pt x="1110" y="129"/>
                  <a:pt x="1110" y="129"/>
                  <a:pt x="1110" y="129"/>
                </a:cubicBezTo>
                <a:cubicBezTo>
                  <a:pt x="1109" y="130"/>
                  <a:pt x="1109" y="130"/>
                  <a:pt x="1109" y="130"/>
                </a:cubicBezTo>
                <a:cubicBezTo>
                  <a:pt x="1108" y="131"/>
                  <a:pt x="1108" y="131"/>
                  <a:pt x="1108" y="131"/>
                </a:cubicBezTo>
                <a:cubicBezTo>
                  <a:pt x="1106" y="130"/>
                  <a:pt x="1106" y="130"/>
                  <a:pt x="1106" y="130"/>
                </a:cubicBezTo>
                <a:cubicBezTo>
                  <a:pt x="1104" y="129"/>
                  <a:pt x="1104" y="129"/>
                  <a:pt x="1104" y="129"/>
                </a:cubicBezTo>
                <a:cubicBezTo>
                  <a:pt x="1102" y="127"/>
                  <a:pt x="1102" y="127"/>
                  <a:pt x="1102" y="127"/>
                </a:cubicBezTo>
                <a:cubicBezTo>
                  <a:pt x="1101" y="126"/>
                  <a:pt x="1101" y="126"/>
                  <a:pt x="1101" y="126"/>
                </a:cubicBezTo>
                <a:cubicBezTo>
                  <a:pt x="1100" y="122"/>
                  <a:pt x="1100" y="122"/>
                  <a:pt x="1100" y="122"/>
                </a:cubicBezTo>
                <a:cubicBezTo>
                  <a:pt x="1099" y="121"/>
                  <a:pt x="1099" y="121"/>
                  <a:pt x="1099" y="121"/>
                </a:cubicBezTo>
                <a:cubicBezTo>
                  <a:pt x="1098" y="120"/>
                  <a:pt x="1098" y="120"/>
                  <a:pt x="1098" y="120"/>
                </a:cubicBezTo>
                <a:cubicBezTo>
                  <a:pt x="1096" y="120"/>
                  <a:pt x="1096" y="120"/>
                  <a:pt x="1096" y="120"/>
                </a:cubicBezTo>
                <a:cubicBezTo>
                  <a:pt x="1095" y="119"/>
                  <a:pt x="1095" y="119"/>
                  <a:pt x="1095" y="119"/>
                </a:cubicBezTo>
                <a:cubicBezTo>
                  <a:pt x="1093" y="119"/>
                  <a:pt x="1093" y="119"/>
                  <a:pt x="1093" y="119"/>
                </a:cubicBezTo>
                <a:cubicBezTo>
                  <a:pt x="1092" y="118"/>
                  <a:pt x="1092" y="118"/>
                  <a:pt x="1092" y="118"/>
                </a:cubicBezTo>
                <a:cubicBezTo>
                  <a:pt x="1091" y="118"/>
                  <a:pt x="1091" y="118"/>
                  <a:pt x="1091" y="118"/>
                </a:cubicBezTo>
                <a:cubicBezTo>
                  <a:pt x="1089" y="118"/>
                  <a:pt x="1089" y="118"/>
                  <a:pt x="1089" y="118"/>
                </a:cubicBezTo>
                <a:cubicBezTo>
                  <a:pt x="1087" y="116"/>
                  <a:pt x="1087" y="116"/>
                  <a:pt x="1087" y="116"/>
                </a:cubicBezTo>
                <a:cubicBezTo>
                  <a:pt x="1085" y="116"/>
                  <a:pt x="1085" y="116"/>
                  <a:pt x="1085" y="116"/>
                </a:cubicBezTo>
                <a:cubicBezTo>
                  <a:pt x="1084" y="116"/>
                  <a:pt x="1084" y="116"/>
                  <a:pt x="1084" y="116"/>
                </a:cubicBezTo>
                <a:cubicBezTo>
                  <a:pt x="1083" y="116"/>
                  <a:pt x="1083" y="116"/>
                  <a:pt x="1083" y="116"/>
                </a:cubicBezTo>
                <a:cubicBezTo>
                  <a:pt x="1081" y="116"/>
                  <a:pt x="1081" y="116"/>
                  <a:pt x="1081" y="116"/>
                </a:cubicBezTo>
                <a:cubicBezTo>
                  <a:pt x="1079" y="118"/>
                  <a:pt x="1079" y="118"/>
                  <a:pt x="1079" y="118"/>
                </a:cubicBezTo>
                <a:cubicBezTo>
                  <a:pt x="1079" y="119"/>
                  <a:pt x="1079" y="119"/>
                  <a:pt x="1079" y="119"/>
                </a:cubicBezTo>
                <a:cubicBezTo>
                  <a:pt x="1080" y="120"/>
                  <a:pt x="1080" y="120"/>
                  <a:pt x="1080" y="120"/>
                </a:cubicBezTo>
                <a:cubicBezTo>
                  <a:pt x="1081" y="121"/>
                  <a:pt x="1081" y="121"/>
                  <a:pt x="1081" y="121"/>
                </a:cubicBezTo>
                <a:cubicBezTo>
                  <a:pt x="1082" y="124"/>
                  <a:pt x="1082" y="124"/>
                  <a:pt x="1082" y="124"/>
                </a:cubicBezTo>
                <a:cubicBezTo>
                  <a:pt x="1082" y="125"/>
                  <a:pt x="1082" y="125"/>
                  <a:pt x="1082" y="125"/>
                </a:cubicBezTo>
                <a:cubicBezTo>
                  <a:pt x="1084" y="127"/>
                  <a:pt x="1084" y="127"/>
                  <a:pt x="1084" y="127"/>
                </a:cubicBezTo>
                <a:cubicBezTo>
                  <a:pt x="1086" y="128"/>
                  <a:pt x="1086" y="128"/>
                  <a:pt x="1086" y="128"/>
                </a:cubicBezTo>
                <a:cubicBezTo>
                  <a:pt x="1090" y="129"/>
                  <a:pt x="1090" y="129"/>
                  <a:pt x="1090" y="129"/>
                </a:cubicBezTo>
                <a:cubicBezTo>
                  <a:pt x="1092" y="131"/>
                  <a:pt x="1092" y="131"/>
                  <a:pt x="1092" y="131"/>
                </a:cubicBezTo>
                <a:cubicBezTo>
                  <a:pt x="1093" y="133"/>
                  <a:pt x="1093" y="133"/>
                  <a:pt x="1093" y="133"/>
                </a:cubicBezTo>
                <a:cubicBezTo>
                  <a:pt x="1093" y="134"/>
                  <a:pt x="1093" y="134"/>
                  <a:pt x="1093" y="134"/>
                </a:cubicBezTo>
                <a:cubicBezTo>
                  <a:pt x="1094" y="134"/>
                  <a:pt x="1094" y="134"/>
                  <a:pt x="1094" y="134"/>
                </a:cubicBezTo>
                <a:cubicBezTo>
                  <a:pt x="1096" y="134"/>
                  <a:pt x="1096" y="134"/>
                  <a:pt x="1096" y="134"/>
                </a:cubicBezTo>
                <a:cubicBezTo>
                  <a:pt x="1097" y="136"/>
                  <a:pt x="1097" y="136"/>
                  <a:pt x="1097" y="136"/>
                </a:cubicBezTo>
                <a:cubicBezTo>
                  <a:pt x="1099" y="136"/>
                  <a:pt x="1099" y="136"/>
                  <a:pt x="1099" y="136"/>
                </a:cubicBezTo>
                <a:cubicBezTo>
                  <a:pt x="1100" y="136"/>
                  <a:pt x="1100" y="136"/>
                  <a:pt x="1100" y="136"/>
                </a:cubicBezTo>
                <a:cubicBezTo>
                  <a:pt x="1101" y="137"/>
                  <a:pt x="1101" y="137"/>
                  <a:pt x="1101" y="137"/>
                </a:cubicBezTo>
                <a:cubicBezTo>
                  <a:pt x="1102" y="137"/>
                  <a:pt x="1102" y="137"/>
                  <a:pt x="1102" y="137"/>
                </a:cubicBezTo>
                <a:cubicBezTo>
                  <a:pt x="1103" y="136"/>
                  <a:pt x="1103" y="136"/>
                  <a:pt x="1103" y="136"/>
                </a:cubicBezTo>
                <a:cubicBezTo>
                  <a:pt x="1104" y="137"/>
                  <a:pt x="1104" y="137"/>
                  <a:pt x="1104" y="137"/>
                </a:cubicBezTo>
                <a:cubicBezTo>
                  <a:pt x="1106" y="137"/>
                  <a:pt x="1106" y="137"/>
                  <a:pt x="1106" y="137"/>
                </a:cubicBezTo>
                <a:cubicBezTo>
                  <a:pt x="1108" y="136"/>
                  <a:pt x="1108" y="136"/>
                  <a:pt x="1108" y="136"/>
                </a:cubicBezTo>
                <a:cubicBezTo>
                  <a:pt x="1109" y="136"/>
                  <a:pt x="1109" y="136"/>
                  <a:pt x="1109" y="136"/>
                </a:cubicBezTo>
                <a:cubicBezTo>
                  <a:pt x="1110" y="136"/>
                  <a:pt x="1110" y="136"/>
                  <a:pt x="1110" y="136"/>
                </a:cubicBezTo>
                <a:cubicBezTo>
                  <a:pt x="1111" y="138"/>
                  <a:pt x="1111" y="138"/>
                  <a:pt x="1111" y="138"/>
                </a:cubicBezTo>
                <a:cubicBezTo>
                  <a:pt x="1109" y="138"/>
                  <a:pt x="1109" y="138"/>
                  <a:pt x="1109" y="138"/>
                </a:cubicBezTo>
                <a:cubicBezTo>
                  <a:pt x="1108" y="138"/>
                  <a:pt x="1108" y="138"/>
                  <a:pt x="1108" y="138"/>
                </a:cubicBezTo>
                <a:cubicBezTo>
                  <a:pt x="1108" y="139"/>
                  <a:pt x="1108" y="139"/>
                  <a:pt x="1108" y="139"/>
                </a:cubicBezTo>
                <a:cubicBezTo>
                  <a:pt x="1109" y="139"/>
                  <a:pt x="1109" y="139"/>
                  <a:pt x="1109" y="139"/>
                </a:cubicBezTo>
                <a:cubicBezTo>
                  <a:pt x="1110" y="140"/>
                  <a:pt x="1110" y="140"/>
                  <a:pt x="1110" y="140"/>
                </a:cubicBezTo>
                <a:cubicBezTo>
                  <a:pt x="1109" y="141"/>
                  <a:pt x="1109" y="141"/>
                  <a:pt x="1109" y="141"/>
                </a:cubicBezTo>
                <a:cubicBezTo>
                  <a:pt x="1109" y="142"/>
                  <a:pt x="1109" y="142"/>
                  <a:pt x="1109" y="142"/>
                </a:cubicBezTo>
                <a:cubicBezTo>
                  <a:pt x="1107" y="142"/>
                  <a:pt x="1107" y="142"/>
                  <a:pt x="1107" y="142"/>
                </a:cubicBezTo>
                <a:cubicBezTo>
                  <a:pt x="1107" y="143"/>
                  <a:pt x="1107" y="143"/>
                  <a:pt x="1107" y="143"/>
                </a:cubicBezTo>
                <a:cubicBezTo>
                  <a:pt x="1105" y="144"/>
                  <a:pt x="1105" y="144"/>
                  <a:pt x="1105" y="144"/>
                </a:cubicBezTo>
                <a:cubicBezTo>
                  <a:pt x="1104" y="145"/>
                  <a:pt x="1104" y="145"/>
                  <a:pt x="1104" y="145"/>
                </a:cubicBezTo>
                <a:cubicBezTo>
                  <a:pt x="1105" y="145"/>
                  <a:pt x="1105" y="145"/>
                  <a:pt x="1105" y="145"/>
                </a:cubicBezTo>
                <a:cubicBezTo>
                  <a:pt x="1106" y="145"/>
                  <a:pt x="1106" y="145"/>
                  <a:pt x="1106" y="145"/>
                </a:cubicBezTo>
                <a:cubicBezTo>
                  <a:pt x="1107" y="146"/>
                  <a:pt x="1107" y="146"/>
                  <a:pt x="1107" y="146"/>
                </a:cubicBezTo>
                <a:cubicBezTo>
                  <a:pt x="1108" y="147"/>
                  <a:pt x="1108" y="147"/>
                  <a:pt x="1108" y="147"/>
                </a:cubicBezTo>
                <a:cubicBezTo>
                  <a:pt x="1106" y="147"/>
                  <a:pt x="1106" y="147"/>
                  <a:pt x="1106" y="147"/>
                </a:cubicBezTo>
                <a:cubicBezTo>
                  <a:pt x="1105" y="147"/>
                  <a:pt x="1105" y="147"/>
                  <a:pt x="1105" y="147"/>
                </a:cubicBezTo>
                <a:cubicBezTo>
                  <a:pt x="1105" y="147"/>
                  <a:pt x="1105" y="147"/>
                  <a:pt x="1105" y="147"/>
                </a:cubicBezTo>
                <a:cubicBezTo>
                  <a:pt x="1104" y="147"/>
                  <a:pt x="1104" y="147"/>
                  <a:pt x="1104" y="147"/>
                </a:cubicBezTo>
                <a:cubicBezTo>
                  <a:pt x="1102" y="150"/>
                  <a:pt x="1102" y="150"/>
                  <a:pt x="1102" y="150"/>
                </a:cubicBezTo>
                <a:cubicBezTo>
                  <a:pt x="1101" y="150"/>
                  <a:pt x="1101" y="150"/>
                  <a:pt x="1101" y="150"/>
                </a:cubicBezTo>
                <a:cubicBezTo>
                  <a:pt x="1100" y="151"/>
                  <a:pt x="1100" y="151"/>
                  <a:pt x="1100" y="151"/>
                </a:cubicBezTo>
                <a:cubicBezTo>
                  <a:pt x="1100" y="152"/>
                  <a:pt x="1100" y="152"/>
                  <a:pt x="1100" y="152"/>
                </a:cubicBezTo>
                <a:cubicBezTo>
                  <a:pt x="1102" y="152"/>
                  <a:pt x="1102" y="152"/>
                  <a:pt x="1102" y="152"/>
                </a:cubicBezTo>
                <a:cubicBezTo>
                  <a:pt x="1103" y="152"/>
                  <a:pt x="1103" y="152"/>
                  <a:pt x="1103" y="152"/>
                </a:cubicBezTo>
                <a:cubicBezTo>
                  <a:pt x="1104" y="151"/>
                  <a:pt x="1104" y="151"/>
                  <a:pt x="1104" y="151"/>
                </a:cubicBezTo>
                <a:cubicBezTo>
                  <a:pt x="1104" y="152"/>
                  <a:pt x="1104" y="152"/>
                  <a:pt x="1104" y="152"/>
                </a:cubicBezTo>
                <a:cubicBezTo>
                  <a:pt x="1105" y="153"/>
                  <a:pt x="1105" y="153"/>
                  <a:pt x="1105" y="153"/>
                </a:cubicBezTo>
                <a:cubicBezTo>
                  <a:pt x="1106" y="153"/>
                  <a:pt x="1106" y="153"/>
                  <a:pt x="1106" y="153"/>
                </a:cubicBezTo>
                <a:cubicBezTo>
                  <a:pt x="1107" y="153"/>
                  <a:pt x="1107" y="153"/>
                  <a:pt x="1107" y="153"/>
                </a:cubicBezTo>
                <a:cubicBezTo>
                  <a:pt x="1107" y="154"/>
                  <a:pt x="1107" y="154"/>
                  <a:pt x="1107" y="154"/>
                </a:cubicBezTo>
                <a:cubicBezTo>
                  <a:pt x="1105" y="154"/>
                  <a:pt x="1105" y="154"/>
                  <a:pt x="1105" y="154"/>
                </a:cubicBezTo>
                <a:cubicBezTo>
                  <a:pt x="1103" y="155"/>
                  <a:pt x="1103" y="155"/>
                  <a:pt x="1103" y="155"/>
                </a:cubicBezTo>
                <a:cubicBezTo>
                  <a:pt x="1103" y="155"/>
                  <a:pt x="1103" y="155"/>
                  <a:pt x="1103" y="155"/>
                </a:cubicBezTo>
                <a:cubicBezTo>
                  <a:pt x="1106" y="155"/>
                  <a:pt x="1106" y="155"/>
                  <a:pt x="1106" y="155"/>
                </a:cubicBezTo>
                <a:cubicBezTo>
                  <a:pt x="1107" y="156"/>
                  <a:pt x="1107" y="156"/>
                  <a:pt x="1107" y="156"/>
                </a:cubicBezTo>
                <a:cubicBezTo>
                  <a:pt x="1107" y="157"/>
                  <a:pt x="1107" y="157"/>
                  <a:pt x="1107" y="157"/>
                </a:cubicBezTo>
                <a:cubicBezTo>
                  <a:pt x="1106" y="157"/>
                  <a:pt x="1106" y="157"/>
                  <a:pt x="1106" y="157"/>
                </a:cubicBezTo>
                <a:cubicBezTo>
                  <a:pt x="1105" y="157"/>
                  <a:pt x="1105" y="157"/>
                  <a:pt x="1105" y="157"/>
                </a:cubicBezTo>
                <a:cubicBezTo>
                  <a:pt x="1105" y="157"/>
                  <a:pt x="1105" y="157"/>
                  <a:pt x="1105" y="157"/>
                </a:cubicBezTo>
                <a:cubicBezTo>
                  <a:pt x="1104" y="157"/>
                  <a:pt x="1104" y="157"/>
                  <a:pt x="1104" y="157"/>
                </a:cubicBezTo>
                <a:cubicBezTo>
                  <a:pt x="1103" y="157"/>
                  <a:pt x="1103" y="157"/>
                  <a:pt x="1103" y="157"/>
                </a:cubicBezTo>
                <a:cubicBezTo>
                  <a:pt x="1102" y="157"/>
                  <a:pt x="1102" y="157"/>
                  <a:pt x="1102" y="157"/>
                </a:cubicBezTo>
                <a:cubicBezTo>
                  <a:pt x="1100" y="156"/>
                  <a:pt x="1100" y="156"/>
                  <a:pt x="1100" y="156"/>
                </a:cubicBezTo>
                <a:cubicBezTo>
                  <a:pt x="1100" y="155"/>
                  <a:pt x="1100" y="155"/>
                  <a:pt x="1100" y="155"/>
                </a:cubicBezTo>
                <a:cubicBezTo>
                  <a:pt x="1101" y="155"/>
                  <a:pt x="1101" y="155"/>
                  <a:pt x="1101" y="155"/>
                </a:cubicBezTo>
                <a:cubicBezTo>
                  <a:pt x="1100" y="153"/>
                  <a:pt x="1100" y="153"/>
                  <a:pt x="1100" y="153"/>
                </a:cubicBezTo>
                <a:cubicBezTo>
                  <a:pt x="1099" y="153"/>
                  <a:pt x="1099" y="153"/>
                  <a:pt x="1099" y="153"/>
                </a:cubicBezTo>
                <a:cubicBezTo>
                  <a:pt x="1098" y="153"/>
                  <a:pt x="1098" y="153"/>
                  <a:pt x="1098" y="153"/>
                </a:cubicBezTo>
                <a:cubicBezTo>
                  <a:pt x="1098" y="155"/>
                  <a:pt x="1098" y="155"/>
                  <a:pt x="1098" y="155"/>
                </a:cubicBezTo>
                <a:cubicBezTo>
                  <a:pt x="1097" y="158"/>
                  <a:pt x="1097" y="158"/>
                  <a:pt x="1097" y="158"/>
                </a:cubicBezTo>
                <a:cubicBezTo>
                  <a:pt x="1096" y="160"/>
                  <a:pt x="1096" y="160"/>
                  <a:pt x="1096" y="160"/>
                </a:cubicBezTo>
                <a:cubicBezTo>
                  <a:pt x="1097" y="161"/>
                  <a:pt x="1097" y="161"/>
                  <a:pt x="1097" y="161"/>
                </a:cubicBezTo>
                <a:cubicBezTo>
                  <a:pt x="1098" y="161"/>
                  <a:pt x="1098" y="161"/>
                  <a:pt x="1098" y="161"/>
                </a:cubicBezTo>
                <a:cubicBezTo>
                  <a:pt x="1099" y="160"/>
                  <a:pt x="1099" y="160"/>
                  <a:pt x="1099" y="160"/>
                </a:cubicBezTo>
                <a:cubicBezTo>
                  <a:pt x="1100" y="160"/>
                  <a:pt x="1100" y="160"/>
                  <a:pt x="1100" y="160"/>
                </a:cubicBezTo>
                <a:cubicBezTo>
                  <a:pt x="1099" y="161"/>
                  <a:pt x="1099" y="161"/>
                  <a:pt x="1099" y="161"/>
                </a:cubicBezTo>
                <a:cubicBezTo>
                  <a:pt x="1098" y="162"/>
                  <a:pt x="1098" y="162"/>
                  <a:pt x="1098" y="162"/>
                </a:cubicBezTo>
                <a:cubicBezTo>
                  <a:pt x="1097" y="163"/>
                  <a:pt x="1097" y="163"/>
                  <a:pt x="1097" y="163"/>
                </a:cubicBezTo>
                <a:cubicBezTo>
                  <a:pt x="1096" y="163"/>
                  <a:pt x="1096" y="163"/>
                  <a:pt x="1096" y="163"/>
                </a:cubicBezTo>
                <a:cubicBezTo>
                  <a:pt x="1096" y="164"/>
                  <a:pt x="1096" y="164"/>
                  <a:pt x="1096" y="164"/>
                </a:cubicBezTo>
                <a:cubicBezTo>
                  <a:pt x="1094" y="164"/>
                  <a:pt x="1094" y="164"/>
                  <a:pt x="1094" y="164"/>
                </a:cubicBezTo>
                <a:cubicBezTo>
                  <a:pt x="1092" y="164"/>
                  <a:pt x="1092" y="164"/>
                  <a:pt x="1092" y="164"/>
                </a:cubicBezTo>
                <a:cubicBezTo>
                  <a:pt x="1090" y="164"/>
                  <a:pt x="1090" y="164"/>
                  <a:pt x="1090" y="164"/>
                </a:cubicBezTo>
                <a:cubicBezTo>
                  <a:pt x="1090" y="164"/>
                  <a:pt x="1090" y="164"/>
                  <a:pt x="1090" y="164"/>
                </a:cubicBezTo>
                <a:cubicBezTo>
                  <a:pt x="1087" y="164"/>
                  <a:pt x="1087" y="164"/>
                  <a:pt x="1087" y="164"/>
                </a:cubicBezTo>
                <a:cubicBezTo>
                  <a:pt x="1086" y="164"/>
                  <a:pt x="1086" y="164"/>
                  <a:pt x="1086" y="164"/>
                </a:cubicBezTo>
                <a:cubicBezTo>
                  <a:pt x="1084" y="165"/>
                  <a:pt x="1084" y="165"/>
                  <a:pt x="1084" y="165"/>
                </a:cubicBezTo>
                <a:cubicBezTo>
                  <a:pt x="1081" y="166"/>
                  <a:pt x="1081" y="166"/>
                  <a:pt x="1081" y="166"/>
                </a:cubicBezTo>
                <a:cubicBezTo>
                  <a:pt x="1082" y="166"/>
                  <a:pt x="1082" y="166"/>
                  <a:pt x="1082" y="166"/>
                </a:cubicBezTo>
                <a:cubicBezTo>
                  <a:pt x="1084" y="166"/>
                  <a:pt x="1084" y="166"/>
                  <a:pt x="1084" y="166"/>
                </a:cubicBezTo>
                <a:cubicBezTo>
                  <a:pt x="1085" y="166"/>
                  <a:pt x="1085" y="166"/>
                  <a:pt x="1085" y="166"/>
                </a:cubicBezTo>
                <a:cubicBezTo>
                  <a:pt x="1084" y="167"/>
                  <a:pt x="1084" y="167"/>
                  <a:pt x="1084" y="167"/>
                </a:cubicBezTo>
                <a:cubicBezTo>
                  <a:pt x="1083" y="167"/>
                  <a:pt x="1083" y="167"/>
                  <a:pt x="1083" y="167"/>
                </a:cubicBezTo>
                <a:cubicBezTo>
                  <a:pt x="1083" y="168"/>
                  <a:pt x="1083" y="168"/>
                  <a:pt x="1083" y="168"/>
                </a:cubicBezTo>
                <a:cubicBezTo>
                  <a:pt x="1085" y="169"/>
                  <a:pt x="1085" y="169"/>
                  <a:pt x="1085" y="169"/>
                </a:cubicBezTo>
                <a:cubicBezTo>
                  <a:pt x="1086" y="170"/>
                  <a:pt x="1086" y="170"/>
                  <a:pt x="1086" y="170"/>
                </a:cubicBezTo>
                <a:cubicBezTo>
                  <a:pt x="1087" y="170"/>
                  <a:pt x="1087" y="170"/>
                  <a:pt x="1087" y="170"/>
                </a:cubicBezTo>
                <a:cubicBezTo>
                  <a:pt x="1089" y="170"/>
                  <a:pt x="1089" y="170"/>
                  <a:pt x="1089" y="170"/>
                </a:cubicBezTo>
                <a:cubicBezTo>
                  <a:pt x="1090" y="170"/>
                  <a:pt x="1090" y="170"/>
                  <a:pt x="1090" y="170"/>
                </a:cubicBezTo>
                <a:cubicBezTo>
                  <a:pt x="1092" y="170"/>
                  <a:pt x="1092" y="170"/>
                  <a:pt x="1092" y="170"/>
                </a:cubicBezTo>
                <a:cubicBezTo>
                  <a:pt x="1093" y="169"/>
                  <a:pt x="1093" y="169"/>
                  <a:pt x="1093" y="169"/>
                </a:cubicBezTo>
                <a:cubicBezTo>
                  <a:pt x="1091" y="168"/>
                  <a:pt x="1091" y="168"/>
                  <a:pt x="1091" y="168"/>
                </a:cubicBezTo>
                <a:cubicBezTo>
                  <a:pt x="1091" y="167"/>
                  <a:pt x="1091" y="167"/>
                  <a:pt x="1091" y="167"/>
                </a:cubicBezTo>
                <a:cubicBezTo>
                  <a:pt x="1091" y="167"/>
                  <a:pt x="1091" y="167"/>
                  <a:pt x="1091" y="167"/>
                </a:cubicBezTo>
                <a:cubicBezTo>
                  <a:pt x="1094" y="167"/>
                  <a:pt x="1094" y="167"/>
                  <a:pt x="1094" y="167"/>
                </a:cubicBezTo>
                <a:cubicBezTo>
                  <a:pt x="1095" y="166"/>
                  <a:pt x="1095" y="166"/>
                  <a:pt x="1095" y="166"/>
                </a:cubicBezTo>
                <a:cubicBezTo>
                  <a:pt x="1097" y="166"/>
                  <a:pt x="1097" y="166"/>
                  <a:pt x="1097" y="166"/>
                </a:cubicBezTo>
                <a:cubicBezTo>
                  <a:pt x="1097" y="167"/>
                  <a:pt x="1097" y="167"/>
                  <a:pt x="1097" y="167"/>
                </a:cubicBezTo>
                <a:cubicBezTo>
                  <a:pt x="1096" y="167"/>
                  <a:pt x="1096" y="167"/>
                  <a:pt x="1096" y="167"/>
                </a:cubicBezTo>
                <a:cubicBezTo>
                  <a:pt x="1095" y="168"/>
                  <a:pt x="1095" y="168"/>
                  <a:pt x="1095" y="168"/>
                </a:cubicBezTo>
                <a:cubicBezTo>
                  <a:pt x="1095" y="170"/>
                  <a:pt x="1095" y="170"/>
                  <a:pt x="1095" y="170"/>
                </a:cubicBezTo>
                <a:cubicBezTo>
                  <a:pt x="1093" y="170"/>
                  <a:pt x="1093" y="170"/>
                  <a:pt x="1093" y="170"/>
                </a:cubicBezTo>
                <a:cubicBezTo>
                  <a:pt x="1093" y="171"/>
                  <a:pt x="1093" y="171"/>
                  <a:pt x="1093" y="171"/>
                </a:cubicBezTo>
                <a:cubicBezTo>
                  <a:pt x="1093" y="172"/>
                  <a:pt x="1093" y="172"/>
                  <a:pt x="1093" y="172"/>
                </a:cubicBezTo>
                <a:cubicBezTo>
                  <a:pt x="1097" y="175"/>
                  <a:pt x="1097" y="175"/>
                  <a:pt x="1097" y="175"/>
                </a:cubicBezTo>
                <a:cubicBezTo>
                  <a:pt x="1099" y="177"/>
                  <a:pt x="1099" y="177"/>
                  <a:pt x="1099" y="177"/>
                </a:cubicBezTo>
                <a:cubicBezTo>
                  <a:pt x="1099" y="178"/>
                  <a:pt x="1099" y="178"/>
                  <a:pt x="1099" y="178"/>
                </a:cubicBezTo>
                <a:cubicBezTo>
                  <a:pt x="1097" y="178"/>
                  <a:pt x="1097" y="178"/>
                  <a:pt x="1097" y="178"/>
                </a:cubicBezTo>
                <a:cubicBezTo>
                  <a:pt x="1097" y="177"/>
                  <a:pt x="1097" y="177"/>
                  <a:pt x="1097" y="177"/>
                </a:cubicBezTo>
                <a:cubicBezTo>
                  <a:pt x="1095" y="176"/>
                  <a:pt x="1095" y="176"/>
                  <a:pt x="1095" y="176"/>
                </a:cubicBezTo>
                <a:cubicBezTo>
                  <a:pt x="1093" y="175"/>
                  <a:pt x="1093" y="175"/>
                  <a:pt x="1093" y="175"/>
                </a:cubicBezTo>
                <a:cubicBezTo>
                  <a:pt x="1092" y="174"/>
                  <a:pt x="1092" y="174"/>
                  <a:pt x="1092" y="174"/>
                </a:cubicBezTo>
                <a:cubicBezTo>
                  <a:pt x="1090" y="174"/>
                  <a:pt x="1090" y="174"/>
                  <a:pt x="1090" y="174"/>
                </a:cubicBezTo>
                <a:cubicBezTo>
                  <a:pt x="1090" y="175"/>
                  <a:pt x="1090" y="175"/>
                  <a:pt x="1090" y="175"/>
                </a:cubicBezTo>
                <a:cubicBezTo>
                  <a:pt x="1088" y="175"/>
                  <a:pt x="1088" y="175"/>
                  <a:pt x="1088" y="175"/>
                </a:cubicBezTo>
                <a:cubicBezTo>
                  <a:pt x="1085" y="173"/>
                  <a:pt x="1085" y="173"/>
                  <a:pt x="1085" y="173"/>
                </a:cubicBezTo>
                <a:cubicBezTo>
                  <a:pt x="1084" y="172"/>
                  <a:pt x="1084" y="172"/>
                  <a:pt x="1084" y="172"/>
                </a:cubicBezTo>
                <a:cubicBezTo>
                  <a:pt x="1083" y="170"/>
                  <a:pt x="1083" y="170"/>
                  <a:pt x="1083" y="170"/>
                </a:cubicBezTo>
                <a:cubicBezTo>
                  <a:pt x="1083" y="170"/>
                  <a:pt x="1083" y="170"/>
                  <a:pt x="1083" y="170"/>
                </a:cubicBezTo>
                <a:cubicBezTo>
                  <a:pt x="1083" y="172"/>
                  <a:pt x="1083" y="172"/>
                  <a:pt x="1083" y="172"/>
                </a:cubicBezTo>
                <a:cubicBezTo>
                  <a:pt x="1084" y="173"/>
                  <a:pt x="1084" y="173"/>
                  <a:pt x="1084" y="173"/>
                </a:cubicBezTo>
                <a:cubicBezTo>
                  <a:pt x="1083" y="174"/>
                  <a:pt x="1083" y="174"/>
                  <a:pt x="1083" y="174"/>
                </a:cubicBezTo>
                <a:cubicBezTo>
                  <a:pt x="1082" y="172"/>
                  <a:pt x="1082" y="172"/>
                  <a:pt x="1082" y="172"/>
                </a:cubicBezTo>
                <a:cubicBezTo>
                  <a:pt x="1080" y="170"/>
                  <a:pt x="1080" y="170"/>
                  <a:pt x="1080" y="170"/>
                </a:cubicBezTo>
                <a:cubicBezTo>
                  <a:pt x="1077" y="169"/>
                  <a:pt x="1077" y="169"/>
                  <a:pt x="1077" y="169"/>
                </a:cubicBezTo>
                <a:cubicBezTo>
                  <a:pt x="1077" y="169"/>
                  <a:pt x="1077" y="169"/>
                  <a:pt x="1077" y="169"/>
                </a:cubicBezTo>
                <a:cubicBezTo>
                  <a:pt x="1077" y="170"/>
                  <a:pt x="1077" y="170"/>
                  <a:pt x="1077" y="170"/>
                </a:cubicBezTo>
                <a:cubicBezTo>
                  <a:pt x="1078" y="171"/>
                  <a:pt x="1078" y="171"/>
                  <a:pt x="1078" y="171"/>
                </a:cubicBezTo>
                <a:cubicBezTo>
                  <a:pt x="1078" y="172"/>
                  <a:pt x="1078" y="172"/>
                  <a:pt x="1078" y="172"/>
                </a:cubicBezTo>
                <a:cubicBezTo>
                  <a:pt x="1081" y="174"/>
                  <a:pt x="1081" y="174"/>
                  <a:pt x="1081" y="174"/>
                </a:cubicBezTo>
                <a:cubicBezTo>
                  <a:pt x="1082" y="175"/>
                  <a:pt x="1082" y="175"/>
                  <a:pt x="1082" y="175"/>
                </a:cubicBezTo>
                <a:cubicBezTo>
                  <a:pt x="1083" y="175"/>
                  <a:pt x="1083" y="175"/>
                  <a:pt x="1083" y="175"/>
                </a:cubicBezTo>
                <a:cubicBezTo>
                  <a:pt x="1084" y="175"/>
                  <a:pt x="1084" y="175"/>
                  <a:pt x="1084" y="175"/>
                </a:cubicBezTo>
                <a:cubicBezTo>
                  <a:pt x="1085" y="176"/>
                  <a:pt x="1085" y="176"/>
                  <a:pt x="1085" y="176"/>
                </a:cubicBezTo>
                <a:cubicBezTo>
                  <a:pt x="1082" y="176"/>
                  <a:pt x="1082" y="176"/>
                  <a:pt x="1082" y="176"/>
                </a:cubicBezTo>
                <a:cubicBezTo>
                  <a:pt x="1080" y="175"/>
                  <a:pt x="1080" y="175"/>
                  <a:pt x="1080" y="175"/>
                </a:cubicBezTo>
                <a:cubicBezTo>
                  <a:pt x="1078" y="174"/>
                  <a:pt x="1078" y="174"/>
                  <a:pt x="1078" y="174"/>
                </a:cubicBezTo>
                <a:cubicBezTo>
                  <a:pt x="1077" y="174"/>
                  <a:pt x="1077" y="174"/>
                  <a:pt x="1077" y="174"/>
                </a:cubicBezTo>
                <a:cubicBezTo>
                  <a:pt x="1077" y="175"/>
                  <a:pt x="1077" y="175"/>
                  <a:pt x="1077" y="175"/>
                </a:cubicBezTo>
                <a:cubicBezTo>
                  <a:pt x="1077" y="176"/>
                  <a:pt x="1077" y="176"/>
                  <a:pt x="1077" y="176"/>
                </a:cubicBezTo>
                <a:cubicBezTo>
                  <a:pt x="1076" y="177"/>
                  <a:pt x="1076" y="177"/>
                  <a:pt x="1076" y="177"/>
                </a:cubicBezTo>
                <a:cubicBezTo>
                  <a:pt x="1075" y="177"/>
                  <a:pt x="1075" y="177"/>
                  <a:pt x="1075" y="177"/>
                </a:cubicBezTo>
                <a:cubicBezTo>
                  <a:pt x="1075" y="178"/>
                  <a:pt x="1075" y="178"/>
                  <a:pt x="1075" y="178"/>
                </a:cubicBezTo>
                <a:cubicBezTo>
                  <a:pt x="1074" y="179"/>
                  <a:pt x="1074" y="179"/>
                  <a:pt x="1074" y="179"/>
                </a:cubicBezTo>
                <a:cubicBezTo>
                  <a:pt x="1074" y="179"/>
                  <a:pt x="1074" y="179"/>
                  <a:pt x="1074" y="179"/>
                </a:cubicBezTo>
                <a:cubicBezTo>
                  <a:pt x="1071" y="182"/>
                  <a:pt x="1071" y="182"/>
                  <a:pt x="1071" y="182"/>
                </a:cubicBezTo>
                <a:cubicBezTo>
                  <a:pt x="1071" y="183"/>
                  <a:pt x="1071" y="183"/>
                  <a:pt x="1071" y="183"/>
                </a:cubicBezTo>
                <a:cubicBezTo>
                  <a:pt x="1072" y="183"/>
                  <a:pt x="1072" y="183"/>
                  <a:pt x="1072" y="183"/>
                </a:cubicBezTo>
                <a:cubicBezTo>
                  <a:pt x="1073" y="183"/>
                  <a:pt x="1073" y="183"/>
                  <a:pt x="1073" y="183"/>
                </a:cubicBezTo>
                <a:cubicBezTo>
                  <a:pt x="1075" y="180"/>
                  <a:pt x="1075" y="180"/>
                  <a:pt x="1075" y="180"/>
                </a:cubicBezTo>
                <a:cubicBezTo>
                  <a:pt x="1077" y="179"/>
                  <a:pt x="1077" y="179"/>
                  <a:pt x="1077" y="179"/>
                </a:cubicBezTo>
                <a:cubicBezTo>
                  <a:pt x="1078" y="179"/>
                  <a:pt x="1078" y="179"/>
                  <a:pt x="1078" y="179"/>
                </a:cubicBezTo>
                <a:cubicBezTo>
                  <a:pt x="1081" y="179"/>
                  <a:pt x="1081" y="179"/>
                  <a:pt x="1081" y="179"/>
                </a:cubicBezTo>
                <a:cubicBezTo>
                  <a:pt x="1081" y="178"/>
                  <a:pt x="1081" y="178"/>
                  <a:pt x="1081" y="178"/>
                </a:cubicBezTo>
                <a:cubicBezTo>
                  <a:pt x="1082" y="178"/>
                  <a:pt x="1082" y="178"/>
                  <a:pt x="1082" y="178"/>
                </a:cubicBezTo>
                <a:cubicBezTo>
                  <a:pt x="1082" y="179"/>
                  <a:pt x="1082" y="179"/>
                  <a:pt x="1082" y="179"/>
                </a:cubicBezTo>
                <a:cubicBezTo>
                  <a:pt x="1083" y="180"/>
                  <a:pt x="1083" y="180"/>
                  <a:pt x="1083" y="180"/>
                </a:cubicBezTo>
                <a:cubicBezTo>
                  <a:pt x="1085" y="180"/>
                  <a:pt x="1085" y="180"/>
                  <a:pt x="1085" y="180"/>
                </a:cubicBezTo>
                <a:cubicBezTo>
                  <a:pt x="1087" y="182"/>
                  <a:pt x="1087" y="182"/>
                  <a:pt x="1087" y="182"/>
                </a:cubicBezTo>
                <a:cubicBezTo>
                  <a:pt x="1088" y="182"/>
                  <a:pt x="1088" y="182"/>
                  <a:pt x="1088" y="182"/>
                </a:cubicBezTo>
                <a:cubicBezTo>
                  <a:pt x="1089" y="181"/>
                  <a:pt x="1089" y="181"/>
                  <a:pt x="1089" y="181"/>
                </a:cubicBezTo>
                <a:cubicBezTo>
                  <a:pt x="1090" y="180"/>
                  <a:pt x="1090" y="180"/>
                  <a:pt x="1090" y="180"/>
                </a:cubicBezTo>
                <a:cubicBezTo>
                  <a:pt x="1090" y="179"/>
                  <a:pt x="1090" y="179"/>
                  <a:pt x="1090" y="179"/>
                </a:cubicBezTo>
                <a:cubicBezTo>
                  <a:pt x="1090" y="178"/>
                  <a:pt x="1090" y="178"/>
                  <a:pt x="1090" y="178"/>
                </a:cubicBezTo>
                <a:cubicBezTo>
                  <a:pt x="1090" y="177"/>
                  <a:pt x="1090" y="177"/>
                  <a:pt x="1090" y="177"/>
                </a:cubicBezTo>
                <a:cubicBezTo>
                  <a:pt x="1091" y="177"/>
                  <a:pt x="1091" y="177"/>
                  <a:pt x="1091" y="177"/>
                </a:cubicBezTo>
                <a:cubicBezTo>
                  <a:pt x="1092" y="177"/>
                  <a:pt x="1092" y="177"/>
                  <a:pt x="1092" y="177"/>
                </a:cubicBezTo>
                <a:cubicBezTo>
                  <a:pt x="1092" y="177"/>
                  <a:pt x="1092" y="177"/>
                  <a:pt x="1092" y="177"/>
                </a:cubicBezTo>
                <a:cubicBezTo>
                  <a:pt x="1093" y="177"/>
                  <a:pt x="1093" y="177"/>
                  <a:pt x="1093" y="177"/>
                </a:cubicBezTo>
                <a:cubicBezTo>
                  <a:pt x="1094" y="178"/>
                  <a:pt x="1094" y="178"/>
                  <a:pt x="1094" y="178"/>
                </a:cubicBezTo>
                <a:cubicBezTo>
                  <a:pt x="1094" y="179"/>
                  <a:pt x="1094" y="179"/>
                  <a:pt x="1094" y="179"/>
                </a:cubicBezTo>
                <a:cubicBezTo>
                  <a:pt x="1093" y="178"/>
                  <a:pt x="1093" y="178"/>
                  <a:pt x="1093" y="178"/>
                </a:cubicBezTo>
                <a:cubicBezTo>
                  <a:pt x="1092" y="179"/>
                  <a:pt x="1092" y="179"/>
                  <a:pt x="1092" y="179"/>
                </a:cubicBezTo>
                <a:cubicBezTo>
                  <a:pt x="1092" y="180"/>
                  <a:pt x="1092" y="180"/>
                  <a:pt x="1092" y="180"/>
                </a:cubicBezTo>
                <a:cubicBezTo>
                  <a:pt x="1093" y="181"/>
                  <a:pt x="1093" y="181"/>
                  <a:pt x="1093" y="181"/>
                </a:cubicBezTo>
                <a:cubicBezTo>
                  <a:pt x="1096" y="181"/>
                  <a:pt x="1096" y="181"/>
                  <a:pt x="1096" y="181"/>
                </a:cubicBezTo>
                <a:cubicBezTo>
                  <a:pt x="1096" y="181"/>
                  <a:pt x="1096" y="181"/>
                  <a:pt x="1096" y="181"/>
                </a:cubicBezTo>
                <a:cubicBezTo>
                  <a:pt x="1096" y="180"/>
                  <a:pt x="1096" y="180"/>
                  <a:pt x="1096" y="180"/>
                </a:cubicBezTo>
                <a:cubicBezTo>
                  <a:pt x="1096" y="179"/>
                  <a:pt x="1096" y="179"/>
                  <a:pt x="1096" y="179"/>
                </a:cubicBezTo>
                <a:cubicBezTo>
                  <a:pt x="1097" y="179"/>
                  <a:pt x="1097" y="179"/>
                  <a:pt x="1097" y="179"/>
                </a:cubicBezTo>
                <a:cubicBezTo>
                  <a:pt x="1099" y="179"/>
                  <a:pt x="1099" y="179"/>
                  <a:pt x="1099" y="179"/>
                </a:cubicBezTo>
                <a:cubicBezTo>
                  <a:pt x="1100" y="180"/>
                  <a:pt x="1100" y="180"/>
                  <a:pt x="1100" y="180"/>
                </a:cubicBezTo>
                <a:cubicBezTo>
                  <a:pt x="1099" y="181"/>
                  <a:pt x="1099" y="181"/>
                  <a:pt x="1099" y="181"/>
                </a:cubicBezTo>
                <a:cubicBezTo>
                  <a:pt x="1096" y="182"/>
                  <a:pt x="1096" y="182"/>
                  <a:pt x="1096" y="182"/>
                </a:cubicBezTo>
                <a:cubicBezTo>
                  <a:pt x="1093" y="182"/>
                  <a:pt x="1093" y="182"/>
                  <a:pt x="1093" y="182"/>
                </a:cubicBezTo>
                <a:cubicBezTo>
                  <a:pt x="1092" y="182"/>
                  <a:pt x="1092" y="182"/>
                  <a:pt x="1092" y="182"/>
                </a:cubicBezTo>
                <a:cubicBezTo>
                  <a:pt x="1092" y="183"/>
                  <a:pt x="1092" y="183"/>
                  <a:pt x="1092" y="183"/>
                </a:cubicBezTo>
                <a:cubicBezTo>
                  <a:pt x="1094" y="186"/>
                  <a:pt x="1094" y="186"/>
                  <a:pt x="1094" y="186"/>
                </a:cubicBezTo>
                <a:cubicBezTo>
                  <a:pt x="1096" y="187"/>
                  <a:pt x="1096" y="187"/>
                  <a:pt x="1096" y="187"/>
                </a:cubicBezTo>
                <a:cubicBezTo>
                  <a:pt x="1098" y="187"/>
                  <a:pt x="1098" y="187"/>
                  <a:pt x="1098" y="187"/>
                </a:cubicBezTo>
                <a:cubicBezTo>
                  <a:pt x="1098" y="187"/>
                  <a:pt x="1098" y="187"/>
                  <a:pt x="1098" y="187"/>
                </a:cubicBezTo>
                <a:cubicBezTo>
                  <a:pt x="1100" y="186"/>
                  <a:pt x="1100" y="186"/>
                  <a:pt x="1100" y="186"/>
                </a:cubicBezTo>
                <a:cubicBezTo>
                  <a:pt x="1100" y="187"/>
                  <a:pt x="1100" y="187"/>
                  <a:pt x="1100" y="187"/>
                </a:cubicBezTo>
                <a:cubicBezTo>
                  <a:pt x="1100" y="188"/>
                  <a:pt x="1100" y="188"/>
                  <a:pt x="1100" y="188"/>
                </a:cubicBezTo>
                <a:cubicBezTo>
                  <a:pt x="1099" y="188"/>
                  <a:pt x="1099" y="188"/>
                  <a:pt x="1099" y="188"/>
                </a:cubicBezTo>
                <a:cubicBezTo>
                  <a:pt x="1098" y="188"/>
                  <a:pt x="1098" y="188"/>
                  <a:pt x="1098" y="188"/>
                </a:cubicBezTo>
                <a:cubicBezTo>
                  <a:pt x="1095" y="188"/>
                  <a:pt x="1095" y="188"/>
                  <a:pt x="1095" y="188"/>
                </a:cubicBezTo>
                <a:cubicBezTo>
                  <a:pt x="1093" y="186"/>
                  <a:pt x="1093" y="186"/>
                  <a:pt x="1093" y="186"/>
                </a:cubicBezTo>
                <a:cubicBezTo>
                  <a:pt x="1091" y="184"/>
                  <a:pt x="1091" y="184"/>
                  <a:pt x="1091" y="184"/>
                </a:cubicBezTo>
                <a:cubicBezTo>
                  <a:pt x="1089" y="183"/>
                  <a:pt x="1089" y="183"/>
                  <a:pt x="1089" y="183"/>
                </a:cubicBezTo>
                <a:cubicBezTo>
                  <a:pt x="1087" y="184"/>
                  <a:pt x="1087" y="184"/>
                  <a:pt x="1087" y="184"/>
                </a:cubicBezTo>
                <a:cubicBezTo>
                  <a:pt x="1085" y="182"/>
                  <a:pt x="1085" y="182"/>
                  <a:pt x="1085" y="182"/>
                </a:cubicBezTo>
                <a:cubicBezTo>
                  <a:pt x="1083" y="181"/>
                  <a:pt x="1083" y="181"/>
                  <a:pt x="1083" y="181"/>
                </a:cubicBezTo>
                <a:cubicBezTo>
                  <a:pt x="1083" y="181"/>
                  <a:pt x="1083" y="181"/>
                  <a:pt x="1083" y="181"/>
                </a:cubicBezTo>
                <a:cubicBezTo>
                  <a:pt x="1081" y="181"/>
                  <a:pt x="1081" y="181"/>
                  <a:pt x="1081" y="181"/>
                </a:cubicBezTo>
                <a:cubicBezTo>
                  <a:pt x="1080" y="181"/>
                  <a:pt x="1080" y="181"/>
                  <a:pt x="1080" y="181"/>
                </a:cubicBezTo>
                <a:cubicBezTo>
                  <a:pt x="1078" y="181"/>
                  <a:pt x="1078" y="181"/>
                  <a:pt x="1078" y="181"/>
                </a:cubicBezTo>
                <a:cubicBezTo>
                  <a:pt x="1078" y="181"/>
                  <a:pt x="1078" y="181"/>
                  <a:pt x="1078" y="181"/>
                </a:cubicBezTo>
                <a:cubicBezTo>
                  <a:pt x="1077" y="181"/>
                  <a:pt x="1077" y="181"/>
                  <a:pt x="1077" y="181"/>
                </a:cubicBezTo>
                <a:cubicBezTo>
                  <a:pt x="1075" y="182"/>
                  <a:pt x="1075" y="182"/>
                  <a:pt x="1075" y="182"/>
                </a:cubicBezTo>
                <a:cubicBezTo>
                  <a:pt x="1075" y="184"/>
                  <a:pt x="1075" y="184"/>
                  <a:pt x="1075" y="184"/>
                </a:cubicBezTo>
                <a:cubicBezTo>
                  <a:pt x="1073" y="184"/>
                  <a:pt x="1073" y="184"/>
                  <a:pt x="1073" y="184"/>
                </a:cubicBezTo>
                <a:cubicBezTo>
                  <a:pt x="1071" y="185"/>
                  <a:pt x="1071" y="185"/>
                  <a:pt x="1071" y="185"/>
                </a:cubicBezTo>
                <a:cubicBezTo>
                  <a:pt x="1070" y="186"/>
                  <a:pt x="1070" y="186"/>
                  <a:pt x="1070" y="186"/>
                </a:cubicBezTo>
                <a:cubicBezTo>
                  <a:pt x="1068" y="188"/>
                  <a:pt x="1068" y="188"/>
                  <a:pt x="1068" y="188"/>
                </a:cubicBezTo>
                <a:cubicBezTo>
                  <a:pt x="1068" y="189"/>
                  <a:pt x="1068" y="189"/>
                  <a:pt x="1068" y="189"/>
                </a:cubicBezTo>
                <a:cubicBezTo>
                  <a:pt x="1069" y="190"/>
                  <a:pt x="1069" y="190"/>
                  <a:pt x="1069" y="190"/>
                </a:cubicBezTo>
                <a:cubicBezTo>
                  <a:pt x="1070" y="189"/>
                  <a:pt x="1070" y="189"/>
                  <a:pt x="1070" y="189"/>
                </a:cubicBezTo>
                <a:cubicBezTo>
                  <a:pt x="1072" y="188"/>
                  <a:pt x="1072" y="188"/>
                  <a:pt x="1072" y="188"/>
                </a:cubicBezTo>
                <a:cubicBezTo>
                  <a:pt x="1073" y="188"/>
                  <a:pt x="1073" y="188"/>
                  <a:pt x="1073" y="188"/>
                </a:cubicBezTo>
                <a:cubicBezTo>
                  <a:pt x="1074" y="189"/>
                  <a:pt x="1074" y="189"/>
                  <a:pt x="1074" y="189"/>
                </a:cubicBezTo>
                <a:cubicBezTo>
                  <a:pt x="1076" y="189"/>
                  <a:pt x="1076" y="189"/>
                  <a:pt x="1076" y="189"/>
                </a:cubicBezTo>
                <a:cubicBezTo>
                  <a:pt x="1079" y="188"/>
                  <a:pt x="1079" y="188"/>
                  <a:pt x="1079" y="188"/>
                </a:cubicBezTo>
                <a:cubicBezTo>
                  <a:pt x="1082" y="188"/>
                  <a:pt x="1082" y="188"/>
                  <a:pt x="1082" y="188"/>
                </a:cubicBezTo>
                <a:cubicBezTo>
                  <a:pt x="1084" y="189"/>
                  <a:pt x="1084" y="189"/>
                  <a:pt x="1084" y="189"/>
                </a:cubicBezTo>
                <a:cubicBezTo>
                  <a:pt x="1085" y="190"/>
                  <a:pt x="1085" y="190"/>
                  <a:pt x="1085" y="190"/>
                </a:cubicBezTo>
                <a:cubicBezTo>
                  <a:pt x="1084" y="190"/>
                  <a:pt x="1084" y="190"/>
                  <a:pt x="1084" y="190"/>
                </a:cubicBezTo>
                <a:cubicBezTo>
                  <a:pt x="1081" y="190"/>
                  <a:pt x="1081" y="190"/>
                  <a:pt x="1081" y="190"/>
                </a:cubicBezTo>
                <a:cubicBezTo>
                  <a:pt x="1080" y="190"/>
                  <a:pt x="1080" y="190"/>
                  <a:pt x="1080" y="190"/>
                </a:cubicBezTo>
                <a:cubicBezTo>
                  <a:pt x="1073" y="190"/>
                  <a:pt x="1073" y="190"/>
                  <a:pt x="1073" y="190"/>
                </a:cubicBezTo>
                <a:cubicBezTo>
                  <a:pt x="1071" y="190"/>
                  <a:pt x="1071" y="190"/>
                  <a:pt x="1071" y="190"/>
                </a:cubicBezTo>
                <a:cubicBezTo>
                  <a:pt x="1071" y="191"/>
                  <a:pt x="1071" y="191"/>
                  <a:pt x="1071" y="191"/>
                </a:cubicBezTo>
                <a:cubicBezTo>
                  <a:pt x="1068" y="191"/>
                  <a:pt x="1068" y="191"/>
                  <a:pt x="1068" y="191"/>
                </a:cubicBezTo>
                <a:cubicBezTo>
                  <a:pt x="1068" y="192"/>
                  <a:pt x="1068" y="192"/>
                  <a:pt x="1068" y="192"/>
                </a:cubicBezTo>
                <a:cubicBezTo>
                  <a:pt x="1069" y="192"/>
                  <a:pt x="1069" y="192"/>
                  <a:pt x="1069" y="192"/>
                </a:cubicBezTo>
                <a:cubicBezTo>
                  <a:pt x="1070" y="192"/>
                  <a:pt x="1070" y="192"/>
                  <a:pt x="1070" y="192"/>
                </a:cubicBezTo>
                <a:cubicBezTo>
                  <a:pt x="1071" y="193"/>
                  <a:pt x="1071" y="193"/>
                  <a:pt x="1071" y="193"/>
                </a:cubicBezTo>
                <a:cubicBezTo>
                  <a:pt x="1070" y="193"/>
                  <a:pt x="1070" y="193"/>
                  <a:pt x="1070" y="193"/>
                </a:cubicBezTo>
                <a:cubicBezTo>
                  <a:pt x="1069" y="193"/>
                  <a:pt x="1069" y="193"/>
                  <a:pt x="1069" y="193"/>
                </a:cubicBezTo>
                <a:cubicBezTo>
                  <a:pt x="1067" y="193"/>
                  <a:pt x="1067" y="193"/>
                  <a:pt x="1067" y="193"/>
                </a:cubicBezTo>
                <a:cubicBezTo>
                  <a:pt x="1067" y="193"/>
                  <a:pt x="1067" y="193"/>
                  <a:pt x="1067" y="193"/>
                </a:cubicBezTo>
                <a:cubicBezTo>
                  <a:pt x="1068" y="194"/>
                  <a:pt x="1068" y="194"/>
                  <a:pt x="1068" y="194"/>
                </a:cubicBezTo>
                <a:cubicBezTo>
                  <a:pt x="1069" y="194"/>
                  <a:pt x="1069" y="194"/>
                  <a:pt x="1069" y="194"/>
                </a:cubicBezTo>
                <a:cubicBezTo>
                  <a:pt x="1074" y="196"/>
                  <a:pt x="1074" y="196"/>
                  <a:pt x="1074" y="196"/>
                </a:cubicBezTo>
                <a:cubicBezTo>
                  <a:pt x="1075" y="196"/>
                  <a:pt x="1075" y="196"/>
                  <a:pt x="1075" y="196"/>
                </a:cubicBezTo>
                <a:cubicBezTo>
                  <a:pt x="1076" y="195"/>
                  <a:pt x="1076" y="195"/>
                  <a:pt x="1076" y="195"/>
                </a:cubicBezTo>
                <a:cubicBezTo>
                  <a:pt x="1077" y="195"/>
                  <a:pt x="1077" y="195"/>
                  <a:pt x="1077" y="195"/>
                </a:cubicBezTo>
                <a:cubicBezTo>
                  <a:pt x="1078" y="195"/>
                  <a:pt x="1078" y="195"/>
                  <a:pt x="1078" y="195"/>
                </a:cubicBezTo>
                <a:cubicBezTo>
                  <a:pt x="1078" y="197"/>
                  <a:pt x="1078" y="197"/>
                  <a:pt x="1078" y="197"/>
                </a:cubicBezTo>
                <a:cubicBezTo>
                  <a:pt x="1078" y="198"/>
                  <a:pt x="1078" y="198"/>
                  <a:pt x="1078" y="198"/>
                </a:cubicBezTo>
                <a:cubicBezTo>
                  <a:pt x="1077" y="198"/>
                  <a:pt x="1077" y="198"/>
                  <a:pt x="1077" y="198"/>
                </a:cubicBezTo>
                <a:cubicBezTo>
                  <a:pt x="1076" y="198"/>
                  <a:pt x="1076" y="198"/>
                  <a:pt x="1076" y="198"/>
                </a:cubicBezTo>
                <a:cubicBezTo>
                  <a:pt x="1075" y="198"/>
                  <a:pt x="1075" y="198"/>
                  <a:pt x="1075" y="198"/>
                </a:cubicBezTo>
                <a:cubicBezTo>
                  <a:pt x="1074" y="198"/>
                  <a:pt x="1074" y="198"/>
                  <a:pt x="1074" y="198"/>
                </a:cubicBezTo>
                <a:cubicBezTo>
                  <a:pt x="1073" y="198"/>
                  <a:pt x="1073" y="198"/>
                  <a:pt x="1073" y="198"/>
                </a:cubicBezTo>
                <a:cubicBezTo>
                  <a:pt x="1073" y="199"/>
                  <a:pt x="1073" y="199"/>
                  <a:pt x="1073" y="199"/>
                </a:cubicBezTo>
                <a:cubicBezTo>
                  <a:pt x="1073" y="200"/>
                  <a:pt x="1073" y="200"/>
                  <a:pt x="1073" y="200"/>
                </a:cubicBezTo>
                <a:cubicBezTo>
                  <a:pt x="1074" y="200"/>
                  <a:pt x="1074" y="200"/>
                  <a:pt x="1074" y="200"/>
                </a:cubicBezTo>
                <a:cubicBezTo>
                  <a:pt x="1075" y="200"/>
                  <a:pt x="1075" y="200"/>
                  <a:pt x="1075" y="200"/>
                </a:cubicBezTo>
                <a:cubicBezTo>
                  <a:pt x="1075" y="201"/>
                  <a:pt x="1075" y="201"/>
                  <a:pt x="1075" y="201"/>
                </a:cubicBezTo>
                <a:cubicBezTo>
                  <a:pt x="1074" y="201"/>
                  <a:pt x="1074" y="201"/>
                  <a:pt x="1074" y="201"/>
                </a:cubicBezTo>
                <a:cubicBezTo>
                  <a:pt x="1072" y="201"/>
                  <a:pt x="1072" y="201"/>
                  <a:pt x="1072" y="201"/>
                </a:cubicBezTo>
                <a:cubicBezTo>
                  <a:pt x="1070" y="200"/>
                  <a:pt x="1070" y="200"/>
                  <a:pt x="1070" y="200"/>
                </a:cubicBezTo>
                <a:cubicBezTo>
                  <a:pt x="1068" y="201"/>
                  <a:pt x="1068" y="201"/>
                  <a:pt x="1068" y="201"/>
                </a:cubicBezTo>
                <a:cubicBezTo>
                  <a:pt x="1068" y="201"/>
                  <a:pt x="1068" y="201"/>
                  <a:pt x="1068" y="201"/>
                </a:cubicBezTo>
                <a:cubicBezTo>
                  <a:pt x="1069" y="203"/>
                  <a:pt x="1069" y="203"/>
                  <a:pt x="1069" y="203"/>
                </a:cubicBezTo>
                <a:cubicBezTo>
                  <a:pt x="1070" y="203"/>
                  <a:pt x="1070" y="203"/>
                  <a:pt x="1070" y="203"/>
                </a:cubicBezTo>
                <a:cubicBezTo>
                  <a:pt x="1071" y="202"/>
                  <a:pt x="1071" y="202"/>
                  <a:pt x="1071" y="202"/>
                </a:cubicBezTo>
                <a:cubicBezTo>
                  <a:pt x="1073" y="202"/>
                  <a:pt x="1073" y="202"/>
                  <a:pt x="1073" y="202"/>
                </a:cubicBezTo>
                <a:cubicBezTo>
                  <a:pt x="1074" y="203"/>
                  <a:pt x="1074" y="203"/>
                  <a:pt x="1074" y="203"/>
                </a:cubicBezTo>
                <a:cubicBezTo>
                  <a:pt x="1075" y="204"/>
                  <a:pt x="1075" y="204"/>
                  <a:pt x="1075" y="204"/>
                </a:cubicBezTo>
                <a:cubicBezTo>
                  <a:pt x="1073" y="204"/>
                  <a:pt x="1073" y="204"/>
                  <a:pt x="1073" y="204"/>
                </a:cubicBezTo>
                <a:cubicBezTo>
                  <a:pt x="1071" y="204"/>
                  <a:pt x="1071" y="204"/>
                  <a:pt x="1071" y="204"/>
                </a:cubicBezTo>
                <a:cubicBezTo>
                  <a:pt x="1069" y="204"/>
                  <a:pt x="1069" y="204"/>
                  <a:pt x="1069" y="204"/>
                </a:cubicBezTo>
                <a:cubicBezTo>
                  <a:pt x="1068" y="203"/>
                  <a:pt x="1068" y="203"/>
                  <a:pt x="1068" y="203"/>
                </a:cubicBezTo>
                <a:cubicBezTo>
                  <a:pt x="1067" y="203"/>
                  <a:pt x="1067" y="203"/>
                  <a:pt x="1067" y="203"/>
                </a:cubicBezTo>
                <a:cubicBezTo>
                  <a:pt x="1066" y="205"/>
                  <a:pt x="1066" y="205"/>
                  <a:pt x="1066" y="205"/>
                </a:cubicBezTo>
                <a:cubicBezTo>
                  <a:pt x="1066" y="208"/>
                  <a:pt x="1066" y="208"/>
                  <a:pt x="1066" y="208"/>
                </a:cubicBezTo>
                <a:cubicBezTo>
                  <a:pt x="1065" y="209"/>
                  <a:pt x="1065" y="209"/>
                  <a:pt x="1065" y="209"/>
                </a:cubicBezTo>
                <a:cubicBezTo>
                  <a:pt x="1066" y="210"/>
                  <a:pt x="1066" y="210"/>
                  <a:pt x="1066" y="210"/>
                </a:cubicBezTo>
                <a:cubicBezTo>
                  <a:pt x="1067" y="210"/>
                  <a:pt x="1067" y="210"/>
                  <a:pt x="1067" y="210"/>
                </a:cubicBezTo>
                <a:cubicBezTo>
                  <a:pt x="1071" y="208"/>
                  <a:pt x="1071" y="208"/>
                  <a:pt x="1071" y="208"/>
                </a:cubicBezTo>
                <a:cubicBezTo>
                  <a:pt x="1072" y="208"/>
                  <a:pt x="1072" y="208"/>
                  <a:pt x="1072" y="208"/>
                </a:cubicBezTo>
                <a:cubicBezTo>
                  <a:pt x="1075" y="207"/>
                  <a:pt x="1075" y="207"/>
                  <a:pt x="1075" y="207"/>
                </a:cubicBezTo>
                <a:cubicBezTo>
                  <a:pt x="1077" y="206"/>
                  <a:pt x="1077" y="206"/>
                  <a:pt x="1077" y="206"/>
                </a:cubicBezTo>
                <a:cubicBezTo>
                  <a:pt x="1079" y="204"/>
                  <a:pt x="1079" y="204"/>
                  <a:pt x="1079" y="204"/>
                </a:cubicBezTo>
                <a:cubicBezTo>
                  <a:pt x="1081" y="201"/>
                  <a:pt x="1081" y="201"/>
                  <a:pt x="1081" y="201"/>
                </a:cubicBezTo>
                <a:cubicBezTo>
                  <a:pt x="1086" y="199"/>
                  <a:pt x="1086" y="199"/>
                  <a:pt x="1086" y="199"/>
                </a:cubicBezTo>
                <a:cubicBezTo>
                  <a:pt x="1089" y="198"/>
                  <a:pt x="1089" y="198"/>
                  <a:pt x="1089" y="198"/>
                </a:cubicBezTo>
                <a:cubicBezTo>
                  <a:pt x="1090" y="199"/>
                  <a:pt x="1090" y="199"/>
                  <a:pt x="1090" y="199"/>
                </a:cubicBezTo>
                <a:cubicBezTo>
                  <a:pt x="1090" y="199"/>
                  <a:pt x="1090" y="199"/>
                  <a:pt x="1090" y="199"/>
                </a:cubicBezTo>
                <a:cubicBezTo>
                  <a:pt x="1089" y="200"/>
                  <a:pt x="1089" y="200"/>
                  <a:pt x="1089" y="200"/>
                </a:cubicBezTo>
                <a:cubicBezTo>
                  <a:pt x="1088" y="200"/>
                  <a:pt x="1088" y="200"/>
                  <a:pt x="1088" y="200"/>
                </a:cubicBezTo>
                <a:cubicBezTo>
                  <a:pt x="1085" y="201"/>
                  <a:pt x="1085" y="201"/>
                  <a:pt x="1085" y="201"/>
                </a:cubicBezTo>
                <a:cubicBezTo>
                  <a:pt x="1082" y="203"/>
                  <a:pt x="1082" y="203"/>
                  <a:pt x="1082" y="203"/>
                </a:cubicBezTo>
                <a:cubicBezTo>
                  <a:pt x="1079" y="206"/>
                  <a:pt x="1079" y="206"/>
                  <a:pt x="1079" y="206"/>
                </a:cubicBezTo>
                <a:cubicBezTo>
                  <a:pt x="1077" y="208"/>
                  <a:pt x="1077" y="208"/>
                  <a:pt x="1077" y="208"/>
                </a:cubicBezTo>
                <a:cubicBezTo>
                  <a:pt x="1074" y="208"/>
                  <a:pt x="1074" y="208"/>
                  <a:pt x="1074" y="208"/>
                </a:cubicBezTo>
                <a:cubicBezTo>
                  <a:pt x="1073" y="209"/>
                  <a:pt x="1073" y="209"/>
                  <a:pt x="1073" y="209"/>
                </a:cubicBezTo>
                <a:cubicBezTo>
                  <a:pt x="1070" y="211"/>
                  <a:pt x="1070" y="211"/>
                  <a:pt x="1070" y="211"/>
                </a:cubicBezTo>
                <a:cubicBezTo>
                  <a:pt x="1067" y="212"/>
                  <a:pt x="1067" y="212"/>
                  <a:pt x="1067" y="212"/>
                </a:cubicBezTo>
                <a:cubicBezTo>
                  <a:pt x="1066" y="212"/>
                  <a:pt x="1066" y="212"/>
                  <a:pt x="1066" y="212"/>
                </a:cubicBezTo>
                <a:cubicBezTo>
                  <a:pt x="1066" y="213"/>
                  <a:pt x="1066" y="213"/>
                  <a:pt x="1066" y="213"/>
                </a:cubicBezTo>
                <a:cubicBezTo>
                  <a:pt x="1067" y="213"/>
                  <a:pt x="1067" y="213"/>
                  <a:pt x="1067" y="213"/>
                </a:cubicBezTo>
                <a:cubicBezTo>
                  <a:pt x="1068" y="213"/>
                  <a:pt x="1068" y="213"/>
                  <a:pt x="1068" y="213"/>
                </a:cubicBezTo>
                <a:cubicBezTo>
                  <a:pt x="1069" y="213"/>
                  <a:pt x="1069" y="213"/>
                  <a:pt x="1069" y="213"/>
                </a:cubicBezTo>
                <a:cubicBezTo>
                  <a:pt x="1069" y="214"/>
                  <a:pt x="1069" y="214"/>
                  <a:pt x="1069" y="214"/>
                </a:cubicBezTo>
                <a:cubicBezTo>
                  <a:pt x="1071" y="213"/>
                  <a:pt x="1071" y="213"/>
                  <a:pt x="1071" y="213"/>
                </a:cubicBezTo>
                <a:cubicBezTo>
                  <a:pt x="1072" y="212"/>
                  <a:pt x="1072" y="212"/>
                  <a:pt x="1072" y="212"/>
                </a:cubicBezTo>
                <a:cubicBezTo>
                  <a:pt x="1073" y="212"/>
                  <a:pt x="1073" y="212"/>
                  <a:pt x="1073" y="212"/>
                </a:cubicBezTo>
                <a:cubicBezTo>
                  <a:pt x="1074" y="213"/>
                  <a:pt x="1074" y="213"/>
                  <a:pt x="1074" y="213"/>
                </a:cubicBezTo>
                <a:cubicBezTo>
                  <a:pt x="1075" y="213"/>
                  <a:pt x="1075" y="213"/>
                  <a:pt x="1075" y="213"/>
                </a:cubicBezTo>
                <a:cubicBezTo>
                  <a:pt x="1076" y="212"/>
                  <a:pt x="1076" y="212"/>
                  <a:pt x="1076" y="212"/>
                </a:cubicBezTo>
                <a:cubicBezTo>
                  <a:pt x="1078" y="211"/>
                  <a:pt x="1078" y="211"/>
                  <a:pt x="1078" y="211"/>
                </a:cubicBezTo>
                <a:cubicBezTo>
                  <a:pt x="1079" y="211"/>
                  <a:pt x="1079" y="211"/>
                  <a:pt x="1079" y="211"/>
                </a:cubicBezTo>
                <a:cubicBezTo>
                  <a:pt x="1080" y="212"/>
                  <a:pt x="1080" y="212"/>
                  <a:pt x="1080" y="212"/>
                </a:cubicBezTo>
                <a:cubicBezTo>
                  <a:pt x="1079" y="213"/>
                  <a:pt x="1079" y="213"/>
                  <a:pt x="1079" y="213"/>
                </a:cubicBezTo>
                <a:cubicBezTo>
                  <a:pt x="1078" y="213"/>
                  <a:pt x="1078" y="213"/>
                  <a:pt x="1078" y="213"/>
                </a:cubicBezTo>
                <a:cubicBezTo>
                  <a:pt x="1076" y="214"/>
                  <a:pt x="1076" y="214"/>
                  <a:pt x="1076" y="214"/>
                </a:cubicBezTo>
                <a:cubicBezTo>
                  <a:pt x="1075" y="214"/>
                  <a:pt x="1075" y="214"/>
                  <a:pt x="1075" y="214"/>
                </a:cubicBezTo>
                <a:cubicBezTo>
                  <a:pt x="1073" y="214"/>
                  <a:pt x="1073" y="214"/>
                  <a:pt x="1073" y="214"/>
                </a:cubicBezTo>
                <a:cubicBezTo>
                  <a:pt x="1072" y="213"/>
                  <a:pt x="1072" y="213"/>
                  <a:pt x="1072" y="213"/>
                </a:cubicBezTo>
                <a:cubicBezTo>
                  <a:pt x="1071" y="214"/>
                  <a:pt x="1071" y="214"/>
                  <a:pt x="1071" y="214"/>
                </a:cubicBezTo>
                <a:cubicBezTo>
                  <a:pt x="1070" y="215"/>
                  <a:pt x="1070" y="215"/>
                  <a:pt x="1070" y="215"/>
                </a:cubicBezTo>
                <a:cubicBezTo>
                  <a:pt x="1068" y="216"/>
                  <a:pt x="1068" y="216"/>
                  <a:pt x="1068" y="216"/>
                </a:cubicBezTo>
                <a:cubicBezTo>
                  <a:pt x="1068" y="216"/>
                  <a:pt x="1068" y="216"/>
                  <a:pt x="1068" y="216"/>
                </a:cubicBezTo>
                <a:cubicBezTo>
                  <a:pt x="1069" y="217"/>
                  <a:pt x="1069" y="217"/>
                  <a:pt x="1069" y="217"/>
                </a:cubicBezTo>
                <a:cubicBezTo>
                  <a:pt x="1070" y="217"/>
                  <a:pt x="1070" y="217"/>
                  <a:pt x="1070" y="217"/>
                </a:cubicBezTo>
                <a:cubicBezTo>
                  <a:pt x="1072" y="219"/>
                  <a:pt x="1072" y="219"/>
                  <a:pt x="1072" y="219"/>
                </a:cubicBezTo>
                <a:cubicBezTo>
                  <a:pt x="1070" y="220"/>
                  <a:pt x="1070" y="220"/>
                  <a:pt x="1070" y="220"/>
                </a:cubicBezTo>
                <a:cubicBezTo>
                  <a:pt x="1070" y="221"/>
                  <a:pt x="1070" y="221"/>
                  <a:pt x="1070" y="221"/>
                </a:cubicBezTo>
                <a:cubicBezTo>
                  <a:pt x="1072" y="221"/>
                  <a:pt x="1072" y="221"/>
                  <a:pt x="1072" y="221"/>
                </a:cubicBezTo>
                <a:cubicBezTo>
                  <a:pt x="1071" y="222"/>
                  <a:pt x="1071" y="222"/>
                  <a:pt x="1071" y="222"/>
                </a:cubicBezTo>
                <a:cubicBezTo>
                  <a:pt x="1072" y="223"/>
                  <a:pt x="1072" y="223"/>
                  <a:pt x="1072" y="223"/>
                </a:cubicBezTo>
                <a:cubicBezTo>
                  <a:pt x="1072" y="223"/>
                  <a:pt x="1072" y="223"/>
                  <a:pt x="1072" y="223"/>
                </a:cubicBezTo>
                <a:cubicBezTo>
                  <a:pt x="1074" y="221"/>
                  <a:pt x="1074" y="221"/>
                  <a:pt x="1074" y="221"/>
                </a:cubicBezTo>
                <a:cubicBezTo>
                  <a:pt x="1075" y="221"/>
                  <a:pt x="1075" y="221"/>
                  <a:pt x="1075" y="221"/>
                </a:cubicBezTo>
                <a:cubicBezTo>
                  <a:pt x="1076" y="220"/>
                  <a:pt x="1076" y="220"/>
                  <a:pt x="1076" y="220"/>
                </a:cubicBezTo>
                <a:cubicBezTo>
                  <a:pt x="1077" y="219"/>
                  <a:pt x="1077" y="219"/>
                  <a:pt x="1077" y="219"/>
                </a:cubicBezTo>
                <a:cubicBezTo>
                  <a:pt x="1078" y="218"/>
                  <a:pt x="1078" y="218"/>
                  <a:pt x="1078" y="218"/>
                </a:cubicBezTo>
                <a:cubicBezTo>
                  <a:pt x="1079" y="218"/>
                  <a:pt x="1079" y="218"/>
                  <a:pt x="1079" y="218"/>
                </a:cubicBezTo>
                <a:cubicBezTo>
                  <a:pt x="1083" y="216"/>
                  <a:pt x="1083" y="216"/>
                  <a:pt x="1083" y="216"/>
                </a:cubicBezTo>
                <a:cubicBezTo>
                  <a:pt x="1084" y="216"/>
                  <a:pt x="1084" y="216"/>
                  <a:pt x="1084" y="216"/>
                </a:cubicBezTo>
                <a:cubicBezTo>
                  <a:pt x="1084" y="217"/>
                  <a:pt x="1084" y="217"/>
                  <a:pt x="1084" y="217"/>
                </a:cubicBezTo>
                <a:cubicBezTo>
                  <a:pt x="1086" y="218"/>
                  <a:pt x="1086" y="218"/>
                  <a:pt x="1086" y="218"/>
                </a:cubicBezTo>
                <a:cubicBezTo>
                  <a:pt x="1086" y="219"/>
                  <a:pt x="1086" y="219"/>
                  <a:pt x="1086" y="219"/>
                </a:cubicBezTo>
                <a:cubicBezTo>
                  <a:pt x="1085" y="219"/>
                  <a:pt x="1085" y="219"/>
                  <a:pt x="1085" y="219"/>
                </a:cubicBezTo>
                <a:cubicBezTo>
                  <a:pt x="1084" y="218"/>
                  <a:pt x="1084" y="218"/>
                  <a:pt x="1084" y="218"/>
                </a:cubicBezTo>
                <a:cubicBezTo>
                  <a:pt x="1081" y="219"/>
                  <a:pt x="1081" y="219"/>
                  <a:pt x="1081" y="219"/>
                </a:cubicBezTo>
                <a:cubicBezTo>
                  <a:pt x="1080" y="219"/>
                  <a:pt x="1080" y="219"/>
                  <a:pt x="1080" y="219"/>
                </a:cubicBezTo>
                <a:cubicBezTo>
                  <a:pt x="1080" y="219"/>
                  <a:pt x="1080" y="219"/>
                  <a:pt x="1080" y="219"/>
                </a:cubicBezTo>
                <a:cubicBezTo>
                  <a:pt x="1079" y="219"/>
                  <a:pt x="1079" y="219"/>
                  <a:pt x="1079" y="219"/>
                </a:cubicBezTo>
                <a:cubicBezTo>
                  <a:pt x="1078" y="221"/>
                  <a:pt x="1078" y="221"/>
                  <a:pt x="1078" y="221"/>
                </a:cubicBezTo>
                <a:cubicBezTo>
                  <a:pt x="1077" y="221"/>
                  <a:pt x="1077" y="221"/>
                  <a:pt x="1077" y="221"/>
                </a:cubicBezTo>
                <a:cubicBezTo>
                  <a:pt x="1076" y="222"/>
                  <a:pt x="1076" y="222"/>
                  <a:pt x="1076" y="222"/>
                </a:cubicBezTo>
                <a:cubicBezTo>
                  <a:pt x="1074" y="223"/>
                  <a:pt x="1074" y="223"/>
                  <a:pt x="1074" y="223"/>
                </a:cubicBezTo>
                <a:cubicBezTo>
                  <a:pt x="1073" y="224"/>
                  <a:pt x="1073" y="224"/>
                  <a:pt x="1073" y="224"/>
                </a:cubicBezTo>
                <a:cubicBezTo>
                  <a:pt x="1071" y="224"/>
                  <a:pt x="1071" y="224"/>
                  <a:pt x="1071" y="224"/>
                </a:cubicBezTo>
                <a:cubicBezTo>
                  <a:pt x="1069" y="225"/>
                  <a:pt x="1069" y="225"/>
                  <a:pt x="1069" y="225"/>
                </a:cubicBezTo>
                <a:cubicBezTo>
                  <a:pt x="1070" y="226"/>
                  <a:pt x="1070" y="226"/>
                  <a:pt x="1070" y="226"/>
                </a:cubicBezTo>
                <a:cubicBezTo>
                  <a:pt x="1071" y="227"/>
                  <a:pt x="1071" y="227"/>
                  <a:pt x="1071" y="227"/>
                </a:cubicBezTo>
                <a:cubicBezTo>
                  <a:pt x="1072" y="226"/>
                  <a:pt x="1072" y="226"/>
                  <a:pt x="1072" y="226"/>
                </a:cubicBezTo>
                <a:cubicBezTo>
                  <a:pt x="1072" y="225"/>
                  <a:pt x="1072" y="225"/>
                  <a:pt x="1072" y="225"/>
                </a:cubicBezTo>
                <a:cubicBezTo>
                  <a:pt x="1073" y="227"/>
                  <a:pt x="1073" y="227"/>
                  <a:pt x="1073" y="227"/>
                </a:cubicBezTo>
                <a:cubicBezTo>
                  <a:pt x="1073" y="229"/>
                  <a:pt x="1073" y="229"/>
                  <a:pt x="1073" y="229"/>
                </a:cubicBezTo>
                <a:cubicBezTo>
                  <a:pt x="1072" y="229"/>
                  <a:pt x="1072" y="229"/>
                  <a:pt x="1072" y="229"/>
                </a:cubicBezTo>
                <a:cubicBezTo>
                  <a:pt x="1072" y="232"/>
                  <a:pt x="1072" y="232"/>
                  <a:pt x="1072" y="232"/>
                </a:cubicBezTo>
                <a:cubicBezTo>
                  <a:pt x="1072" y="233"/>
                  <a:pt x="1072" y="233"/>
                  <a:pt x="1072" y="233"/>
                </a:cubicBezTo>
                <a:cubicBezTo>
                  <a:pt x="1074" y="234"/>
                  <a:pt x="1074" y="234"/>
                  <a:pt x="1074" y="234"/>
                </a:cubicBezTo>
                <a:cubicBezTo>
                  <a:pt x="1075" y="233"/>
                  <a:pt x="1075" y="233"/>
                  <a:pt x="1075" y="233"/>
                </a:cubicBezTo>
                <a:cubicBezTo>
                  <a:pt x="1076" y="231"/>
                  <a:pt x="1076" y="231"/>
                  <a:pt x="1076" y="231"/>
                </a:cubicBezTo>
                <a:cubicBezTo>
                  <a:pt x="1077" y="232"/>
                  <a:pt x="1077" y="232"/>
                  <a:pt x="1077" y="232"/>
                </a:cubicBezTo>
                <a:cubicBezTo>
                  <a:pt x="1078" y="231"/>
                  <a:pt x="1078" y="231"/>
                  <a:pt x="1078" y="231"/>
                </a:cubicBezTo>
                <a:cubicBezTo>
                  <a:pt x="1079" y="231"/>
                  <a:pt x="1079" y="231"/>
                  <a:pt x="1079" y="231"/>
                </a:cubicBezTo>
                <a:cubicBezTo>
                  <a:pt x="1080" y="232"/>
                  <a:pt x="1080" y="232"/>
                  <a:pt x="1080" y="232"/>
                </a:cubicBezTo>
                <a:cubicBezTo>
                  <a:pt x="1079" y="232"/>
                  <a:pt x="1079" y="232"/>
                  <a:pt x="1079" y="232"/>
                </a:cubicBezTo>
                <a:cubicBezTo>
                  <a:pt x="1077" y="234"/>
                  <a:pt x="1077" y="234"/>
                  <a:pt x="1077" y="234"/>
                </a:cubicBezTo>
                <a:cubicBezTo>
                  <a:pt x="1076" y="233"/>
                  <a:pt x="1076" y="233"/>
                  <a:pt x="1076" y="233"/>
                </a:cubicBezTo>
                <a:cubicBezTo>
                  <a:pt x="1073" y="234"/>
                  <a:pt x="1073" y="234"/>
                  <a:pt x="1073" y="234"/>
                </a:cubicBezTo>
                <a:cubicBezTo>
                  <a:pt x="1072" y="235"/>
                  <a:pt x="1072" y="235"/>
                  <a:pt x="1072" y="235"/>
                </a:cubicBezTo>
                <a:cubicBezTo>
                  <a:pt x="1072" y="236"/>
                  <a:pt x="1072" y="236"/>
                  <a:pt x="1072" y="236"/>
                </a:cubicBezTo>
                <a:cubicBezTo>
                  <a:pt x="1071" y="238"/>
                  <a:pt x="1071" y="238"/>
                  <a:pt x="1071" y="238"/>
                </a:cubicBezTo>
                <a:cubicBezTo>
                  <a:pt x="1073" y="239"/>
                  <a:pt x="1073" y="239"/>
                  <a:pt x="1073" y="239"/>
                </a:cubicBezTo>
                <a:cubicBezTo>
                  <a:pt x="1072" y="240"/>
                  <a:pt x="1072" y="240"/>
                  <a:pt x="1072" y="240"/>
                </a:cubicBezTo>
                <a:cubicBezTo>
                  <a:pt x="1071" y="242"/>
                  <a:pt x="1071" y="242"/>
                  <a:pt x="1071" y="242"/>
                </a:cubicBezTo>
                <a:cubicBezTo>
                  <a:pt x="1072" y="244"/>
                  <a:pt x="1072" y="244"/>
                  <a:pt x="1072" y="244"/>
                </a:cubicBezTo>
                <a:cubicBezTo>
                  <a:pt x="1073" y="244"/>
                  <a:pt x="1073" y="244"/>
                  <a:pt x="1073" y="244"/>
                </a:cubicBezTo>
                <a:cubicBezTo>
                  <a:pt x="1074" y="241"/>
                  <a:pt x="1074" y="241"/>
                  <a:pt x="1074" y="241"/>
                </a:cubicBezTo>
                <a:cubicBezTo>
                  <a:pt x="1075" y="241"/>
                  <a:pt x="1075" y="241"/>
                  <a:pt x="1075" y="241"/>
                </a:cubicBezTo>
                <a:cubicBezTo>
                  <a:pt x="1078" y="239"/>
                  <a:pt x="1078" y="239"/>
                  <a:pt x="1078" y="239"/>
                </a:cubicBezTo>
                <a:cubicBezTo>
                  <a:pt x="1078" y="238"/>
                  <a:pt x="1078" y="238"/>
                  <a:pt x="1078" y="238"/>
                </a:cubicBezTo>
                <a:cubicBezTo>
                  <a:pt x="1079" y="237"/>
                  <a:pt x="1079" y="237"/>
                  <a:pt x="1079" y="237"/>
                </a:cubicBezTo>
                <a:cubicBezTo>
                  <a:pt x="1080" y="237"/>
                  <a:pt x="1080" y="237"/>
                  <a:pt x="1080" y="237"/>
                </a:cubicBezTo>
                <a:cubicBezTo>
                  <a:pt x="1081" y="237"/>
                  <a:pt x="1081" y="237"/>
                  <a:pt x="1081" y="237"/>
                </a:cubicBezTo>
                <a:cubicBezTo>
                  <a:pt x="1080" y="238"/>
                  <a:pt x="1080" y="238"/>
                  <a:pt x="1080" y="238"/>
                </a:cubicBezTo>
                <a:cubicBezTo>
                  <a:pt x="1080" y="239"/>
                  <a:pt x="1080" y="239"/>
                  <a:pt x="1080" y="239"/>
                </a:cubicBezTo>
                <a:cubicBezTo>
                  <a:pt x="1080" y="239"/>
                  <a:pt x="1080" y="239"/>
                  <a:pt x="1080" y="239"/>
                </a:cubicBezTo>
                <a:cubicBezTo>
                  <a:pt x="1082" y="238"/>
                  <a:pt x="1082" y="238"/>
                  <a:pt x="1082" y="238"/>
                </a:cubicBezTo>
                <a:cubicBezTo>
                  <a:pt x="1084" y="236"/>
                  <a:pt x="1084" y="236"/>
                  <a:pt x="1084" y="236"/>
                </a:cubicBezTo>
                <a:cubicBezTo>
                  <a:pt x="1084" y="235"/>
                  <a:pt x="1084" y="235"/>
                  <a:pt x="1084" y="235"/>
                </a:cubicBezTo>
                <a:cubicBezTo>
                  <a:pt x="1085" y="237"/>
                  <a:pt x="1085" y="237"/>
                  <a:pt x="1085" y="237"/>
                </a:cubicBezTo>
                <a:cubicBezTo>
                  <a:pt x="1086" y="237"/>
                  <a:pt x="1086" y="237"/>
                  <a:pt x="1086" y="237"/>
                </a:cubicBezTo>
                <a:cubicBezTo>
                  <a:pt x="1087" y="235"/>
                  <a:pt x="1087" y="235"/>
                  <a:pt x="1087" y="235"/>
                </a:cubicBezTo>
                <a:cubicBezTo>
                  <a:pt x="1089" y="236"/>
                  <a:pt x="1089" y="236"/>
                  <a:pt x="1089" y="236"/>
                </a:cubicBezTo>
                <a:cubicBezTo>
                  <a:pt x="1088" y="236"/>
                  <a:pt x="1088" y="236"/>
                  <a:pt x="1088" y="236"/>
                </a:cubicBezTo>
                <a:cubicBezTo>
                  <a:pt x="1087" y="237"/>
                  <a:pt x="1087" y="237"/>
                  <a:pt x="1087" y="237"/>
                </a:cubicBezTo>
                <a:cubicBezTo>
                  <a:pt x="1087" y="241"/>
                  <a:pt x="1087" y="241"/>
                  <a:pt x="1087" y="241"/>
                </a:cubicBezTo>
                <a:cubicBezTo>
                  <a:pt x="1088" y="241"/>
                  <a:pt x="1088" y="241"/>
                  <a:pt x="1088" y="241"/>
                </a:cubicBezTo>
                <a:cubicBezTo>
                  <a:pt x="1089" y="243"/>
                  <a:pt x="1089" y="243"/>
                  <a:pt x="1089" y="243"/>
                </a:cubicBezTo>
                <a:cubicBezTo>
                  <a:pt x="1089" y="243"/>
                  <a:pt x="1089" y="243"/>
                  <a:pt x="1089" y="243"/>
                </a:cubicBezTo>
                <a:cubicBezTo>
                  <a:pt x="1087" y="242"/>
                  <a:pt x="1087" y="242"/>
                  <a:pt x="1087" y="242"/>
                </a:cubicBezTo>
                <a:cubicBezTo>
                  <a:pt x="1086" y="240"/>
                  <a:pt x="1086" y="240"/>
                  <a:pt x="1086" y="240"/>
                </a:cubicBezTo>
                <a:cubicBezTo>
                  <a:pt x="1085" y="239"/>
                  <a:pt x="1085" y="239"/>
                  <a:pt x="1085" y="239"/>
                </a:cubicBezTo>
                <a:cubicBezTo>
                  <a:pt x="1084" y="239"/>
                  <a:pt x="1084" y="239"/>
                  <a:pt x="1084" y="239"/>
                </a:cubicBezTo>
                <a:cubicBezTo>
                  <a:pt x="1083" y="240"/>
                  <a:pt x="1083" y="240"/>
                  <a:pt x="1083" y="240"/>
                </a:cubicBezTo>
                <a:cubicBezTo>
                  <a:pt x="1082" y="240"/>
                  <a:pt x="1082" y="240"/>
                  <a:pt x="1082" y="240"/>
                </a:cubicBezTo>
                <a:cubicBezTo>
                  <a:pt x="1082" y="240"/>
                  <a:pt x="1082" y="240"/>
                  <a:pt x="1082" y="240"/>
                </a:cubicBezTo>
                <a:cubicBezTo>
                  <a:pt x="1083" y="241"/>
                  <a:pt x="1083" y="241"/>
                  <a:pt x="1083" y="241"/>
                </a:cubicBezTo>
                <a:cubicBezTo>
                  <a:pt x="1084" y="241"/>
                  <a:pt x="1084" y="241"/>
                  <a:pt x="1084" y="241"/>
                </a:cubicBezTo>
                <a:cubicBezTo>
                  <a:pt x="1085" y="243"/>
                  <a:pt x="1085" y="243"/>
                  <a:pt x="1085" y="243"/>
                </a:cubicBezTo>
                <a:cubicBezTo>
                  <a:pt x="1086" y="243"/>
                  <a:pt x="1086" y="243"/>
                  <a:pt x="1086" y="243"/>
                </a:cubicBezTo>
                <a:cubicBezTo>
                  <a:pt x="1086" y="244"/>
                  <a:pt x="1086" y="244"/>
                  <a:pt x="1086" y="244"/>
                </a:cubicBezTo>
                <a:cubicBezTo>
                  <a:pt x="1085" y="244"/>
                  <a:pt x="1085" y="244"/>
                  <a:pt x="1085" y="244"/>
                </a:cubicBezTo>
                <a:cubicBezTo>
                  <a:pt x="1083" y="243"/>
                  <a:pt x="1083" y="243"/>
                  <a:pt x="1083" y="243"/>
                </a:cubicBezTo>
                <a:cubicBezTo>
                  <a:pt x="1082" y="242"/>
                  <a:pt x="1082" y="242"/>
                  <a:pt x="1082" y="242"/>
                </a:cubicBezTo>
                <a:cubicBezTo>
                  <a:pt x="1081" y="243"/>
                  <a:pt x="1081" y="243"/>
                  <a:pt x="1081" y="243"/>
                </a:cubicBezTo>
                <a:cubicBezTo>
                  <a:pt x="1079" y="245"/>
                  <a:pt x="1079" y="245"/>
                  <a:pt x="1079" y="245"/>
                </a:cubicBezTo>
                <a:cubicBezTo>
                  <a:pt x="1078" y="246"/>
                  <a:pt x="1078" y="246"/>
                  <a:pt x="1078" y="246"/>
                </a:cubicBezTo>
                <a:cubicBezTo>
                  <a:pt x="1074" y="246"/>
                  <a:pt x="1074" y="246"/>
                  <a:pt x="1074" y="246"/>
                </a:cubicBezTo>
                <a:cubicBezTo>
                  <a:pt x="1074" y="246"/>
                  <a:pt x="1074" y="246"/>
                  <a:pt x="1074" y="246"/>
                </a:cubicBezTo>
                <a:cubicBezTo>
                  <a:pt x="1075" y="247"/>
                  <a:pt x="1075" y="247"/>
                  <a:pt x="1075" y="247"/>
                </a:cubicBezTo>
                <a:cubicBezTo>
                  <a:pt x="1077" y="247"/>
                  <a:pt x="1077" y="247"/>
                  <a:pt x="1077" y="247"/>
                </a:cubicBezTo>
                <a:cubicBezTo>
                  <a:pt x="1078" y="246"/>
                  <a:pt x="1078" y="246"/>
                  <a:pt x="1078" y="246"/>
                </a:cubicBezTo>
                <a:cubicBezTo>
                  <a:pt x="1081" y="246"/>
                  <a:pt x="1081" y="246"/>
                  <a:pt x="1081" y="246"/>
                </a:cubicBezTo>
                <a:cubicBezTo>
                  <a:pt x="1083" y="245"/>
                  <a:pt x="1083" y="245"/>
                  <a:pt x="1083" y="245"/>
                </a:cubicBezTo>
                <a:cubicBezTo>
                  <a:pt x="1084" y="245"/>
                  <a:pt x="1084" y="245"/>
                  <a:pt x="1084" y="245"/>
                </a:cubicBezTo>
                <a:cubicBezTo>
                  <a:pt x="1086" y="245"/>
                  <a:pt x="1086" y="245"/>
                  <a:pt x="1086" y="245"/>
                </a:cubicBezTo>
                <a:cubicBezTo>
                  <a:pt x="1086" y="246"/>
                  <a:pt x="1086" y="246"/>
                  <a:pt x="1086" y="246"/>
                </a:cubicBezTo>
                <a:cubicBezTo>
                  <a:pt x="1084" y="247"/>
                  <a:pt x="1084" y="247"/>
                  <a:pt x="1084" y="247"/>
                </a:cubicBezTo>
                <a:cubicBezTo>
                  <a:pt x="1082" y="247"/>
                  <a:pt x="1082" y="247"/>
                  <a:pt x="1082" y="247"/>
                </a:cubicBezTo>
                <a:cubicBezTo>
                  <a:pt x="1079" y="248"/>
                  <a:pt x="1079" y="248"/>
                  <a:pt x="1079" y="248"/>
                </a:cubicBezTo>
                <a:cubicBezTo>
                  <a:pt x="1075" y="247"/>
                  <a:pt x="1075" y="247"/>
                  <a:pt x="1075" y="247"/>
                </a:cubicBezTo>
                <a:cubicBezTo>
                  <a:pt x="1074" y="248"/>
                  <a:pt x="1074" y="248"/>
                  <a:pt x="1074" y="248"/>
                </a:cubicBezTo>
                <a:cubicBezTo>
                  <a:pt x="1073" y="249"/>
                  <a:pt x="1073" y="249"/>
                  <a:pt x="1073" y="249"/>
                </a:cubicBezTo>
                <a:cubicBezTo>
                  <a:pt x="1074" y="251"/>
                  <a:pt x="1074" y="251"/>
                  <a:pt x="1074" y="251"/>
                </a:cubicBezTo>
                <a:cubicBezTo>
                  <a:pt x="1075" y="251"/>
                  <a:pt x="1075" y="251"/>
                  <a:pt x="1075" y="251"/>
                </a:cubicBezTo>
                <a:cubicBezTo>
                  <a:pt x="1077" y="251"/>
                  <a:pt x="1077" y="251"/>
                  <a:pt x="1077" y="251"/>
                </a:cubicBezTo>
                <a:cubicBezTo>
                  <a:pt x="1078" y="251"/>
                  <a:pt x="1078" y="251"/>
                  <a:pt x="1078" y="251"/>
                </a:cubicBezTo>
                <a:cubicBezTo>
                  <a:pt x="1076" y="252"/>
                  <a:pt x="1076" y="252"/>
                  <a:pt x="1076" y="252"/>
                </a:cubicBezTo>
                <a:cubicBezTo>
                  <a:pt x="1074" y="252"/>
                  <a:pt x="1074" y="252"/>
                  <a:pt x="1074" y="252"/>
                </a:cubicBezTo>
                <a:cubicBezTo>
                  <a:pt x="1073" y="254"/>
                  <a:pt x="1073" y="254"/>
                  <a:pt x="1073" y="254"/>
                </a:cubicBezTo>
                <a:cubicBezTo>
                  <a:pt x="1073" y="255"/>
                  <a:pt x="1073" y="255"/>
                  <a:pt x="1073" y="255"/>
                </a:cubicBezTo>
                <a:cubicBezTo>
                  <a:pt x="1075" y="256"/>
                  <a:pt x="1075" y="256"/>
                  <a:pt x="1075" y="256"/>
                </a:cubicBezTo>
                <a:cubicBezTo>
                  <a:pt x="1076" y="255"/>
                  <a:pt x="1076" y="255"/>
                  <a:pt x="1076" y="255"/>
                </a:cubicBezTo>
                <a:cubicBezTo>
                  <a:pt x="1077" y="254"/>
                  <a:pt x="1077" y="254"/>
                  <a:pt x="1077" y="254"/>
                </a:cubicBezTo>
                <a:cubicBezTo>
                  <a:pt x="1078" y="254"/>
                  <a:pt x="1078" y="254"/>
                  <a:pt x="1078" y="254"/>
                </a:cubicBezTo>
                <a:cubicBezTo>
                  <a:pt x="1079" y="254"/>
                  <a:pt x="1079" y="254"/>
                  <a:pt x="1079" y="254"/>
                </a:cubicBezTo>
                <a:cubicBezTo>
                  <a:pt x="1080" y="254"/>
                  <a:pt x="1080" y="254"/>
                  <a:pt x="1080" y="254"/>
                </a:cubicBezTo>
                <a:cubicBezTo>
                  <a:pt x="1081" y="254"/>
                  <a:pt x="1081" y="254"/>
                  <a:pt x="1081" y="254"/>
                </a:cubicBezTo>
                <a:cubicBezTo>
                  <a:pt x="1082" y="254"/>
                  <a:pt x="1082" y="254"/>
                  <a:pt x="1082" y="254"/>
                </a:cubicBezTo>
                <a:cubicBezTo>
                  <a:pt x="1083" y="254"/>
                  <a:pt x="1083" y="254"/>
                  <a:pt x="1083" y="254"/>
                </a:cubicBezTo>
                <a:cubicBezTo>
                  <a:pt x="1082" y="255"/>
                  <a:pt x="1082" y="255"/>
                  <a:pt x="1082" y="255"/>
                </a:cubicBezTo>
                <a:cubicBezTo>
                  <a:pt x="1080" y="256"/>
                  <a:pt x="1080" y="256"/>
                  <a:pt x="1080" y="256"/>
                </a:cubicBezTo>
                <a:cubicBezTo>
                  <a:pt x="1079" y="255"/>
                  <a:pt x="1079" y="255"/>
                  <a:pt x="1079" y="255"/>
                </a:cubicBezTo>
                <a:cubicBezTo>
                  <a:pt x="1077" y="255"/>
                  <a:pt x="1077" y="255"/>
                  <a:pt x="1077" y="255"/>
                </a:cubicBezTo>
                <a:cubicBezTo>
                  <a:pt x="1077" y="255"/>
                  <a:pt x="1077" y="255"/>
                  <a:pt x="1077" y="255"/>
                </a:cubicBezTo>
                <a:cubicBezTo>
                  <a:pt x="1078" y="256"/>
                  <a:pt x="1078" y="256"/>
                  <a:pt x="1078" y="256"/>
                </a:cubicBezTo>
                <a:cubicBezTo>
                  <a:pt x="1079" y="256"/>
                  <a:pt x="1079" y="256"/>
                  <a:pt x="1079" y="256"/>
                </a:cubicBezTo>
                <a:cubicBezTo>
                  <a:pt x="1080" y="257"/>
                  <a:pt x="1080" y="257"/>
                  <a:pt x="1080" y="257"/>
                </a:cubicBezTo>
                <a:cubicBezTo>
                  <a:pt x="1079" y="257"/>
                  <a:pt x="1079" y="257"/>
                  <a:pt x="1079" y="257"/>
                </a:cubicBezTo>
                <a:cubicBezTo>
                  <a:pt x="1077" y="257"/>
                  <a:pt x="1077" y="257"/>
                  <a:pt x="1077" y="257"/>
                </a:cubicBezTo>
                <a:cubicBezTo>
                  <a:pt x="1075" y="259"/>
                  <a:pt x="1075" y="259"/>
                  <a:pt x="1075" y="259"/>
                </a:cubicBezTo>
                <a:cubicBezTo>
                  <a:pt x="1076" y="260"/>
                  <a:pt x="1076" y="260"/>
                  <a:pt x="1076" y="260"/>
                </a:cubicBezTo>
                <a:cubicBezTo>
                  <a:pt x="1077" y="260"/>
                  <a:pt x="1077" y="260"/>
                  <a:pt x="1077" y="260"/>
                </a:cubicBezTo>
                <a:cubicBezTo>
                  <a:pt x="1078" y="259"/>
                  <a:pt x="1078" y="259"/>
                  <a:pt x="1078" y="259"/>
                </a:cubicBezTo>
                <a:cubicBezTo>
                  <a:pt x="1080" y="259"/>
                  <a:pt x="1080" y="259"/>
                  <a:pt x="1080" y="259"/>
                </a:cubicBezTo>
                <a:cubicBezTo>
                  <a:pt x="1081" y="260"/>
                  <a:pt x="1081" y="260"/>
                  <a:pt x="1081" y="260"/>
                </a:cubicBezTo>
                <a:cubicBezTo>
                  <a:pt x="1082" y="260"/>
                  <a:pt x="1082" y="260"/>
                  <a:pt x="1082" y="260"/>
                </a:cubicBezTo>
                <a:cubicBezTo>
                  <a:pt x="1081" y="260"/>
                  <a:pt x="1081" y="260"/>
                  <a:pt x="1081" y="260"/>
                </a:cubicBezTo>
                <a:cubicBezTo>
                  <a:pt x="1078" y="261"/>
                  <a:pt x="1078" y="261"/>
                  <a:pt x="1078" y="261"/>
                </a:cubicBezTo>
                <a:cubicBezTo>
                  <a:pt x="1077" y="260"/>
                  <a:pt x="1077" y="260"/>
                  <a:pt x="1077" y="260"/>
                </a:cubicBezTo>
                <a:cubicBezTo>
                  <a:pt x="1075" y="261"/>
                  <a:pt x="1075" y="261"/>
                  <a:pt x="1075" y="261"/>
                </a:cubicBezTo>
                <a:cubicBezTo>
                  <a:pt x="1075" y="262"/>
                  <a:pt x="1075" y="262"/>
                  <a:pt x="1075" y="262"/>
                </a:cubicBezTo>
                <a:cubicBezTo>
                  <a:pt x="1076" y="263"/>
                  <a:pt x="1076" y="263"/>
                  <a:pt x="1076" y="263"/>
                </a:cubicBezTo>
                <a:cubicBezTo>
                  <a:pt x="1077" y="263"/>
                  <a:pt x="1077" y="263"/>
                  <a:pt x="1077" y="263"/>
                </a:cubicBezTo>
                <a:cubicBezTo>
                  <a:pt x="1078" y="262"/>
                  <a:pt x="1078" y="262"/>
                  <a:pt x="1078" y="262"/>
                </a:cubicBezTo>
                <a:cubicBezTo>
                  <a:pt x="1080" y="262"/>
                  <a:pt x="1080" y="262"/>
                  <a:pt x="1080" y="262"/>
                </a:cubicBezTo>
                <a:cubicBezTo>
                  <a:pt x="1081" y="263"/>
                  <a:pt x="1081" y="263"/>
                  <a:pt x="1081" y="263"/>
                </a:cubicBezTo>
                <a:cubicBezTo>
                  <a:pt x="1081" y="264"/>
                  <a:pt x="1081" y="264"/>
                  <a:pt x="1081" y="264"/>
                </a:cubicBezTo>
                <a:cubicBezTo>
                  <a:pt x="1078" y="265"/>
                  <a:pt x="1078" y="265"/>
                  <a:pt x="1078" y="265"/>
                </a:cubicBezTo>
                <a:cubicBezTo>
                  <a:pt x="1078" y="266"/>
                  <a:pt x="1078" y="266"/>
                  <a:pt x="1078" y="266"/>
                </a:cubicBezTo>
                <a:cubicBezTo>
                  <a:pt x="1079" y="268"/>
                  <a:pt x="1079" y="268"/>
                  <a:pt x="1079" y="268"/>
                </a:cubicBezTo>
                <a:cubicBezTo>
                  <a:pt x="1079" y="268"/>
                  <a:pt x="1079" y="268"/>
                  <a:pt x="1079" y="268"/>
                </a:cubicBezTo>
                <a:cubicBezTo>
                  <a:pt x="1080" y="267"/>
                  <a:pt x="1080" y="267"/>
                  <a:pt x="1080" y="267"/>
                </a:cubicBezTo>
                <a:cubicBezTo>
                  <a:pt x="1081" y="267"/>
                  <a:pt x="1081" y="267"/>
                  <a:pt x="1081" y="267"/>
                </a:cubicBezTo>
                <a:cubicBezTo>
                  <a:pt x="1082" y="268"/>
                  <a:pt x="1082" y="268"/>
                  <a:pt x="1082" y="268"/>
                </a:cubicBezTo>
                <a:cubicBezTo>
                  <a:pt x="1082" y="267"/>
                  <a:pt x="1082" y="267"/>
                  <a:pt x="1082" y="267"/>
                </a:cubicBezTo>
                <a:cubicBezTo>
                  <a:pt x="1083" y="267"/>
                  <a:pt x="1083" y="267"/>
                  <a:pt x="1083" y="267"/>
                </a:cubicBezTo>
                <a:cubicBezTo>
                  <a:pt x="1084" y="268"/>
                  <a:pt x="1084" y="268"/>
                  <a:pt x="1084" y="268"/>
                </a:cubicBezTo>
                <a:cubicBezTo>
                  <a:pt x="1083" y="268"/>
                  <a:pt x="1083" y="268"/>
                  <a:pt x="1083" y="268"/>
                </a:cubicBezTo>
                <a:cubicBezTo>
                  <a:pt x="1083" y="270"/>
                  <a:pt x="1083" y="270"/>
                  <a:pt x="1083" y="270"/>
                </a:cubicBezTo>
                <a:cubicBezTo>
                  <a:pt x="1084" y="270"/>
                  <a:pt x="1084" y="270"/>
                  <a:pt x="1084" y="270"/>
                </a:cubicBezTo>
                <a:cubicBezTo>
                  <a:pt x="1082" y="273"/>
                  <a:pt x="1082" y="273"/>
                  <a:pt x="1082" y="273"/>
                </a:cubicBezTo>
                <a:cubicBezTo>
                  <a:pt x="1081" y="273"/>
                  <a:pt x="1081" y="273"/>
                  <a:pt x="1081" y="273"/>
                </a:cubicBezTo>
                <a:cubicBezTo>
                  <a:pt x="1080" y="274"/>
                  <a:pt x="1080" y="274"/>
                  <a:pt x="1080" y="274"/>
                </a:cubicBezTo>
                <a:cubicBezTo>
                  <a:pt x="1079" y="276"/>
                  <a:pt x="1079" y="276"/>
                  <a:pt x="1079" y="276"/>
                </a:cubicBezTo>
                <a:cubicBezTo>
                  <a:pt x="1080" y="276"/>
                  <a:pt x="1080" y="276"/>
                  <a:pt x="1080" y="276"/>
                </a:cubicBezTo>
                <a:cubicBezTo>
                  <a:pt x="1081" y="276"/>
                  <a:pt x="1081" y="276"/>
                  <a:pt x="1081" y="276"/>
                </a:cubicBezTo>
                <a:cubicBezTo>
                  <a:pt x="1082" y="275"/>
                  <a:pt x="1082" y="275"/>
                  <a:pt x="1082" y="275"/>
                </a:cubicBezTo>
                <a:cubicBezTo>
                  <a:pt x="1083" y="276"/>
                  <a:pt x="1083" y="276"/>
                  <a:pt x="1083" y="276"/>
                </a:cubicBezTo>
                <a:cubicBezTo>
                  <a:pt x="1083" y="277"/>
                  <a:pt x="1083" y="277"/>
                  <a:pt x="1083" y="277"/>
                </a:cubicBezTo>
                <a:cubicBezTo>
                  <a:pt x="1083" y="278"/>
                  <a:pt x="1083" y="278"/>
                  <a:pt x="1083" y="278"/>
                </a:cubicBezTo>
                <a:cubicBezTo>
                  <a:pt x="1083" y="278"/>
                  <a:pt x="1083" y="278"/>
                  <a:pt x="1083" y="278"/>
                </a:cubicBezTo>
                <a:cubicBezTo>
                  <a:pt x="1084" y="278"/>
                  <a:pt x="1084" y="278"/>
                  <a:pt x="1084" y="278"/>
                </a:cubicBezTo>
                <a:cubicBezTo>
                  <a:pt x="1085" y="279"/>
                  <a:pt x="1085" y="279"/>
                  <a:pt x="1085" y="279"/>
                </a:cubicBezTo>
                <a:cubicBezTo>
                  <a:pt x="1085" y="280"/>
                  <a:pt x="1085" y="280"/>
                  <a:pt x="1085" y="280"/>
                </a:cubicBezTo>
                <a:cubicBezTo>
                  <a:pt x="1084" y="280"/>
                  <a:pt x="1084" y="280"/>
                  <a:pt x="1084" y="280"/>
                </a:cubicBezTo>
                <a:cubicBezTo>
                  <a:pt x="1085" y="281"/>
                  <a:pt x="1085" y="281"/>
                  <a:pt x="1085" y="281"/>
                </a:cubicBezTo>
                <a:cubicBezTo>
                  <a:pt x="1084" y="282"/>
                  <a:pt x="1084" y="282"/>
                  <a:pt x="1084" y="282"/>
                </a:cubicBezTo>
                <a:cubicBezTo>
                  <a:pt x="1083" y="283"/>
                  <a:pt x="1083" y="283"/>
                  <a:pt x="1083" y="283"/>
                </a:cubicBezTo>
                <a:cubicBezTo>
                  <a:pt x="1082" y="284"/>
                  <a:pt x="1082" y="284"/>
                  <a:pt x="1082" y="284"/>
                </a:cubicBezTo>
                <a:cubicBezTo>
                  <a:pt x="1084" y="284"/>
                  <a:pt x="1084" y="284"/>
                  <a:pt x="1084" y="284"/>
                </a:cubicBezTo>
                <a:cubicBezTo>
                  <a:pt x="1085" y="283"/>
                  <a:pt x="1085" y="283"/>
                  <a:pt x="1085" y="283"/>
                </a:cubicBezTo>
                <a:cubicBezTo>
                  <a:pt x="1086" y="282"/>
                  <a:pt x="1086" y="282"/>
                  <a:pt x="1086" y="282"/>
                </a:cubicBezTo>
                <a:cubicBezTo>
                  <a:pt x="1088" y="281"/>
                  <a:pt x="1088" y="281"/>
                  <a:pt x="1088" y="281"/>
                </a:cubicBezTo>
                <a:cubicBezTo>
                  <a:pt x="1089" y="282"/>
                  <a:pt x="1089" y="282"/>
                  <a:pt x="1089" y="282"/>
                </a:cubicBezTo>
                <a:cubicBezTo>
                  <a:pt x="1088" y="283"/>
                  <a:pt x="1088" y="283"/>
                  <a:pt x="1088" y="283"/>
                </a:cubicBezTo>
                <a:cubicBezTo>
                  <a:pt x="1088" y="284"/>
                  <a:pt x="1088" y="284"/>
                  <a:pt x="1088" y="284"/>
                </a:cubicBezTo>
                <a:cubicBezTo>
                  <a:pt x="1087" y="285"/>
                  <a:pt x="1087" y="285"/>
                  <a:pt x="1087" y="285"/>
                </a:cubicBezTo>
                <a:cubicBezTo>
                  <a:pt x="1086" y="286"/>
                  <a:pt x="1086" y="286"/>
                  <a:pt x="1086" y="286"/>
                </a:cubicBezTo>
                <a:cubicBezTo>
                  <a:pt x="1085" y="286"/>
                  <a:pt x="1085" y="286"/>
                  <a:pt x="1085" y="286"/>
                </a:cubicBezTo>
                <a:cubicBezTo>
                  <a:pt x="1084" y="286"/>
                  <a:pt x="1084" y="286"/>
                  <a:pt x="1084" y="286"/>
                </a:cubicBezTo>
                <a:cubicBezTo>
                  <a:pt x="1083" y="287"/>
                  <a:pt x="1083" y="287"/>
                  <a:pt x="1083" y="287"/>
                </a:cubicBezTo>
                <a:cubicBezTo>
                  <a:pt x="1084" y="288"/>
                  <a:pt x="1084" y="288"/>
                  <a:pt x="1084" y="288"/>
                </a:cubicBezTo>
                <a:cubicBezTo>
                  <a:pt x="1085" y="287"/>
                  <a:pt x="1085" y="287"/>
                  <a:pt x="1085" y="287"/>
                </a:cubicBezTo>
                <a:cubicBezTo>
                  <a:pt x="1086" y="286"/>
                  <a:pt x="1086" y="286"/>
                  <a:pt x="1086" y="286"/>
                </a:cubicBezTo>
                <a:cubicBezTo>
                  <a:pt x="1088" y="287"/>
                  <a:pt x="1088" y="287"/>
                  <a:pt x="1088" y="287"/>
                </a:cubicBezTo>
                <a:cubicBezTo>
                  <a:pt x="1089" y="287"/>
                  <a:pt x="1089" y="287"/>
                  <a:pt x="1089" y="287"/>
                </a:cubicBezTo>
                <a:cubicBezTo>
                  <a:pt x="1088" y="288"/>
                  <a:pt x="1088" y="288"/>
                  <a:pt x="1088" y="288"/>
                </a:cubicBezTo>
                <a:cubicBezTo>
                  <a:pt x="1086" y="289"/>
                  <a:pt x="1086" y="289"/>
                  <a:pt x="1086" y="289"/>
                </a:cubicBezTo>
                <a:cubicBezTo>
                  <a:pt x="1086" y="291"/>
                  <a:pt x="1086" y="291"/>
                  <a:pt x="1086" y="291"/>
                </a:cubicBezTo>
                <a:cubicBezTo>
                  <a:pt x="1085" y="291"/>
                  <a:pt x="1085" y="291"/>
                  <a:pt x="1085" y="291"/>
                </a:cubicBezTo>
                <a:cubicBezTo>
                  <a:pt x="1083" y="292"/>
                  <a:pt x="1083" y="292"/>
                  <a:pt x="1083" y="292"/>
                </a:cubicBezTo>
                <a:cubicBezTo>
                  <a:pt x="1083" y="293"/>
                  <a:pt x="1083" y="293"/>
                  <a:pt x="1083" y="293"/>
                </a:cubicBezTo>
                <a:cubicBezTo>
                  <a:pt x="1084" y="294"/>
                  <a:pt x="1084" y="294"/>
                  <a:pt x="1084" y="294"/>
                </a:cubicBezTo>
                <a:cubicBezTo>
                  <a:pt x="1087" y="293"/>
                  <a:pt x="1087" y="293"/>
                  <a:pt x="1087" y="293"/>
                </a:cubicBezTo>
                <a:cubicBezTo>
                  <a:pt x="1088" y="292"/>
                  <a:pt x="1088" y="292"/>
                  <a:pt x="1088" y="292"/>
                </a:cubicBezTo>
                <a:cubicBezTo>
                  <a:pt x="1090" y="292"/>
                  <a:pt x="1090" y="292"/>
                  <a:pt x="1090" y="292"/>
                </a:cubicBezTo>
                <a:cubicBezTo>
                  <a:pt x="1091" y="292"/>
                  <a:pt x="1091" y="292"/>
                  <a:pt x="1091" y="292"/>
                </a:cubicBezTo>
                <a:cubicBezTo>
                  <a:pt x="1092" y="293"/>
                  <a:pt x="1092" y="293"/>
                  <a:pt x="1092" y="293"/>
                </a:cubicBezTo>
                <a:cubicBezTo>
                  <a:pt x="1091" y="293"/>
                  <a:pt x="1091" y="293"/>
                  <a:pt x="1091" y="293"/>
                </a:cubicBezTo>
                <a:cubicBezTo>
                  <a:pt x="1090" y="293"/>
                  <a:pt x="1090" y="293"/>
                  <a:pt x="1090" y="293"/>
                </a:cubicBezTo>
                <a:cubicBezTo>
                  <a:pt x="1087" y="294"/>
                  <a:pt x="1087" y="294"/>
                  <a:pt x="1087" y="294"/>
                </a:cubicBezTo>
                <a:cubicBezTo>
                  <a:pt x="1087" y="295"/>
                  <a:pt x="1087" y="295"/>
                  <a:pt x="1087" y="295"/>
                </a:cubicBezTo>
                <a:cubicBezTo>
                  <a:pt x="1089" y="295"/>
                  <a:pt x="1089" y="295"/>
                  <a:pt x="1089" y="295"/>
                </a:cubicBezTo>
                <a:cubicBezTo>
                  <a:pt x="1089" y="296"/>
                  <a:pt x="1089" y="296"/>
                  <a:pt x="1089" y="296"/>
                </a:cubicBezTo>
                <a:cubicBezTo>
                  <a:pt x="1088" y="297"/>
                  <a:pt x="1088" y="297"/>
                  <a:pt x="1088" y="297"/>
                </a:cubicBezTo>
                <a:cubicBezTo>
                  <a:pt x="1088" y="299"/>
                  <a:pt x="1088" y="299"/>
                  <a:pt x="1088" y="299"/>
                </a:cubicBezTo>
                <a:cubicBezTo>
                  <a:pt x="1090" y="299"/>
                  <a:pt x="1090" y="299"/>
                  <a:pt x="1090" y="299"/>
                </a:cubicBezTo>
                <a:cubicBezTo>
                  <a:pt x="1092" y="297"/>
                  <a:pt x="1092" y="297"/>
                  <a:pt x="1092" y="297"/>
                </a:cubicBezTo>
                <a:cubicBezTo>
                  <a:pt x="1093" y="297"/>
                  <a:pt x="1093" y="297"/>
                  <a:pt x="1093" y="297"/>
                </a:cubicBezTo>
                <a:cubicBezTo>
                  <a:pt x="1094" y="298"/>
                  <a:pt x="1094" y="298"/>
                  <a:pt x="1094" y="298"/>
                </a:cubicBezTo>
                <a:cubicBezTo>
                  <a:pt x="1095" y="299"/>
                  <a:pt x="1095" y="299"/>
                  <a:pt x="1095" y="299"/>
                </a:cubicBezTo>
                <a:cubicBezTo>
                  <a:pt x="1095" y="301"/>
                  <a:pt x="1095" y="301"/>
                  <a:pt x="1095" y="301"/>
                </a:cubicBezTo>
                <a:cubicBezTo>
                  <a:pt x="1097" y="302"/>
                  <a:pt x="1097" y="302"/>
                  <a:pt x="1097" y="302"/>
                </a:cubicBezTo>
                <a:cubicBezTo>
                  <a:pt x="1097" y="302"/>
                  <a:pt x="1097" y="302"/>
                  <a:pt x="1097" y="302"/>
                </a:cubicBezTo>
                <a:cubicBezTo>
                  <a:pt x="1096" y="303"/>
                  <a:pt x="1096" y="303"/>
                  <a:pt x="1096" y="303"/>
                </a:cubicBezTo>
                <a:cubicBezTo>
                  <a:pt x="1094" y="303"/>
                  <a:pt x="1094" y="303"/>
                  <a:pt x="1094" y="303"/>
                </a:cubicBezTo>
                <a:cubicBezTo>
                  <a:pt x="1093" y="305"/>
                  <a:pt x="1093" y="305"/>
                  <a:pt x="1093" y="305"/>
                </a:cubicBezTo>
                <a:cubicBezTo>
                  <a:pt x="1094" y="306"/>
                  <a:pt x="1094" y="306"/>
                  <a:pt x="1094" y="306"/>
                </a:cubicBezTo>
                <a:cubicBezTo>
                  <a:pt x="1097" y="306"/>
                  <a:pt x="1097" y="306"/>
                  <a:pt x="1097" y="306"/>
                </a:cubicBezTo>
                <a:cubicBezTo>
                  <a:pt x="1097" y="306"/>
                  <a:pt x="1097" y="306"/>
                  <a:pt x="1097" y="306"/>
                </a:cubicBezTo>
                <a:cubicBezTo>
                  <a:pt x="1097" y="305"/>
                  <a:pt x="1097" y="305"/>
                  <a:pt x="1097" y="305"/>
                </a:cubicBezTo>
                <a:cubicBezTo>
                  <a:pt x="1097" y="304"/>
                  <a:pt x="1097" y="304"/>
                  <a:pt x="1097" y="304"/>
                </a:cubicBezTo>
                <a:cubicBezTo>
                  <a:pt x="1098" y="304"/>
                  <a:pt x="1098" y="304"/>
                  <a:pt x="1098" y="304"/>
                </a:cubicBezTo>
                <a:cubicBezTo>
                  <a:pt x="1099" y="304"/>
                  <a:pt x="1099" y="304"/>
                  <a:pt x="1099" y="304"/>
                </a:cubicBezTo>
                <a:cubicBezTo>
                  <a:pt x="1100" y="303"/>
                  <a:pt x="1100" y="303"/>
                  <a:pt x="1100" y="303"/>
                </a:cubicBezTo>
                <a:cubicBezTo>
                  <a:pt x="1102" y="303"/>
                  <a:pt x="1102" y="303"/>
                  <a:pt x="1102" y="303"/>
                </a:cubicBezTo>
                <a:cubicBezTo>
                  <a:pt x="1103" y="304"/>
                  <a:pt x="1103" y="304"/>
                  <a:pt x="1103" y="304"/>
                </a:cubicBezTo>
                <a:cubicBezTo>
                  <a:pt x="1104" y="304"/>
                  <a:pt x="1104" y="304"/>
                  <a:pt x="1104" y="304"/>
                </a:cubicBezTo>
                <a:cubicBezTo>
                  <a:pt x="1105" y="304"/>
                  <a:pt x="1105" y="304"/>
                  <a:pt x="1105" y="304"/>
                </a:cubicBezTo>
                <a:cubicBezTo>
                  <a:pt x="1106" y="302"/>
                  <a:pt x="1106" y="302"/>
                  <a:pt x="1106" y="302"/>
                </a:cubicBezTo>
                <a:cubicBezTo>
                  <a:pt x="1107" y="302"/>
                  <a:pt x="1107" y="302"/>
                  <a:pt x="1107" y="302"/>
                </a:cubicBezTo>
                <a:cubicBezTo>
                  <a:pt x="1108" y="302"/>
                  <a:pt x="1108" y="302"/>
                  <a:pt x="1108" y="302"/>
                </a:cubicBezTo>
                <a:cubicBezTo>
                  <a:pt x="1109" y="301"/>
                  <a:pt x="1109" y="301"/>
                  <a:pt x="1109" y="301"/>
                </a:cubicBezTo>
                <a:cubicBezTo>
                  <a:pt x="1110" y="302"/>
                  <a:pt x="1110" y="302"/>
                  <a:pt x="1110" y="302"/>
                </a:cubicBezTo>
                <a:cubicBezTo>
                  <a:pt x="1112" y="301"/>
                  <a:pt x="1112" y="301"/>
                  <a:pt x="1112" y="301"/>
                </a:cubicBezTo>
                <a:cubicBezTo>
                  <a:pt x="1112" y="300"/>
                  <a:pt x="1112" y="300"/>
                  <a:pt x="1112" y="300"/>
                </a:cubicBezTo>
                <a:cubicBezTo>
                  <a:pt x="1111" y="299"/>
                  <a:pt x="1111" y="299"/>
                  <a:pt x="1111" y="299"/>
                </a:cubicBezTo>
                <a:cubicBezTo>
                  <a:pt x="1111" y="298"/>
                  <a:pt x="1111" y="298"/>
                  <a:pt x="1111" y="298"/>
                </a:cubicBezTo>
                <a:cubicBezTo>
                  <a:pt x="1112" y="298"/>
                  <a:pt x="1112" y="298"/>
                  <a:pt x="1112" y="298"/>
                </a:cubicBezTo>
                <a:cubicBezTo>
                  <a:pt x="1113" y="298"/>
                  <a:pt x="1113" y="298"/>
                  <a:pt x="1113" y="298"/>
                </a:cubicBezTo>
                <a:cubicBezTo>
                  <a:pt x="1114" y="300"/>
                  <a:pt x="1114" y="300"/>
                  <a:pt x="1114" y="300"/>
                </a:cubicBezTo>
                <a:cubicBezTo>
                  <a:pt x="1113" y="302"/>
                  <a:pt x="1113" y="302"/>
                  <a:pt x="1113" y="302"/>
                </a:cubicBezTo>
                <a:cubicBezTo>
                  <a:pt x="1112" y="303"/>
                  <a:pt x="1112" y="303"/>
                  <a:pt x="1112" y="303"/>
                </a:cubicBezTo>
                <a:cubicBezTo>
                  <a:pt x="1111" y="303"/>
                  <a:pt x="1111" y="303"/>
                  <a:pt x="1111" y="303"/>
                </a:cubicBezTo>
                <a:cubicBezTo>
                  <a:pt x="1110" y="304"/>
                  <a:pt x="1110" y="304"/>
                  <a:pt x="1110" y="304"/>
                </a:cubicBezTo>
                <a:cubicBezTo>
                  <a:pt x="1110" y="305"/>
                  <a:pt x="1110" y="305"/>
                  <a:pt x="1110" y="305"/>
                </a:cubicBezTo>
                <a:cubicBezTo>
                  <a:pt x="1112" y="304"/>
                  <a:pt x="1112" y="304"/>
                  <a:pt x="1112" y="304"/>
                </a:cubicBezTo>
                <a:cubicBezTo>
                  <a:pt x="1115" y="302"/>
                  <a:pt x="1115" y="302"/>
                  <a:pt x="1115" y="302"/>
                </a:cubicBezTo>
                <a:cubicBezTo>
                  <a:pt x="1117" y="300"/>
                  <a:pt x="1117" y="300"/>
                  <a:pt x="1117" y="300"/>
                </a:cubicBezTo>
                <a:cubicBezTo>
                  <a:pt x="1118" y="300"/>
                  <a:pt x="1118" y="300"/>
                  <a:pt x="1118" y="300"/>
                </a:cubicBezTo>
                <a:cubicBezTo>
                  <a:pt x="1119" y="301"/>
                  <a:pt x="1119" y="301"/>
                  <a:pt x="1119" y="301"/>
                </a:cubicBezTo>
                <a:cubicBezTo>
                  <a:pt x="1119" y="302"/>
                  <a:pt x="1119" y="302"/>
                  <a:pt x="1119" y="302"/>
                </a:cubicBezTo>
                <a:cubicBezTo>
                  <a:pt x="1117" y="303"/>
                  <a:pt x="1117" y="303"/>
                  <a:pt x="1117" y="303"/>
                </a:cubicBezTo>
                <a:cubicBezTo>
                  <a:pt x="1116" y="304"/>
                  <a:pt x="1116" y="304"/>
                  <a:pt x="1116" y="304"/>
                </a:cubicBezTo>
                <a:cubicBezTo>
                  <a:pt x="1114" y="305"/>
                  <a:pt x="1114" y="305"/>
                  <a:pt x="1114" y="305"/>
                </a:cubicBezTo>
                <a:cubicBezTo>
                  <a:pt x="1113" y="306"/>
                  <a:pt x="1113" y="306"/>
                  <a:pt x="1113" y="306"/>
                </a:cubicBezTo>
                <a:cubicBezTo>
                  <a:pt x="1112" y="306"/>
                  <a:pt x="1112" y="306"/>
                  <a:pt x="1112" y="306"/>
                </a:cubicBezTo>
                <a:cubicBezTo>
                  <a:pt x="1112" y="307"/>
                  <a:pt x="1112" y="307"/>
                  <a:pt x="1112" y="307"/>
                </a:cubicBezTo>
                <a:cubicBezTo>
                  <a:pt x="1114" y="306"/>
                  <a:pt x="1114" y="306"/>
                  <a:pt x="1114" y="306"/>
                </a:cubicBezTo>
                <a:cubicBezTo>
                  <a:pt x="1116" y="305"/>
                  <a:pt x="1116" y="305"/>
                  <a:pt x="1116" y="305"/>
                </a:cubicBezTo>
                <a:cubicBezTo>
                  <a:pt x="1117" y="305"/>
                  <a:pt x="1117" y="305"/>
                  <a:pt x="1117" y="305"/>
                </a:cubicBezTo>
                <a:cubicBezTo>
                  <a:pt x="1115" y="307"/>
                  <a:pt x="1115" y="307"/>
                  <a:pt x="1115" y="307"/>
                </a:cubicBezTo>
                <a:cubicBezTo>
                  <a:pt x="1113" y="307"/>
                  <a:pt x="1113" y="307"/>
                  <a:pt x="1113" y="307"/>
                </a:cubicBezTo>
                <a:cubicBezTo>
                  <a:pt x="1113" y="309"/>
                  <a:pt x="1113" y="309"/>
                  <a:pt x="1113" y="309"/>
                </a:cubicBezTo>
                <a:cubicBezTo>
                  <a:pt x="1110" y="311"/>
                  <a:pt x="1110" y="311"/>
                  <a:pt x="1110" y="311"/>
                </a:cubicBezTo>
                <a:cubicBezTo>
                  <a:pt x="1110" y="312"/>
                  <a:pt x="1110" y="312"/>
                  <a:pt x="1110" y="312"/>
                </a:cubicBezTo>
                <a:cubicBezTo>
                  <a:pt x="1111" y="312"/>
                  <a:pt x="1111" y="312"/>
                  <a:pt x="1111" y="312"/>
                </a:cubicBezTo>
                <a:cubicBezTo>
                  <a:pt x="1112" y="311"/>
                  <a:pt x="1112" y="311"/>
                  <a:pt x="1112" y="311"/>
                </a:cubicBezTo>
                <a:cubicBezTo>
                  <a:pt x="1112" y="311"/>
                  <a:pt x="1112" y="311"/>
                  <a:pt x="1112" y="311"/>
                </a:cubicBezTo>
                <a:cubicBezTo>
                  <a:pt x="1113" y="311"/>
                  <a:pt x="1113" y="311"/>
                  <a:pt x="1113" y="311"/>
                </a:cubicBezTo>
                <a:cubicBezTo>
                  <a:pt x="1113" y="313"/>
                  <a:pt x="1113" y="313"/>
                  <a:pt x="1113" y="313"/>
                </a:cubicBezTo>
                <a:cubicBezTo>
                  <a:pt x="1114" y="312"/>
                  <a:pt x="1114" y="312"/>
                  <a:pt x="1114" y="312"/>
                </a:cubicBezTo>
                <a:cubicBezTo>
                  <a:pt x="1115" y="311"/>
                  <a:pt x="1115" y="311"/>
                  <a:pt x="1115" y="311"/>
                </a:cubicBezTo>
                <a:cubicBezTo>
                  <a:pt x="1116" y="310"/>
                  <a:pt x="1116" y="310"/>
                  <a:pt x="1116" y="310"/>
                </a:cubicBezTo>
                <a:cubicBezTo>
                  <a:pt x="1116" y="310"/>
                  <a:pt x="1116" y="310"/>
                  <a:pt x="1116" y="310"/>
                </a:cubicBezTo>
                <a:cubicBezTo>
                  <a:pt x="1117" y="310"/>
                  <a:pt x="1117" y="310"/>
                  <a:pt x="1117" y="310"/>
                </a:cubicBezTo>
                <a:cubicBezTo>
                  <a:pt x="1116" y="311"/>
                  <a:pt x="1116" y="311"/>
                  <a:pt x="1116" y="311"/>
                </a:cubicBezTo>
                <a:cubicBezTo>
                  <a:pt x="1115" y="313"/>
                  <a:pt x="1115" y="313"/>
                  <a:pt x="1115" y="313"/>
                </a:cubicBezTo>
                <a:cubicBezTo>
                  <a:pt x="1115" y="313"/>
                  <a:pt x="1115" y="313"/>
                  <a:pt x="1115" y="313"/>
                </a:cubicBezTo>
                <a:cubicBezTo>
                  <a:pt x="1117" y="313"/>
                  <a:pt x="1117" y="313"/>
                  <a:pt x="1117" y="313"/>
                </a:cubicBezTo>
                <a:cubicBezTo>
                  <a:pt x="1118" y="312"/>
                  <a:pt x="1118" y="312"/>
                  <a:pt x="1118" y="312"/>
                </a:cubicBezTo>
                <a:cubicBezTo>
                  <a:pt x="1118" y="312"/>
                  <a:pt x="1118" y="312"/>
                  <a:pt x="1118" y="312"/>
                </a:cubicBezTo>
                <a:cubicBezTo>
                  <a:pt x="1120" y="311"/>
                  <a:pt x="1120" y="311"/>
                  <a:pt x="1120" y="311"/>
                </a:cubicBezTo>
                <a:cubicBezTo>
                  <a:pt x="1118" y="313"/>
                  <a:pt x="1118" y="313"/>
                  <a:pt x="1118" y="313"/>
                </a:cubicBezTo>
                <a:cubicBezTo>
                  <a:pt x="1118" y="315"/>
                  <a:pt x="1118" y="315"/>
                  <a:pt x="1118" y="315"/>
                </a:cubicBezTo>
                <a:cubicBezTo>
                  <a:pt x="1116" y="317"/>
                  <a:pt x="1116" y="317"/>
                  <a:pt x="1116" y="317"/>
                </a:cubicBezTo>
                <a:cubicBezTo>
                  <a:pt x="1116" y="318"/>
                  <a:pt x="1116" y="318"/>
                  <a:pt x="1116" y="318"/>
                </a:cubicBezTo>
                <a:cubicBezTo>
                  <a:pt x="1117" y="318"/>
                  <a:pt x="1117" y="318"/>
                  <a:pt x="1117" y="318"/>
                </a:cubicBezTo>
                <a:cubicBezTo>
                  <a:pt x="1118" y="317"/>
                  <a:pt x="1118" y="317"/>
                  <a:pt x="1118" y="317"/>
                </a:cubicBezTo>
                <a:cubicBezTo>
                  <a:pt x="1120" y="313"/>
                  <a:pt x="1120" y="313"/>
                  <a:pt x="1120" y="313"/>
                </a:cubicBezTo>
                <a:cubicBezTo>
                  <a:pt x="1121" y="312"/>
                  <a:pt x="1121" y="312"/>
                  <a:pt x="1121" y="312"/>
                </a:cubicBezTo>
                <a:cubicBezTo>
                  <a:pt x="1121" y="313"/>
                  <a:pt x="1121" y="313"/>
                  <a:pt x="1121" y="313"/>
                </a:cubicBezTo>
                <a:cubicBezTo>
                  <a:pt x="1120" y="315"/>
                  <a:pt x="1120" y="315"/>
                  <a:pt x="1120" y="315"/>
                </a:cubicBezTo>
                <a:cubicBezTo>
                  <a:pt x="1120" y="317"/>
                  <a:pt x="1120" y="317"/>
                  <a:pt x="1120" y="317"/>
                </a:cubicBezTo>
                <a:cubicBezTo>
                  <a:pt x="1119" y="318"/>
                  <a:pt x="1119" y="318"/>
                  <a:pt x="1119" y="318"/>
                </a:cubicBezTo>
                <a:cubicBezTo>
                  <a:pt x="1118" y="320"/>
                  <a:pt x="1118" y="320"/>
                  <a:pt x="1118" y="320"/>
                </a:cubicBezTo>
                <a:cubicBezTo>
                  <a:pt x="1120" y="321"/>
                  <a:pt x="1120" y="321"/>
                  <a:pt x="1120" y="321"/>
                </a:cubicBezTo>
                <a:cubicBezTo>
                  <a:pt x="1120" y="320"/>
                  <a:pt x="1120" y="320"/>
                  <a:pt x="1120" y="320"/>
                </a:cubicBezTo>
                <a:cubicBezTo>
                  <a:pt x="1120" y="318"/>
                  <a:pt x="1120" y="318"/>
                  <a:pt x="1120" y="318"/>
                </a:cubicBezTo>
                <a:cubicBezTo>
                  <a:pt x="1121" y="317"/>
                  <a:pt x="1121" y="317"/>
                  <a:pt x="1121" y="317"/>
                </a:cubicBezTo>
                <a:cubicBezTo>
                  <a:pt x="1121" y="317"/>
                  <a:pt x="1121" y="317"/>
                  <a:pt x="1121" y="317"/>
                </a:cubicBezTo>
                <a:cubicBezTo>
                  <a:pt x="1123" y="318"/>
                  <a:pt x="1123" y="318"/>
                  <a:pt x="1123" y="318"/>
                </a:cubicBezTo>
                <a:cubicBezTo>
                  <a:pt x="1123" y="315"/>
                  <a:pt x="1123" y="315"/>
                  <a:pt x="1123" y="315"/>
                </a:cubicBezTo>
                <a:cubicBezTo>
                  <a:pt x="1123" y="315"/>
                  <a:pt x="1123" y="315"/>
                  <a:pt x="1123" y="315"/>
                </a:cubicBezTo>
                <a:cubicBezTo>
                  <a:pt x="1124" y="314"/>
                  <a:pt x="1124" y="314"/>
                  <a:pt x="1124" y="314"/>
                </a:cubicBezTo>
                <a:cubicBezTo>
                  <a:pt x="1125" y="314"/>
                  <a:pt x="1125" y="314"/>
                  <a:pt x="1125" y="314"/>
                </a:cubicBezTo>
                <a:cubicBezTo>
                  <a:pt x="1125" y="315"/>
                  <a:pt x="1125" y="315"/>
                  <a:pt x="1125" y="315"/>
                </a:cubicBezTo>
                <a:cubicBezTo>
                  <a:pt x="1125" y="315"/>
                  <a:pt x="1125" y="315"/>
                  <a:pt x="1125" y="315"/>
                </a:cubicBezTo>
                <a:cubicBezTo>
                  <a:pt x="1124" y="317"/>
                  <a:pt x="1124" y="317"/>
                  <a:pt x="1124" y="317"/>
                </a:cubicBezTo>
                <a:cubicBezTo>
                  <a:pt x="1125" y="318"/>
                  <a:pt x="1125" y="318"/>
                  <a:pt x="1125" y="318"/>
                </a:cubicBezTo>
                <a:cubicBezTo>
                  <a:pt x="1127" y="318"/>
                  <a:pt x="1127" y="318"/>
                  <a:pt x="1127" y="318"/>
                </a:cubicBezTo>
                <a:cubicBezTo>
                  <a:pt x="1132" y="320"/>
                  <a:pt x="1132" y="320"/>
                  <a:pt x="1132" y="320"/>
                </a:cubicBezTo>
                <a:cubicBezTo>
                  <a:pt x="1132" y="320"/>
                  <a:pt x="1132" y="320"/>
                  <a:pt x="1132" y="320"/>
                </a:cubicBezTo>
                <a:cubicBezTo>
                  <a:pt x="1132" y="319"/>
                  <a:pt x="1132" y="319"/>
                  <a:pt x="1132" y="319"/>
                </a:cubicBezTo>
                <a:cubicBezTo>
                  <a:pt x="1133" y="319"/>
                  <a:pt x="1133" y="319"/>
                  <a:pt x="1133" y="319"/>
                </a:cubicBezTo>
                <a:cubicBezTo>
                  <a:pt x="1134" y="318"/>
                  <a:pt x="1134" y="318"/>
                  <a:pt x="1134" y="318"/>
                </a:cubicBezTo>
                <a:cubicBezTo>
                  <a:pt x="1134" y="318"/>
                  <a:pt x="1134" y="318"/>
                  <a:pt x="1134" y="318"/>
                </a:cubicBezTo>
                <a:cubicBezTo>
                  <a:pt x="1134" y="317"/>
                  <a:pt x="1134" y="317"/>
                  <a:pt x="1134" y="317"/>
                </a:cubicBezTo>
                <a:cubicBezTo>
                  <a:pt x="1133" y="317"/>
                  <a:pt x="1133" y="317"/>
                  <a:pt x="1133" y="317"/>
                </a:cubicBezTo>
                <a:cubicBezTo>
                  <a:pt x="1132" y="317"/>
                  <a:pt x="1132" y="317"/>
                  <a:pt x="1132" y="317"/>
                </a:cubicBezTo>
                <a:cubicBezTo>
                  <a:pt x="1131" y="317"/>
                  <a:pt x="1131" y="317"/>
                  <a:pt x="1131" y="317"/>
                </a:cubicBezTo>
                <a:cubicBezTo>
                  <a:pt x="1131" y="316"/>
                  <a:pt x="1131" y="316"/>
                  <a:pt x="1131" y="316"/>
                </a:cubicBezTo>
                <a:cubicBezTo>
                  <a:pt x="1132" y="315"/>
                  <a:pt x="1132" y="315"/>
                  <a:pt x="1132" y="315"/>
                </a:cubicBezTo>
                <a:cubicBezTo>
                  <a:pt x="1132" y="315"/>
                  <a:pt x="1132" y="315"/>
                  <a:pt x="1132" y="315"/>
                </a:cubicBezTo>
                <a:cubicBezTo>
                  <a:pt x="1130" y="314"/>
                  <a:pt x="1130" y="314"/>
                  <a:pt x="1130" y="314"/>
                </a:cubicBezTo>
                <a:cubicBezTo>
                  <a:pt x="1127" y="312"/>
                  <a:pt x="1127" y="312"/>
                  <a:pt x="1127" y="312"/>
                </a:cubicBezTo>
                <a:cubicBezTo>
                  <a:pt x="1126" y="311"/>
                  <a:pt x="1126" y="311"/>
                  <a:pt x="1126" y="311"/>
                </a:cubicBezTo>
                <a:cubicBezTo>
                  <a:pt x="1127" y="311"/>
                  <a:pt x="1127" y="311"/>
                  <a:pt x="1127" y="311"/>
                </a:cubicBezTo>
                <a:cubicBezTo>
                  <a:pt x="1128" y="311"/>
                  <a:pt x="1128" y="311"/>
                  <a:pt x="1128" y="311"/>
                </a:cubicBezTo>
                <a:cubicBezTo>
                  <a:pt x="1129" y="311"/>
                  <a:pt x="1129" y="311"/>
                  <a:pt x="1129" y="311"/>
                </a:cubicBezTo>
                <a:cubicBezTo>
                  <a:pt x="1130" y="311"/>
                  <a:pt x="1130" y="311"/>
                  <a:pt x="1130" y="311"/>
                </a:cubicBezTo>
                <a:cubicBezTo>
                  <a:pt x="1130" y="312"/>
                  <a:pt x="1130" y="312"/>
                  <a:pt x="1130" y="312"/>
                </a:cubicBezTo>
                <a:cubicBezTo>
                  <a:pt x="1132" y="313"/>
                  <a:pt x="1132" y="313"/>
                  <a:pt x="1132" y="313"/>
                </a:cubicBezTo>
                <a:cubicBezTo>
                  <a:pt x="1133" y="314"/>
                  <a:pt x="1133" y="314"/>
                  <a:pt x="1133" y="314"/>
                </a:cubicBezTo>
                <a:cubicBezTo>
                  <a:pt x="1134" y="314"/>
                  <a:pt x="1134" y="314"/>
                  <a:pt x="1134" y="314"/>
                </a:cubicBezTo>
                <a:cubicBezTo>
                  <a:pt x="1136" y="313"/>
                  <a:pt x="1136" y="313"/>
                  <a:pt x="1136" y="313"/>
                </a:cubicBezTo>
                <a:cubicBezTo>
                  <a:pt x="1137" y="312"/>
                  <a:pt x="1137" y="312"/>
                  <a:pt x="1137" y="312"/>
                </a:cubicBezTo>
                <a:cubicBezTo>
                  <a:pt x="1137" y="312"/>
                  <a:pt x="1137" y="312"/>
                  <a:pt x="1137" y="312"/>
                </a:cubicBezTo>
                <a:cubicBezTo>
                  <a:pt x="1136" y="311"/>
                  <a:pt x="1136" y="311"/>
                  <a:pt x="1136" y="311"/>
                </a:cubicBezTo>
                <a:cubicBezTo>
                  <a:pt x="1134" y="312"/>
                  <a:pt x="1134" y="312"/>
                  <a:pt x="1134" y="312"/>
                </a:cubicBezTo>
                <a:cubicBezTo>
                  <a:pt x="1133" y="311"/>
                  <a:pt x="1133" y="311"/>
                  <a:pt x="1133" y="311"/>
                </a:cubicBezTo>
                <a:cubicBezTo>
                  <a:pt x="1133" y="311"/>
                  <a:pt x="1133" y="311"/>
                  <a:pt x="1133" y="311"/>
                </a:cubicBezTo>
                <a:cubicBezTo>
                  <a:pt x="1134" y="311"/>
                  <a:pt x="1134" y="311"/>
                  <a:pt x="1134" y="311"/>
                </a:cubicBezTo>
                <a:cubicBezTo>
                  <a:pt x="1136" y="311"/>
                  <a:pt x="1136" y="311"/>
                  <a:pt x="1136" y="311"/>
                </a:cubicBezTo>
                <a:cubicBezTo>
                  <a:pt x="1137" y="310"/>
                  <a:pt x="1137" y="310"/>
                  <a:pt x="1137" y="310"/>
                </a:cubicBezTo>
                <a:cubicBezTo>
                  <a:pt x="1137" y="309"/>
                  <a:pt x="1137" y="309"/>
                  <a:pt x="1137" y="309"/>
                </a:cubicBezTo>
                <a:cubicBezTo>
                  <a:pt x="1135" y="309"/>
                  <a:pt x="1135" y="309"/>
                  <a:pt x="1135" y="309"/>
                </a:cubicBezTo>
                <a:cubicBezTo>
                  <a:pt x="1134" y="308"/>
                  <a:pt x="1134" y="308"/>
                  <a:pt x="1134" y="308"/>
                </a:cubicBezTo>
                <a:cubicBezTo>
                  <a:pt x="1134" y="308"/>
                  <a:pt x="1134" y="308"/>
                  <a:pt x="1134" y="308"/>
                </a:cubicBezTo>
                <a:cubicBezTo>
                  <a:pt x="1135" y="308"/>
                  <a:pt x="1135" y="308"/>
                  <a:pt x="1135" y="308"/>
                </a:cubicBezTo>
                <a:cubicBezTo>
                  <a:pt x="1135" y="307"/>
                  <a:pt x="1135" y="307"/>
                  <a:pt x="1135" y="307"/>
                </a:cubicBezTo>
                <a:cubicBezTo>
                  <a:pt x="1134" y="307"/>
                  <a:pt x="1134" y="307"/>
                  <a:pt x="1134" y="307"/>
                </a:cubicBezTo>
                <a:cubicBezTo>
                  <a:pt x="1132" y="306"/>
                  <a:pt x="1132" y="306"/>
                  <a:pt x="1132" y="306"/>
                </a:cubicBezTo>
                <a:cubicBezTo>
                  <a:pt x="1132" y="305"/>
                  <a:pt x="1132" y="305"/>
                  <a:pt x="1132" y="305"/>
                </a:cubicBezTo>
                <a:cubicBezTo>
                  <a:pt x="1132" y="305"/>
                  <a:pt x="1132" y="305"/>
                  <a:pt x="1132" y="305"/>
                </a:cubicBezTo>
                <a:cubicBezTo>
                  <a:pt x="1134" y="306"/>
                  <a:pt x="1134" y="306"/>
                  <a:pt x="1134" y="306"/>
                </a:cubicBezTo>
                <a:cubicBezTo>
                  <a:pt x="1136" y="306"/>
                  <a:pt x="1136" y="306"/>
                  <a:pt x="1136" y="306"/>
                </a:cubicBezTo>
                <a:cubicBezTo>
                  <a:pt x="1138" y="306"/>
                  <a:pt x="1138" y="306"/>
                  <a:pt x="1138" y="306"/>
                </a:cubicBezTo>
                <a:cubicBezTo>
                  <a:pt x="1140" y="305"/>
                  <a:pt x="1140" y="305"/>
                  <a:pt x="1140" y="305"/>
                </a:cubicBezTo>
                <a:cubicBezTo>
                  <a:pt x="1140" y="304"/>
                  <a:pt x="1140" y="304"/>
                  <a:pt x="1140" y="304"/>
                </a:cubicBezTo>
                <a:cubicBezTo>
                  <a:pt x="1139" y="303"/>
                  <a:pt x="1139" y="303"/>
                  <a:pt x="1139" y="303"/>
                </a:cubicBezTo>
                <a:cubicBezTo>
                  <a:pt x="1138" y="303"/>
                  <a:pt x="1138" y="303"/>
                  <a:pt x="1138" y="303"/>
                </a:cubicBezTo>
                <a:cubicBezTo>
                  <a:pt x="1134" y="302"/>
                  <a:pt x="1134" y="302"/>
                  <a:pt x="1134" y="302"/>
                </a:cubicBezTo>
                <a:cubicBezTo>
                  <a:pt x="1133" y="302"/>
                  <a:pt x="1133" y="302"/>
                  <a:pt x="1133" y="302"/>
                </a:cubicBezTo>
                <a:cubicBezTo>
                  <a:pt x="1133" y="301"/>
                  <a:pt x="1133" y="301"/>
                  <a:pt x="1133" y="301"/>
                </a:cubicBezTo>
                <a:cubicBezTo>
                  <a:pt x="1134" y="301"/>
                  <a:pt x="1134" y="301"/>
                  <a:pt x="1134" y="301"/>
                </a:cubicBezTo>
                <a:cubicBezTo>
                  <a:pt x="1135" y="302"/>
                  <a:pt x="1135" y="302"/>
                  <a:pt x="1135" y="302"/>
                </a:cubicBezTo>
                <a:cubicBezTo>
                  <a:pt x="1137" y="302"/>
                  <a:pt x="1137" y="302"/>
                  <a:pt x="1137" y="302"/>
                </a:cubicBezTo>
                <a:cubicBezTo>
                  <a:pt x="1139" y="301"/>
                  <a:pt x="1139" y="301"/>
                  <a:pt x="1139" y="301"/>
                </a:cubicBezTo>
                <a:cubicBezTo>
                  <a:pt x="1139" y="300"/>
                  <a:pt x="1139" y="300"/>
                  <a:pt x="1139" y="300"/>
                </a:cubicBezTo>
                <a:cubicBezTo>
                  <a:pt x="1138" y="299"/>
                  <a:pt x="1138" y="299"/>
                  <a:pt x="1138" y="299"/>
                </a:cubicBezTo>
                <a:cubicBezTo>
                  <a:pt x="1136" y="298"/>
                  <a:pt x="1136" y="298"/>
                  <a:pt x="1136" y="298"/>
                </a:cubicBezTo>
                <a:cubicBezTo>
                  <a:pt x="1136" y="297"/>
                  <a:pt x="1136" y="297"/>
                  <a:pt x="1136" y="297"/>
                </a:cubicBezTo>
                <a:cubicBezTo>
                  <a:pt x="1137" y="297"/>
                  <a:pt x="1137" y="297"/>
                  <a:pt x="1137" y="297"/>
                </a:cubicBezTo>
                <a:cubicBezTo>
                  <a:pt x="1138" y="298"/>
                  <a:pt x="1138" y="298"/>
                  <a:pt x="1138" y="298"/>
                </a:cubicBezTo>
                <a:cubicBezTo>
                  <a:pt x="1139" y="299"/>
                  <a:pt x="1139" y="299"/>
                  <a:pt x="1139" y="299"/>
                </a:cubicBezTo>
                <a:cubicBezTo>
                  <a:pt x="1140" y="298"/>
                  <a:pt x="1140" y="298"/>
                  <a:pt x="1140" y="298"/>
                </a:cubicBezTo>
                <a:cubicBezTo>
                  <a:pt x="1141" y="297"/>
                  <a:pt x="1141" y="297"/>
                  <a:pt x="1141" y="297"/>
                </a:cubicBezTo>
                <a:cubicBezTo>
                  <a:pt x="1141" y="296"/>
                  <a:pt x="1141" y="296"/>
                  <a:pt x="1141" y="296"/>
                </a:cubicBezTo>
                <a:cubicBezTo>
                  <a:pt x="1140" y="296"/>
                  <a:pt x="1140" y="296"/>
                  <a:pt x="1140" y="296"/>
                </a:cubicBezTo>
                <a:cubicBezTo>
                  <a:pt x="1139" y="295"/>
                  <a:pt x="1139" y="295"/>
                  <a:pt x="1139" y="295"/>
                </a:cubicBezTo>
                <a:cubicBezTo>
                  <a:pt x="1139" y="294"/>
                  <a:pt x="1139" y="294"/>
                  <a:pt x="1139" y="294"/>
                </a:cubicBezTo>
                <a:cubicBezTo>
                  <a:pt x="1140" y="294"/>
                  <a:pt x="1140" y="294"/>
                  <a:pt x="1140" y="294"/>
                </a:cubicBezTo>
                <a:cubicBezTo>
                  <a:pt x="1140" y="295"/>
                  <a:pt x="1140" y="295"/>
                  <a:pt x="1140" y="295"/>
                </a:cubicBezTo>
                <a:cubicBezTo>
                  <a:pt x="1141" y="295"/>
                  <a:pt x="1141" y="295"/>
                  <a:pt x="1141" y="295"/>
                </a:cubicBezTo>
                <a:cubicBezTo>
                  <a:pt x="1143" y="294"/>
                  <a:pt x="1143" y="294"/>
                  <a:pt x="1143" y="294"/>
                </a:cubicBezTo>
                <a:cubicBezTo>
                  <a:pt x="1143" y="293"/>
                  <a:pt x="1143" y="293"/>
                  <a:pt x="1143" y="293"/>
                </a:cubicBezTo>
                <a:cubicBezTo>
                  <a:pt x="1141" y="293"/>
                  <a:pt x="1141" y="293"/>
                  <a:pt x="1141" y="293"/>
                </a:cubicBezTo>
                <a:cubicBezTo>
                  <a:pt x="1139" y="292"/>
                  <a:pt x="1139" y="292"/>
                  <a:pt x="1139" y="292"/>
                </a:cubicBezTo>
                <a:cubicBezTo>
                  <a:pt x="1139" y="291"/>
                  <a:pt x="1139" y="291"/>
                  <a:pt x="1139" y="291"/>
                </a:cubicBezTo>
                <a:cubicBezTo>
                  <a:pt x="1139" y="291"/>
                  <a:pt x="1139" y="291"/>
                  <a:pt x="1139" y="291"/>
                </a:cubicBezTo>
                <a:cubicBezTo>
                  <a:pt x="1141" y="292"/>
                  <a:pt x="1141" y="292"/>
                  <a:pt x="1141" y="292"/>
                </a:cubicBezTo>
                <a:cubicBezTo>
                  <a:pt x="1142" y="292"/>
                  <a:pt x="1142" y="292"/>
                  <a:pt x="1142" y="292"/>
                </a:cubicBezTo>
                <a:cubicBezTo>
                  <a:pt x="1143" y="293"/>
                  <a:pt x="1143" y="293"/>
                  <a:pt x="1143" y="293"/>
                </a:cubicBezTo>
                <a:cubicBezTo>
                  <a:pt x="1144" y="293"/>
                  <a:pt x="1144" y="293"/>
                  <a:pt x="1144" y="293"/>
                </a:cubicBezTo>
                <a:cubicBezTo>
                  <a:pt x="1145" y="291"/>
                  <a:pt x="1145" y="291"/>
                  <a:pt x="1145" y="291"/>
                </a:cubicBezTo>
                <a:cubicBezTo>
                  <a:pt x="1145" y="290"/>
                  <a:pt x="1145" y="290"/>
                  <a:pt x="1145" y="290"/>
                </a:cubicBezTo>
                <a:cubicBezTo>
                  <a:pt x="1146" y="289"/>
                  <a:pt x="1146" y="289"/>
                  <a:pt x="1146" y="289"/>
                </a:cubicBezTo>
                <a:cubicBezTo>
                  <a:pt x="1146" y="289"/>
                  <a:pt x="1146" y="289"/>
                  <a:pt x="1146" y="289"/>
                </a:cubicBezTo>
                <a:cubicBezTo>
                  <a:pt x="1146" y="288"/>
                  <a:pt x="1146" y="288"/>
                  <a:pt x="1146" y="288"/>
                </a:cubicBezTo>
                <a:cubicBezTo>
                  <a:pt x="1146" y="286"/>
                  <a:pt x="1146" y="286"/>
                  <a:pt x="1146" y="286"/>
                </a:cubicBezTo>
                <a:cubicBezTo>
                  <a:pt x="1146" y="285"/>
                  <a:pt x="1146" y="285"/>
                  <a:pt x="1146" y="285"/>
                </a:cubicBezTo>
                <a:cubicBezTo>
                  <a:pt x="1145" y="283"/>
                  <a:pt x="1145" y="283"/>
                  <a:pt x="1145" y="283"/>
                </a:cubicBezTo>
                <a:cubicBezTo>
                  <a:pt x="1143" y="281"/>
                  <a:pt x="1143" y="281"/>
                  <a:pt x="1143" y="281"/>
                </a:cubicBezTo>
                <a:cubicBezTo>
                  <a:pt x="1141" y="281"/>
                  <a:pt x="1141" y="281"/>
                  <a:pt x="1141" y="281"/>
                </a:cubicBezTo>
                <a:cubicBezTo>
                  <a:pt x="1140" y="280"/>
                  <a:pt x="1140" y="280"/>
                  <a:pt x="1140" y="280"/>
                </a:cubicBezTo>
                <a:cubicBezTo>
                  <a:pt x="1140" y="280"/>
                  <a:pt x="1140" y="280"/>
                  <a:pt x="1140" y="280"/>
                </a:cubicBezTo>
                <a:cubicBezTo>
                  <a:pt x="1141" y="279"/>
                  <a:pt x="1141" y="279"/>
                  <a:pt x="1141" y="279"/>
                </a:cubicBezTo>
                <a:cubicBezTo>
                  <a:pt x="1142" y="280"/>
                  <a:pt x="1142" y="280"/>
                  <a:pt x="1142" y="280"/>
                </a:cubicBezTo>
                <a:cubicBezTo>
                  <a:pt x="1145" y="282"/>
                  <a:pt x="1145" y="282"/>
                  <a:pt x="1145" y="282"/>
                </a:cubicBezTo>
                <a:cubicBezTo>
                  <a:pt x="1146" y="283"/>
                  <a:pt x="1146" y="283"/>
                  <a:pt x="1146" y="283"/>
                </a:cubicBezTo>
                <a:cubicBezTo>
                  <a:pt x="1147" y="283"/>
                  <a:pt x="1147" y="283"/>
                  <a:pt x="1147" y="283"/>
                </a:cubicBezTo>
                <a:cubicBezTo>
                  <a:pt x="1148" y="283"/>
                  <a:pt x="1148" y="283"/>
                  <a:pt x="1148" y="283"/>
                </a:cubicBezTo>
                <a:cubicBezTo>
                  <a:pt x="1147" y="280"/>
                  <a:pt x="1147" y="280"/>
                  <a:pt x="1147" y="280"/>
                </a:cubicBezTo>
                <a:cubicBezTo>
                  <a:pt x="1146" y="279"/>
                  <a:pt x="1146" y="279"/>
                  <a:pt x="1146" y="279"/>
                </a:cubicBezTo>
                <a:cubicBezTo>
                  <a:pt x="1144" y="278"/>
                  <a:pt x="1144" y="278"/>
                  <a:pt x="1144" y="278"/>
                </a:cubicBezTo>
                <a:cubicBezTo>
                  <a:pt x="1141" y="277"/>
                  <a:pt x="1141" y="277"/>
                  <a:pt x="1141" y="277"/>
                </a:cubicBezTo>
                <a:cubicBezTo>
                  <a:pt x="1140" y="276"/>
                  <a:pt x="1140" y="276"/>
                  <a:pt x="1140" y="276"/>
                </a:cubicBezTo>
                <a:cubicBezTo>
                  <a:pt x="1140" y="275"/>
                  <a:pt x="1140" y="275"/>
                  <a:pt x="1140" y="275"/>
                </a:cubicBezTo>
                <a:cubicBezTo>
                  <a:pt x="1141" y="275"/>
                  <a:pt x="1141" y="275"/>
                  <a:pt x="1141" y="275"/>
                </a:cubicBezTo>
                <a:cubicBezTo>
                  <a:pt x="1142" y="276"/>
                  <a:pt x="1142" y="276"/>
                  <a:pt x="1142" y="276"/>
                </a:cubicBezTo>
                <a:cubicBezTo>
                  <a:pt x="1143" y="277"/>
                  <a:pt x="1143" y="277"/>
                  <a:pt x="1143" y="277"/>
                </a:cubicBezTo>
                <a:cubicBezTo>
                  <a:pt x="1145" y="277"/>
                  <a:pt x="1145" y="277"/>
                  <a:pt x="1145" y="277"/>
                </a:cubicBezTo>
                <a:cubicBezTo>
                  <a:pt x="1146" y="275"/>
                  <a:pt x="1146" y="275"/>
                  <a:pt x="1146" y="275"/>
                </a:cubicBezTo>
                <a:cubicBezTo>
                  <a:pt x="1146" y="274"/>
                  <a:pt x="1146" y="274"/>
                  <a:pt x="1146" y="274"/>
                </a:cubicBezTo>
                <a:cubicBezTo>
                  <a:pt x="1146" y="273"/>
                  <a:pt x="1146" y="273"/>
                  <a:pt x="1146" y="273"/>
                </a:cubicBezTo>
                <a:cubicBezTo>
                  <a:pt x="1147" y="273"/>
                  <a:pt x="1147" y="273"/>
                  <a:pt x="1147" y="273"/>
                </a:cubicBezTo>
                <a:cubicBezTo>
                  <a:pt x="1148" y="273"/>
                  <a:pt x="1148" y="273"/>
                  <a:pt x="1148" y="273"/>
                </a:cubicBezTo>
                <a:cubicBezTo>
                  <a:pt x="1148" y="274"/>
                  <a:pt x="1148" y="274"/>
                  <a:pt x="1148" y="274"/>
                </a:cubicBezTo>
                <a:cubicBezTo>
                  <a:pt x="1148" y="275"/>
                  <a:pt x="1148" y="275"/>
                  <a:pt x="1148" y="275"/>
                </a:cubicBezTo>
                <a:cubicBezTo>
                  <a:pt x="1149" y="276"/>
                  <a:pt x="1149" y="276"/>
                  <a:pt x="1149" y="276"/>
                </a:cubicBezTo>
                <a:cubicBezTo>
                  <a:pt x="1151" y="276"/>
                  <a:pt x="1151" y="276"/>
                  <a:pt x="1151" y="276"/>
                </a:cubicBezTo>
                <a:cubicBezTo>
                  <a:pt x="1152" y="276"/>
                  <a:pt x="1152" y="276"/>
                  <a:pt x="1152" y="276"/>
                </a:cubicBezTo>
                <a:cubicBezTo>
                  <a:pt x="1153" y="276"/>
                  <a:pt x="1153" y="276"/>
                  <a:pt x="1153" y="276"/>
                </a:cubicBezTo>
                <a:cubicBezTo>
                  <a:pt x="1153" y="275"/>
                  <a:pt x="1153" y="275"/>
                  <a:pt x="1153" y="275"/>
                </a:cubicBezTo>
                <a:cubicBezTo>
                  <a:pt x="1154" y="274"/>
                  <a:pt x="1154" y="274"/>
                  <a:pt x="1154" y="274"/>
                </a:cubicBezTo>
                <a:cubicBezTo>
                  <a:pt x="1155" y="274"/>
                  <a:pt x="1155" y="274"/>
                  <a:pt x="1155" y="274"/>
                </a:cubicBezTo>
                <a:cubicBezTo>
                  <a:pt x="1154" y="273"/>
                  <a:pt x="1154" y="273"/>
                  <a:pt x="1154" y="273"/>
                </a:cubicBezTo>
                <a:cubicBezTo>
                  <a:pt x="1153" y="272"/>
                  <a:pt x="1153" y="272"/>
                  <a:pt x="1153" y="272"/>
                </a:cubicBezTo>
                <a:cubicBezTo>
                  <a:pt x="1150" y="272"/>
                  <a:pt x="1150" y="272"/>
                  <a:pt x="1150" y="272"/>
                </a:cubicBezTo>
                <a:cubicBezTo>
                  <a:pt x="1150" y="272"/>
                  <a:pt x="1150" y="272"/>
                  <a:pt x="1150" y="272"/>
                </a:cubicBezTo>
                <a:cubicBezTo>
                  <a:pt x="1150" y="271"/>
                  <a:pt x="1150" y="271"/>
                  <a:pt x="1150" y="271"/>
                </a:cubicBezTo>
                <a:cubicBezTo>
                  <a:pt x="1150" y="270"/>
                  <a:pt x="1150" y="270"/>
                  <a:pt x="1150" y="270"/>
                </a:cubicBezTo>
                <a:cubicBezTo>
                  <a:pt x="1149" y="269"/>
                  <a:pt x="1149" y="269"/>
                  <a:pt x="1149" y="269"/>
                </a:cubicBezTo>
                <a:cubicBezTo>
                  <a:pt x="1149" y="268"/>
                  <a:pt x="1149" y="268"/>
                  <a:pt x="1149" y="268"/>
                </a:cubicBezTo>
                <a:cubicBezTo>
                  <a:pt x="1149" y="267"/>
                  <a:pt x="1149" y="267"/>
                  <a:pt x="1149" y="267"/>
                </a:cubicBezTo>
                <a:cubicBezTo>
                  <a:pt x="1150" y="267"/>
                  <a:pt x="1150" y="267"/>
                  <a:pt x="1150" y="267"/>
                </a:cubicBezTo>
                <a:cubicBezTo>
                  <a:pt x="1151" y="268"/>
                  <a:pt x="1151" y="268"/>
                  <a:pt x="1151" y="268"/>
                </a:cubicBezTo>
                <a:cubicBezTo>
                  <a:pt x="1151" y="270"/>
                  <a:pt x="1151" y="270"/>
                  <a:pt x="1151" y="270"/>
                </a:cubicBezTo>
                <a:cubicBezTo>
                  <a:pt x="1152" y="271"/>
                  <a:pt x="1152" y="271"/>
                  <a:pt x="1152" y="271"/>
                </a:cubicBezTo>
                <a:cubicBezTo>
                  <a:pt x="1154" y="271"/>
                  <a:pt x="1154" y="271"/>
                  <a:pt x="1154" y="271"/>
                </a:cubicBezTo>
                <a:cubicBezTo>
                  <a:pt x="1155" y="270"/>
                  <a:pt x="1155" y="270"/>
                  <a:pt x="1155" y="270"/>
                </a:cubicBezTo>
                <a:cubicBezTo>
                  <a:pt x="1155" y="270"/>
                  <a:pt x="1155" y="270"/>
                  <a:pt x="1155" y="270"/>
                </a:cubicBezTo>
                <a:cubicBezTo>
                  <a:pt x="1155" y="269"/>
                  <a:pt x="1155" y="269"/>
                  <a:pt x="1155" y="269"/>
                </a:cubicBezTo>
                <a:cubicBezTo>
                  <a:pt x="1153" y="268"/>
                  <a:pt x="1153" y="268"/>
                  <a:pt x="1153" y="268"/>
                </a:cubicBezTo>
                <a:cubicBezTo>
                  <a:pt x="1151" y="267"/>
                  <a:pt x="1151" y="267"/>
                  <a:pt x="1151" y="267"/>
                </a:cubicBezTo>
                <a:cubicBezTo>
                  <a:pt x="1151" y="265"/>
                  <a:pt x="1151" y="265"/>
                  <a:pt x="1151" y="265"/>
                </a:cubicBezTo>
                <a:cubicBezTo>
                  <a:pt x="1152" y="265"/>
                  <a:pt x="1152" y="265"/>
                  <a:pt x="1152" y="265"/>
                </a:cubicBezTo>
                <a:cubicBezTo>
                  <a:pt x="1152" y="266"/>
                  <a:pt x="1152" y="266"/>
                  <a:pt x="1152" y="266"/>
                </a:cubicBezTo>
                <a:cubicBezTo>
                  <a:pt x="1154" y="267"/>
                  <a:pt x="1154" y="267"/>
                  <a:pt x="1154" y="267"/>
                </a:cubicBezTo>
                <a:cubicBezTo>
                  <a:pt x="1155" y="268"/>
                  <a:pt x="1155" y="268"/>
                  <a:pt x="1155" y="268"/>
                </a:cubicBezTo>
                <a:cubicBezTo>
                  <a:pt x="1157" y="269"/>
                  <a:pt x="1157" y="269"/>
                  <a:pt x="1157" y="269"/>
                </a:cubicBezTo>
                <a:cubicBezTo>
                  <a:pt x="1157" y="268"/>
                  <a:pt x="1157" y="268"/>
                  <a:pt x="1157" y="268"/>
                </a:cubicBezTo>
                <a:cubicBezTo>
                  <a:pt x="1157" y="267"/>
                  <a:pt x="1157" y="267"/>
                  <a:pt x="1157" y="267"/>
                </a:cubicBezTo>
                <a:cubicBezTo>
                  <a:pt x="1157" y="266"/>
                  <a:pt x="1157" y="266"/>
                  <a:pt x="1157" y="266"/>
                </a:cubicBezTo>
                <a:cubicBezTo>
                  <a:pt x="1155" y="265"/>
                  <a:pt x="1155" y="265"/>
                  <a:pt x="1155" y="265"/>
                </a:cubicBezTo>
                <a:cubicBezTo>
                  <a:pt x="1153" y="264"/>
                  <a:pt x="1153" y="264"/>
                  <a:pt x="1153" y="264"/>
                </a:cubicBezTo>
                <a:cubicBezTo>
                  <a:pt x="1153" y="263"/>
                  <a:pt x="1153" y="263"/>
                  <a:pt x="1153" y="263"/>
                </a:cubicBezTo>
                <a:cubicBezTo>
                  <a:pt x="1154" y="262"/>
                  <a:pt x="1154" y="262"/>
                  <a:pt x="1154" y="262"/>
                </a:cubicBezTo>
                <a:cubicBezTo>
                  <a:pt x="1155" y="261"/>
                  <a:pt x="1155" y="261"/>
                  <a:pt x="1155" y="261"/>
                </a:cubicBezTo>
                <a:cubicBezTo>
                  <a:pt x="1156" y="261"/>
                  <a:pt x="1156" y="261"/>
                  <a:pt x="1156" y="261"/>
                </a:cubicBezTo>
                <a:cubicBezTo>
                  <a:pt x="1156" y="262"/>
                  <a:pt x="1156" y="262"/>
                  <a:pt x="1156" y="262"/>
                </a:cubicBezTo>
                <a:cubicBezTo>
                  <a:pt x="1158" y="264"/>
                  <a:pt x="1158" y="264"/>
                  <a:pt x="1158" y="264"/>
                </a:cubicBezTo>
                <a:cubicBezTo>
                  <a:pt x="1160" y="264"/>
                  <a:pt x="1160" y="264"/>
                  <a:pt x="1160" y="264"/>
                </a:cubicBezTo>
                <a:cubicBezTo>
                  <a:pt x="1160" y="264"/>
                  <a:pt x="1160" y="264"/>
                  <a:pt x="1160" y="264"/>
                </a:cubicBezTo>
                <a:cubicBezTo>
                  <a:pt x="1162" y="264"/>
                  <a:pt x="1162" y="264"/>
                  <a:pt x="1162" y="264"/>
                </a:cubicBezTo>
                <a:cubicBezTo>
                  <a:pt x="1163" y="263"/>
                  <a:pt x="1163" y="263"/>
                  <a:pt x="1163" y="263"/>
                </a:cubicBezTo>
                <a:cubicBezTo>
                  <a:pt x="1164" y="262"/>
                  <a:pt x="1164" y="262"/>
                  <a:pt x="1164" y="262"/>
                </a:cubicBezTo>
                <a:cubicBezTo>
                  <a:pt x="1163" y="261"/>
                  <a:pt x="1163" y="261"/>
                  <a:pt x="1163" y="261"/>
                </a:cubicBezTo>
                <a:cubicBezTo>
                  <a:pt x="1162" y="261"/>
                  <a:pt x="1162" y="261"/>
                  <a:pt x="1162" y="261"/>
                </a:cubicBezTo>
                <a:cubicBezTo>
                  <a:pt x="1161" y="260"/>
                  <a:pt x="1161" y="260"/>
                  <a:pt x="1161" y="260"/>
                </a:cubicBezTo>
                <a:cubicBezTo>
                  <a:pt x="1159" y="259"/>
                  <a:pt x="1159" y="259"/>
                  <a:pt x="1159" y="259"/>
                </a:cubicBezTo>
                <a:cubicBezTo>
                  <a:pt x="1158" y="258"/>
                  <a:pt x="1158" y="258"/>
                  <a:pt x="1158" y="258"/>
                </a:cubicBezTo>
                <a:cubicBezTo>
                  <a:pt x="1156" y="258"/>
                  <a:pt x="1156" y="258"/>
                  <a:pt x="1156" y="258"/>
                </a:cubicBezTo>
                <a:cubicBezTo>
                  <a:pt x="1157" y="257"/>
                  <a:pt x="1157" y="257"/>
                  <a:pt x="1157" y="257"/>
                </a:cubicBezTo>
                <a:cubicBezTo>
                  <a:pt x="1157" y="256"/>
                  <a:pt x="1157" y="256"/>
                  <a:pt x="1157" y="256"/>
                </a:cubicBezTo>
                <a:cubicBezTo>
                  <a:pt x="1158" y="257"/>
                  <a:pt x="1158" y="257"/>
                  <a:pt x="1158" y="257"/>
                </a:cubicBezTo>
                <a:cubicBezTo>
                  <a:pt x="1159" y="258"/>
                  <a:pt x="1159" y="258"/>
                  <a:pt x="1159" y="258"/>
                </a:cubicBezTo>
                <a:cubicBezTo>
                  <a:pt x="1160" y="258"/>
                  <a:pt x="1160" y="258"/>
                  <a:pt x="1160" y="258"/>
                </a:cubicBezTo>
                <a:cubicBezTo>
                  <a:pt x="1161" y="258"/>
                  <a:pt x="1161" y="258"/>
                  <a:pt x="1161" y="258"/>
                </a:cubicBezTo>
                <a:cubicBezTo>
                  <a:pt x="1162" y="260"/>
                  <a:pt x="1162" y="260"/>
                  <a:pt x="1162" y="260"/>
                </a:cubicBezTo>
                <a:cubicBezTo>
                  <a:pt x="1164" y="261"/>
                  <a:pt x="1164" y="261"/>
                  <a:pt x="1164" y="261"/>
                </a:cubicBezTo>
                <a:cubicBezTo>
                  <a:pt x="1164" y="260"/>
                  <a:pt x="1164" y="260"/>
                  <a:pt x="1164" y="260"/>
                </a:cubicBezTo>
                <a:cubicBezTo>
                  <a:pt x="1165" y="259"/>
                  <a:pt x="1165" y="259"/>
                  <a:pt x="1165" y="259"/>
                </a:cubicBezTo>
                <a:cubicBezTo>
                  <a:pt x="1165" y="258"/>
                  <a:pt x="1165" y="258"/>
                  <a:pt x="1165" y="258"/>
                </a:cubicBezTo>
                <a:cubicBezTo>
                  <a:pt x="1165" y="257"/>
                  <a:pt x="1165" y="257"/>
                  <a:pt x="1165" y="257"/>
                </a:cubicBezTo>
                <a:cubicBezTo>
                  <a:pt x="1165" y="256"/>
                  <a:pt x="1165" y="256"/>
                  <a:pt x="1165" y="256"/>
                </a:cubicBezTo>
                <a:cubicBezTo>
                  <a:pt x="1164" y="255"/>
                  <a:pt x="1164" y="255"/>
                  <a:pt x="1164" y="255"/>
                </a:cubicBezTo>
                <a:cubicBezTo>
                  <a:pt x="1164" y="255"/>
                  <a:pt x="1164" y="255"/>
                  <a:pt x="1164" y="255"/>
                </a:cubicBezTo>
                <a:cubicBezTo>
                  <a:pt x="1165" y="255"/>
                  <a:pt x="1165" y="255"/>
                  <a:pt x="1165" y="255"/>
                </a:cubicBezTo>
                <a:cubicBezTo>
                  <a:pt x="1166" y="255"/>
                  <a:pt x="1166" y="255"/>
                  <a:pt x="1166" y="255"/>
                </a:cubicBezTo>
                <a:cubicBezTo>
                  <a:pt x="1166" y="253"/>
                  <a:pt x="1166" y="253"/>
                  <a:pt x="1166" y="253"/>
                </a:cubicBezTo>
                <a:cubicBezTo>
                  <a:pt x="1166" y="252"/>
                  <a:pt x="1166" y="252"/>
                  <a:pt x="1166" y="252"/>
                </a:cubicBezTo>
                <a:cubicBezTo>
                  <a:pt x="1165" y="252"/>
                  <a:pt x="1165" y="252"/>
                  <a:pt x="1165" y="252"/>
                </a:cubicBezTo>
                <a:cubicBezTo>
                  <a:pt x="1164" y="252"/>
                  <a:pt x="1164" y="252"/>
                  <a:pt x="1164" y="252"/>
                </a:cubicBezTo>
                <a:cubicBezTo>
                  <a:pt x="1164" y="252"/>
                  <a:pt x="1164" y="252"/>
                  <a:pt x="1164" y="252"/>
                </a:cubicBezTo>
                <a:cubicBezTo>
                  <a:pt x="1163" y="251"/>
                  <a:pt x="1163" y="251"/>
                  <a:pt x="1163" y="251"/>
                </a:cubicBezTo>
                <a:cubicBezTo>
                  <a:pt x="1161" y="251"/>
                  <a:pt x="1161" y="251"/>
                  <a:pt x="1161" y="251"/>
                </a:cubicBezTo>
                <a:cubicBezTo>
                  <a:pt x="1159" y="249"/>
                  <a:pt x="1159" y="249"/>
                  <a:pt x="1159" y="249"/>
                </a:cubicBezTo>
                <a:cubicBezTo>
                  <a:pt x="1158" y="249"/>
                  <a:pt x="1158" y="249"/>
                  <a:pt x="1158" y="249"/>
                </a:cubicBezTo>
                <a:cubicBezTo>
                  <a:pt x="1159" y="248"/>
                  <a:pt x="1159" y="248"/>
                  <a:pt x="1159" y="248"/>
                </a:cubicBezTo>
                <a:cubicBezTo>
                  <a:pt x="1161" y="248"/>
                  <a:pt x="1161" y="248"/>
                  <a:pt x="1161" y="248"/>
                </a:cubicBezTo>
                <a:cubicBezTo>
                  <a:pt x="1163" y="248"/>
                  <a:pt x="1163" y="248"/>
                  <a:pt x="1163" y="248"/>
                </a:cubicBezTo>
                <a:cubicBezTo>
                  <a:pt x="1165" y="248"/>
                  <a:pt x="1165" y="248"/>
                  <a:pt x="1165" y="248"/>
                </a:cubicBezTo>
                <a:cubicBezTo>
                  <a:pt x="1165" y="247"/>
                  <a:pt x="1165" y="247"/>
                  <a:pt x="1165" y="247"/>
                </a:cubicBezTo>
                <a:cubicBezTo>
                  <a:pt x="1166" y="247"/>
                  <a:pt x="1166" y="247"/>
                  <a:pt x="1166" y="247"/>
                </a:cubicBezTo>
                <a:cubicBezTo>
                  <a:pt x="1167" y="248"/>
                  <a:pt x="1167" y="248"/>
                  <a:pt x="1167" y="248"/>
                </a:cubicBezTo>
                <a:cubicBezTo>
                  <a:pt x="1168" y="246"/>
                  <a:pt x="1168" y="246"/>
                  <a:pt x="1168" y="246"/>
                </a:cubicBezTo>
                <a:cubicBezTo>
                  <a:pt x="1167" y="243"/>
                  <a:pt x="1167" y="243"/>
                  <a:pt x="1167" y="243"/>
                </a:cubicBezTo>
                <a:cubicBezTo>
                  <a:pt x="1167" y="241"/>
                  <a:pt x="1167" y="241"/>
                  <a:pt x="1167" y="241"/>
                </a:cubicBezTo>
                <a:cubicBezTo>
                  <a:pt x="1165" y="240"/>
                  <a:pt x="1165" y="240"/>
                  <a:pt x="1165" y="240"/>
                </a:cubicBezTo>
                <a:cubicBezTo>
                  <a:pt x="1165" y="239"/>
                  <a:pt x="1165" y="239"/>
                  <a:pt x="1165" y="239"/>
                </a:cubicBezTo>
                <a:cubicBezTo>
                  <a:pt x="1165" y="238"/>
                  <a:pt x="1165" y="238"/>
                  <a:pt x="1165" y="238"/>
                </a:cubicBezTo>
                <a:cubicBezTo>
                  <a:pt x="1166" y="237"/>
                  <a:pt x="1166" y="237"/>
                  <a:pt x="1166" y="237"/>
                </a:cubicBezTo>
                <a:cubicBezTo>
                  <a:pt x="1165" y="235"/>
                  <a:pt x="1165" y="235"/>
                  <a:pt x="1165" y="235"/>
                </a:cubicBezTo>
                <a:cubicBezTo>
                  <a:pt x="1165" y="235"/>
                  <a:pt x="1165" y="235"/>
                  <a:pt x="1165" y="235"/>
                </a:cubicBezTo>
                <a:cubicBezTo>
                  <a:pt x="1165" y="234"/>
                  <a:pt x="1165" y="234"/>
                  <a:pt x="1165" y="234"/>
                </a:cubicBezTo>
                <a:cubicBezTo>
                  <a:pt x="1166" y="234"/>
                  <a:pt x="1166" y="234"/>
                  <a:pt x="1166" y="234"/>
                </a:cubicBezTo>
                <a:cubicBezTo>
                  <a:pt x="1167" y="235"/>
                  <a:pt x="1167" y="235"/>
                  <a:pt x="1167" y="235"/>
                </a:cubicBezTo>
                <a:cubicBezTo>
                  <a:pt x="1168" y="236"/>
                  <a:pt x="1168" y="236"/>
                  <a:pt x="1168" y="236"/>
                </a:cubicBezTo>
                <a:cubicBezTo>
                  <a:pt x="1168" y="235"/>
                  <a:pt x="1168" y="235"/>
                  <a:pt x="1168" y="235"/>
                </a:cubicBezTo>
                <a:cubicBezTo>
                  <a:pt x="1169" y="235"/>
                  <a:pt x="1169" y="235"/>
                  <a:pt x="1169" y="235"/>
                </a:cubicBezTo>
                <a:cubicBezTo>
                  <a:pt x="1170" y="235"/>
                  <a:pt x="1170" y="235"/>
                  <a:pt x="1170" y="235"/>
                </a:cubicBezTo>
                <a:cubicBezTo>
                  <a:pt x="1171" y="237"/>
                  <a:pt x="1171" y="237"/>
                  <a:pt x="1171" y="237"/>
                </a:cubicBezTo>
                <a:cubicBezTo>
                  <a:pt x="1172" y="238"/>
                  <a:pt x="1172" y="238"/>
                  <a:pt x="1172" y="238"/>
                </a:cubicBezTo>
                <a:cubicBezTo>
                  <a:pt x="1173" y="238"/>
                  <a:pt x="1173" y="238"/>
                  <a:pt x="1173" y="238"/>
                </a:cubicBezTo>
                <a:cubicBezTo>
                  <a:pt x="1175" y="236"/>
                  <a:pt x="1175" y="236"/>
                  <a:pt x="1175" y="236"/>
                </a:cubicBezTo>
                <a:cubicBezTo>
                  <a:pt x="1176" y="233"/>
                  <a:pt x="1176" y="233"/>
                  <a:pt x="1176" y="233"/>
                </a:cubicBezTo>
                <a:cubicBezTo>
                  <a:pt x="1176" y="231"/>
                  <a:pt x="1176" y="231"/>
                  <a:pt x="1176" y="231"/>
                </a:cubicBezTo>
                <a:cubicBezTo>
                  <a:pt x="1175" y="230"/>
                  <a:pt x="1175" y="230"/>
                  <a:pt x="1175" y="230"/>
                </a:cubicBezTo>
                <a:cubicBezTo>
                  <a:pt x="1175" y="229"/>
                  <a:pt x="1175" y="229"/>
                  <a:pt x="1175" y="229"/>
                </a:cubicBezTo>
                <a:cubicBezTo>
                  <a:pt x="1176" y="228"/>
                  <a:pt x="1176" y="228"/>
                  <a:pt x="1176" y="228"/>
                </a:cubicBezTo>
                <a:cubicBezTo>
                  <a:pt x="1177" y="228"/>
                  <a:pt x="1177" y="228"/>
                  <a:pt x="1177" y="228"/>
                </a:cubicBezTo>
                <a:cubicBezTo>
                  <a:pt x="1177" y="228"/>
                  <a:pt x="1177" y="228"/>
                  <a:pt x="1177" y="228"/>
                </a:cubicBezTo>
                <a:cubicBezTo>
                  <a:pt x="1178" y="227"/>
                  <a:pt x="1178" y="227"/>
                  <a:pt x="1178" y="227"/>
                </a:cubicBezTo>
                <a:cubicBezTo>
                  <a:pt x="1179" y="228"/>
                  <a:pt x="1179" y="228"/>
                  <a:pt x="1179" y="228"/>
                </a:cubicBezTo>
                <a:cubicBezTo>
                  <a:pt x="1179" y="230"/>
                  <a:pt x="1179" y="230"/>
                  <a:pt x="1179" y="230"/>
                </a:cubicBezTo>
                <a:cubicBezTo>
                  <a:pt x="1180" y="230"/>
                  <a:pt x="1180" y="230"/>
                  <a:pt x="1180" y="230"/>
                </a:cubicBezTo>
                <a:cubicBezTo>
                  <a:pt x="1181" y="229"/>
                  <a:pt x="1181" y="229"/>
                  <a:pt x="1181" y="229"/>
                </a:cubicBezTo>
                <a:cubicBezTo>
                  <a:pt x="1181" y="228"/>
                  <a:pt x="1181" y="228"/>
                  <a:pt x="1181" y="228"/>
                </a:cubicBezTo>
                <a:cubicBezTo>
                  <a:pt x="1182" y="227"/>
                  <a:pt x="1182" y="227"/>
                  <a:pt x="1182" y="227"/>
                </a:cubicBezTo>
                <a:cubicBezTo>
                  <a:pt x="1182" y="227"/>
                  <a:pt x="1182" y="227"/>
                  <a:pt x="1182" y="227"/>
                </a:cubicBezTo>
                <a:cubicBezTo>
                  <a:pt x="1183" y="228"/>
                  <a:pt x="1183" y="228"/>
                  <a:pt x="1183" y="228"/>
                </a:cubicBezTo>
                <a:cubicBezTo>
                  <a:pt x="1183" y="230"/>
                  <a:pt x="1183" y="230"/>
                  <a:pt x="1183" y="230"/>
                </a:cubicBezTo>
                <a:cubicBezTo>
                  <a:pt x="1184" y="231"/>
                  <a:pt x="1184" y="231"/>
                  <a:pt x="1184" y="231"/>
                </a:cubicBezTo>
                <a:cubicBezTo>
                  <a:pt x="1186" y="230"/>
                  <a:pt x="1186" y="230"/>
                  <a:pt x="1186" y="230"/>
                </a:cubicBezTo>
                <a:cubicBezTo>
                  <a:pt x="1186" y="229"/>
                  <a:pt x="1186" y="229"/>
                  <a:pt x="1186" y="229"/>
                </a:cubicBezTo>
                <a:cubicBezTo>
                  <a:pt x="1187" y="228"/>
                  <a:pt x="1187" y="228"/>
                  <a:pt x="1187" y="228"/>
                </a:cubicBezTo>
                <a:cubicBezTo>
                  <a:pt x="1188" y="229"/>
                  <a:pt x="1188" y="229"/>
                  <a:pt x="1188" y="229"/>
                </a:cubicBezTo>
                <a:cubicBezTo>
                  <a:pt x="1189" y="229"/>
                  <a:pt x="1189" y="229"/>
                  <a:pt x="1189" y="229"/>
                </a:cubicBezTo>
                <a:cubicBezTo>
                  <a:pt x="1191" y="229"/>
                  <a:pt x="1191" y="229"/>
                  <a:pt x="1191" y="229"/>
                </a:cubicBezTo>
                <a:cubicBezTo>
                  <a:pt x="1191" y="227"/>
                  <a:pt x="1191" y="227"/>
                  <a:pt x="1191" y="227"/>
                </a:cubicBezTo>
                <a:cubicBezTo>
                  <a:pt x="1192" y="227"/>
                  <a:pt x="1192" y="227"/>
                  <a:pt x="1192" y="227"/>
                </a:cubicBezTo>
                <a:cubicBezTo>
                  <a:pt x="1192" y="226"/>
                  <a:pt x="1192" y="226"/>
                  <a:pt x="1192" y="226"/>
                </a:cubicBezTo>
                <a:cubicBezTo>
                  <a:pt x="1191" y="225"/>
                  <a:pt x="1191" y="225"/>
                  <a:pt x="1191" y="225"/>
                </a:cubicBezTo>
                <a:cubicBezTo>
                  <a:pt x="1190" y="223"/>
                  <a:pt x="1190" y="223"/>
                  <a:pt x="1190" y="223"/>
                </a:cubicBezTo>
                <a:cubicBezTo>
                  <a:pt x="1190" y="222"/>
                  <a:pt x="1190" y="222"/>
                  <a:pt x="1190" y="222"/>
                </a:cubicBezTo>
                <a:cubicBezTo>
                  <a:pt x="1190" y="221"/>
                  <a:pt x="1190" y="221"/>
                  <a:pt x="1190" y="221"/>
                </a:cubicBezTo>
                <a:cubicBezTo>
                  <a:pt x="1191" y="221"/>
                  <a:pt x="1191" y="221"/>
                  <a:pt x="1191" y="221"/>
                </a:cubicBezTo>
                <a:cubicBezTo>
                  <a:pt x="1191" y="223"/>
                  <a:pt x="1191" y="223"/>
                  <a:pt x="1191" y="223"/>
                </a:cubicBezTo>
                <a:cubicBezTo>
                  <a:pt x="1192" y="223"/>
                  <a:pt x="1192" y="223"/>
                  <a:pt x="1192" y="223"/>
                </a:cubicBezTo>
                <a:cubicBezTo>
                  <a:pt x="1194" y="221"/>
                  <a:pt x="1194" y="221"/>
                  <a:pt x="1194" y="221"/>
                </a:cubicBezTo>
                <a:cubicBezTo>
                  <a:pt x="1194" y="220"/>
                  <a:pt x="1194" y="220"/>
                  <a:pt x="1194" y="220"/>
                </a:cubicBezTo>
                <a:cubicBezTo>
                  <a:pt x="1195" y="219"/>
                  <a:pt x="1195" y="219"/>
                  <a:pt x="1195" y="219"/>
                </a:cubicBezTo>
                <a:cubicBezTo>
                  <a:pt x="1195" y="218"/>
                  <a:pt x="1195" y="218"/>
                  <a:pt x="1195" y="218"/>
                </a:cubicBezTo>
                <a:cubicBezTo>
                  <a:pt x="1194" y="216"/>
                  <a:pt x="1194" y="216"/>
                  <a:pt x="1194" y="216"/>
                </a:cubicBezTo>
                <a:cubicBezTo>
                  <a:pt x="1194" y="215"/>
                  <a:pt x="1194" y="215"/>
                  <a:pt x="1194" y="215"/>
                </a:cubicBezTo>
                <a:cubicBezTo>
                  <a:pt x="1195" y="214"/>
                  <a:pt x="1195" y="214"/>
                  <a:pt x="1195" y="214"/>
                </a:cubicBezTo>
                <a:cubicBezTo>
                  <a:pt x="1195" y="214"/>
                  <a:pt x="1195" y="214"/>
                  <a:pt x="1195" y="214"/>
                </a:cubicBezTo>
                <a:cubicBezTo>
                  <a:pt x="1196" y="214"/>
                  <a:pt x="1196" y="214"/>
                  <a:pt x="1196" y="214"/>
                </a:cubicBezTo>
                <a:cubicBezTo>
                  <a:pt x="1196" y="215"/>
                  <a:pt x="1196" y="215"/>
                  <a:pt x="1196" y="215"/>
                </a:cubicBezTo>
                <a:cubicBezTo>
                  <a:pt x="1197" y="216"/>
                  <a:pt x="1197" y="216"/>
                  <a:pt x="1197" y="216"/>
                </a:cubicBezTo>
                <a:cubicBezTo>
                  <a:pt x="1199" y="216"/>
                  <a:pt x="1199" y="216"/>
                  <a:pt x="1199" y="216"/>
                </a:cubicBezTo>
                <a:cubicBezTo>
                  <a:pt x="1199" y="217"/>
                  <a:pt x="1199" y="217"/>
                  <a:pt x="1199" y="217"/>
                </a:cubicBezTo>
                <a:cubicBezTo>
                  <a:pt x="1198" y="218"/>
                  <a:pt x="1198" y="218"/>
                  <a:pt x="1198" y="218"/>
                </a:cubicBezTo>
                <a:cubicBezTo>
                  <a:pt x="1197" y="219"/>
                  <a:pt x="1197" y="219"/>
                  <a:pt x="1197" y="219"/>
                </a:cubicBezTo>
                <a:cubicBezTo>
                  <a:pt x="1196" y="221"/>
                  <a:pt x="1196" y="221"/>
                  <a:pt x="1196" y="221"/>
                </a:cubicBezTo>
                <a:cubicBezTo>
                  <a:pt x="1196" y="222"/>
                  <a:pt x="1196" y="222"/>
                  <a:pt x="1196" y="222"/>
                </a:cubicBezTo>
                <a:cubicBezTo>
                  <a:pt x="1198" y="225"/>
                  <a:pt x="1198" y="225"/>
                  <a:pt x="1198" y="225"/>
                </a:cubicBezTo>
                <a:cubicBezTo>
                  <a:pt x="1199" y="226"/>
                  <a:pt x="1199" y="226"/>
                  <a:pt x="1199" y="226"/>
                </a:cubicBezTo>
                <a:cubicBezTo>
                  <a:pt x="1200" y="224"/>
                  <a:pt x="1200" y="224"/>
                  <a:pt x="1200" y="224"/>
                </a:cubicBezTo>
                <a:cubicBezTo>
                  <a:pt x="1200" y="223"/>
                  <a:pt x="1200" y="223"/>
                  <a:pt x="1200" y="223"/>
                </a:cubicBezTo>
                <a:cubicBezTo>
                  <a:pt x="1200" y="222"/>
                  <a:pt x="1200" y="222"/>
                  <a:pt x="1200" y="222"/>
                </a:cubicBezTo>
                <a:cubicBezTo>
                  <a:pt x="1200" y="220"/>
                  <a:pt x="1200" y="220"/>
                  <a:pt x="1200" y="220"/>
                </a:cubicBezTo>
                <a:cubicBezTo>
                  <a:pt x="1201" y="220"/>
                  <a:pt x="1201" y="220"/>
                  <a:pt x="1201" y="220"/>
                </a:cubicBezTo>
                <a:cubicBezTo>
                  <a:pt x="1201" y="221"/>
                  <a:pt x="1201" y="221"/>
                  <a:pt x="1201" y="221"/>
                </a:cubicBezTo>
                <a:cubicBezTo>
                  <a:pt x="1201" y="222"/>
                  <a:pt x="1201" y="222"/>
                  <a:pt x="1201" y="222"/>
                </a:cubicBezTo>
                <a:cubicBezTo>
                  <a:pt x="1201" y="223"/>
                  <a:pt x="1201" y="223"/>
                  <a:pt x="1201" y="223"/>
                </a:cubicBezTo>
                <a:cubicBezTo>
                  <a:pt x="1202" y="225"/>
                  <a:pt x="1202" y="225"/>
                  <a:pt x="1202" y="225"/>
                </a:cubicBezTo>
                <a:cubicBezTo>
                  <a:pt x="1203" y="225"/>
                  <a:pt x="1203" y="225"/>
                  <a:pt x="1203" y="225"/>
                </a:cubicBezTo>
                <a:cubicBezTo>
                  <a:pt x="1205" y="225"/>
                  <a:pt x="1205" y="225"/>
                  <a:pt x="1205" y="225"/>
                </a:cubicBezTo>
                <a:cubicBezTo>
                  <a:pt x="1206" y="225"/>
                  <a:pt x="1206" y="225"/>
                  <a:pt x="1206" y="225"/>
                </a:cubicBezTo>
                <a:cubicBezTo>
                  <a:pt x="1206" y="224"/>
                  <a:pt x="1206" y="224"/>
                  <a:pt x="1206" y="224"/>
                </a:cubicBezTo>
                <a:cubicBezTo>
                  <a:pt x="1206" y="223"/>
                  <a:pt x="1206" y="223"/>
                  <a:pt x="1206" y="223"/>
                </a:cubicBezTo>
                <a:cubicBezTo>
                  <a:pt x="1206" y="222"/>
                  <a:pt x="1206" y="222"/>
                  <a:pt x="1206" y="222"/>
                </a:cubicBezTo>
                <a:cubicBezTo>
                  <a:pt x="1207" y="222"/>
                  <a:pt x="1207" y="222"/>
                  <a:pt x="1207" y="222"/>
                </a:cubicBezTo>
                <a:cubicBezTo>
                  <a:pt x="1208" y="222"/>
                  <a:pt x="1208" y="222"/>
                  <a:pt x="1208" y="222"/>
                </a:cubicBezTo>
                <a:cubicBezTo>
                  <a:pt x="1207" y="223"/>
                  <a:pt x="1207" y="223"/>
                  <a:pt x="1207" y="223"/>
                </a:cubicBezTo>
                <a:cubicBezTo>
                  <a:pt x="1207" y="224"/>
                  <a:pt x="1207" y="224"/>
                  <a:pt x="1207" y="224"/>
                </a:cubicBezTo>
                <a:cubicBezTo>
                  <a:pt x="1208" y="225"/>
                  <a:pt x="1208" y="225"/>
                  <a:pt x="1208" y="225"/>
                </a:cubicBezTo>
                <a:cubicBezTo>
                  <a:pt x="1210" y="225"/>
                  <a:pt x="1210" y="225"/>
                  <a:pt x="1210" y="225"/>
                </a:cubicBezTo>
                <a:cubicBezTo>
                  <a:pt x="1211" y="223"/>
                  <a:pt x="1211" y="223"/>
                  <a:pt x="1211" y="223"/>
                </a:cubicBezTo>
                <a:cubicBezTo>
                  <a:pt x="1214" y="221"/>
                  <a:pt x="1214" y="221"/>
                  <a:pt x="1214" y="221"/>
                </a:cubicBezTo>
                <a:cubicBezTo>
                  <a:pt x="1214" y="221"/>
                  <a:pt x="1214" y="221"/>
                  <a:pt x="1214" y="221"/>
                </a:cubicBezTo>
                <a:cubicBezTo>
                  <a:pt x="1215" y="221"/>
                  <a:pt x="1215" y="221"/>
                  <a:pt x="1215" y="221"/>
                </a:cubicBezTo>
                <a:cubicBezTo>
                  <a:pt x="1215" y="219"/>
                  <a:pt x="1215" y="219"/>
                  <a:pt x="1215" y="219"/>
                </a:cubicBezTo>
                <a:cubicBezTo>
                  <a:pt x="1215" y="218"/>
                  <a:pt x="1215" y="218"/>
                  <a:pt x="1215" y="218"/>
                </a:cubicBezTo>
                <a:cubicBezTo>
                  <a:pt x="1214" y="217"/>
                  <a:pt x="1214" y="217"/>
                  <a:pt x="1214" y="217"/>
                </a:cubicBezTo>
                <a:cubicBezTo>
                  <a:pt x="1213" y="216"/>
                  <a:pt x="1213" y="216"/>
                  <a:pt x="1213" y="216"/>
                </a:cubicBezTo>
                <a:cubicBezTo>
                  <a:pt x="1213" y="216"/>
                  <a:pt x="1213" y="216"/>
                  <a:pt x="1213" y="216"/>
                </a:cubicBezTo>
                <a:cubicBezTo>
                  <a:pt x="1214" y="216"/>
                  <a:pt x="1214" y="216"/>
                  <a:pt x="1214" y="216"/>
                </a:cubicBezTo>
                <a:cubicBezTo>
                  <a:pt x="1215" y="217"/>
                  <a:pt x="1215" y="217"/>
                  <a:pt x="1215" y="217"/>
                </a:cubicBezTo>
                <a:cubicBezTo>
                  <a:pt x="1217" y="218"/>
                  <a:pt x="1217" y="218"/>
                  <a:pt x="1217" y="218"/>
                </a:cubicBezTo>
                <a:cubicBezTo>
                  <a:pt x="1218" y="218"/>
                  <a:pt x="1218" y="218"/>
                  <a:pt x="1218" y="218"/>
                </a:cubicBezTo>
                <a:cubicBezTo>
                  <a:pt x="1218" y="217"/>
                  <a:pt x="1218" y="217"/>
                  <a:pt x="1218" y="217"/>
                </a:cubicBezTo>
                <a:cubicBezTo>
                  <a:pt x="1219" y="217"/>
                  <a:pt x="1219" y="217"/>
                  <a:pt x="1219" y="217"/>
                </a:cubicBezTo>
                <a:cubicBezTo>
                  <a:pt x="1219" y="217"/>
                  <a:pt x="1219" y="217"/>
                  <a:pt x="1219" y="217"/>
                </a:cubicBezTo>
                <a:cubicBezTo>
                  <a:pt x="1219" y="219"/>
                  <a:pt x="1219" y="219"/>
                  <a:pt x="1219" y="219"/>
                </a:cubicBezTo>
                <a:cubicBezTo>
                  <a:pt x="1220" y="219"/>
                  <a:pt x="1220" y="219"/>
                  <a:pt x="1220" y="219"/>
                </a:cubicBezTo>
                <a:cubicBezTo>
                  <a:pt x="1221" y="218"/>
                  <a:pt x="1221" y="218"/>
                  <a:pt x="1221" y="218"/>
                </a:cubicBezTo>
                <a:cubicBezTo>
                  <a:pt x="1223" y="216"/>
                  <a:pt x="1223" y="216"/>
                  <a:pt x="1223" y="216"/>
                </a:cubicBezTo>
                <a:cubicBezTo>
                  <a:pt x="1224" y="215"/>
                  <a:pt x="1224" y="215"/>
                  <a:pt x="1224" y="215"/>
                </a:cubicBezTo>
                <a:cubicBezTo>
                  <a:pt x="1223" y="215"/>
                  <a:pt x="1223" y="215"/>
                  <a:pt x="1223" y="215"/>
                </a:cubicBezTo>
                <a:cubicBezTo>
                  <a:pt x="1224" y="213"/>
                  <a:pt x="1224" y="213"/>
                  <a:pt x="1224" y="213"/>
                </a:cubicBezTo>
                <a:cubicBezTo>
                  <a:pt x="1224" y="213"/>
                  <a:pt x="1224" y="213"/>
                  <a:pt x="1224" y="213"/>
                </a:cubicBezTo>
                <a:cubicBezTo>
                  <a:pt x="1225" y="212"/>
                  <a:pt x="1225" y="212"/>
                  <a:pt x="1225" y="212"/>
                </a:cubicBezTo>
                <a:cubicBezTo>
                  <a:pt x="1225" y="213"/>
                  <a:pt x="1225" y="213"/>
                  <a:pt x="1225" y="213"/>
                </a:cubicBezTo>
                <a:cubicBezTo>
                  <a:pt x="1225" y="214"/>
                  <a:pt x="1225" y="214"/>
                  <a:pt x="1225" y="214"/>
                </a:cubicBezTo>
                <a:cubicBezTo>
                  <a:pt x="1226" y="214"/>
                  <a:pt x="1226" y="214"/>
                  <a:pt x="1226" y="214"/>
                </a:cubicBezTo>
                <a:cubicBezTo>
                  <a:pt x="1227" y="214"/>
                  <a:pt x="1227" y="214"/>
                  <a:pt x="1227" y="214"/>
                </a:cubicBezTo>
                <a:cubicBezTo>
                  <a:pt x="1228" y="212"/>
                  <a:pt x="1228" y="212"/>
                  <a:pt x="1228" y="212"/>
                </a:cubicBezTo>
                <a:cubicBezTo>
                  <a:pt x="1229" y="210"/>
                  <a:pt x="1229" y="210"/>
                  <a:pt x="1229" y="210"/>
                </a:cubicBezTo>
                <a:cubicBezTo>
                  <a:pt x="1229" y="209"/>
                  <a:pt x="1229" y="209"/>
                  <a:pt x="1229" y="209"/>
                </a:cubicBezTo>
                <a:cubicBezTo>
                  <a:pt x="1229" y="208"/>
                  <a:pt x="1229" y="208"/>
                  <a:pt x="1229" y="208"/>
                </a:cubicBezTo>
                <a:cubicBezTo>
                  <a:pt x="1231" y="205"/>
                  <a:pt x="1231" y="205"/>
                  <a:pt x="1231" y="205"/>
                </a:cubicBezTo>
                <a:cubicBezTo>
                  <a:pt x="1233" y="205"/>
                  <a:pt x="1233" y="205"/>
                  <a:pt x="1233" y="205"/>
                </a:cubicBezTo>
                <a:cubicBezTo>
                  <a:pt x="1233" y="204"/>
                  <a:pt x="1233" y="204"/>
                  <a:pt x="1233" y="204"/>
                </a:cubicBezTo>
                <a:cubicBezTo>
                  <a:pt x="1233" y="203"/>
                  <a:pt x="1233" y="203"/>
                  <a:pt x="1233" y="203"/>
                </a:cubicBezTo>
                <a:cubicBezTo>
                  <a:pt x="1233" y="202"/>
                  <a:pt x="1233" y="202"/>
                  <a:pt x="1233" y="202"/>
                </a:cubicBezTo>
                <a:cubicBezTo>
                  <a:pt x="1233" y="202"/>
                  <a:pt x="1233" y="202"/>
                  <a:pt x="1233" y="202"/>
                </a:cubicBezTo>
                <a:cubicBezTo>
                  <a:pt x="1234" y="202"/>
                  <a:pt x="1234" y="202"/>
                  <a:pt x="1234" y="202"/>
                </a:cubicBezTo>
                <a:cubicBezTo>
                  <a:pt x="1235" y="202"/>
                  <a:pt x="1235" y="202"/>
                  <a:pt x="1235" y="202"/>
                </a:cubicBezTo>
                <a:cubicBezTo>
                  <a:pt x="1235" y="202"/>
                  <a:pt x="1235" y="202"/>
                  <a:pt x="1235" y="202"/>
                </a:cubicBezTo>
                <a:cubicBezTo>
                  <a:pt x="1236" y="201"/>
                  <a:pt x="1236" y="201"/>
                  <a:pt x="1236" y="201"/>
                </a:cubicBezTo>
                <a:cubicBezTo>
                  <a:pt x="1236" y="200"/>
                  <a:pt x="1236" y="200"/>
                  <a:pt x="1236" y="200"/>
                </a:cubicBezTo>
                <a:cubicBezTo>
                  <a:pt x="1235" y="199"/>
                  <a:pt x="1235" y="199"/>
                  <a:pt x="1235" y="199"/>
                </a:cubicBezTo>
                <a:cubicBezTo>
                  <a:pt x="1236" y="200"/>
                  <a:pt x="1236" y="200"/>
                  <a:pt x="1236" y="200"/>
                </a:cubicBezTo>
                <a:cubicBezTo>
                  <a:pt x="1237" y="201"/>
                  <a:pt x="1237" y="201"/>
                  <a:pt x="1237" y="201"/>
                </a:cubicBezTo>
                <a:cubicBezTo>
                  <a:pt x="1237" y="200"/>
                  <a:pt x="1237" y="200"/>
                  <a:pt x="1237" y="200"/>
                </a:cubicBezTo>
                <a:cubicBezTo>
                  <a:pt x="1237" y="199"/>
                  <a:pt x="1237" y="199"/>
                  <a:pt x="1237" y="199"/>
                </a:cubicBezTo>
                <a:cubicBezTo>
                  <a:pt x="1237" y="197"/>
                  <a:pt x="1237" y="197"/>
                  <a:pt x="1237" y="197"/>
                </a:cubicBezTo>
                <a:cubicBezTo>
                  <a:pt x="1238" y="197"/>
                  <a:pt x="1238" y="197"/>
                  <a:pt x="1238" y="197"/>
                </a:cubicBezTo>
                <a:cubicBezTo>
                  <a:pt x="1240" y="197"/>
                  <a:pt x="1240" y="197"/>
                  <a:pt x="1240" y="197"/>
                </a:cubicBezTo>
                <a:cubicBezTo>
                  <a:pt x="1240" y="195"/>
                  <a:pt x="1240" y="195"/>
                  <a:pt x="1240" y="195"/>
                </a:cubicBezTo>
                <a:cubicBezTo>
                  <a:pt x="1239" y="195"/>
                  <a:pt x="1239" y="195"/>
                  <a:pt x="1239" y="195"/>
                </a:cubicBezTo>
                <a:cubicBezTo>
                  <a:pt x="1240" y="194"/>
                  <a:pt x="1240" y="194"/>
                  <a:pt x="1240" y="194"/>
                </a:cubicBezTo>
                <a:cubicBezTo>
                  <a:pt x="1241" y="194"/>
                  <a:pt x="1241" y="194"/>
                  <a:pt x="1241" y="194"/>
                </a:cubicBezTo>
                <a:cubicBezTo>
                  <a:pt x="1242" y="194"/>
                  <a:pt x="1242" y="194"/>
                  <a:pt x="1242" y="194"/>
                </a:cubicBezTo>
                <a:cubicBezTo>
                  <a:pt x="1243" y="192"/>
                  <a:pt x="1243" y="192"/>
                  <a:pt x="1243" y="192"/>
                </a:cubicBezTo>
                <a:cubicBezTo>
                  <a:pt x="1245" y="191"/>
                  <a:pt x="1245" y="191"/>
                  <a:pt x="1245" y="191"/>
                </a:cubicBezTo>
                <a:cubicBezTo>
                  <a:pt x="1246" y="191"/>
                  <a:pt x="1246" y="191"/>
                  <a:pt x="1246" y="191"/>
                </a:cubicBezTo>
                <a:cubicBezTo>
                  <a:pt x="1246" y="192"/>
                  <a:pt x="1246" y="192"/>
                  <a:pt x="1246" y="192"/>
                </a:cubicBezTo>
                <a:cubicBezTo>
                  <a:pt x="1247" y="191"/>
                  <a:pt x="1247" y="191"/>
                  <a:pt x="1247" y="191"/>
                </a:cubicBezTo>
                <a:cubicBezTo>
                  <a:pt x="1248" y="190"/>
                  <a:pt x="1248" y="190"/>
                  <a:pt x="1248" y="190"/>
                </a:cubicBezTo>
                <a:cubicBezTo>
                  <a:pt x="1249" y="188"/>
                  <a:pt x="1249" y="188"/>
                  <a:pt x="1249" y="188"/>
                </a:cubicBezTo>
                <a:cubicBezTo>
                  <a:pt x="1249" y="186"/>
                  <a:pt x="1249" y="186"/>
                  <a:pt x="1249" y="186"/>
                </a:cubicBezTo>
                <a:cubicBezTo>
                  <a:pt x="1247" y="185"/>
                  <a:pt x="1247" y="185"/>
                  <a:pt x="1247" y="185"/>
                </a:cubicBezTo>
                <a:cubicBezTo>
                  <a:pt x="1247" y="185"/>
                  <a:pt x="1247" y="185"/>
                  <a:pt x="1247" y="185"/>
                </a:cubicBezTo>
                <a:cubicBezTo>
                  <a:pt x="1248" y="184"/>
                  <a:pt x="1248" y="184"/>
                  <a:pt x="1248" y="184"/>
                </a:cubicBezTo>
                <a:cubicBezTo>
                  <a:pt x="1248" y="182"/>
                  <a:pt x="1248" y="182"/>
                  <a:pt x="1248" y="182"/>
                </a:cubicBezTo>
                <a:cubicBezTo>
                  <a:pt x="1247" y="181"/>
                  <a:pt x="1247" y="181"/>
                  <a:pt x="1247" y="181"/>
                </a:cubicBezTo>
                <a:cubicBezTo>
                  <a:pt x="1246" y="180"/>
                  <a:pt x="1246" y="180"/>
                  <a:pt x="1246" y="180"/>
                </a:cubicBezTo>
                <a:cubicBezTo>
                  <a:pt x="1246" y="178"/>
                  <a:pt x="1246" y="178"/>
                  <a:pt x="1246" y="178"/>
                </a:cubicBezTo>
                <a:cubicBezTo>
                  <a:pt x="1245" y="177"/>
                  <a:pt x="1245" y="177"/>
                  <a:pt x="1245" y="177"/>
                </a:cubicBezTo>
                <a:cubicBezTo>
                  <a:pt x="1245" y="176"/>
                  <a:pt x="1245" y="176"/>
                  <a:pt x="1245" y="176"/>
                </a:cubicBezTo>
                <a:cubicBezTo>
                  <a:pt x="1246" y="176"/>
                  <a:pt x="1246" y="176"/>
                  <a:pt x="1246" y="176"/>
                </a:cubicBezTo>
                <a:cubicBezTo>
                  <a:pt x="1247" y="176"/>
                  <a:pt x="1247" y="176"/>
                  <a:pt x="1247" y="176"/>
                </a:cubicBezTo>
                <a:cubicBezTo>
                  <a:pt x="1247" y="178"/>
                  <a:pt x="1247" y="178"/>
                  <a:pt x="1247" y="178"/>
                </a:cubicBezTo>
                <a:cubicBezTo>
                  <a:pt x="1248" y="179"/>
                  <a:pt x="1248" y="179"/>
                  <a:pt x="1248" y="179"/>
                </a:cubicBezTo>
                <a:cubicBezTo>
                  <a:pt x="1248" y="181"/>
                  <a:pt x="1248" y="181"/>
                  <a:pt x="1248" y="181"/>
                </a:cubicBezTo>
                <a:cubicBezTo>
                  <a:pt x="1249" y="183"/>
                  <a:pt x="1249" y="183"/>
                  <a:pt x="1249" y="183"/>
                </a:cubicBezTo>
                <a:cubicBezTo>
                  <a:pt x="1250" y="183"/>
                  <a:pt x="1250" y="183"/>
                  <a:pt x="1250" y="183"/>
                </a:cubicBezTo>
                <a:cubicBezTo>
                  <a:pt x="1251" y="184"/>
                  <a:pt x="1251" y="184"/>
                  <a:pt x="1251" y="184"/>
                </a:cubicBezTo>
                <a:cubicBezTo>
                  <a:pt x="1251" y="185"/>
                  <a:pt x="1251" y="185"/>
                  <a:pt x="1251" y="185"/>
                </a:cubicBezTo>
                <a:cubicBezTo>
                  <a:pt x="1251" y="187"/>
                  <a:pt x="1251" y="187"/>
                  <a:pt x="1251" y="187"/>
                </a:cubicBezTo>
                <a:cubicBezTo>
                  <a:pt x="1253" y="188"/>
                  <a:pt x="1253" y="188"/>
                  <a:pt x="1253" y="188"/>
                </a:cubicBezTo>
                <a:cubicBezTo>
                  <a:pt x="1254" y="188"/>
                  <a:pt x="1254" y="188"/>
                  <a:pt x="1254" y="188"/>
                </a:cubicBezTo>
                <a:cubicBezTo>
                  <a:pt x="1254" y="187"/>
                  <a:pt x="1254" y="187"/>
                  <a:pt x="1254" y="187"/>
                </a:cubicBezTo>
                <a:cubicBezTo>
                  <a:pt x="1255" y="186"/>
                  <a:pt x="1255" y="186"/>
                  <a:pt x="1255" y="186"/>
                </a:cubicBezTo>
                <a:cubicBezTo>
                  <a:pt x="1255" y="186"/>
                  <a:pt x="1255" y="186"/>
                  <a:pt x="1255" y="186"/>
                </a:cubicBezTo>
                <a:cubicBezTo>
                  <a:pt x="1256" y="187"/>
                  <a:pt x="1256" y="187"/>
                  <a:pt x="1256" y="187"/>
                </a:cubicBezTo>
                <a:cubicBezTo>
                  <a:pt x="1258" y="188"/>
                  <a:pt x="1258" y="188"/>
                  <a:pt x="1258" y="188"/>
                </a:cubicBezTo>
                <a:cubicBezTo>
                  <a:pt x="1259" y="187"/>
                  <a:pt x="1259" y="187"/>
                  <a:pt x="1259" y="187"/>
                </a:cubicBezTo>
                <a:cubicBezTo>
                  <a:pt x="1260" y="186"/>
                  <a:pt x="1260" y="186"/>
                  <a:pt x="1260" y="186"/>
                </a:cubicBezTo>
                <a:cubicBezTo>
                  <a:pt x="1261" y="187"/>
                  <a:pt x="1261" y="187"/>
                  <a:pt x="1261" y="187"/>
                </a:cubicBezTo>
                <a:cubicBezTo>
                  <a:pt x="1262" y="187"/>
                  <a:pt x="1262" y="187"/>
                  <a:pt x="1262" y="187"/>
                </a:cubicBezTo>
                <a:cubicBezTo>
                  <a:pt x="1263" y="186"/>
                  <a:pt x="1263" y="186"/>
                  <a:pt x="1263" y="186"/>
                </a:cubicBezTo>
                <a:cubicBezTo>
                  <a:pt x="1263" y="185"/>
                  <a:pt x="1263" y="185"/>
                  <a:pt x="1263" y="185"/>
                </a:cubicBezTo>
                <a:cubicBezTo>
                  <a:pt x="1264" y="185"/>
                  <a:pt x="1264" y="185"/>
                  <a:pt x="1264" y="185"/>
                </a:cubicBezTo>
                <a:cubicBezTo>
                  <a:pt x="1264" y="184"/>
                  <a:pt x="1264" y="184"/>
                  <a:pt x="1264" y="184"/>
                </a:cubicBezTo>
                <a:cubicBezTo>
                  <a:pt x="1265" y="183"/>
                  <a:pt x="1265" y="183"/>
                  <a:pt x="1265" y="183"/>
                </a:cubicBezTo>
                <a:cubicBezTo>
                  <a:pt x="1266" y="184"/>
                  <a:pt x="1266" y="184"/>
                  <a:pt x="1266" y="184"/>
                </a:cubicBezTo>
                <a:cubicBezTo>
                  <a:pt x="1268" y="186"/>
                  <a:pt x="1268" y="186"/>
                  <a:pt x="1268" y="186"/>
                </a:cubicBezTo>
                <a:cubicBezTo>
                  <a:pt x="1269" y="187"/>
                  <a:pt x="1269" y="187"/>
                  <a:pt x="1269" y="187"/>
                </a:cubicBezTo>
                <a:cubicBezTo>
                  <a:pt x="1270" y="187"/>
                  <a:pt x="1270" y="187"/>
                  <a:pt x="1270" y="187"/>
                </a:cubicBezTo>
                <a:cubicBezTo>
                  <a:pt x="1270" y="186"/>
                  <a:pt x="1270" y="186"/>
                  <a:pt x="1270" y="186"/>
                </a:cubicBezTo>
                <a:cubicBezTo>
                  <a:pt x="1271" y="186"/>
                  <a:pt x="1271" y="186"/>
                  <a:pt x="1271" y="186"/>
                </a:cubicBezTo>
                <a:cubicBezTo>
                  <a:pt x="1272" y="184"/>
                  <a:pt x="1272" y="184"/>
                  <a:pt x="1272" y="184"/>
                </a:cubicBezTo>
                <a:cubicBezTo>
                  <a:pt x="1272" y="184"/>
                  <a:pt x="1272" y="184"/>
                  <a:pt x="1272" y="184"/>
                </a:cubicBezTo>
                <a:cubicBezTo>
                  <a:pt x="1273" y="184"/>
                  <a:pt x="1273" y="184"/>
                  <a:pt x="1273" y="184"/>
                </a:cubicBezTo>
                <a:cubicBezTo>
                  <a:pt x="1273" y="184"/>
                  <a:pt x="1273" y="184"/>
                  <a:pt x="1273" y="184"/>
                </a:cubicBezTo>
                <a:cubicBezTo>
                  <a:pt x="1274" y="183"/>
                  <a:pt x="1274" y="183"/>
                  <a:pt x="1274" y="183"/>
                </a:cubicBezTo>
                <a:cubicBezTo>
                  <a:pt x="1274" y="183"/>
                  <a:pt x="1274" y="183"/>
                  <a:pt x="1274" y="183"/>
                </a:cubicBezTo>
                <a:cubicBezTo>
                  <a:pt x="1275" y="184"/>
                  <a:pt x="1275" y="184"/>
                  <a:pt x="1275" y="184"/>
                </a:cubicBezTo>
                <a:cubicBezTo>
                  <a:pt x="1276" y="184"/>
                  <a:pt x="1276" y="184"/>
                  <a:pt x="1276" y="184"/>
                </a:cubicBezTo>
                <a:cubicBezTo>
                  <a:pt x="1276" y="183"/>
                  <a:pt x="1276" y="183"/>
                  <a:pt x="1276" y="183"/>
                </a:cubicBezTo>
                <a:cubicBezTo>
                  <a:pt x="1276" y="182"/>
                  <a:pt x="1276" y="182"/>
                  <a:pt x="1276" y="182"/>
                </a:cubicBezTo>
                <a:cubicBezTo>
                  <a:pt x="1277" y="182"/>
                  <a:pt x="1277" y="182"/>
                  <a:pt x="1277" y="182"/>
                </a:cubicBezTo>
                <a:cubicBezTo>
                  <a:pt x="1279" y="182"/>
                  <a:pt x="1279" y="182"/>
                  <a:pt x="1279" y="182"/>
                </a:cubicBezTo>
                <a:cubicBezTo>
                  <a:pt x="1280" y="181"/>
                  <a:pt x="1280" y="181"/>
                  <a:pt x="1280" y="181"/>
                </a:cubicBezTo>
                <a:cubicBezTo>
                  <a:pt x="1280" y="180"/>
                  <a:pt x="1280" y="180"/>
                  <a:pt x="1280" y="180"/>
                </a:cubicBezTo>
                <a:cubicBezTo>
                  <a:pt x="1280" y="180"/>
                  <a:pt x="1280" y="180"/>
                  <a:pt x="1280" y="180"/>
                </a:cubicBezTo>
                <a:cubicBezTo>
                  <a:pt x="1280" y="181"/>
                  <a:pt x="1280" y="181"/>
                  <a:pt x="1280" y="181"/>
                </a:cubicBezTo>
                <a:cubicBezTo>
                  <a:pt x="1281" y="182"/>
                  <a:pt x="1281" y="182"/>
                  <a:pt x="1281" y="182"/>
                </a:cubicBezTo>
                <a:cubicBezTo>
                  <a:pt x="1282" y="181"/>
                  <a:pt x="1282" y="181"/>
                  <a:pt x="1282" y="181"/>
                </a:cubicBezTo>
                <a:cubicBezTo>
                  <a:pt x="1283" y="179"/>
                  <a:pt x="1283" y="179"/>
                  <a:pt x="1283" y="179"/>
                </a:cubicBezTo>
                <a:cubicBezTo>
                  <a:pt x="1283" y="180"/>
                  <a:pt x="1283" y="180"/>
                  <a:pt x="1283" y="180"/>
                </a:cubicBezTo>
                <a:cubicBezTo>
                  <a:pt x="1284" y="181"/>
                  <a:pt x="1284" y="181"/>
                  <a:pt x="1284" y="181"/>
                </a:cubicBezTo>
                <a:cubicBezTo>
                  <a:pt x="1285" y="181"/>
                  <a:pt x="1285" y="181"/>
                  <a:pt x="1285" y="181"/>
                </a:cubicBezTo>
                <a:cubicBezTo>
                  <a:pt x="1286" y="179"/>
                  <a:pt x="1286" y="179"/>
                  <a:pt x="1286" y="179"/>
                </a:cubicBezTo>
                <a:cubicBezTo>
                  <a:pt x="1287" y="179"/>
                  <a:pt x="1287" y="179"/>
                  <a:pt x="1287" y="179"/>
                </a:cubicBezTo>
                <a:cubicBezTo>
                  <a:pt x="1287" y="180"/>
                  <a:pt x="1287" y="180"/>
                  <a:pt x="1287" y="180"/>
                </a:cubicBezTo>
                <a:cubicBezTo>
                  <a:pt x="1288" y="180"/>
                  <a:pt x="1288" y="180"/>
                  <a:pt x="1288" y="180"/>
                </a:cubicBezTo>
                <a:cubicBezTo>
                  <a:pt x="1289" y="180"/>
                  <a:pt x="1289" y="180"/>
                  <a:pt x="1289" y="180"/>
                </a:cubicBezTo>
                <a:cubicBezTo>
                  <a:pt x="1290" y="179"/>
                  <a:pt x="1290" y="179"/>
                  <a:pt x="1290" y="179"/>
                </a:cubicBezTo>
                <a:cubicBezTo>
                  <a:pt x="1291" y="179"/>
                  <a:pt x="1291" y="179"/>
                  <a:pt x="1291" y="179"/>
                </a:cubicBezTo>
                <a:cubicBezTo>
                  <a:pt x="1292" y="179"/>
                  <a:pt x="1292" y="179"/>
                  <a:pt x="1292" y="179"/>
                </a:cubicBezTo>
                <a:cubicBezTo>
                  <a:pt x="1294" y="178"/>
                  <a:pt x="1294" y="178"/>
                  <a:pt x="1294" y="178"/>
                </a:cubicBezTo>
                <a:cubicBezTo>
                  <a:pt x="1295" y="178"/>
                  <a:pt x="1295" y="178"/>
                  <a:pt x="1295" y="178"/>
                </a:cubicBezTo>
                <a:cubicBezTo>
                  <a:pt x="1296" y="179"/>
                  <a:pt x="1296" y="179"/>
                  <a:pt x="1296" y="179"/>
                </a:cubicBezTo>
                <a:cubicBezTo>
                  <a:pt x="1296" y="179"/>
                  <a:pt x="1296" y="179"/>
                  <a:pt x="1296" y="179"/>
                </a:cubicBezTo>
                <a:cubicBezTo>
                  <a:pt x="1297" y="177"/>
                  <a:pt x="1297" y="177"/>
                  <a:pt x="1297" y="177"/>
                </a:cubicBezTo>
                <a:cubicBezTo>
                  <a:pt x="1298" y="176"/>
                  <a:pt x="1298" y="176"/>
                  <a:pt x="1298" y="176"/>
                </a:cubicBezTo>
                <a:cubicBezTo>
                  <a:pt x="1300" y="176"/>
                  <a:pt x="1300" y="176"/>
                  <a:pt x="1300" y="176"/>
                </a:cubicBezTo>
                <a:cubicBezTo>
                  <a:pt x="1301" y="175"/>
                  <a:pt x="1301" y="175"/>
                  <a:pt x="1301" y="175"/>
                </a:cubicBezTo>
                <a:cubicBezTo>
                  <a:pt x="1302" y="175"/>
                  <a:pt x="1302" y="175"/>
                  <a:pt x="1302" y="175"/>
                </a:cubicBezTo>
                <a:cubicBezTo>
                  <a:pt x="1303" y="174"/>
                  <a:pt x="1303" y="174"/>
                  <a:pt x="1303" y="174"/>
                </a:cubicBezTo>
                <a:cubicBezTo>
                  <a:pt x="1303" y="173"/>
                  <a:pt x="1303" y="173"/>
                  <a:pt x="1303" y="173"/>
                </a:cubicBezTo>
                <a:cubicBezTo>
                  <a:pt x="1303" y="172"/>
                  <a:pt x="1303" y="172"/>
                  <a:pt x="1303" y="172"/>
                </a:cubicBezTo>
                <a:cubicBezTo>
                  <a:pt x="1303" y="171"/>
                  <a:pt x="1303" y="171"/>
                  <a:pt x="1303" y="171"/>
                </a:cubicBezTo>
                <a:lnTo>
                  <a:pt x="1304" y="171"/>
                </a:lnTo>
                <a:close/>
                <a:moveTo>
                  <a:pt x="1370" y="3"/>
                </a:moveTo>
                <a:cubicBezTo>
                  <a:pt x="1370" y="2"/>
                  <a:pt x="1370" y="2"/>
                  <a:pt x="1370" y="2"/>
                </a:cubicBezTo>
                <a:cubicBezTo>
                  <a:pt x="1371" y="3"/>
                  <a:pt x="1371" y="3"/>
                  <a:pt x="1371" y="3"/>
                </a:cubicBezTo>
                <a:cubicBezTo>
                  <a:pt x="1372" y="4"/>
                  <a:pt x="1372" y="4"/>
                  <a:pt x="1372" y="4"/>
                </a:cubicBezTo>
                <a:cubicBezTo>
                  <a:pt x="1374" y="5"/>
                  <a:pt x="1374" y="5"/>
                  <a:pt x="1374" y="5"/>
                </a:cubicBezTo>
                <a:cubicBezTo>
                  <a:pt x="1375" y="6"/>
                  <a:pt x="1375" y="6"/>
                  <a:pt x="1375" y="6"/>
                </a:cubicBezTo>
                <a:cubicBezTo>
                  <a:pt x="1376" y="7"/>
                  <a:pt x="1376" y="7"/>
                  <a:pt x="1376" y="7"/>
                </a:cubicBezTo>
                <a:cubicBezTo>
                  <a:pt x="1376" y="6"/>
                  <a:pt x="1376" y="6"/>
                  <a:pt x="1376" y="6"/>
                </a:cubicBezTo>
                <a:cubicBezTo>
                  <a:pt x="1377" y="4"/>
                  <a:pt x="1377" y="4"/>
                  <a:pt x="1377" y="4"/>
                </a:cubicBezTo>
                <a:cubicBezTo>
                  <a:pt x="1377" y="3"/>
                  <a:pt x="1377" y="3"/>
                  <a:pt x="1377" y="3"/>
                </a:cubicBezTo>
                <a:cubicBezTo>
                  <a:pt x="1378" y="0"/>
                  <a:pt x="1378" y="0"/>
                  <a:pt x="1378" y="0"/>
                </a:cubicBezTo>
                <a:cubicBezTo>
                  <a:pt x="1368" y="0"/>
                  <a:pt x="1368" y="0"/>
                  <a:pt x="1368" y="0"/>
                </a:cubicBezTo>
                <a:cubicBezTo>
                  <a:pt x="1368" y="2"/>
                  <a:pt x="1368" y="2"/>
                  <a:pt x="1368" y="2"/>
                </a:cubicBezTo>
                <a:cubicBezTo>
                  <a:pt x="1368" y="2"/>
                  <a:pt x="1368" y="2"/>
                  <a:pt x="1368" y="2"/>
                </a:cubicBezTo>
                <a:lnTo>
                  <a:pt x="1370" y="3"/>
                </a:lnTo>
                <a:close/>
                <a:moveTo>
                  <a:pt x="3232" y="1495"/>
                </a:moveTo>
                <a:cubicBezTo>
                  <a:pt x="3231" y="1495"/>
                  <a:pt x="3231" y="1495"/>
                  <a:pt x="3231" y="1495"/>
                </a:cubicBezTo>
                <a:cubicBezTo>
                  <a:pt x="3232" y="1496"/>
                  <a:pt x="3232" y="1496"/>
                  <a:pt x="3232" y="1496"/>
                </a:cubicBezTo>
                <a:lnTo>
                  <a:pt x="3232" y="1495"/>
                </a:lnTo>
                <a:close/>
                <a:moveTo>
                  <a:pt x="3229" y="1505"/>
                </a:moveTo>
                <a:cubicBezTo>
                  <a:pt x="3230" y="1505"/>
                  <a:pt x="3230" y="1505"/>
                  <a:pt x="3230" y="1505"/>
                </a:cubicBezTo>
                <a:cubicBezTo>
                  <a:pt x="3230" y="1504"/>
                  <a:pt x="3230" y="1504"/>
                  <a:pt x="3230" y="1504"/>
                </a:cubicBezTo>
                <a:cubicBezTo>
                  <a:pt x="3229" y="1504"/>
                  <a:pt x="3229" y="1504"/>
                  <a:pt x="3229" y="1504"/>
                </a:cubicBezTo>
                <a:lnTo>
                  <a:pt x="3229" y="1505"/>
                </a:lnTo>
                <a:close/>
                <a:moveTo>
                  <a:pt x="1906" y="57"/>
                </a:moveTo>
                <a:cubicBezTo>
                  <a:pt x="1907" y="56"/>
                  <a:pt x="1907" y="56"/>
                  <a:pt x="1907" y="56"/>
                </a:cubicBezTo>
                <a:cubicBezTo>
                  <a:pt x="1907" y="55"/>
                  <a:pt x="1907" y="55"/>
                  <a:pt x="1907" y="55"/>
                </a:cubicBezTo>
                <a:cubicBezTo>
                  <a:pt x="1908" y="54"/>
                  <a:pt x="1908" y="54"/>
                  <a:pt x="1908" y="54"/>
                </a:cubicBezTo>
                <a:cubicBezTo>
                  <a:pt x="1911" y="52"/>
                  <a:pt x="1911" y="52"/>
                  <a:pt x="1911" y="52"/>
                </a:cubicBezTo>
                <a:cubicBezTo>
                  <a:pt x="1913" y="51"/>
                  <a:pt x="1913" y="51"/>
                  <a:pt x="1913" y="51"/>
                </a:cubicBezTo>
                <a:cubicBezTo>
                  <a:pt x="1915" y="52"/>
                  <a:pt x="1915" y="52"/>
                  <a:pt x="1915" y="52"/>
                </a:cubicBezTo>
                <a:cubicBezTo>
                  <a:pt x="1916" y="52"/>
                  <a:pt x="1916" y="52"/>
                  <a:pt x="1916" y="52"/>
                </a:cubicBezTo>
                <a:cubicBezTo>
                  <a:pt x="1916" y="53"/>
                  <a:pt x="1916" y="53"/>
                  <a:pt x="1916" y="53"/>
                </a:cubicBezTo>
                <a:cubicBezTo>
                  <a:pt x="1915" y="53"/>
                  <a:pt x="1915" y="53"/>
                  <a:pt x="1915" y="53"/>
                </a:cubicBezTo>
                <a:cubicBezTo>
                  <a:pt x="1914" y="52"/>
                  <a:pt x="1914" y="52"/>
                  <a:pt x="1914" y="52"/>
                </a:cubicBezTo>
                <a:cubicBezTo>
                  <a:pt x="1913" y="52"/>
                  <a:pt x="1913" y="52"/>
                  <a:pt x="1913" y="52"/>
                </a:cubicBezTo>
                <a:cubicBezTo>
                  <a:pt x="1912" y="54"/>
                  <a:pt x="1912" y="54"/>
                  <a:pt x="1912" y="54"/>
                </a:cubicBezTo>
                <a:cubicBezTo>
                  <a:pt x="1909" y="55"/>
                  <a:pt x="1909" y="55"/>
                  <a:pt x="1909" y="55"/>
                </a:cubicBezTo>
                <a:cubicBezTo>
                  <a:pt x="1908" y="57"/>
                  <a:pt x="1908" y="57"/>
                  <a:pt x="1908" y="57"/>
                </a:cubicBezTo>
                <a:cubicBezTo>
                  <a:pt x="1908" y="59"/>
                  <a:pt x="1908" y="59"/>
                  <a:pt x="1908" y="59"/>
                </a:cubicBezTo>
                <a:cubicBezTo>
                  <a:pt x="1908" y="60"/>
                  <a:pt x="1908" y="60"/>
                  <a:pt x="1908" y="60"/>
                </a:cubicBezTo>
                <a:cubicBezTo>
                  <a:pt x="1908" y="61"/>
                  <a:pt x="1908" y="61"/>
                  <a:pt x="1908" y="61"/>
                </a:cubicBezTo>
                <a:cubicBezTo>
                  <a:pt x="1908" y="61"/>
                  <a:pt x="1908" y="62"/>
                  <a:pt x="1908" y="62"/>
                </a:cubicBezTo>
                <a:cubicBezTo>
                  <a:pt x="1911" y="62"/>
                  <a:pt x="1911" y="62"/>
                  <a:pt x="1911" y="62"/>
                </a:cubicBezTo>
                <a:cubicBezTo>
                  <a:pt x="1914" y="61"/>
                  <a:pt x="1914" y="61"/>
                  <a:pt x="1914" y="61"/>
                </a:cubicBezTo>
                <a:cubicBezTo>
                  <a:pt x="1916" y="60"/>
                  <a:pt x="1916" y="60"/>
                  <a:pt x="1916" y="60"/>
                </a:cubicBezTo>
                <a:cubicBezTo>
                  <a:pt x="1918" y="60"/>
                  <a:pt x="1918" y="60"/>
                  <a:pt x="1918" y="60"/>
                </a:cubicBezTo>
                <a:cubicBezTo>
                  <a:pt x="1919" y="61"/>
                  <a:pt x="1919" y="61"/>
                  <a:pt x="1919" y="61"/>
                </a:cubicBezTo>
                <a:cubicBezTo>
                  <a:pt x="1921" y="62"/>
                  <a:pt x="1921" y="62"/>
                  <a:pt x="1921" y="62"/>
                </a:cubicBezTo>
                <a:cubicBezTo>
                  <a:pt x="1923" y="61"/>
                  <a:pt x="1923" y="61"/>
                  <a:pt x="1923" y="61"/>
                </a:cubicBezTo>
                <a:cubicBezTo>
                  <a:pt x="1922" y="60"/>
                  <a:pt x="1922" y="60"/>
                  <a:pt x="1922" y="60"/>
                </a:cubicBezTo>
                <a:cubicBezTo>
                  <a:pt x="1922" y="58"/>
                  <a:pt x="1922" y="58"/>
                  <a:pt x="1922" y="58"/>
                </a:cubicBezTo>
                <a:cubicBezTo>
                  <a:pt x="1923" y="59"/>
                  <a:pt x="1923" y="59"/>
                  <a:pt x="1923" y="59"/>
                </a:cubicBezTo>
                <a:cubicBezTo>
                  <a:pt x="1924" y="61"/>
                  <a:pt x="1924" y="61"/>
                  <a:pt x="1924" y="61"/>
                </a:cubicBezTo>
                <a:cubicBezTo>
                  <a:pt x="1926" y="61"/>
                  <a:pt x="1926" y="61"/>
                  <a:pt x="1926" y="61"/>
                </a:cubicBezTo>
                <a:cubicBezTo>
                  <a:pt x="1928" y="61"/>
                  <a:pt x="1928" y="61"/>
                  <a:pt x="1928" y="61"/>
                </a:cubicBezTo>
                <a:cubicBezTo>
                  <a:pt x="1929" y="60"/>
                  <a:pt x="1929" y="60"/>
                  <a:pt x="1929" y="60"/>
                </a:cubicBezTo>
                <a:cubicBezTo>
                  <a:pt x="1930" y="60"/>
                  <a:pt x="1930" y="60"/>
                  <a:pt x="1930" y="60"/>
                </a:cubicBezTo>
                <a:cubicBezTo>
                  <a:pt x="1932" y="57"/>
                  <a:pt x="1932" y="57"/>
                  <a:pt x="1932" y="57"/>
                </a:cubicBezTo>
                <a:cubicBezTo>
                  <a:pt x="1931" y="55"/>
                  <a:pt x="1931" y="55"/>
                  <a:pt x="1931" y="55"/>
                </a:cubicBezTo>
                <a:cubicBezTo>
                  <a:pt x="1933" y="53"/>
                  <a:pt x="1933" y="53"/>
                  <a:pt x="1933" y="53"/>
                </a:cubicBezTo>
                <a:cubicBezTo>
                  <a:pt x="1933" y="51"/>
                  <a:pt x="1933" y="51"/>
                  <a:pt x="1933" y="51"/>
                </a:cubicBezTo>
                <a:cubicBezTo>
                  <a:pt x="1932" y="50"/>
                  <a:pt x="1932" y="50"/>
                  <a:pt x="1932" y="50"/>
                </a:cubicBezTo>
                <a:cubicBezTo>
                  <a:pt x="1930" y="48"/>
                  <a:pt x="1930" y="48"/>
                  <a:pt x="1930" y="48"/>
                </a:cubicBezTo>
                <a:cubicBezTo>
                  <a:pt x="1929" y="47"/>
                  <a:pt x="1929" y="47"/>
                  <a:pt x="1929" y="47"/>
                </a:cubicBezTo>
                <a:cubicBezTo>
                  <a:pt x="1927" y="47"/>
                  <a:pt x="1927" y="47"/>
                  <a:pt x="1927" y="47"/>
                </a:cubicBezTo>
                <a:cubicBezTo>
                  <a:pt x="1926" y="46"/>
                  <a:pt x="1926" y="46"/>
                  <a:pt x="1926" y="46"/>
                </a:cubicBezTo>
                <a:cubicBezTo>
                  <a:pt x="1928" y="46"/>
                  <a:pt x="1928" y="46"/>
                  <a:pt x="1928" y="46"/>
                </a:cubicBezTo>
                <a:cubicBezTo>
                  <a:pt x="1929" y="46"/>
                  <a:pt x="1929" y="46"/>
                  <a:pt x="1929" y="46"/>
                </a:cubicBezTo>
                <a:cubicBezTo>
                  <a:pt x="1931" y="46"/>
                  <a:pt x="1931" y="46"/>
                  <a:pt x="1931" y="46"/>
                </a:cubicBezTo>
                <a:cubicBezTo>
                  <a:pt x="1932" y="47"/>
                  <a:pt x="1932" y="47"/>
                  <a:pt x="1932" y="47"/>
                </a:cubicBezTo>
                <a:cubicBezTo>
                  <a:pt x="1932" y="48"/>
                  <a:pt x="1932" y="48"/>
                  <a:pt x="1932" y="48"/>
                </a:cubicBezTo>
                <a:cubicBezTo>
                  <a:pt x="1933" y="49"/>
                  <a:pt x="1933" y="49"/>
                  <a:pt x="1933" y="49"/>
                </a:cubicBezTo>
                <a:cubicBezTo>
                  <a:pt x="1934" y="48"/>
                  <a:pt x="1934" y="48"/>
                  <a:pt x="1934" y="48"/>
                </a:cubicBezTo>
                <a:cubicBezTo>
                  <a:pt x="1933" y="45"/>
                  <a:pt x="1933" y="45"/>
                  <a:pt x="1933" y="45"/>
                </a:cubicBezTo>
                <a:cubicBezTo>
                  <a:pt x="1931" y="42"/>
                  <a:pt x="1931" y="42"/>
                  <a:pt x="1931" y="42"/>
                </a:cubicBezTo>
                <a:cubicBezTo>
                  <a:pt x="1929" y="39"/>
                  <a:pt x="1929" y="39"/>
                  <a:pt x="1929" y="39"/>
                </a:cubicBezTo>
                <a:cubicBezTo>
                  <a:pt x="1929" y="38"/>
                  <a:pt x="1929" y="38"/>
                  <a:pt x="1929" y="38"/>
                </a:cubicBezTo>
                <a:cubicBezTo>
                  <a:pt x="1931" y="40"/>
                  <a:pt x="1931" y="40"/>
                  <a:pt x="1931" y="40"/>
                </a:cubicBezTo>
                <a:cubicBezTo>
                  <a:pt x="1931" y="41"/>
                  <a:pt x="1931" y="41"/>
                  <a:pt x="1931" y="41"/>
                </a:cubicBezTo>
                <a:cubicBezTo>
                  <a:pt x="1933" y="42"/>
                  <a:pt x="1933" y="42"/>
                  <a:pt x="1933" y="42"/>
                </a:cubicBezTo>
                <a:cubicBezTo>
                  <a:pt x="1935" y="42"/>
                  <a:pt x="1935" y="42"/>
                  <a:pt x="1935" y="42"/>
                </a:cubicBezTo>
                <a:cubicBezTo>
                  <a:pt x="1935" y="41"/>
                  <a:pt x="1935" y="41"/>
                  <a:pt x="1935" y="41"/>
                </a:cubicBezTo>
                <a:cubicBezTo>
                  <a:pt x="1935" y="40"/>
                  <a:pt x="1935" y="40"/>
                  <a:pt x="1935" y="40"/>
                </a:cubicBezTo>
                <a:cubicBezTo>
                  <a:pt x="1934" y="39"/>
                  <a:pt x="1934" y="39"/>
                  <a:pt x="1934" y="39"/>
                </a:cubicBezTo>
                <a:cubicBezTo>
                  <a:pt x="1934" y="38"/>
                  <a:pt x="1934" y="38"/>
                  <a:pt x="1934" y="38"/>
                </a:cubicBezTo>
                <a:cubicBezTo>
                  <a:pt x="1935" y="36"/>
                  <a:pt x="1935" y="36"/>
                  <a:pt x="1935" y="36"/>
                </a:cubicBezTo>
                <a:cubicBezTo>
                  <a:pt x="1935" y="34"/>
                  <a:pt x="1935" y="34"/>
                  <a:pt x="1935" y="34"/>
                </a:cubicBezTo>
                <a:cubicBezTo>
                  <a:pt x="1934" y="32"/>
                  <a:pt x="1934" y="32"/>
                  <a:pt x="1934" y="32"/>
                </a:cubicBezTo>
                <a:cubicBezTo>
                  <a:pt x="1932" y="29"/>
                  <a:pt x="1932" y="29"/>
                  <a:pt x="1932" y="29"/>
                </a:cubicBezTo>
                <a:cubicBezTo>
                  <a:pt x="1933" y="29"/>
                  <a:pt x="1933" y="29"/>
                  <a:pt x="1933" y="29"/>
                </a:cubicBezTo>
                <a:cubicBezTo>
                  <a:pt x="1935" y="31"/>
                  <a:pt x="1935" y="31"/>
                  <a:pt x="1935" y="31"/>
                </a:cubicBezTo>
                <a:cubicBezTo>
                  <a:pt x="1936" y="30"/>
                  <a:pt x="1936" y="30"/>
                  <a:pt x="1936" y="30"/>
                </a:cubicBezTo>
                <a:cubicBezTo>
                  <a:pt x="1937" y="28"/>
                  <a:pt x="1937" y="28"/>
                  <a:pt x="1937" y="28"/>
                </a:cubicBezTo>
                <a:cubicBezTo>
                  <a:pt x="1936" y="28"/>
                  <a:pt x="1936" y="28"/>
                  <a:pt x="1936" y="28"/>
                </a:cubicBezTo>
                <a:cubicBezTo>
                  <a:pt x="1935" y="28"/>
                  <a:pt x="1935" y="28"/>
                  <a:pt x="1935" y="28"/>
                </a:cubicBezTo>
                <a:cubicBezTo>
                  <a:pt x="1935" y="25"/>
                  <a:pt x="1935" y="25"/>
                  <a:pt x="1935" y="25"/>
                </a:cubicBezTo>
                <a:cubicBezTo>
                  <a:pt x="1936" y="25"/>
                  <a:pt x="1936" y="25"/>
                  <a:pt x="1936" y="25"/>
                </a:cubicBezTo>
                <a:cubicBezTo>
                  <a:pt x="1938" y="26"/>
                  <a:pt x="1938" y="26"/>
                  <a:pt x="1938" y="26"/>
                </a:cubicBezTo>
                <a:cubicBezTo>
                  <a:pt x="1941" y="27"/>
                  <a:pt x="1941" y="27"/>
                  <a:pt x="1941" y="27"/>
                </a:cubicBezTo>
                <a:cubicBezTo>
                  <a:pt x="1942" y="26"/>
                  <a:pt x="1942" y="26"/>
                  <a:pt x="1942" y="26"/>
                </a:cubicBezTo>
                <a:cubicBezTo>
                  <a:pt x="1940" y="25"/>
                  <a:pt x="1940" y="25"/>
                  <a:pt x="1940" y="25"/>
                </a:cubicBezTo>
                <a:cubicBezTo>
                  <a:pt x="1940" y="24"/>
                  <a:pt x="1940" y="24"/>
                  <a:pt x="1940" y="24"/>
                </a:cubicBezTo>
                <a:cubicBezTo>
                  <a:pt x="1942" y="24"/>
                  <a:pt x="1942" y="24"/>
                  <a:pt x="1942" y="24"/>
                </a:cubicBezTo>
                <a:cubicBezTo>
                  <a:pt x="1943" y="24"/>
                  <a:pt x="1943" y="24"/>
                  <a:pt x="1943" y="24"/>
                </a:cubicBezTo>
                <a:cubicBezTo>
                  <a:pt x="1944" y="23"/>
                  <a:pt x="1944" y="23"/>
                  <a:pt x="1944" y="23"/>
                </a:cubicBezTo>
                <a:cubicBezTo>
                  <a:pt x="1944" y="21"/>
                  <a:pt x="1944" y="21"/>
                  <a:pt x="1944" y="21"/>
                </a:cubicBezTo>
                <a:cubicBezTo>
                  <a:pt x="1944" y="20"/>
                  <a:pt x="1944" y="20"/>
                  <a:pt x="1944" y="20"/>
                </a:cubicBezTo>
                <a:cubicBezTo>
                  <a:pt x="1944" y="19"/>
                  <a:pt x="1944" y="19"/>
                  <a:pt x="1944" y="19"/>
                </a:cubicBezTo>
                <a:cubicBezTo>
                  <a:pt x="1947" y="18"/>
                  <a:pt x="1947" y="18"/>
                  <a:pt x="1947" y="18"/>
                </a:cubicBezTo>
                <a:cubicBezTo>
                  <a:pt x="1947" y="17"/>
                  <a:pt x="1947" y="17"/>
                  <a:pt x="1947" y="17"/>
                </a:cubicBezTo>
                <a:cubicBezTo>
                  <a:pt x="1945" y="16"/>
                  <a:pt x="1945" y="16"/>
                  <a:pt x="1945" y="16"/>
                </a:cubicBezTo>
                <a:cubicBezTo>
                  <a:pt x="1945" y="14"/>
                  <a:pt x="1945" y="14"/>
                  <a:pt x="1945" y="14"/>
                </a:cubicBezTo>
                <a:cubicBezTo>
                  <a:pt x="1946" y="12"/>
                  <a:pt x="1946" y="12"/>
                  <a:pt x="1946" y="12"/>
                </a:cubicBezTo>
                <a:cubicBezTo>
                  <a:pt x="1947" y="14"/>
                  <a:pt x="1947" y="14"/>
                  <a:pt x="1947" y="14"/>
                </a:cubicBezTo>
                <a:cubicBezTo>
                  <a:pt x="1948" y="13"/>
                  <a:pt x="1948" y="13"/>
                  <a:pt x="1948" y="13"/>
                </a:cubicBezTo>
                <a:cubicBezTo>
                  <a:pt x="1951" y="10"/>
                  <a:pt x="1951" y="10"/>
                  <a:pt x="1951" y="10"/>
                </a:cubicBezTo>
                <a:cubicBezTo>
                  <a:pt x="1951" y="7"/>
                  <a:pt x="1951" y="7"/>
                  <a:pt x="1951" y="7"/>
                </a:cubicBezTo>
                <a:cubicBezTo>
                  <a:pt x="1953" y="6"/>
                  <a:pt x="1953" y="6"/>
                  <a:pt x="1953" y="6"/>
                </a:cubicBezTo>
                <a:cubicBezTo>
                  <a:pt x="1953" y="4"/>
                  <a:pt x="1953" y="4"/>
                  <a:pt x="1953" y="4"/>
                </a:cubicBezTo>
                <a:cubicBezTo>
                  <a:pt x="1956" y="2"/>
                  <a:pt x="1956" y="2"/>
                  <a:pt x="1956" y="2"/>
                </a:cubicBezTo>
                <a:cubicBezTo>
                  <a:pt x="1957" y="0"/>
                  <a:pt x="1957" y="0"/>
                  <a:pt x="1957" y="0"/>
                </a:cubicBezTo>
                <a:cubicBezTo>
                  <a:pt x="1921" y="0"/>
                  <a:pt x="1921" y="0"/>
                  <a:pt x="1921" y="0"/>
                </a:cubicBezTo>
                <a:cubicBezTo>
                  <a:pt x="1921" y="1"/>
                  <a:pt x="1921" y="1"/>
                  <a:pt x="1921" y="1"/>
                </a:cubicBezTo>
                <a:cubicBezTo>
                  <a:pt x="1922" y="2"/>
                  <a:pt x="1922" y="2"/>
                  <a:pt x="1922" y="2"/>
                </a:cubicBezTo>
                <a:cubicBezTo>
                  <a:pt x="1923" y="2"/>
                  <a:pt x="1923" y="2"/>
                  <a:pt x="1923" y="2"/>
                </a:cubicBezTo>
                <a:cubicBezTo>
                  <a:pt x="1921" y="3"/>
                  <a:pt x="1921" y="3"/>
                  <a:pt x="1921" y="3"/>
                </a:cubicBezTo>
                <a:cubicBezTo>
                  <a:pt x="1918" y="3"/>
                  <a:pt x="1918" y="3"/>
                  <a:pt x="1918" y="3"/>
                </a:cubicBezTo>
                <a:cubicBezTo>
                  <a:pt x="1917" y="4"/>
                  <a:pt x="1917" y="4"/>
                  <a:pt x="1917" y="4"/>
                </a:cubicBezTo>
                <a:cubicBezTo>
                  <a:pt x="1917" y="7"/>
                  <a:pt x="1917" y="7"/>
                  <a:pt x="1917" y="7"/>
                </a:cubicBezTo>
                <a:cubicBezTo>
                  <a:pt x="1917" y="9"/>
                  <a:pt x="1917" y="9"/>
                  <a:pt x="1917" y="9"/>
                </a:cubicBezTo>
                <a:cubicBezTo>
                  <a:pt x="1918" y="9"/>
                  <a:pt x="1918" y="9"/>
                  <a:pt x="1918" y="9"/>
                </a:cubicBezTo>
                <a:cubicBezTo>
                  <a:pt x="1919" y="8"/>
                  <a:pt x="1919" y="8"/>
                  <a:pt x="1919" y="8"/>
                </a:cubicBezTo>
                <a:cubicBezTo>
                  <a:pt x="1920" y="9"/>
                  <a:pt x="1920" y="9"/>
                  <a:pt x="1920" y="9"/>
                </a:cubicBezTo>
                <a:cubicBezTo>
                  <a:pt x="1920" y="10"/>
                  <a:pt x="1920" y="10"/>
                  <a:pt x="1920" y="10"/>
                </a:cubicBezTo>
                <a:cubicBezTo>
                  <a:pt x="1920" y="12"/>
                  <a:pt x="1920" y="12"/>
                  <a:pt x="1920" y="12"/>
                </a:cubicBezTo>
                <a:cubicBezTo>
                  <a:pt x="1919" y="13"/>
                  <a:pt x="1919" y="13"/>
                  <a:pt x="1919" y="13"/>
                </a:cubicBezTo>
                <a:cubicBezTo>
                  <a:pt x="1917" y="12"/>
                  <a:pt x="1917" y="12"/>
                  <a:pt x="1917" y="12"/>
                </a:cubicBezTo>
                <a:cubicBezTo>
                  <a:pt x="1915" y="12"/>
                  <a:pt x="1915" y="12"/>
                  <a:pt x="1915" y="12"/>
                </a:cubicBezTo>
                <a:cubicBezTo>
                  <a:pt x="1913" y="13"/>
                  <a:pt x="1913" y="13"/>
                  <a:pt x="1913" y="13"/>
                </a:cubicBezTo>
                <a:cubicBezTo>
                  <a:pt x="1912" y="14"/>
                  <a:pt x="1912" y="14"/>
                  <a:pt x="1912" y="14"/>
                </a:cubicBezTo>
                <a:cubicBezTo>
                  <a:pt x="1912" y="16"/>
                  <a:pt x="1912" y="16"/>
                  <a:pt x="1912" y="16"/>
                </a:cubicBezTo>
                <a:cubicBezTo>
                  <a:pt x="1911" y="18"/>
                  <a:pt x="1911" y="18"/>
                  <a:pt x="1911" y="18"/>
                </a:cubicBezTo>
                <a:cubicBezTo>
                  <a:pt x="1910" y="19"/>
                  <a:pt x="1910" y="19"/>
                  <a:pt x="1910" y="19"/>
                </a:cubicBezTo>
                <a:cubicBezTo>
                  <a:pt x="1908" y="18"/>
                  <a:pt x="1908" y="18"/>
                  <a:pt x="1908" y="18"/>
                </a:cubicBezTo>
                <a:cubicBezTo>
                  <a:pt x="1907" y="17"/>
                  <a:pt x="1907" y="17"/>
                  <a:pt x="1907" y="17"/>
                </a:cubicBezTo>
                <a:cubicBezTo>
                  <a:pt x="1907" y="16"/>
                  <a:pt x="1907" y="16"/>
                  <a:pt x="1907" y="16"/>
                </a:cubicBezTo>
                <a:cubicBezTo>
                  <a:pt x="1906" y="16"/>
                  <a:pt x="1906" y="16"/>
                  <a:pt x="1906" y="16"/>
                </a:cubicBezTo>
                <a:cubicBezTo>
                  <a:pt x="1905" y="19"/>
                  <a:pt x="1905" y="19"/>
                  <a:pt x="1905" y="19"/>
                </a:cubicBezTo>
                <a:cubicBezTo>
                  <a:pt x="1906" y="21"/>
                  <a:pt x="1906" y="21"/>
                  <a:pt x="1906" y="21"/>
                </a:cubicBezTo>
                <a:cubicBezTo>
                  <a:pt x="1907" y="22"/>
                  <a:pt x="1907" y="22"/>
                  <a:pt x="1907" y="22"/>
                </a:cubicBezTo>
                <a:cubicBezTo>
                  <a:pt x="1909" y="22"/>
                  <a:pt x="1909" y="22"/>
                  <a:pt x="1909" y="22"/>
                </a:cubicBezTo>
                <a:cubicBezTo>
                  <a:pt x="1909" y="22"/>
                  <a:pt x="1909" y="22"/>
                  <a:pt x="1909" y="22"/>
                </a:cubicBezTo>
                <a:cubicBezTo>
                  <a:pt x="1910" y="23"/>
                  <a:pt x="1910" y="23"/>
                  <a:pt x="1910" y="23"/>
                </a:cubicBezTo>
                <a:cubicBezTo>
                  <a:pt x="1909" y="26"/>
                  <a:pt x="1909" y="26"/>
                  <a:pt x="1909" y="26"/>
                </a:cubicBezTo>
                <a:cubicBezTo>
                  <a:pt x="1909" y="27"/>
                  <a:pt x="1909" y="27"/>
                  <a:pt x="1909" y="27"/>
                </a:cubicBezTo>
                <a:cubicBezTo>
                  <a:pt x="1910" y="27"/>
                  <a:pt x="1910" y="27"/>
                  <a:pt x="1910" y="27"/>
                </a:cubicBezTo>
                <a:cubicBezTo>
                  <a:pt x="1911" y="26"/>
                  <a:pt x="1911" y="26"/>
                  <a:pt x="1911" y="26"/>
                </a:cubicBezTo>
                <a:cubicBezTo>
                  <a:pt x="1912" y="26"/>
                  <a:pt x="1912" y="26"/>
                  <a:pt x="1912" y="26"/>
                </a:cubicBezTo>
                <a:cubicBezTo>
                  <a:pt x="1913" y="27"/>
                  <a:pt x="1913" y="27"/>
                  <a:pt x="1913" y="27"/>
                </a:cubicBezTo>
                <a:cubicBezTo>
                  <a:pt x="1915" y="27"/>
                  <a:pt x="1915" y="27"/>
                  <a:pt x="1915" y="27"/>
                </a:cubicBezTo>
                <a:cubicBezTo>
                  <a:pt x="1916" y="26"/>
                  <a:pt x="1916" y="26"/>
                  <a:pt x="1916" y="26"/>
                </a:cubicBezTo>
                <a:cubicBezTo>
                  <a:pt x="1917" y="26"/>
                  <a:pt x="1917" y="26"/>
                  <a:pt x="1917" y="26"/>
                </a:cubicBezTo>
                <a:cubicBezTo>
                  <a:pt x="1916" y="28"/>
                  <a:pt x="1916" y="28"/>
                  <a:pt x="1916" y="28"/>
                </a:cubicBezTo>
                <a:cubicBezTo>
                  <a:pt x="1914" y="28"/>
                  <a:pt x="1914" y="28"/>
                  <a:pt x="1914" y="28"/>
                </a:cubicBezTo>
                <a:cubicBezTo>
                  <a:pt x="1912" y="28"/>
                  <a:pt x="1912" y="28"/>
                  <a:pt x="1912" y="28"/>
                </a:cubicBezTo>
                <a:cubicBezTo>
                  <a:pt x="1911" y="29"/>
                  <a:pt x="1911" y="29"/>
                  <a:pt x="1911" y="29"/>
                </a:cubicBezTo>
                <a:cubicBezTo>
                  <a:pt x="1910" y="29"/>
                  <a:pt x="1910" y="29"/>
                  <a:pt x="1910" y="29"/>
                </a:cubicBezTo>
                <a:cubicBezTo>
                  <a:pt x="1909" y="30"/>
                  <a:pt x="1909" y="30"/>
                  <a:pt x="1909" y="30"/>
                </a:cubicBezTo>
                <a:cubicBezTo>
                  <a:pt x="1910" y="32"/>
                  <a:pt x="1910" y="32"/>
                  <a:pt x="1910" y="32"/>
                </a:cubicBezTo>
                <a:cubicBezTo>
                  <a:pt x="1911" y="33"/>
                  <a:pt x="1911" y="33"/>
                  <a:pt x="1911" y="33"/>
                </a:cubicBezTo>
                <a:cubicBezTo>
                  <a:pt x="1913" y="33"/>
                  <a:pt x="1913" y="33"/>
                  <a:pt x="1913" y="33"/>
                </a:cubicBezTo>
                <a:cubicBezTo>
                  <a:pt x="1914" y="33"/>
                  <a:pt x="1914" y="33"/>
                  <a:pt x="1914" y="33"/>
                </a:cubicBezTo>
                <a:cubicBezTo>
                  <a:pt x="1915" y="33"/>
                  <a:pt x="1915" y="33"/>
                  <a:pt x="1915" y="33"/>
                </a:cubicBezTo>
                <a:cubicBezTo>
                  <a:pt x="1914" y="34"/>
                  <a:pt x="1914" y="34"/>
                  <a:pt x="1914" y="34"/>
                </a:cubicBezTo>
                <a:cubicBezTo>
                  <a:pt x="1912" y="35"/>
                  <a:pt x="1912" y="35"/>
                  <a:pt x="1912" y="35"/>
                </a:cubicBezTo>
                <a:cubicBezTo>
                  <a:pt x="1910" y="35"/>
                  <a:pt x="1910" y="35"/>
                  <a:pt x="1910" y="35"/>
                </a:cubicBezTo>
                <a:cubicBezTo>
                  <a:pt x="1908" y="36"/>
                  <a:pt x="1908" y="36"/>
                  <a:pt x="1908" y="36"/>
                </a:cubicBezTo>
                <a:cubicBezTo>
                  <a:pt x="1908" y="37"/>
                  <a:pt x="1908" y="37"/>
                  <a:pt x="1908" y="37"/>
                </a:cubicBezTo>
                <a:cubicBezTo>
                  <a:pt x="1909" y="38"/>
                  <a:pt x="1909" y="38"/>
                  <a:pt x="1909" y="38"/>
                </a:cubicBezTo>
                <a:cubicBezTo>
                  <a:pt x="1911" y="37"/>
                  <a:pt x="1911" y="37"/>
                  <a:pt x="1911" y="37"/>
                </a:cubicBezTo>
                <a:cubicBezTo>
                  <a:pt x="1913" y="37"/>
                  <a:pt x="1913" y="37"/>
                  <a:pt x="1913" y="37"/>
                </a:cubicBezTo>
                <a:cubicBezTo>
                  <a:pt x="1913" y="38"/>
                  <a:pt x="1913" y="38"/>
                  <a:pt x="1913" y="38"/>
                </a:cubicBezTo>
                <a:cubicBezTo>
                  <a:pt x="1912" y="39"/>
                  <a:pt x="1912" y="39"/>
                  <a:pt x="1912" y="39"/>
                </a:cubicBezTo>
                <a:cubicBezTo>
                  <a:pt x="1910" y="39"/>
                  <a:pt x="1910" y="39"/>
                  <a:pt x="1910" y="39"/>
                </a:cubicBezTo>
                <a:cubicBezTo>
                  <a:pt x="1910" y="40"/>
                  <a:pt x="1910" y="40"/>
                  <a:pt x="1910" y="40"/>
                </a:cubicBezTo>
                <a:cubicBezTo>
                  <a:pt x="1911" y="40"/>
                  <a:pt x="1911" y="40"/>
                  <a:pt x="1911" y="40"/>
                </a:cubicBezTo>
                <a:cubicBezTo>
                  <a:pt x="1913" y="41"/>
                  <a:pt x="1913" y="41"/>
                  <a:pt x="1913" y="41"/>
                </a:cubicBezTo>
                <a:cubicBezTo>
                  <a:pt x="1916" y="43"/>
                  <a:pt x="1916" y="43"/>
                  <a:pt x="1916" y="43"/>
                </a:cubicBezTo>
                <a:cubicBezTo>
                  <a:pt x="1917" y="43"/>
                  <a:pt x="1917" y="43"/>
                  <a:pt x="1917" y="43"/>
                </a:cubicBezTo>
                <a:cubicBezTo>
                  <a:pt x="1917" y="44"/>
                  <a:pt x="1917" y="44"/>
                  <a:pt x="1917" y="44"/>
                </a:cubicBezTo>
                <a:cubicBezTo>
                  <a:pt x="1918" y="45"/>
                  <a:pt x="1918" y="45"/>
                  <a:pt x="1918" y="45"/>
                </a:cubicBezTo>
                <a:cubicBezTo>
                  <a:pt x="1916" y="44"/>
                  <a:pt x="1916" y="44"/>
                  <a:pt x="1916" y="44"/>
                </a:cubicBezTo>
                <a:cubicBezTo>
                  <a:pt x="1914" y="43"/>
                  <a:pt x="1914" y="43"/>
                  <a:pt x="1914" y="43"/>
                </a:cubicBezTo>
                <a:cubicBezTo>
                  <a:pt x="1912" y="43"/>
                  <a:pt x="1912" y="43"/>
                  <a:pt x="1912" y="43"/>
                </a:cubicBezTo>
                <a:cubicBezTo>
                  <a:pt x="1911" y="42"/>
                  <a:pt x="1911" y="42"/>
                  <a:pt x="1911" y="42"/>
                </a:cubicBezTo>
                <a:cubicBezTo>
                  <a:pt x="1909" y="41"/>
                  <a:pt x="1909" y="41"/>
                  <a:pt x="1909" y="41"/>
                </a:cubicBezTo>
                <a:cubicBezTo>
                  <a:pt x="1908" y="43"/>
                  <a:pt x="1908" y="43"/>
                  <a:pt x="1908" y="43"/>
                </a:cubicBezTo>
                <a:cubicBezTo>
                  <a:pt x="1908" y="44"/>
                  <a:pt x="1908" y="44"/>
                  <a:pt x="1908" y="44"/>
                </a:cubicBezTo>
                <a:cubicBezTo>
                  <a:pt x="1907" y="45"/>
                  <a:pt x="1907" y="45"/>
                  <a:pt x="1907" y="45"/>
                </a:cubicBezTo>
                <a:cubicBezTo>
                  <a:pt x="1907" y="46"/>
                  <a:pt x="1907" y="46"/>
                  <a:pt x="1907" y="46"/>
                </a:cubicBezTo>
                <a:cubicBezTo>
                  <a:pt x="1908" y="47"/>
                  <a:pt x="1908" y="47"/>
                  <a:pt x="1908" y="47"/>
                </a:cubicBezTo>
                <a:cubicBezTo>
                  <a:pt x="1907" y="48"/>
                  <a:pt x="1907" y="48"/>
                  <a:pt x="1907" y="48"/>
                </a:cubicBezTo>
                <a:cubicBezTo>
                  <a:pt x="1906" y="48"/>
                  <a:pt x="1906" y="48"/>
                  <a:pt x="1906" y="48"/>
                </a:cubicBezTo>
                <a:cubicBezTo>
                  <a:pt x="1905" y="48"/>
                  <a:pt x="1905" y="48"/>
                  <a:pt x="1905" y="48"/>
                </a:cubicBezTo>
                <a:cubicBezTo>
                  <a:pt x="1904" y="49"/>
                  <a:pt x="1904" y="49"/>
                  <a:pt x="1904" y="49"/>
                </a:cubicBezTo>
                <a:cubicBezTo>
                  <a:pt x="1904" y="51"/>
                  <a:pt x="1904" y="51"/>
                  <a:pt x="1904" y="51"/>
                </a:cubicBezTo>
                <a:cubicBezTo>
                  <a:pt x="1904" y="52"/>
                  <a:pt x="1904" y="52"/>
                  <a:pt x="1904" y="52"/>
                </a:cubicBezTo>
                <a:cubicBezTo>
                  <a:pt x="1903" y="52"/>
                  <a:pt x="1903" y="52"/>
                  <a:pt x="1903" y="52"/>
                </a:cubicBezTo>
                <a:cubicBezTo>
                  <a:pt x="1902" y="53"/>
                  <a:pt x="1902" y="53"/>
                  <a:pt x="1902" y="53"/>
                </a:cubicBezTo>
                <a:cubicBezTo>
                  <a:pt x="1902" y="53"/>
                  <a:pt x="1902" y="53"/>
                  <a:pt x="1902" y="53"/>
                </a:cubicBezTo>
                <a:cubicBezTo>
                  <a:pt x="1904" y="56"/>
                  <a:pt x="1904" y="56"/>
                  <a:pt x="1904" y="56"/>
                </a:cubicBezTo>
                <a:lnTo>
                  <a:pt x="1906" y="57"/>
                </a:lnTo>
                <a:close/>
                <a:moveTo>
                  <a:pt x="3235" y="1496"/>
                </a:moveTo>
                <a:cubicBezTo>
                  <a:pt x="3235" y="1495"/>
                  <a:pt x="3235" y="1495"/>
                  <a:pt x="3235" y="1495"/>
                </a:cubicBezTo>
                <a:cubicBezTo>
                  <a:pt x="3236" y="1495"/>
                  <a:pt x="3236" y="1495"/>
                  <a:pt x="3236" y="1495"/>
                </a:cubicBezTo>
                <a:cubicBezTo>
                  <a:pt x="3235" y="1494"/>
                  <a:pt x="3235" y="1494"/>
                  <a:pt x="3235" y="1494"/>
                </a:cubicBezTo>
                <a:cubicBezTo>
                  <a:pt x="3235" y="1492"/>
                  <a:pt x="3235" y="1492"/>
                  <a:pt x="3235" y="1492"/>
                </a:cubicBezTo>
                <a:cubicBezTo>
                  <a:pt x="3234" y="1495"/>
                  <a:pt x="3234" y="1495"/>
                  <a:pt x="3234" y="1495"/>
                </a:cubicBezTo>
                <a:cubicBezTo>
                  <a:pt x="3235" y="1496"/>
                  <a:pt x="3235" y="1496"/>
                  <a:pt x="3235" y="1496"/>
                </a:cubicBezTo>
                <a:close/>
                <a:moveTo>
                  <a:pt x="576" y="50"/>
                </a:moveTo>
                <a:cubicBezTo>
                  <a:pt x="577" y="50"/>
                  <a:pt x="577" y="50"/>
                  <a:pt x="577" y="50"/>
                </a:cubicBezTo>
                <a:cubicBezTo>
                  <a:pt x="577" y="51"/>
                  <a:pt x="577" y="51"/>
                  <a:pt x="577" y="51"/>
                </a:cubicBezTo>
                <a:cubicBezTo>
                  <a:pt x="576" y="52"/>
                  <a:pt x="576" y="52"/>
                  <a:pt x="576" y="52"/>
                </a:cubicBezTo>
                <a:cubicBezTo>
                  <a:pt x="578" y="56"/>
                  <a:pt x="578" y="56"/>
                  <a:pt x="578" y="56"/>
                </a:cubicBezTo>
                <a:cubicBezTo>
                  <a:pt x="579" y="57"/>
                  <a:pt x="579" y="57"/>
                  <a:pt x="579" y="57"/>
                </a:cubicBezTo>
                <a:cubicBezTo>
                  <a:pt x="579" y="58"/>
                  <a:pt x="579" y="58"/>
                  <a:pt x="579" y="58"/>
                </a:cubicBezTo>
                <a:cubicBezTo>
                  <a:pt x="582" y="60"/>
                  <a:pt x="582" y="60"/>
                  <a:pt x="582" y="60"/>
                </a:cubicBezTo>
                <a:cubicBezTo>
                  <a:pt x="583" y="61"/>
                  <a:pt x="583" y="61"/>
                  <a:pt x="583" y="61"/>
                </a:cubicBezTo>
                <a:cubicBezTo>
                  <a:pt x="585" y="61"/>
                  <a:pt x="585" y="61"/>
                  <a:pt x="585" y="61"/>
                </a:cubicBezTo>
                <a:cubicBezTo>
                  <a:pt x="586" y="62"/>
                  <a:pt x="586" y="62"/>
                  <a:pt x="586" y="62"/>
                </a:cubicBezTo>
                <a:cubicBezTo>
                  <a:pt x="587" y="62"/>
                  <a:pt x="587" y="62"/>
                  <a:pt x="587" y="62"/>
                </a:cubicBezTo>
                <a:cubicBezTo>
                  <a:pt x="589" y="61"/>
                  <a:pt x="589" y="61"/>
                  <a:pt x="589" y="61"/>
                </a:cubicBezTo>
                <a:cubicBezTo>
                  <a:pt x="591" y="61"/>
                  <a:pt x="591" y="61"/>
                  <a:pt x="591" y="61"/>
                </a:cubicBezTo>
                <a:cubicBezTo>
                  <a:pt x="592" y="63"/>
                  <a:pt x="592" y="63"/>
                  <a:pt x="592" y="63"/>
                </a:cubicBezTo>
                <a:cubicBezTo>
                  <a:pt x="594" y="63"/>
                  <a:pt x="594" y="63"/>
                  <a:pt x="594" y="63"/>
                </a:cubicBezTo>
                <a:cubicBezTo>
                  <a:pt x="596" y="65"/>
                  <a:pt x="596" y="65"/>
                  <a:pt x="596" y="65"/>
                </a:cubicBezTo>
                <a:cubicBezTo>
                  <a:pt x="597" y="65"/>
                  <a:pt x="597" y="65"/>
                  <a:pt x="597" y="65"/>
                </a:cubicBezTo>
                <a:cubicBezTo>
                  <a:pt x="597" y="66"/>
                  <a:pt x="597" y="66"/>
                  <a:pt x="597" y="66"/>
                </a:cubicBezTo>
                <a:cubicBezTo>
                  <a:pt x="595" y="67"/>
                  <a:pt x="595" y="67"/>
                  <a:pt x="595" y="67"/>
                </a:cubicBezTo>
                <a:cubicBezTo>
                  <a:pt x="595" y="68"/>
                  <a:pt x="595" y="68"/>
                  <a:pt x="595" y="68"/>
                </a:cubicBezTo>
                <a:cubicBezTo>
                  <a:pt x="594" y="69"/>
                  <a:pt x="594" y="69"/>
                  <a:pt x="594" y="69"/>
                </a:cubicBezTo>
                <a:cubicBezTo>
                  <a:pt x="594" y="70"/>
                  <a:pt x="594" y="70"/>
                  <a:pt x="594" y="70"/>
                </a:cubicBezTo>
                <a:cubicBezTo>
                  <a:pt x="594" y="72"/>
                  <a:pt x="594" y="72"/>
                  <a:pt x="594" y="72"/>
                </a:cubicBezTo>
                <a:cubicBezTo>
                  <a:pt x="591" y="73"/>
                  <a:pt x="591" y="73"/>
                  <a:pt x="591" y="73"/>
                </a:cubicBezTo>
                <a:cubicBezTo>
                  <a:pt x="591" y="74"/>
                  <a:pt x="591" y="74"/>
                  <a:pt x="591" y="74"/>
                </a:cubicBezTo>
                <a:cubicBezTo>
                  <a:pt x="590" y="75"/>
                  <a:pt x="590" y="75"/>
                  <a:pt x="590" y="75"/>
                </a:cubicBezTo>
                <a:cubicBezTo>
                  <a:pt x="592" y="76"/>
                  <a:pt x="592" y="76"/>
                  <a:pt x="592" y="76"/>
                </a:cubicBezTo>
                <a:cubicBezTo>
                  <a:pt x="592" y="79"/>
                  <a:pt x="592" y="79"/>
                  <a:pt x="592" y="79"/>
                </a:cubicBezTo>
                <a:cubicBezTo>
                  <a:pt x="593" y="81"/>
                  <a:pt x="593" y="81"/>
                  <a:pt x="593" y="81"/>
                </a:cubicBezTo>
                <a:cubicBezTo>
                  <a:pt x="593" y="82"/>
                  <a:pt x="593" y="82"/>
                  <a:pt x="593" y="82"/>
                </a:cubicBezTo>
                <a:cubicBezTo>
                  <a:pt x="591" y="83"/>
                  <a:pt x="591" y="83"/>
                  <a:pt x="591" y="83"/>
                </a:cubicBezTo>
                <a:cubicBezTo>
                  <a:pt x="591" y="84"/>
                  <a:pt x="591" y="84"/>
                  <a:pt x="591" y="84"/>
                </a:cubicBezTo>
                <a:cubicBezTo>
                  <a:pt x="595" y="84"/>
                  <a:pt x="595" y="84"/>
                  <a:pt x="595" y="84"/>
                </a:cubicBezTo>
                <a:cubicBezTo>
                  <a:pt x="596" y="84"/>
                  <a:pt x="596" y="84"/>
                  <a:pt x="596" y="84"/>
                </a:cubicBezTo>
                <a:cubicBezTo>
                  <a:pt x="597" y="84"/>
                  <a:pt x="597" y="84"/>
                  <a:pt x="597" y="84"/>
                </a:cubicBezTo>
                <a:cubicBezTo>
                  <a:pt x="597" y="85"/>
                  <a:pt x="597" y="85"/>
                  <a:pt x="597" y="85"/>
                </a:cubicBezTo>
                <a:cubicBezTo>
                  <a:pt x="598" y="84"/>
                  <a:pt x="598" y="84"/>
                  <a:pt x="598" y="84"/>
                </a:cubicBezTo>
                <a:cubicBezTo>
                  <a:pt x="599" y="83"/>
                  <a:pt x="599" y="83"/>
                  <a:pt x="599" y="83"/>
                </a:cubicBezTo>
                <a:cubicBezTo>
                  <a:pt x="600" y="84"/>
                  <a:pt x="600" y="84"/>
                  <a:pt x="600" y="84"/>
                </a:cubicBezTo>
                <a:cubicBezTo>
                  <a:pt x="603" y="84"/>
                  <a:pt x="603" y="84"/>
                  <a:pt x="603" y="84"/>
                </a:cubicBezTo>
                <a:cubicBezTo>
                  <a:pt x="606" y="85"/>
                  <a:pt x="606" y="85"/>
                  <a:pt x="606" y="85"/>
                </a:cubicBezTo>
                <a:cubicBezTo>
                  <a:pt x="607" y="84"/>
                  <a:pt x="607" y="84"/>
                  <a:pt x="607" y="84"/>
                </a:cubicBezTo>
                <a:cubicBezTo>
                  <a:pt x="610" y="84"/>
                  <a:pt x="610" y="84"/>
                  <a:pt x="610" y="84"/>
                </a:cubicBezTo>
                <a:cubicBezTo>
                  <a:pt x="610" y="85"/>
                  <a:pt x="610" y="85"/>
                  <a:pt x="610" y="85"/>
                </a:cubicBezTo>
                <a:cubicBezTo>
                  <a:pt x="611" y="85"/>
                  <a:pt x="611" y="85"/>
                  <a:pt x="611" y="85"/>
                </a:cubicBezTo>
                <a:cubicBezTo>
                  <a:pt x="612" y="85"/>
                  <a:pt x="612" y="85"/>
                  <a:pt x="612" y="85"/>
                </a:cubicBezTo>
                <a:cubicBezTo>
                  <a:pt x="613" y="84"/>
                  <a:pt x="613" y="84"/>
                  <a:pt x="613" y="84"/>
                </a:cubicBezTo>
                <a:cubicBezTo>
                  <a:pt x="614" y="85"/>
                  <a:pt x="614" y="85"/>
                  <a:pt x="614" y="85"/>
                </a:cubicBezTo>
                <a:cubicBezTo>
                  <a:pt x="614" y="86"/>
                  <a:pt x="614" y="86"/>
                  <a:pt x="614" y="86"/>
                </a:cubicBezTo>
                <a:cubicBezTo>
                  <a:pt x="615" y="86"/>
                  <a:pt x="615" y="86"/>
                  <a:pt x="615" y="86"/>
                </a:cubicBezTo>
                <a:cubicBezTo>
                  <a:pt x="616" y="85"/>
                  <a:pt x="616" y="85"/>
                  <a:pt x="616" y="85"/>
                </a:cubicBezTo>
                <a:cubicBezTo>
                  <a:pt x="617" y="86"/>
                  <a:pt x="617" y="86"/>
                  <a:pt x="617" y="86"/>
                </a:cubicBezTo>
                <a:cubicBezTo>
                  <a:pt x="617" y="87"/>
                  <a:pt x="617" y="87"/>
                  <a:pt x="617" y="87"/>
                </a:cubicBezTo>
                <a:cubicBezTo>
                  <a:pt x="618" y="87"/>
                  <a:pt x="618" y="87"/>
                  <a:pt x="618" y="87"/>
                </a:cubicBezTo>
                <a:cubicBezTo>
                  <a:pt x="619" y="86"/>
                  <a:pt x="619" y="86"/>
                  <a:pt x="619" y="86"/>
                </a:cubicBezTo>
                <a:cubicBezTo>
                  <a:pt x="622" y="86"/>
                  <a:pt x="622" y="86"/>
                  <a:pt x="622" y="86"/>
                </a:cubicBezTo>
                <a:cubicBezTo>
                  <a:pt x="623" y="85"/>
                  <a:pt x="623" y="85"/>
                  <a:pt x="623" y="85"/>
                </a:cubicBezTo>
                <a:cubicBezTo>
                  <a:pt x="625" y="84"/>
                  <a:pt x="625" y="84"/>
                  <a:pt x="625" y="84"/>
                </a:cubicBezTo>
                <a:cubicBezTo>
                  <a:pt x="626" y="84"/>
                  <a:pt x="626" y="84"/>
                  <a:pt x="626" y="84"/>
                </a:cubicBezTo>
                <a:cubicBezTo>
                  <a:pt x="628" y="82"/>
                  <a:pt x="628" y="82"/>
                  <a:pt x="628" y="82"/>
                </a:cubicBezTo>
                <a:cubicBezTo>
                  <a:pt x="630" y="81"/>
                  <a:pt x="630" y="81"/>
                  <a:pt x="630" y="81"/>
                </a:cubicBezTo>
                <a:cubicBezTo>
                  <a:pt x="632" y="81"/>
                  <a:pt x="632" y="81"/>
                  <a:pt x="632" y="81"/>
                </a:cubicBezTo>
                <a:cubicBezTo>
                  <a:pt x="633" y="80"/>
                  <a:pt x="633" y="80"/>
                  <a:pt x="633" y="80"/>
                </a:cubicBezTo>
                <a:cubicBezTo>
                  <a:pt x="634" y="80"/>
                  <a:pt x="634" y="80"/>
                  <a:pt x="634" y="80"/>
                </a:cubicBezTo>
                <a:cubicBezTo>
                  <a:pt x="636" y="80"/>
                  <a:pt x="636" y="80"/>
                  <a:pt x="636" y="80"/>
                </a:cubicBezTo>
                <a:cubicBezTo>
                  <a:pt x="637" y="80"/>
                  <a:pt x="637" y="80"/>
                  <a:pt x="637" y="80"/>
                </a:cubicBezTo>
                <a:cubicBezTo>
                  <a:pt x="639" y="81"/>
                  <a:pt x="639" y="81"/>
                  <a:pt x="639" y="81"/>
                </a:cubicBezTo>
                <a:cubicBezTo>
                  <a:pt x="643" y="81"/>
                  <a:pt x="643" y="81"/>
                  <a:pt x="643" y="81"/>
                </a:cubicBezTo>
                <a:cubicBezTo>
                  <a:pt x="647" y="78"/>
                  <a:pt x="647" y="78"/>
                  <a:pt x="647" y="78"/>
                </a:cubicBezTo>
                <a:cubicBezTo>
                  <a:pt x="647" y="77"/>
                  <a:pt x="647" y="77"/>
                  <a:pt x="647" y="77"/>
                </a:cubicBezTo>
                <a:cubicBezTo>
                  <a:pt x="648" y="77"/>
                  <a:pt x="648" y="77"/>
                  <a:pt x="648" y="77"/>
                </a:cubicBezTo>
                <a:cubicBezTo>
                  <a:pt x="649" y="78"/>
                  <a:pt x="649" y="78"/>
                  <a:pt x="649" y="78"/>
                </a:cubicBezTo>
                <a:cubicBezTo>
                  <a:pt x="649" y="77"/>
                  <a:pt x="649" y="77"/>
                  <a:pt x="649" y="77"/>
                </a:cubicBezTo>
                <a:cubicBezTo>
                  <a:pt x="651" y="76"/>
                  <a:pt x="651" y="76"/>
                  <a:pt x="651" y="76"/>
                </a:cubicBezTo>
                <a:cubicBezTo>
                  <a:pt x="651" y="74"/>
                  <a:pt x="651" y="74"/>
                  <a:pt x="651" y="74"/>
                </a:cubicBezTo>
                <a:cubicBezTo>
                  <a:pt x="651" y="74"/>
                  <a:pt x="651" y="74"/>
                  <a:pt x="651" y="74"/>
                </a:cubicBezTo>
                <a:cubicBezTo>
                  <a:pt x="652" y="74"/>
                  <a:pt x="652" y="74"/>
                  <a:pt x="652" y="74"/>
                </a:cubicBezTo>
                <a:cubicBezTo>
                  <a:pt x="653" y="74"/>
                  <a:pt x="653" y="74"/>
                  <a:pt x="653" y="74"/>
                </a:cubicBezTo>
                <a:cubicBezTo>
                  <a:pt x="654" y="73"/>
                  <a:pt x="654" y="73"/>
                  <a:pt x="654" y="73"/>
                </a:cubicBezTo>
                <a:cubicBezTo>
                  <a:pt x="654" y="72"/>
                  <a:pt x="654" y="72"/>
                  <a:pt x="654" y="72"/>
                </a:cubicBezTo>
                <a:cubicBezTo>
                  <a:pt x="655" y="72"/>
                  <a:pt x="655" y="72"/>
                  <a:pt x="655" y="72"/>
                </a:cubicBezTo>
                <a:cubicBezTo>
                  <a:pt x="656" y="72"/>
                  <a:pt x="656" y="72"/>
                  <a:pt x="656" y="72"/>
                </a:cubicBezTo>
                <a:cubicBezTo>
                  <a:pt x="656" y="73"/>
                  <a:pt x="656" y="73"/>
                  <a:pt x="656" y="73"/>
                </a:cubicBezTo>
                <a:cubicBezTo>
                  <a:pt x="656" y="74"/>
                  <a:pt x="656" y="74"/>
                  <a:pt x="656" y="74"/>
                </a:cubicBezTo>
                <a:cubicBezTo>
                  <a:pt x="657" y="75"/>
                  <a:pt x="657" y="75"/>
                  <a:pt x="657" y="75"/>
                </a:cubicBezTo>
                <a:cubicBezTo>
                  <a:pt x="655" y="76"/>
                  <a:pt x="655" y="76"/>
                  <a:pt x="655" y="76"/>
                </a:cubicBezTo>
                <a:cubicBezTo>
                  <a:pt x="655" y="77"/>
                  <a:pt x="655" y="77"/>
                  <a:pt x="655" y="77"/>
                </a:cubicBezTo>
                <a:cubicBezTo>
                  <a:pt x="655" y="78"/>
                  <a:pt x="655" y="78"/>
                  <a:pt x="655" y="78"/>
                </a:cubicBezTo>
                <a:cubicBezTo>
                  <a:pt x="654" y="79"/>
                  <a:pt x="654" y="79"/>
                  <a:pt x="654" y="79"/>
                </a:cubicBezTo>
                <a:cubicBezTo>
                  <a:pt x="654" y="80"/>
                  <a:pt x="654" y="80"/>
                  <a:pt x="654" y="80"/>
                </a:cubicBezTo>
                <a:cubicBezTo>
                  <a:pt x="655" y="80"/>
                  <a:pt x="655" y="80"/>
                  <a:pt x="655" y="80"/>
                </a:cubicBezTo>
                <a:cubicBezTo>
                  <a:pt x="657" y="81"/>
                  <a:pt x="657" y="81"/>
                  <a:pt x="657" y="81"/>
                </a:cubicBezTo>
                <a:cubicBezTo>
                  <a:pt x="657" y="81"/>
                  <a:pt x="657" y="81"/>
                  <a:pt x="657" y="81"/>
                </a:cubicBezTo>
                <a:cubicBezTo>
                  <a:pt x="659" y="81"/>
                  <a:pt x="659" y="81"/>
                  <a:pt x="659" y="81"/>
                </a:cubicBezTo>
                <a:cubicBezTo>
                  <a:pt x="660" y="81"/>
                  <a:pt x="660" y="81"/>
                  <a:pt x="660" y="81"/>
                </a:cubicBezTo>
                <a:cubicBezTo>
                  <a:pt x="661" y="83"/>
                  <a:pt x="661" y="83"/>
                  <a:pt x="661" y="83"/>
                </a:cubicBezTo>
                <a:cubicBezTo>
                  <a:pt x="662" y="84"/>
                  <a:pt x="662" y="84"/>
                  <a:pt x="662" y="84"/>
                </a:cubicBezTo>
                <a:cubicBezTo>
                  <a:pt x="662" y="83"/>
                  <a:pt x="662" y="83"/>
                  <a:pt x="662" y="83"/>
                </a:cubicBezTo>
                <a:cubicBezTo>
                  <a:pt x="662" y="83"/>
                  <a:pt x="662" y="83"/>
                  <a:pt x="662" y="83"/>
                </a:cubicBezTo>
                <a:cubicBezTo>
                  <a:pt x="663" y="83"/>
                  <a:pt x="663" y="83"/>
                  <a:pt x="663" y="83"/>
                </a:cubicBezTo>
                <a:cubicBezTo>
                  <a:pt x="664" y="84"/>
                  <a:pt x="664" y="84"/>
                  <a:pt x="664" y="84"/>
                </a:cubicBezTo>
                <a:cubicBezTo>
                  <a:pt x="662" y="86"/>
                  <a:pt x="662" y="86"/>
                  <a:pt x="662" y="86"/>
                </a:cubicBezTo>
                <a:cubicBezTo>
                  <a:pt x="661" y="86"/>
                  <a:pt x="661" y="86"/>
                  <a:pt x="661" y="86"/>
                </a:cubicBezTo>
                <a:cubicBezTo>
                  <a:pt x="660" y="87"/>
                  <a:pt x="660" y="87"/>
                  <a:pt x="660" y="87"/>
                </a:cubicBezTo>
                <a:cubicBezTo>
                  <a:pt x="660" y="88"/>
                  <a:pt x="660" y="88"/>
                  <a:pt x="660" y="88"/>
                </a:cubicBezTo>
                <a:cubicBezTo>
                  <a:pt x="661" y="88"/>
                  <a:pt x="661" y="88"/>
                  <a:pt x="661" y="88"/>
                </a:cubicBezTo>
                <a:cubicBezTo>
                  <a:pt x="662" y="88"/>
                  <a:pt x="662" y="88"/>
                  <a:pt x="662" y="88"/>
                </a:cubicBezTo>
                <a:cubicBezTo>
                  <a:pt x="664" y="90"/>
                  <a:pt x="664" y="90"/>
                  <a:pt x="664" y="90"/>
                </a:cubicBezTo>
                <a:cubicBezTo>
                  <a:pt x="665" y="89"/>
                  <a:pt x="665" y="89"/>
                  <a:pt x="665" y="89"/>
                </a:cubicBezTo>
                <a:cubicBezTo>
                  <a:pt x="667" y="87"/>
                  <a:pt x="667" y="87"/>
                  <a:pt x="667" y="87"/>
                </a:cubicBezTo>
                <a:cubicBezTo>
                  <a:pt x="667" y="87"/>
                  <a:pt x="667" y="87"/>
                  <a:pt x="667" y="87"/>
                </a:cubicBezTo>
                <a:cubicBezTo>
                  <a:pt x="667" y="89"/>
                  <a:pt x="667" y="89"/>
                  <a:pt x="667" y="89"/>
                </a:cubicBezTo>
                <a:cubicBezTo>
                  <a:pt x="668" y="91"/>
                  <a:pt x="668" y="91"/>
                  <a:pt x="668" y="91"/>
                </a:cubicBezTo>
                <a:cubicBezTo>
                  <a:pt x="669" y="91"/>
                  <a:pt x="669" y="91"/>
                  <a:pt x="669" y="91"/>
                </a:cubicBezTo>
                <a:cubicBezTo>
                  <a:pt x="670" y="90"/>
                  <a:pt x="670" y="90"/>
                  <a:pt x="670" y="90"/>
                </a:cubicBezTo>
                <a:cubicBezTo>
                  <a:pt x="672" y="91"/>
                  <a:pt x="672" y="91"/>
                  <a:pt x="672" y="91"/>
                </a:cubicBezTo>
                <a:cubicBezTo>
                  <a:pt x="673" y="92"/>
                  <a:pt x="673" y="92"/>
                  <a:pt x="673" y="92"/>
                </a:cubicBezTo>
                <a:cubicBezTo>
                  <a:pt x="674" y="92"/>
                  <a:pt x="674" y="92"/>
                  <a:pt x="674" y="92"/>
                </a:cubicBezTo>
                <a:cubicBezTo>
                  <a:pt x="675" y="93"/>
                  <a:pt x="675" y="93"/>
                  <a:pt x="675" y="93"/>
                </a:cubicBezTo>
                <a:cubicBezTo>
                  <a:pt x="676" y="93"/>
                  <a:pt x="676" y="93"/>
                  <a:pt x="676" y="93"/>
                </a:cubicBezTo>
                <a:cubicBezTo>
                  <a:pt x="676" y="92"/>
                  <a:pt x="676" y="92"/>
                  <a:pt x="676" y="92"/>
                </a:cubicBezTo>
                <a:cubicBezTo>
                  <a:pt x="677" y="92"/>
                  <a:pt x="677" y="92"/>
                  <a:pt x="677" y="92"/>
                </a:cubicBezTo>
                <a:cubicBezTo>
                  <a:pt x="678" y="91"/>
                  <a:pt x="678" y="91"/>
                  <a:pt x="678" y="91"/>
                </a:cubicBezTo>
                <a:cubicBezTo>
                  <a:pt x="679" y="92"/>
                  <a:pt x="679" y="92"/>
                  <a:pt x="679" y="92"/>
                </a:cubicBezTo>
                <a:cubicBezTo>
                  <a:pt x="679" y="93"/>
                  <a:pt x="679" y="93"/>
                  <a:pt x="679" y="93"/>
                </a:cubicBezTo>
                <a:cubicBezTo>
                  <a:pt x="680" y="93"/>
                  <a:pt x="680" y="93"/>
                  <a:pt x="680" y="93"/>
                </a:cubicBezTo>
                <a:cubicBezTo>
                  <a:pt x="681" y="93"/>
                  <a:pt x="681" y="93"/>
                  <a:pt x="681" y="93"/>
                </a:cubicBezTo>
                <a:cubicBezTo>
                  <a:pt x="682" y="92"/>
                  <a:pt x="682" y="92"/>
                  <a:pt x="682" y="92"/>
                </a:cubicBezTo>
                <a:cubicBezTo>
                  <a:pt x="683" y="92"/>
                  <a:pt x="683" y="92"/>
                  <a:pt x="683" y="92"/>
                </a:cubicBezTo>
                <a:cubicBezTo>
                  <a:pt x="683" y="93"/>
                  <a:pt x="683" y="93"/>
                  <a:pt x="683" y="93"/>
                </a:cubicBezTo>
                <a:cubicBezTo>
                  <a:pt x="684" y="93"/>
                  <a:pt x="684" y="93"/>
                  <a:pt x="684" y="93"/>
                </a:cubicBezTo>
                <a:cubicBezTo>
                  <a:pt x="685" y="92"/>
                  <a:pt x="685" y="92"/>
                  <a:pt x="685" y="92"/>
                </a:cubicBezTo>
                <a:cubicBezTo>
                  <a:pt x="685" y="92"/>
                  <a:pt x="685" y="92"/>
                  <a:pt x="685" y="92"/>
                </a:cubicBezTo>
                <a:cubicBezTo>
                  <a:pt x="686" y="91"/>
                  <a:pt x="686" y="91"/>
                  <a:pt x="686" y="91"/>
                </a:cubicBezTo>
                <a:cubicBezTo>
                  <a:pt x="688" y="91"/>
                  <a:pt x="688" y="91"/>
                  <a:pt x="688" y="91"/>
                </a:cubicBezTo>
                <a:cubicBezTo>
                  <a:pt x="688" y="92"/>
                  <a:pt x="688" y="92"/>
                  <a:pt x="688" y="92"/>
                </a:cubicBezTo>
                <a:cubicBezTo>
                  <a:pt x="689" y="92"/>
                  <a:pt x="689" y="92"/>
                  <a:pt x="689" y="92"/>
                </a:cubicBezTo>
                <a:cubicBezTo>
                  <a:pt x="690" y="92"/>
                  <a:pt x="690" y="92"/>
                  <a:pt x="690" y="92"/>
                </a:cubicBezTo>
                <a:cubicBezTo>
                  <a:pt x="690" y="91"/>
                  <a:pt x="690" y="91"/>
                  <a:pt x="690" y="91"/>
                </a:cubicBezTo>
                <a:cubicBezTo>
                  <a:pt x="690" y="90"/>
                  <a:pt x="690" y="90"/>
                  <a:pt x="690" y="90"/>
                </a:cubicBezTo>
                <a:cubicBezTo>
                  <a:pt x="691" y="88"/>
                  <a:pt x="691" y="88"/>
                  <a:pt x="691" y="88"/>
                </a:cubicBezTo>
                <a:cubicBezTo>
                  <a:pt x="691" y="88"/>
                  <a:pt x="691" y="88"/>
                  <a:pt x="691" y="88"/>
                </a:cubicBezTo>
                <a:cubicBezTo>
                  <a:pt x="692" y="86"/>
                  <a:pt x="692" y="86"/>
                  <a:pt x="692" y="86"/>
                </a:cubicBezTo>
                <a:cubicBezTo>
                  <a:pt x="692" y="85"/>
                  <a:pt x="692" y="85"/>
                  <a:pt x="692" y="85"/>
                </a:cubicBezTo>
                <a:cubicBezTo>
                  <a:pt x="690" y="85"/>
                  <a:pt x="690" y="85"/>
                  <a:pt x="690" y="85"/>
                </a:cubicBezTo>
                <a:cubicBezTo>
                  <a:pt x="690" y="84"/>
                  <a:pt x="690" y="84"/>
                  <a:pt x="690" y="84"/>
                </a:cubicBezTo>
                <a:cubicBezTo>
                  <a:pt x="690" y="82"/>
                  <a:pt x="690" y="82"/>
                  <a:pt x="690" y="82"/>
                </a:cubicBezTo>
                <a:cubicBezTo>
                  <a:pt x="692" y="82"/>
                  <a:pt x="692" y="82"/>
                  <a:pt x="692" y="82"/>
                </a:cubicBezTo>
                <a:cubicBezTo>
                  <a:pt x="692" y="80"/>
                  <a:pt x="692" y="80"/>
                  <a:pt x="692" y="80"/>
                </a:cubicBezTo>
                <a:cubicBezTo>
                  <a:pt x="690" y="79"/>
                  <a:pt x="690" y="79"/>
                  <a:pt x="690" y="79"/>
                </a:cubicBezTo>
                <a:cubicBezTo>
                  <a:pt x="689" y="79"/>
                  <a:pt x="689" y="79"/>
                  <a:pt x="689" y="79"/>
                </a:cubicBezTo>
                <a:cubicBezTo>
                  <a:pt x="689" y="81"/>
                  <a:pt x="689" y="81"/>
                  <a:pt x="689" y="81"/>
                </a:cubicBezTo>
                <a:cubicBezTo>
                  <a:pt x="688" y="81"/>
                  <a:pt x="688" y="81"/>
                  <a:pt x="688" y="81"/>
                </a:cubicBezTo>
                <a:cubicBezTo>
                  <a:pt x="687" y="81"/>
                  <a:pt x="687" y="81"/>
                  <a:pt x="687" y="81"/>
                </a:cubicBezTo>
                <a:cubicBezTo>
                  <a:pt x="684" y="80"/>
                  <a:pt x="684" y="80"/>
                  <a:pt x="684" y="80"/>
                </a:cubicBezTo>
                <a:cubicBezTo>
                  <a:pt x="682" y="83"/>
                  <a:pt x="682" y="83"/>
                  <a:pt x="682" y="83"/>
                </a:cubicBezTo>
                <a:cubicBezTo>
                  <a:pt x="680" y="84"/>
                  <a:pt x="680" y="84"/>
                  <a:pt x="680" y="84"/>
                </a:cubicBezTo>
                <a:cubicBezTo>
                  <a:pt x="680" y="83"/>
                  <a:pt x="680" y="83"/>
                  <a:pt x="680" y="83"/>
                </a:cubicBezTo>
                <a:cubicBezTo>
                  <a:pt x="682" y="82"/>
                  <a:pt x="682" y="82"/>
                  <a:pt x="682" y="82"/>
                </a:cubicBezTo>
                <a:cubicBezTo>
                  <a:pt x="683" y="81"/>
                  <a:pt x="683" y="81"/>
                  <a:pt x="683" y="81"/>
                </a:cubicBezTo>
                <a:cubicBezTo>
                  <a:pt x="683" y="78"/>
                  <a:pt x="683" y="78"/>
                  <a:pt x="683" y="78"/>
                </a:cubicBezTo>
                <a:cubicBezTo>
                  <a:pt x="682" y="80"/>
                  <a:pt x="682" y="80"/>
                  <a:pt x="682" y="80"/>
                </a:cubicBezTo>
                <a:cubicBezTo>
                  <a:pt x="682" y="79"/>
                  <a:pt x="682" y="79"/>
                  <a:pt x="682" y="79"/>
                </a:cubicBezTo>
                <a:cubicBezTo>
                  <a:pt x="681" y="78"/>
                  <a:pt x="681" y="78"/>
                  <a:pt x="681" y="78"/>
                </a:cubicBezTo>
                <a:cubicBezTo>
                  <a:pt x="683" y="76"/>
                  <a:pt x="683" y="76"/>
                  <a:pt x="683" y="76"/>
                </a:cubicBezTo>
                <a:cubicBezTo>
                  <a:pt x="682" y="74"/>
                  <a:pt x="682" y="74"/>
                  <a:pt x="682" y="74"/>
                </a:cubicBezTo>
                <a:cubicBezTo>
                  <a:pt x="683" y="72"/>
                  <a:pt x="683" y="72"/>
                  <a:pt x="683" y="72"/>
                </a:cubicBezTo>
                <a:cubicBezTo>
                  <a:pt x="684" y="72"/>
                  <a:pt x="684" y="72"/>
                  <a:pt x="684" y="72"/>
                </a:cubicBezTo>
                <a:cubicBezTo>
                  <a:pt x="684" y="73"/>
                  <a:pt x="684" y="73"/>
                  <a:pt x="684" y="73"/>
                </a:cubicBezTo>
                <a:cubicBezTo>
                  <a:pt x="685" y="76"/>
                  <a:pt x="685" y="76"/>
                  <a:pt x="685" y="76"/>
                </a:cubicBezTo>
                <a:cubicBezTo>
                  <a:pt x="686" y="78"/>
                  <a:pt x="686" y="78"/>
                  <a:pt x="686" y="78"/>
                </a:cubicBezTo>
                <a:cubicBezTo>
                  <a:pt x="687" y="77"/>
                  <a:pt x="687" y="77"/>
                  <a:pt x="687" y="77"/>
                </a:cubicBezTo>
                <a:cubicBezTo>
                  <a:pt x="689" y="77"/>
                  <a:pt x="689" y="77"/>
                  <a:pt x="689" y="77"/>
                </a:cubicBezTo>
                <a:cubicBezTo>
                  <a:pt x="690" y="75"/>
                  <a:pt x="690" y="75"/>
                  <a:pt x="690" y="75"/>
                </a:cubicBezTo>
                <a:cubicBezTo>
                  <a:pt x="689" y="74"/>
                  <a:pt x="689" y="74"/>
                  <a:pt x="689" y="74"/>
                </a:cubicBezTo>
                <a:cubicBezTo>
                  <a:pt x="689" y="73"/>
                  <a:pt x="689" y="73"/>
                  <a:pt x="689" y="73"/>
                </a:cubicBezTo>
                <a:cubicBezTo>
                  <a:pt x="691" y="73"/>
                  <a:pt x="691" y="73"/>
                  <a:pt x="691" y="73"/>
                </a:cubicBezTo>
                <a:cubicBezTo>
                  <a:pt x="691" y="74"/>
                  <a:pt x="691" y="74"/>
                  <a:pt x="691" y="74"/>
                </a:cubicBezTo>
                <a:cubicBezTo>
                  <a:pt x="692" y="73"/>
                  <a:pt x="692" y="73"/>
                  <a:pt x="692" y="73"/>
                </a:cubicBezTo>
                <a:cubicBezTo>
                  <a:pt x="694" y="72"/>
                  <a:pt x="694" y="72"/>
                  <a:pt x="694" y="72"/>
                </a:cubicBezTo>
                <a:cubicBezTo>
                  <a:pt x="695" y="70"/>
                  <a:pt x="695" y="70"/>
                  <a:pt x="695" y="70"/>
                </a:cubicBezTo>
                <a:cubicBezTo>
                  <a:pt x="695" y="72"/>
                  <a:pt x="695" y="72"/>
                  <a:pt x="695" y="72"/>
                </a:cubicBezTo>
                <a:cubicBezTo>
                  <a:pt x="696" y="72"/>
                  <a:pt x="696" y="72"/>
                  <a:pt x="696" y="72"/>
                </a:cubicBezTo>
                <a:cubicBezTo>
                  <a:pt x="697" y="70"/>
                  <a:pt x="697" y="70"/>
                  <a:pt x="697" y="70"/>
                </a:cubicBezTo>
                <a:cubicBezTo>
                  <a:pt x="696" y="73"/>
                  <a:pt x="696" y="73"/>
                  <a:pt x="696" y="73"/>
                </a:cubicBezTo>
                <a:cubicBezTo>
                  <a:pt x="696" y="76"/>
                  <a:pt x="696" y="76"/>
                  <a:pt x="696" y="76"/>
                </a:cubicBezTo>
                <a:cubicBezTo>
                  <a:pt x="697" y="75"/>
                  <a:pt x="697" y="75"/>
                  <a:pt x="697" y="75"/>
                </a:cubicBezTo>
                <a:cubicBezTo>
                  <a:pt x="698" y="76"/>
                  <a:pt x="698" y="76"/>
                  <a:pt x="698" y="76"/>
                </a:cubicBezTo>
                <a:cubicBezTo>
                  <a:pt x="697" y="77"/>
                  <a:pt x="697" y="77"/>
                  <a:pt x="697" y="77"/>
                </a:cubicBezTo>
                <a:cubicBezTo>
                  <a:pt x="698" y="77"/>
                  <a:pt x="698" y="77"/>
                  <a:pt x="698" y="77"/>
                </a:cubicBezTo>
                <a:cubicBezTo>
                  <a:pt x="699" y="75"/>
                  <a:pt x="699" y="75"/>
                  <a:pt x="699" y="75"/>
                </a:cubicBezTo>
                <a:cubicBezTo>
                  <a:pt x="700" y="75"/>
                  <a:pt x="700" y="75"/>
                  <a:pt x="700" y="75"/>
                </a:cubicBezTo>
                <a:cubicBezTo>
                  <a:pt x="701" y="72"/>
                  <a:pt x="701" y="72"/>
                  <a:pt x="701" y="72"/>
                </a:cubicBezTo>
                <a:cubicBezTo>
                  <a:pt x="703" y="71"/>
                  <a:pt x="703" y="71"/>
                  <a:pt x="703" y="71"/>
                </a:cubicBezTo>
                <a:cubicBezTo>
                  <a:pt x="702" y="73"/>
                  <a:pt x="702" y="73"/>
                  <a:pt x="702" y="73"/>
                </a:cubicBezTo>
                <a:cubicBezTo>
                  <a:pt x="701" y="75"/>
                  <a:pt x="701" y="75"/>
                  <a:pt x="701" y="75"/>
                </a:cubicBezTo>
                <a:cubicBezTo>
                  <a:pt x="701" y="78"/>
                  <a:pt x="701" y="78"/>
                  <a:pt x="701" y="78"/>
                </a:cubicBezTo>
                <a:cubicBezTo>
                  <a:pt x="703" y="78"/>
                  <a:pt x="703" y="78"/>
                  <a:pt x="703" y="78"/>
                </a:cubicBezTo>
                <a:cubicBezTo>
                  <a:pt x="704" y="79"/>
                  <a:pt x="704" y="79"/>
                  <a:pt x="704" y="79"/>
                </a:cubicBezTo>
                <a:cubicBezTo>
                  <a:pt x="705" y="78"/>
                  <a:pt x="705" y="78"/>
                  <a:pt x="705" y="78"/>
                </a:cubicBezTo>
                <a:cubicBezTo>
                  <a:pt x="707" y="76"/>
                  <a:pt x="707" y="76"/>
                  <a:pt x="707" y="76"/>
                </a:cubicBezTo>
                <a:cubicBezTo>
                  <a:pt x="708" y="73"/>
                  <a:pt x="708" y="73"/>
                  <a:pt x="708" y="73"/>
                </a:cubicBezTo>
                <a:cubicBezTo>
                  <a:pt x="709" y="71"/>
                  <a:pt x="709" y="71"/>
                  <a:pt x="709" y="71"/>
                </a:cubicBezTo>
                <a:cubicBezTo>
                  <a:pt x="708" y="69"/>
                  <a:pt x="708" y="69"/>
                  <a:pt x="708" y="69"/>
                </a:cubicBezTo>
                <a:cubicBezTo>
                  <a:pt x="709" y="68"/>
                  <a:pt x="709" y="68"/>
                  <a:pt x="709" y="68"/>
                </a:cubicBezTo>
                <a:cubicBezTo>
                  <a:pt x="709" y="67"/>
                  <a:pt x="709" y="67"/>
                  <a:pt x="709" y="67"/>
                </a:cubicBezTo>
                <a:cubicBezTo>
                  <a:pt x="707" y="67"/>
                  <a:pt x="707" y="67"/>
                  <a:pt x="707" y="67"/>
                </a:cubicBezTo>
                <a:cubicBezTo>
                  <a:pt x="706" y="66"/>
                  <a:pt x="706" y="66"/>
                  <a:pt x="706" y="66"/>
                </a:cubicBezTo>
                <a:cubicBezTo>
                  <a:pt x="705" y="67"/>
                  <a:pt x="705" y="67"/>
                  <a:pt x="705" y="67"/>
                </a:cubicBezTo>
                <a:cubicBezTo>
                  <a:pt x="705" y="65"/>
                  <a:pt x="705" y="65"/>
                  <a:pt x="705" y="65"/>
                </a:cubicBezTo>
                <a:cubicBezTo>
                  <a:pt x="706" y="64"/>
                  <a:pt x="706" y="64"/>
                  <a:pt x="706" y="64"/>
                </a:cubicBezTo>
                <a:cubicBezTo>
                  <a:pt x="705" y="63"/>
                  <a:pt x="705" y="63"/>
                  <a:pt x="705" y="63"/>
                </a:cubicBezTo>
                <a:cubicBezTo>
                  <a:pt x="703" y="64"/>
                  <a:pt x="703" y="64"/>
                  <a:pt x="703" y="64"/>
                </a:cubicBezTo>
                <a:cubicBezTo>
                  <a:pt x="703" y="63"/>
                  <a:pt x="703" y="63"/>
                  <a:pt x="703" y="63"/>
                </a:cubicBezTo>
                <a:cubicBezTo>
                  <a:pt x="701" y="61"/>
                  <a:pt x="701" y="61"/>
                  <a:pt x="701" y="61"/>
                </a:cubicBezTo>
                <a:cubicBezTo>
                  <a:pt x="701" y="60"/>
                  <a:pt x="701" y="60"/>
                  <a:pt x="701" y="60"/>
                </a:cubicBezTo>
                <a:cubicBezTo>
                  <a:pt x="700" y="57"/>
                  <a:pt x="700" y="57"/>
                  <a:pt x="700" y="57"/>
                </a:cubicBezTo>
                <a:cubicBezTo>
                  <a:pt x="700" y="54"/>
                  <a:pt x="700" y="54"/>
                  <a:pt x="700" y="54"/>
                </a:cubicBezTo>
                <a:cubicBezTo>
                  <a:pt x="701" y="52"/>
                  <a:pt x="701" y="52"/>
                  <a:pt x="701" y="52"/>
                </a:cubicBezTo>
                <a:cubicBezTo>
                  <a:pt x="700" y="49"/>
                  <a:pt x="700" y="49"/>
                  <a:pt x="700" y="49"/>
                </a:cubicBezTo>
                <a:cubicBezTo>
                  <a:pt x="699" y="51"/>
                  <a:pt x="699" y="51"/>
                  <a:pt x="699" y="51"/>
                </a:cubicBezTo>
                <a:cubicBezTo>
                  <a:pt x="699" y="53"/>
                  <a:pt x="699" y="53"/>
                  <a:pt x="699" y="53"/>
                </a:cubicBezTo>
                <a:cubicBezTo>
                  <a:pt x="697" y="51"/>
                  <a:pt x="697" y="51"/>
                  <a:pt x="697" y="51"/>
                </a:cubicBezTo>
                <a:cubicBezTo>
                  <a:pt x="695" y="50"/>
                  <a:pt x="695" y="50"/>
                  <a:pt x="695" y="50"/>
                </a:cubicBezTo>
                <a:cubicBezTo>
                  <a:pt x="694" y="46"/>
                  <a:pt x="694" y="46"/>
                  <a:pt x="694" y="46"/>
                </a:cubicBezTo>
                <a:cubicBezTo>
                  <a:pt x="693" y="45"/>
                  <a:pt x="693" y="45"/>
                  <a:pt x="693" y="45"/>
                </a:cubicBezTo>
                <a:cubicBezTo>
                  <a:pt x="693" y="42"/>
                  <a:pt x="693" y="42"/>
                  <a:pt x="693" y="42"/>
                </a:cubicBezTo>
                <a:cubicBezTo>
                  <a:pt x="691" y="40"/>
                  <a:pt x="691" y="40"/>
                  <a:pt x="691" y="40"/>
                </a:cubicBezTo>
                <a:cubicBezTo>
                  <a:pt x="691" y="38"/>
                  <a:pt x="691" y="38"/>
                  <a:pt x="691" y="38"/>
                </a:cubicBezTo>
                <a:cubicBezTo>
                  <a:pt x="691" y="37"/>
                  <a:pt x="691" y="37"/>
                  <a:pt x="691" y="37"/>
                </a:cubicBezTo>
                <a:cubicBezTo>
                  <a:pt x="691" y="35"/>
                  <a:pt x="691" y="35"/>
                  <a:pt x="691" y="35"/>
                </a:cubicBezTo>
                <a:cubicBezTo>
                  <a:pt x="693" y="35"/>
                  <a:pt x="693" y="35"/>
                  <a:pt x="693" y="35"/>
                </a:cubicBezTo>
                <a:cubicBezTo>
                  <a:pt x="693" y="33"/>
                  <a:pt x="693" y="33"/>
                  <a:pt x="693" y="33"/>
                </a:cubicBezTo>
                <a:cubicBezTo>
                  <a:pt x="695" y="33"/>
                  <a:pt x="695" y="33"/>
                  <a:pt x="695" y="33"/>
                </a:cubicBezTo>
                <a:cubicBezTo>
                  <a:pt x="695" y="34"/>
                  <a:pt x="695" y="34"/>
                  <a:pt x="695" y="34"/>
                </a:cubicBezTo>
                <a:cubicBezTo>
                  <a:pt x="696" y="33"/>
                  <a:pt x="696" y="33"/>
                  <a:pt x="696" y="33"/>
                </a:cubicBezTo>
                <a:cubicBezTo>
                  <a:pt x="696" y="31"/>
                  <a:pt x="696" y="31"/>
                  <a:pt x="696" y="31"/>
                </a:cubicBezTo>
                <a:cubicBezTo>
                  <a:pt x="698" y="27"/>
                  <a:pt x="698" y="27"/>
                  <a:pt x="698" y="27"/>
                </a:cubicBezTo>
                <a:cubicBezTo>
                  <a:pt x="698" y="24"/>
                  <a:pt x="698" y="24"/>
                  <a:pt x="698" y="24"/>
                </a:cubicBezTo>
                <a:cubicBezTo>
                  <a:pt x="699" y="23"/>
                  <a:pt x="699" y="23"/>
                  <a:pt x="699" y="23"/>
                </a:cubicBezTo>
                <a:cubicBezTo>
                  <a:pt x="697" y="20"/>
                  <a:pt x="697" y="20"/>
                  <a:pt x="697" y="20"/>
                </a:cubicBezTo>
                <a:cubicBezTo>
                  <a:pt x="698" y="18"/>
                  <a:pt x="698" y="18"/>
                  <a:pt x="698" y="18"/>
                </a:cubicBezTo>
                <a:cubicBezTo>
                  <a:pt x="699" y="18"/>
                  <a:pt x="699" y="18"/>
                  <a:pt x="699" y="18"/>
                </a:cubicBezTo>
                <a:cubicBezTo>
                  <a:pt x="699" y="15"/>
                  <a:pt x="699" y="15"/>
                  <a:pt x="699" y="15"/>
                </a:cubicBezTo>
                <a:cubicBezTo>
                  <a:pt x="701" y="12"/>
                  <a:pt x="701" y="12"/>
                  <a:pt x="701" y="12"/>
                </a:cubicBezTo>
                <a:cubicBezTo>
                  <a:pt x="702" y="10"/>
                  <a:pt x="702" y="10"/>
                  <a:pt x="702" y="10"/>
                </a:cubicBezTo>
                <a:cubicBezTo>
                  <a:pt x="703" y="9"/>
                  <a:pt x="703" y="9"/>
                  <a:pt x="703" y="9"/>
                </a:cubicBezTo>
                <a:cubicBezTo>
                  <a:pt x="703" y="5"/>
                  <a:pt x="703" y="5"/>
                  <a:pt x="703" y="5"/>
                </a:cubicBezTo>
                <a:cubicBezTo>
                  <a:pt x="704" y="4"/>
                  <a:pt x="704" y="4"/>
                  <a:pt x="704" y="4"/>
                </a:cubicBezTo>
                <a:cubicBezTo>
                  <a:pt x="704" y="3"/>
                  <a:pt x="704" y="3"/>
                  <a:pt x="704" y="3"/>
                </a:cubicBezTo>
                <a:cubicBezTo>
                  <a:pt x="706" y="0"/>
                  <a:pt x="706" y="0"/>
                  <a:pt x="706" y="0"/>
                </a:cubicBezTo>
                <a:cubicBezTo>
                  <a:pt x="683" y="0"/>
                  <a:pt x="683" y="0"/>
                  <a:pt x="683" y="0"/>
                </a:cubicBezTo>
                <a:cubicBezTo>
                  <a:pt x="683" y="3"/>
                  <a:pt x="683" y="3"/>
                  <a:pt x="683" y="3"/>
                </a:cubicBezTo>
                <a:cubicBezTo>
                  <a:pt x="682" y="4"/>
                  <a:pt x="682" y="4"/>
                  <a:pt x="682" y="4"/>
                </a:cubicBezTo>
                <a:cubicBezTo>
                  <a:pt x="681" y="4"/>
                  <a:pt x="681" y="4"/>
                  <a:pt x="681" y="4"/>
                </a:cubicBezTo>
                <a:cubicBezTo>
                  <a:pt x="679" y="7"/>
                  <a:pt x="679" y="7"/>
                  <a:pt x="679" y="7"/>
                </a:cubicBezTo>
                <a:cubicBezTo>
                  <a:pt x="680" y="8"/>
                  <a:pt x="680" y="8"/>
                  <a:pt x="680" y="8"/>
                </a:cubicBezTo>
                <a:cubicBezTo>
                  <a:pt x="680" y="10"/>
                  <a:pt x="680" y="10"/>
                  <a:pt x="680" y="10"/>
                </a:cubicBezTo>
                <a:cubicBezTo>
                  <a:pt x="679" y="12"/>
                  <a:pt x="679" y="12"/>
                  <a:pt x="679" y="12"/>
                </a:cubicBezTo>
                <a:cubicBezTo>
                  <a:pt x="678" y="14"/>
                  <a:pt x="678" y="14"/>
                  <a:pt x="678" y="14"/>
                </a:cubicBezTo>
                <a:cubicBezTo>
                  <a:pt x="679" y="15"/>
                  <a:pt x="679" y="15"/>
                  <a:pt x="679" y="15"/>
                </a:cubicBezTo>
                <a:cubicBezTo>
                  <a:pt x="679" y="17"/>
                  <a:pt x="679" y="17"/>
                  <a:pt x="679" y="17"/>
                </a:cubicBezTo>
                <a:cubicBezTo>
                  <a:pt x="676" y="17"/>
                  <a:pt x="676" y="17"/>
                  <a:pt x="676" y="17"/>
                </a:cubicBezTo>
                <a:cubicBezTo>
                  <a:pt x="677" y="18"/>
                  <a:pt x="677" y="18"/>
                  <a:pt x="677" y="18"/>
                </a:cubicBezTo>
                <a:cubicBezTo>
                  <a:pt x="679" y="19"/>
                  <a:pt x="679" y="19"/>
                  <a:pt x="679" y="19"/>
                </a:cubicBezTo>
                <a:cubicBezTo>
                  <a:pt x="679" y="20"/>
                  <a:pt x="679" y="20"/>
                  <a:pt x="679" y="20"/>
                </a:cubicBezTo>
                <a:cubicBezTo>
                  <a:pt x="678" y="20"/>
                  <a:pt x="678" y="20"/>
                  <a:pt x="678" y="20"/>
                </a:cubicBezTo>
                <a:cubicBezTo>
                  <a:pt x="676" y="20"/>
                  <a:pt x="676" y="20"/>
                  <a:pt x="676" y="20"/>
                </a:cubicBezTo>
                <a:cubicBezTo>
                  <a:pt x="675" y="21"/>
                  <a:pt x="675" y="21"/>
                  <a:pt x="675" y="21"/>
                </a:cubicBezTo>
                <a:cubicBezTo>
                  <a:pt x="674" y="21"/>
                  <a:pt x="674" y="21"/>
                  <a:pt x="674" y="21"/>
                </a:cubicBezTo>
                <a:cubicBezTo>
                  <a:pt x="673" y="22"/>
                  <a:pt x="673" y="22"/>
                  <a:pt x="673" y="22"/>
                </a:cubicBezTo>
                <a:cubicBezTo>
                  <a:pt x="673" y="24"/>
                  <a:pt x="673" y="24"/>
                  <a:pt x="673" y="24"/>
                </a:cubicBezTo>
                <a:cubicBezTo>
                  <a:pt x="672" y="24"/>
                  <a:pt x="672" y="24"/>
                  <a:pt x="672" y="24"/>
                </a:cubicBezTo>
                <a:cubicBezTo>
                  <a:pt x="671" y="24"/>
                  <a:pt x="671" y="24"/>
                  <a:pt x="671" y="24"/>
                </a:cubicBezTo>
                <a:cubicBezTo>
                  <a:pt x="670" y="22"/>
                  <a:pt x="670" y="22"/>
                  <a:pt x="670" y="22"/>
                </a:cubicBezTo>
                <a:cubicBezTo>
                  <a:pt x="671" y="20"/>
                  <a:pt x="671" y="20"/>
                  <a:pt x="671" y="20"/>
                </a:cubicBezTo>
                <a:cubicBezTo>
                  <a:pt x="670" y="19"/>
                  <a:pt x="670" y="19"/>
                  <a:pt x="670" y="19"/>
                </a:cubicBezTo>
                <a:cubicBezTo>
                  <a:pt x="670" y="16"/>
                  <a:pt x="670" y="16"/>
                  <a:pt x="670" y="16"/>
                </a:cubicBezTo>
                <a:cubicBezTo>
                  <a:pt x="671" y="13"/>
                  <a:pt x="671" y="13"/>
                  <a:pt x="671" y="13"/>
                </a:cubicBezTo>
                <a:cubicBezTo>
                  <a:pt x="672" y="10"/>
                  <a:pt x="672" y="10"/>
                  <a:pt x="672" y="10"/>
                </a:cubicBezTo>
                <a:cubicBezTo>
                  <a:pt x="673" y="9"/>
                  <a:pt x="673" y="9"/>
                  <a:pt x="673" y="9"/>
                </a:cubicBezTo>
                <a:cubicBezTo>
                  <a:pt x="673" y="7"/>
                  <a:pt x="673" y="7"/>
                  <a:pt x="673" y="7"/>
                </a:cubicBezTo>
                <a:cubicBezTo>
                  <a:pt x="674" y="6"/>
                  <a:pt x="674" y="6"/>
                  <a:pt x="674" y="6"/>
                </a:cubicBezTo>
                <a:cubicBezTo>
                  <a:pt x="675" y="2"/>
                  <a:pt x="675" y="2"/>
                  <a:pt x="675" y="2"/>
                </a:cubicBezTo>
                <a:cubicBezTo>
                  <a:pt x="677" y="0"/>
                  <a:pt x="677" y="0"/>
                  <a:pt x="677" y="0"/>
                </a:cubicBezTo>
                <a:cubicBezTo>
                  <a:pt x="594" y="0"/>
                  <a:pt x="594" y="0"/>
                  <a:pt x="594" y="0"/>
                </a:cubicBezTo>
                <a:cubicBezTo>
                  <a:pt x="592" y="1"/>
                  <a:pt x="592" y="1"/>
                  <a:pt x="592" y="1"/>
                </a:cubicBezTo>
                <a:cubicBezTo>
                  <a:pt x="591" y="0"/>
                  <a:pt x="591" y="0"/>
                  <a:pt x="591" y="0"/>
                </a:cubicBezTo>
                <a:cubicBezTo>
                  <a:pt x="589" y="0"/>
                  <a:pt x="589" y="0"/>
                  <a:pt x="589" y="0"/>
                </a:cubicBezTo>
                <a:cubicBezTo>
                  <a:pt x="588" y="1"/>
                  <a:pt x="588" y="1"/>
                  <a:pt x="588" y="1"/>
                </a:cubicBezTo>
                <a:cubicBezTo>
                  <a:pt x="589" y="3"/>
                  <a:pt x="589" y="3"/>
                  <a:pt x="589" y="3"/>
                </a:cubicBezTo>
                <a:cubicBezTo>
                  <a:pt x="592" y="4"/>
                  <a:pt x="592" y="4"/>
                  <a:pt x="592" y="4"/>
                </a:cubicBezTo>
                <a:cubicBezTo>
                  <a:pt x="593" y="4"/>
                  <a:pt x="593" y="4"/>
                  <a:pt x="593" y="4"/>
                </a:cubicBezTo>
                <a:cubicBezTo>
                  <a:pt x="594" y="2"/>
                  <a:pt x="594" y="2"/>
                  <a:pt x="594" y="2"/>
                </a:cubicBezTo>
                <a:cubicBezTo>
                  <a:pt x="595" y="2"/>
                  <a:pt x="595" y="2"/>
                  <a:pt x="595" y="2"/>
                </a:cubicBezTo>
                <a:cubicBezTo>
                  <a:pt x="596" y="3"/>
                  <a:pt x="596" y="3"/>
                  <a:pt x="596" y="3"/>
                </a:cubicBezTo>
                <a:cubicBezTo>
                  <a:pt x="595" y="4"/>
                  <a:pt x="595" y="4"/>
                  <a:pt x="595" y="4"/>
                </a:cubicBezTo>
                <a:cubicBezTo>
                  <a:pt x="596" y="4"/>
                  <a:pt x="596" y="4"/>
                  <a:pt x="596" y="4"/>
                </a:cubicBezTo>
                <a:cubicBezTo>
                  <a:pt x="600" y="5"/>
                  <a:pt x="600" y="5"/>
                  <a:pt x="600" y="5"/>
                </a:cubicBezTo>
                <a:cubicBezTo>
                  <a:pt x="603" y="4"/>
                  <a:pt x="603" y="4"/>
                  <a:pt x="603" y="4"/>
                </a:cubicBezTo>
                <a:cubicBezTo>
                  <a:pt x="605" y="4"/>
                  <a:pt x="605" y="4"/>
                  <a:pt x="605" y="4"/>
                </a:cubicBezTo>
                <a:cubicBezTo>
                  <a:pt x="608" y="5"/>
                  <a:pt x="608" y="5"/>
                  <a:pt x="608" y="5"/>
                </a:cubicBezTo>
                <a:cubicBezTo>
                  <a:pt x="610" y="5"/>
                  <a:pt x="610" y="5"/>
                  <a:pt x="610" y="5"/>
                </a:cubicBezTo>
                <a:cubicBezTo>
                  <a:pt x="612" y="6"/>
                  <a:pt x="612" y="6"/>
                  <a:pt x="612" y="6"/>
                </a:cubicBezTo>
                <a:cubicBezTo>
                  <a:pt x="613" y="7"/>
                  <a:pt x="613" y="7"/>
                  <a:pt x="613" y="7"/>
                </a:cubicBezTo>
                <a:cubicBezTo>
                  <a:pt x="614" y="8"/>
                  <a:pt x="614" y="8"/>
                  <a:pt x="614" y="8"/>
                </a:cubicBezTo>
                <a:cubicBezTo>
                  <a:pt x="614" y="9"/>
                  <a:pt x="614" y="9"/>
                  <a:pt x="614" y="9"/>
                </a:cubicBezTo>
                <a:cubicBezTo>
                  <a:pt x="612" y="9"/>
                  <a:pt x="612" y="9"/>
                  <a:pt x="612" y="9"/>
                </a:cubicBezTo>
                <a:cubicBezTo>
                  <a:pt x="610" y="7"/>
                  <a:pt x="610" y="7"/>
                  <a:pt x="610" y="7"/>
                </a:cubicBezTo>
                <a:cubicBezTo>
                  <a:pt x="606" y="7"/>
                  <a:pt x="606" y="7"/>
                  <a:pt x="606" y="7"/>
                </a:cubicBezTo>
                <a:cubicBezTo>
                  <a:pt x="605" y="7"/>
                  <a:pt x="605" y="7"/>
                  <a:pt x="605" y="7"/>
                </a:cubicBezTo>
                <a:cubicBezTo>
                  <a:pt x="607" y="8"/>
                  <a:pt x="607" y="8"/>
                  <a:pt x="607" y="8"/>
                </a:cubicBezTo>
                <a:cubicBezTo>
                  <a:pt x="608" y="9"/>
                  <a:pt x="608" y="9"/>
                  <a:pt x="608" y="9"/>
                </a:cubicBezTo>
                <a:cubicBezTo>
                  <a:pt x="605" y="9"/>
                  <a:pt x="605" y="9"/>
                  <a:pt x="605" y="9"/>
                </a:cubicBezTo>
                <a:cubicBezTo>
                  <a:pt x="603" y="8"/>
                  <a:pt x="603" y="8"/>
                  <a:pt x="603" y="8"/>
                </a:cubicBezTo>
                <a:cubicBezTo>
                  <a:pt x="599" y="9"/>
                  <a:pt x="599" y="9"/>
                  <a:pt x="599" y="9"/>
                </a:cubicBezTo>
                <a:cubicBezTo>
                  <a:pt x="598" y="10"/>
                  <a:pt x="598" y="10"/>
                  <a:pt x="598" y="10"/>
                </a:cubicBezTo>
                <a:cubicBezTo>
                  <a:pt x="596" y="9"/>
                  <a:pt x="596" y="9"/>
                  <a:pt x="596" y="9"/>
                </a:cubicBezTo>
                <a:cubicBezTo>
                  <a:pt x="595" y="9"/>
                  <a:pt x="595" y="9"/>
                  <a:pt x="595" y="9"/>
                </a:cubicBezTo>
                <a:cubicBezTo>
                  <a:pt x="594" y="9"/>
                  <a:pt x="594" y="9"/>
                  <a:pt x="594" y="9"/>
                </a:cubicBezTo>
                <a:cubicBezTo>
                  <a:pt x="592" y="9"/>
                  <a:pt x="592" y="9"/>
                  <a:pt x="592" y="9"/>
                </a:cubicBezTo>
                <a:cubicBezTo>
                  <a:pt x="587" y="10"/>
                  <a:pt x="587" y="10"/>
                  <a:pt x="587" y="10"/>
                </a:cubicBezTo>
                <a:cubicBezTo>
                  <a:pt x="587" y="10"/>
                  <a:pt x="587" y="10"/>
                  <a:pt x="587" y="10"/>
                </a:cubicBezTo>
                <a:cubicBezTo>
                  <a:pt x="583" y="11"/>
                  <a:pt x="583" y="11"/>
                  <a:pt x="583" y="11"/>
                </a:cubicBezTo>
                <a:cubicBezTo>
                  <a:pt x="582" y="13"/>
                  <a:pt x="582" y="13"/>
                  <a:pt x="582" y="13"/>
                </a:cubicBezTo>
                <a:cubicBezTo>
                  <a:pt x="583" y="19"/>
                  <a:pt x="583" y="19"/>
                  <a:pt x="583" y="19"/>
                </a:cubicBezTo>
                <a:cubicBezTo>
                  <a:pt x="583" y="20"/>
                  <a:pt x="583" y="20"/>
                  <a:pt x="583" y="20"/>
                </a:cubicBezTo>
                <a:cubicBezTo>
                  <a:pt x="583" y="22"/>
                  <a:pt x="583" y="22"/>
                  <a:pt x="583" y="22"/>
                </a:cubicBezTo>
                <a:cubicBezTo>
                  <a:pt x="582" y="22"/>
                  <a:pt x="582" y="22"/>
                  <a:pt x="582" y="22"/>
                </a:cubicBezTo>
                <a:cubicBezTo>
                  <a:pt x="583" y="24"/>
                  <a:pt x="583" y="24"/>
                  <a:pt x="583" y="24"/>
                </a:cubicBezTo>
                <a:cubicBezTo>
                  <a:pt x="584" y="25"/>
                  <a:pt x="584" y="25"/>
                  <a:pt x="584" y="25"/>
                </a:cubicBezTo>
                <a:cubicBezTo>
                  <a:pt x="585" y="24"/>
                  <a:pt x="585" y="24"/>
                  <a:pt x="585" y="24"/>
                </a:cubicBezTo>
                <a:cubicBezTo>
                  <a:pt x="586" y="24"/>
                  <a:pt x="586" y="24"/>
                  <a:pt x="586" y="24"/>
                </a:cubicBezTo>
                <a:cubicBezTo>
                  <a:pt x="587" y="25"/>
                  <a:pt x="587" y="25"/>
                  <a:pt x="587" y="25"/>
                </a:cubicBezTo>
                <a:cubicBezTo>
                  <a:pt x="589" y="25"/>
                  <a:pt x="589" y="25"/>
                  <a:pt x="589" y="25"/>
                </a:cubicBezTo>
                <a:cubicBezTo>
                  <a:pt x="590" y="24"/>
                  <a:pt x="590" y="24"/>
                  <a:pt x="590" y="24"/>
                </a:cubicBezTo>
                <a:cubicBezTo>
                  <a:pt x="590" y="24"/>
                  <a:pt x="590" y="24"/>
                  <a:pt x="590" y="24"/>
                </a:cubicBezTo>
                <a:cubicBezTo>
                  <a:pt x="591" y="25"/>
                  <a:pt x="591" y="25"/>
                  <a:pt x="591" y="25"/>
                </a:cubicBezTo>
                <a:cubicBezTo>
                  <a:pt x="592" y="26"/>
                  <a:pt x="592" y="26"/>
                  <a:pt x="592" y="26"/>
                </a:cubicBezTo>
                <a:cubicBezTo>
                  <a:pt x="593" y="25"/>
                  <a:pt x="593" y="25"/>
                  <a:pt x="593" y="25"/>
                </a:cubicBezTo>
                <a:cubicBezTo>
                  <a:pt x="594" y="26"/>
                  <a:pt x="594" y="26"/>
                  <a:pt x="594" y="26"/>
                </a:cubicBezTo>
                <a:cubicBezTo>
                  <a:pt x="595" y="27"/>
                  <a:pt x="595" y="27"/>
                  <a:pt x="595" y="27"/>
                </a:cubicBezTo>
                <a:cubicBezTo>
                  <a:pt x="596" y="28"/>
                  <a:pt x="596" y="28"/>
                  <a:pt x="596" y="28"/>
                </a:cubicBezTo>
                <a:cubicBezTo>
                  <a:pt x="597" y="27"/>
                  <a:pt x="597" y="27"/>
                  <a:pt x="597" y="27"/>
                </a:cubicBezTo>
                <a:cubicBezTo>
                  <a:pt x="599" y="27"/>
                  <a:pt x="599" y="27"/>
                  <a:pt x="599" y="27"/>
                </a:cubicBezTo>
                <a:cubicBezTo>
                  <a:pt x="599" y="28"/>
                  <a:pt x="599" y="28"/>
                  <a:pt x="599" y="28"/>
                </a:cubicBezTo>
                <a:cubicBezTo>
                  <a:pt x="602" y="28"/>
                  <a:pt x="602" y="28"/>
                  <a:pt x="602" y="28"/>
                </a:cubicBezTo>
                <a:cubicBezTo>
                  <a:pt x="603" y="28"/>
                  <a:pt x="603" y="28"/>
                  <a:pt x="603" y="28"/>
                </a:cubicBezTo>
                <a:cubicBezTo>
                  <a:pt x="605" y="29"/>
                  <a:pt x="605" y="29"/>
                  <a:pt x="605" y="29"/>
                </a:cubicBezTo>
                <a:cubicBezTo>
                  <a:pt x="606" y="28"/>
                  <a:pt x="606" y="28"/>
                  <a:pt x="606" y="28"/>
                </a:cubicBezTo>
                <a:cubicBezTo>
                  <a:pt x="608" y="28"/>
                  <a:pt x="608" y="28"/>
                  <a:pt x="608" y="28"/>
                </a:cubicBezTo>
                <a:cubicBezTo>
                  <a:pt x="610" y="29"/>
                  <a:pt x="610" y="29"/>
                  <a:pt x="610" y="29"/>
                </a:cubicBezTo>
                <a:cubicBezTo>
                  <a:pt x="612" y="28"/>
                  <a:pt x="612" y="28"/>
                  <a:pt x="612" y="28"/>
                </a:cubicBezTo>
                <a:cubicBezTo>
                  <a:pt x="614" y="29"/>
                  <a:pt x="614" y="29"/>
                  <a:pt x="614" y="29"/>
                </a:cubicBezTo>
                <a:cubicBezTo>
                  <a:pt x="614" y="30"/>
                  <a:pt x="614" y="30"/>
                  <a:pt x="614" y="30"/>
                </a:cubicBezTo>
                <a:cubicBezTo>
                  <a:pt x="616" y="29"/>
                  <a:pt x="616" y="29"/>
                  <a:pt x="616" y="29"/>
                </a:cubicBezTo>
                <a:cubicBezTo>
                  <a:pt x="616" y="31"/>
                  <a:pt x="616" y="31"/>
                  <a:pt x="616" y="31"/>
                </a:cubicBezTo>
                <a:cubicBezTo>
                  <a:pt x="618" y="33"/>
                  <a:pt x="618" y="33"/>
                  <a:pt x="618" y="33"/>
                </a:cubicBezTo>
                <a:cubicBezTo>
                  <a:pt x="618" y="33"/>
                  <a:pt x="618" y="33"/>
                  <a:pt x="618" y="33"/>
                </a:cubicBezTo>
                <a:cubicBezTo>
                  <a:pt x="618" y="34"/>
                  <a:pt x="618" y="34"/>
                  <a:pt x="618" y="34"/>
                </a:cubicBezTo>
                <a:cubicBezTo>
                  <a:pt x="620" y="34"/>
                  <a:pt x="620" y="34"/>
                  <a:pt x="620" y="34"/>
                </a:cubicBezTo>
                <a:cubicBezTo>
                  <a:pt x="621" y="35"/>
                  <a:pt x="621" y="35"/>
                  <a:pt x="621" y="35"/>
                </a:cubicBezTo>
                <a:cubicBezTo>
                  <a:pt x="622" y="36"/>
                  <a:pt x="622" y="36"/>
                  <a:pt x="622" y="36"/>
                </a:cubicBezTo>
                <a:cubicBezTo>
                  <a:pt x="623" y="36"/>
                  <a:pt x="623" y="36"/>
                  <a:pt x="623" y="36"/>
                </a:cubicBezTo>
                <a:cubicBezTo>
                  <a:pt x="624" y="38"/>
                  <a:pt x="624" y="38"/>
                  <a:pt x="624" y="38"/>
                </a:cubicBezTo>
                <a:cubicBezTo>
                  <a:pt x="624" y="38"/>
                  <a:pt x="624" y="38"/>
                  <a:pt x="624" y="38"/>
                </a:cubicBezTo>
                <a:cubicBezTo>
                  <a:pt x="624" y="40"/>
                  <a:pt x="624" y="40"/>
                  <a:pt x="624" y="40"/>
                </a:cubicBezTo>
                <a:cubicBezTo>
                  <a:pt x="625" y="42"/>
                  <a:pt x="625" y="42"/>
                  <a:pt x="625" y="42"/>
                </a:cubicBezTo>
                <a:cubicBezTo>
                  <a:pt x="628" y="43"/>
                  <a:pt x="628" y="43"/>
                  <a:pt x="628" y="43"/>
                </a:cubicBezTo>
                <a:cubicBezTo>
                  <a:pt x="628" y="45"/>
                  <a:pt x="628" y="45"/>
                  <a:pt x="628" y="45"/>
                </a:cubicBezTo>
                <a:cubicBezTo>
                  <a:pt x="628" y="45"/>
                  <a:pt x="628" y="45"/>
                  <a:pt x="628" y="45"/>
                </a:cubicBezTo>
                <a:cubicBezTo>
                  <a:pt x="628" y="46"/>
                  <a:pt x="628" y="46"/>
                  <a:pt x="628" y="46"/>
                </a:cubicBezTo>
                <a:cubicBezTo>
                  <a:pt x="627" y="46"/>
                  <a:pt x="627" y="46"/>
                  <a:pt x="627" y="46"/>
                </a:cubicBezTo>
                <a:cubicBezTo>
                  <a:pt x="624" y="45"/>
                  <a:pt x="624" y="45"/>
                  <a:pt x="624" y="45"/>
                </a:cubicBezTo>
                <a:cubicBezTo>
                  <a:pt x="621" y="44"/>
                  <a:pt x="621" y="44"/>
                  <a:pt x="621" y="44"/>
                </a:cubicBezTo>
                <a:cubicBezTo>
                  <a:pt x="619" y="45"/>
                  <a:pt x="619" y="45"/>
                  <a:pt x="619" y="45"/>
                </a:cubicBezTo>
                <a:cubicBezTo>
                  <a:pt x="618" y="44"/>
                  <a:pt x="618" y="44"/>
                  <a:pt x="618" y="44"/>
                </a:cubicBezTo>
                <a:cubicBezTo>
                  <a:pt x="617" y="44"/>
                  <a:pt x="617" y="44"/>
                  <a:pt x="617" y="44"/>
                </a:cubicBezTo>
                <a:cubicBezTo>
                  <a:pt x="616" y="44"/>
                  <a:pt x="616" y="44"/>
                  <a:pt x="616" y="44"/>
                </a:cubicBezTo>
                <a:cubicBezTo>
                  <a:pt x="614" y="43"/>
                  <a:pt x="614" y="43"/>
                  <a:pt x="614" y="43"/>
                </a:cubicBezTo>
                <a:cubicBezTo>
                  <a:pt x="613" y="43"/>
                  <a:pt x="613" y="43"/>
                  <a:pt x="613" y="43"/>
                </a:cubicBezTo>
                <a:cubicBezTo>
                  <a:pt x="612" y="41"/>
                  <a:pt x="612" y="41"/>
                  <a:pt x="612" y="41"/>
                </a:cubicBezTo>
                <a:cubicBezTo>
                  <a:pt x="611" y="41"/>
                  <a:pt x="611" y="41"/>
                  <a:pt x="611" y="41"/>
                </a:cubicBezTo>
                <a:cubicBezTo>
                  <a:pt x="609" y="41"/>
                  <a:pt x="609" y="41"/>
                  <a:pt x="609" y="41"/>
                </a:cubicBezTo>
                <a:cubicBezTo>
                  <a:pt x="608" y="41"/>
                  <a:pt x="608" y="41"/>
                  <a:pt x="608" y="41"/>
                </a:cubicBezTo>
                <a:cubicBezTo>
                  <a:pt x="607" y="40"/>
                  <a:pt x="607" y="40"/>
                  <a:pt x="607" y="40"/>
                </a:cubicBezTo>
                <a:cubicBezTo>
                  <a:pt x="605" y="39"/>
                  <a:pt x="605" y="39"/>
                  <a:pt x="605" y="39"/>
                </a:cubicBezTo>
                <a:cubicBezTo>
                  <a:pt x="604" y="37"/>
                  <a:pt x="604" y="37"/>
                  <a:pt x="604" y="37"/>
                </a:cubicBezTo>
                <a:cubicBezTo>
                  <a:pt x="603" y="37"/>
                  <a:pt x="603" y="37"/>
                  <a:pt x="603" y="37"/>
                </a:cubicBezTo>
                <a:cubicBezTo>
                  <a:pt x="602" y="37"/>
                  <a:pt x="602" y="37"/>
                  <a:pt x="602" y="37"/>
                </a:cubicBezTo>
                <a:cubicBezTo>
                  <a:pt x="600" y="37"/>
                  <a:pt x="600" y="37"/>
                  <a:pt x="600" y="37"/>
                </a:cubicBezTo>
                <a:cubicBezTo>
                  <a:pt x="599" y="37"/>
                  <a:pt x="599" y="37"/>
                  <a:pt x="599" y="37"/>
                </a:cubicBezTo>
                <a:cubicBezTo>
                  <a:pt x="595" y="37"/>
                  <a:pt x="595" y="37"/>
                  <a:pt x="595" y="37"/>
                </a:cubicBezTo>
                <a:cubicBezTo>
                  <a:pt x="592" y="36"/>
                  <a:pt x="592" y="36"/>
                  <a:pt x="592" y="36"/>
                </a:cubicBezTo>
                <a:cubicBezTo>
                  <a:pt x="590" y="36"/>
                  <a:pt x="590" y="36"/>
                  <a:pt x="590" y="36"/>
                </a:cubicBezTo>
                <a:cubicBezTo>
                  <a:pt x="582" y="36"/>
                  <a:pt x="582" y="36"/>
                  <a:pt x="582" y="36"/>
                </a:cubicBezTo>
                <a:cubicBezTo>
                  <a:pt x="581" y="36"/>
                  <a:pt x="581" y="36"/>
                  <a:pt x="581" y="36"/>
                </a:cubicBezTo>
                <a:cubicBezTo>
                  <a:pt x="579" y="37"/>
                  <a:pt x="579" y="37"/>
                  <a:pt x="579" y="37"/>
                </a:cubicBezTo>
                <a:cubicBezTo>
                  <a:pt x="577" y="38"/>
                  <a:pt x="577" y="38"/>
                  <a:pt x="577" y="38"/>
                </a:cubicBezTo>
                <a:cubicBezTo>
                  <a:pt x="577" y="42"/>
                  <a:pt x="577" y="42"/>
                  <a:pt x="577" y="42"/>
                </a:cubicBezTo>
                <a:cubicBezTo>
                  <a:pt x="576" y="44"/>
                  <a:pt x="576" y="44"/>
                  <a:pt x="576" y="44"/>
                </a:cubicBezTo>
                <a:cubicBezTo>
                  <a:pt x="576" y="47"/>
                  <a:pt x="576" y="47"/>
                  <a:pt x="576" y="47"/>
                </a:cubicBezTo>
                <a:cubicBezTo>
                  <a:pt x="575" y="49"/>
                  <a:pt x="575" y="49"/>
                  <a:pt x="575" y="49"/>
                </a:cubicBezTo>
                <a:lnTo>
                  <a:pt x="576" y="50"/>
                </a:lnTo>
                <a:close/>
                <a:moveTo>
                  <a:pt x="727" y="13"/>
                </a:moveTo>
                <a:cubicBezTo>
                  <a:pt x="727" y="15"/>
                  <a:pt x="727" y="15"/>
                  <a:pt x="727" y="15"/>
                </a:cubicBezTo>
                <a:cubicBezTo>
                  <a:pt x="728" y="16"/>
                  <a:pt x="728" y="16"/>
                  <a:pt x="728" y="16"/>
                </a:cubicBezTo>
                <a:cubicBezTo>
                  <a:pt x="730" y="16"/>
                  <a:pt x="730" y="16"/>
                  <a:pt x="730" y="16"/>
                </a:cubicBezTo>
                <a:cubicBezTo>
                  <a:pt x="730" y="17"/>
                  <a:pt x="730" y="17"/>
                  <a:pt x="730" y="17"/>
                </a:cubicBezTo>
                <a:cubicBezTo>
                  <a:pt x="732" y="16"/>
                  <a:pt x="732" y="16"/>
                  <a:pt x="732" y="16"/>
                </a:cubicBezTo>
                <a:cubicBezTo>
                  <a:pt x="733" y="16"/>
                  <a:pt x="733" y="16"/>
                  <a:pt x="733" y="16"/>
                </a:cubicBezTo>
                <a:cubicBezTo>
                  <a:pt x="733" y="18"/>
                  <a:pt x="733" y="18"/>
                  <a:pt x="733" y="18"/>
                </a:cubicBezTo>
                <a:cubicBezTo>
                  <a:pt x="734" y="19"/>
                  <a:pt x="734" y="19"/>
                  <a:pt x="734" y="19"/>
                </a:cubicBezTo>
                <a:cubicBezTo>
                  <a:pt x="735" y="19"/>
                  <a:pt x="735" y="19"/>
                  <a:pt x="735" y="19"/>
                </a:cubicBezTo>
                <a:cubicBezTo>
                  <a:pt x="736" y="22"/>
                  <a:pt x="736" y="22"/>
                  <a:pt x="736" y="22"/>
                </a:cubicBezTo>
                <a:cubicBezTo>
                  <a:pt x="736" y="25"/>
                  <a:pt x="736" y="25"/>
                  <a:pt x="736" y="25"/>
                </a:cubicBezTo>
                <a:cubicBezTo>
                  <a:pt x="737" y="27"/>
                  <a:pt x="737" y="27"/>
                  <a:pt x="737" y="27"/>
                </a:cubicBezTo>
                <a:cubicBezTo>
                  <a:pt x="737" y="29"/>
                  <a:pt x="737" y="29"/>
                  <a:pt x="737" y="29"/>
                </a:cubicBezTo>
                <a:cubicBezTo>
                  <a:pt x="738" y="30"/>
                  <a:pt x="738" y="30"/>
                  <a:pt x="738" y="30"/>
                </a:cubicBezTo>
                <a:cubicBezTo>
                  <a:pt x="740" y="31"/>
                  <a:pt x="740" y="31"/>
                  <a:pt x="740" y="31"/>
                </a:cubicBezTo>
                <a:cubicBezTo>
                  <a:pt x="739" y="32"/>
                  <a:pt x="739" y="32"/>
                  <a:pt x="739" y="32"/>
                </a:cubicBezTo>
                <a:cubicBezTo>
                  <a:pt x="739" y="35"/>
                  <a:pt x="739" y="35"/>
                  <a:pt x="739" y="35"/>
                </a:cubicBezTo>
                <a:cubicBezTo>
                  <a:pt x="738" y="38"/>
                  <a:pt x="738" y="38"/>
                  <a:pt x="738" y="38"/>
                </a:cubicBezTo>
                <a:cubicBezTo>
                  <a:pt x="740" y="39"/>
                  <a:pt x="740" y="39"/>
                  <a:pt x="740" y="39"/>
                </a:cubicBezTo>
                <a:cubicBezTo>
                  <a:pt x="740" y="41"/>
                  <a:pt x="740" y="41"/>
                  <a:pt x="740" y="41"/>
                </a:cubicBezTo>
                <a:cubicBezTo>
                  <a:pt x="740" y="43"/>
                  <a:pt x="740" y="43"/>
                  <a:pt x="740" y="43"/>
                </a:cubicBezTo>
                <a:cubicBezTo>
                  <a:pt x="740" y="44"/>
                  <a:pt x="740" y="44"/>
                  <a:pt x="740" y="44"/>
                </a:cubicBezTo>
                <a:cubicBezTo>
                  <a:pt x="741" y="43"/>
                  <a:pt x="741" y="43"/>
                  <a:pt x="741" y="43"/>
                </a:cubicBezTo>
                <a:cubicBezTo>
                  <a:pt x="742" y="44"/>
                  <a:pt x="742" y="44"/>
                  <a:pt x="742" y="44"/>
                </a:cubicBezTo>
                <a:cubicBezTo>
                  <a:pt x="742" y="46"/>
                  <a:pt x="742" y="46"/>
                  <a:pt x="742" y="46"/>
                </a:cubicBezTo>
                <a:cubicBezTo>
                  <a:pt x="743" y="47"/>
                  <a:pt x="743" y="47"/>
                  <a:pt x="743" y="47"/>
                </a:cubicBezTo>
                <a:cubicBezTo>
                  <a:pt x="743" y="47"/>
                  <a:pt x="746" y="46"/>
                  <a:pt x="746" y="46"/>
                </a:cubicBezTo>
                <a:cubicBezTo>
                  <a:pt x="747" y="44"/>
                  <a:pt x="747" y="44"/>
                  <a:pt x="747" y="44"/>
                </a:cubicBezTo>
                <a:cubicBezTo>
                  <a:pt x="749" y="43"/>
                  <a:pt x="749" y="43"/>
                  <a:pt x="749" y="43"/>
                </a:cubicBezTo>
                <a:cubicBezTo>
                  <a:pt x="750" y="41"/>
                  <a:pt x="750" y="41"/>
                  <a:pt x="750" y="41"/>
                </a:cubicBezTo>
                <a:cubicBezTo>
                  <a:pt x="749" y="40"/>
                  <a:pt x="749" y="40"/>
                  <a:pt x="749" y="40"/>
                </a:cubicBezTo>
                <a:cubicBezTo>
                  <a:pt x="747" y="36"/>
                  <a:pt x="747" y="36"/>
                  <a:pt x="747" y="36"/>
                </a:cubicBezTo>
                <a:cubicBezTo>
                  <a:pt x="748" y="34"/>
                  <a:pt x="748" y="34"/>
                  <a:pt x="748" y="34"/>
                </a:cubicBezTo>
                <a:cubicBezTo>
                  <a:pt x="751" y="31"/>
                  <a:pt x="751" y="31"/>
                  <a:pt x="751" y="31"/>
                </a:cubicBezTo>
                <a:cubicBezTo>
                  <a:pt x="751" y="33"/>
                  <a:pt x="751" y="33"/>
                  <a:pt x="751" y="33"/>
                </a:cubicBezTo>
                <a:cubicBezTo>
                  <a:pt x="749" y="35"/>
                  <a:pt x="749" y="35"/>
                  <a:pt x="749" y="35"/>
                </a:cubicBezTo>
                <a:cubicBezTo>
                  <a:pt x="750" y="39"/>
                  <a:pt x="750" y="39"/>
                  <a:pt x="750" y="39"/>
                </a:cubicBezTo>
                <a:cubicBezTo>
                  <a:pt x="751" y="39"/>
                  <a:pt x="751" y="39"/>
                  <a:pt x="751" y="39"/>
                </a:cubicBezTo>
                <a:cubicBezTo>
                  <a:pt x="753" y="38"/>
                  <a:pt x="753" y="38"/>
                  <a:pt x="753" y="38"/>
                </a:cubicBezTo>
                <a:cubicBezTo>
                  <a:pt x="756" y="40"/>
                  <a:pt x="756" y="40"/>
                  <a:pt x="756" y="40"/>
                </a:cubicBezTo>
                <a:cubicBezTo>
                  <a:pt x="758" y="39"/>
                  <a:pt x="758" y="39"/>
                  <a:pt x="758" y="39"/>
                </a:cubicBezTo>
                <a:cubicBezTo>
                  <a:pt x="758" y="38"/>
                  <a:pt x="758" y="38"/>
                  <a:pt x="758" y="38"/>
                </a:cubicBezTo>
                <a:cubicBezTo>
                  <a:pt x="761" y="36"/>
                  <a:pt x="761" y="36"/>
                  <a:pt x="761" y="36"/>
                </a:cubicBezTo>
                <a:cubicBezTo>
                  <a:pt x="763" y="37"/>
                  <a:pt x="763" y="37"/>
                  <a:pt x="763" y="37"/>
                </a:cubicBezTo>
                <a:cubicBezTo>
                  <a:pt x="764" y="35"/>
                  <a:pt x="764" y="35"/>
                  <a:pt x="764" y="35"/>
                </a:cubicBezTo>
                <a:cubicBezTo>
                  <a:pt x="765" y="36"/>
                  <a:pt x="765" y="36"/>
                  <a:pt x="765" y="36"/>
                </a:cubicBezTo>
                <a:cubicBezTo>
                  <a:pt x="767" y="34"/>
                  <a:pt x="767" y="34"/>
                  <a:pt x="767" y="34"/>
                </a:cubicBezTo>
                <a:cubicBezTo>
                  <a:pt x="766" y="33"/>
                  <a:pt x="766" y="33"/>
                  <a:pt x="766" y="33"/>
                </a:cubicBezTo>
                <a:cubicBezTo>
                  <a:pt x="768" y="32"/>
                  <a:pt x="768" y="32"/>
                  <a:pt x="768" y="32"/>
                </a:cubicBezTo>
                <a:cubicBezTo>
                  <a:pt x="768" y="31"/>
                  <a:pt x="768" y="31"/>
                  <a:pt x="768" y="31"/>
                </a:cubicBezTo>
                <a:cubicBezTo>
                  <a:pt x="766" y="30"/>
                  <a:pt x="766" y="30"/>
                  <a:pt x="766" y="30"/>
                </a:cubicBezTo>
                <a:cubicBezTo>
                  <a:pt x="766" y="29"/>
                  <a:pt x="766" y="29"/>
                  <a:pt x="766" y="29"/>
                </a:cubicBezTo>
                <a:cubicBezTo>
                  <a:pt x="767" y="28"/>
                  <a:pt x="767" y="28"/>
                  <a:pt x="767" y="28"/>
                </a:cubicBezTo>
                <a:cubicBezTo>
                  <a:pt x="767" y="29"/>
                  <a:pt x="767" y="29"/>
                  <a:pt x="767" y="29"/>
                </a:cubicBezTo>
                <a:cubicBezTo>
                  <a:pt x="769" y="29"/>
                  <a:pt x="769" y="29"/>
                  <a:pt x="769" y="29"/>
                </a:cubicBezTo>
                <a:cubicBezTo>
                  <a:pt x="769" y="26"/>
                  <a:pt x="769" y="26"/>
                  <a:pt x="769" y="26"/>
                </a:cubicBezTo>
                <a:cubicBezTo>
                  <a:pt x="769" y="25"/>
                  <a:pt x="769" y="25"/>
                  <a:pt x="769" y="25"/>
                </a:cubicBezTo>
                <a:cubicBezTo>
                  <a:pt x="769" y="24"/>
                  <a:pt x="769" y="24"/>
                  <a:pt x="769" y="24"/>
                </a:cubicBezTo>
                <a:cubicBezTo>
                  <a:pt x="771" y="24"/>
                  <a:pt x="771" y="24"/>
                  <a:pt x="771" y="24"/>
                </a:cubicBezTo>
                <a:cubicBezTo>
                  <a:pt x="774" y="22"/>
                  <a:pt x="774" y="22"/>
                  <a:pt x="774" y="22"/>
                </a:cubicBezTo>
                <a:cubicBezTo>
                  <a:pt x="774" y="20"/>
                  <a:pt x="774" y="20"/>
                  <a:pt x="774" y="20"/>
                </a:cubicBezTo>
                <a:cubicBezTo>
                  <a:pt x="776" y="17"/>
                  <a:pt x="776" y="17"/>
                  <a:pt x="776" y="17"/>
                </a:cubicBezTo>
                <a:cubicBezTo>
                  <a:pt x="775" y="14"/>
                  <a:pt x="775" y="14"/>
                  <a:pt x="775" y="14"/>
                </a:cubicBezTo>
                <a:cubicBezTo>
                  <a:pt x="776" y="13"/>
                  <a:pt x="776" y="13"/>
                  <a:pt x="776" y="13"/>
                </a:cubicBezTo>
                <a:cubicBezTo>
                  <a:pt x="775" y="13"/>
                  <a:pt x="775" y="13"/>
                  <a:pt x="775" y="13"/>
                </a:cubicBezTo>
                <a:cubicBezTo>
                  <a:pt x="774" y="14"/>
                  <a:pt x="774" y="14"/>
                  <a:pt x="774" y="14"/>
                </a:cubicBezTo>
                <a:cubicBezTo>
                  <a:pt x="772" y="15"/>
                  <a:pt x="772" y="15"/>
                  <a:pt x="772" y="15"/>
                </a:cubicBezTo>
                <a:cubicBezTo>
                  <a:pt x="771" y="17"/>
                  <a:pt x="771" y="17"/>
                  <a:pt x="771" y="17"/>
                </a:cubicBezTo>
                <a:cubicBezTo>
                  <a:pt x="771" y="16"/>
                  <a:pt x="771" y="16"/>
                  <a:pt x="771" y="16"/>
                </a:cubicBezTo>
                <a:cubicBezTo>
                  <a:pt x="771" y="14"/>
                  <a:pt x="771" y="14"/>
                  <a:pt x="771" y="14"/>
                </a:cubicBezTo>
                <a:cubicBezTo>
                  <a:pt x="772" y="13"/>
                  <a:pt x="772" y="13"/>
                  <a:pt x="772" y="13"/>
                </a:cubicBezTo>
                <a:cubicBezTo>
                  <a:pt x="772" y="11"/>
                  <a:pt x="772" y="11"/>
                  <a:pt x="772" y="11"/>
                </a:cubicBezTo>
                <a:cubicBezTo>
                  <a:pt x="772" y="10"/>
                  <a:pt x="772" y="10"/>
                  <a:pt x="772" y="10"/>
                </a:cubicBezTo>
                <a:cubicBezTo>
                  <a:pt x="770" y="9"/>
                  <a:pt x="770" y="9"/>
                  <a:pt x="770" y="9"/>
                </a:cubicBezTo>
                <a:cubicBezTo>
                  <a:pt x="772" y="9"/>
                  <a:pt x="772" y="9"/>
                  <a:pt x="772" y="9"/>
                </a:cubicBezTo>
                <a:cubicBezTo>
                  <a:pt x="773" y="8"/>
                  <a:pt x="773" y="8"/>
                  <a:pt x="773" y="8"/>
                </a:cubicBezTo>
                <a:cubicBezTo>
                  <a:pt x="772" y="6"/>
                  <a:pt x="772" y="6"/>
                  <a:pt x="772" y="6"/>
                </a:cubicBezTo>
                <a:cubicBezTo>
                  <a:pt x="769" y="4"/>
                  <a:pt x="769" y="4"/>
                  <a:pt x="769" y="4"/>
                </a:cubicBezTo>
                <a:cubicBezTo>
                  <a:pt x="768" y="5"/>
                  <a:pt x="768" y="5"/>
                  <a:pt x="768" y="5"/>
                </a:cubicBezTo>
                <a:cubicBezTo>
                  <a:pt x="765" y="5"/>
                  <a:pt x="765" y="5"/>
                  <a:pt x="765" y="5"/>
                </a:cubicBezTo>
                <a:cubicBezTo>
                  <a:pt x="764" y="6"/>
                  <a:pt x="764" y="6"/>
                  <a:pt x="764" y="6"/>
                </a:cubicBezTo>
                <a:cubicBezTo>
                  <a:pt x="763" y="6"/>
                  <a:pt x="763" y="6"/>
                  <a:pt x="763" y="6"/>
                </a:cubicBezTo>
                <a:cubicBezTo>
                  <a:pt x="763" y="5"/>
                  <a:pt x="763" y="5"/>
                  <a:pt x="763" y="5"/>
                </a:cubicBezTo>
                <a:cubicBezTo>
                  <a:pt x="765" y="3"/>
                  <a:pt x="765" y="3"/>
                  <a:pt x="765" y="3"/>
                </a:cubicBezTo>
                <a:cubicBezTo>
                  <a:pt x="766" y="2"/>
                  <a:pt x="766" y="2"/>
                  <a:pt x="766" y="2"/>
                </a:cubicBezTo>
                <a:cubicBezTo>
                  <a:pt x="768" y="1"/>
                  <a:pt x="768" y="1"/>
                  <a:pt x="768" y="1"/>
                </a:cubicBezTo>
                <a:cubicBezTo>
                  <a:pt x="769" y="0"/>
                  <a:pt x="769" y="0"/>
                  <a:pt x="769" y="0"/>
                </a:cubicBezTo>
                <a:cubicBezTo>
                  <a:pt x="751" y="0"/>
                  <a:pt x="751" y="0"/>
                  <a:pt x="751" y="0"/>
                </a:cubicBezTo>
                <a:cubicBezTo>
                  <a:pt x="750" y="2"/>
                  <a:pt x="750" y="2"/>
                  <a:pt x="750" y="2"/>
                </a:cubicBezTo>
                <a:cubicBezTo>
                  <a:pt x="749" y="3"/>
                  <a:pt x="749" y="3"/>
                  <a:pt x="749" y="3"/>
                </a:cubicBezTo>
                <a:cubicBezTo>
                  <a:pt x="749" y="4"/>
                  <a:pt x="749" y="4"/>
                  <a:pt x="749" y="4"/>
                </a:cubicBezTo>
                <a:cubicBezTo>
                  <a:pt x="748" y="7"/>
                  <a:pt x="748" y="7"/>
                  <a:pt x="748" y="7"/>
                </a:cubicBezTo>
                <a:cubicBezTo>
                  <a:pt x="747" y="7"/>
                  <a:pt x="747" y="7"/>
                  <a:pt x="747" y="7"/>
                </a:cubicBezTo>
                <a:cubicBezTo>
                  <a:pt x="747" y="9"/>
                  <a:pt x="747" y="9"/>
                  <a:pt x="747" y="9"/>
                </a:cubicBezTo>
                <a:cubicBezTo>
                  <a:pt x="746" y="10"/>
                  <a:pt x="746" y="10"/>
                  <a:pt x="746" y="10"/>
                </a:cubicBezTo>
                <a:cubicBezTo>
                  <a:pt x="744" y="10"/>
                  <a:pt x="744" y="10"/>
                  <a:pt x="744" y="10"/>
                </a:cubicBezTo>
                <a:cubicBezTo>
                  <a:pt x="743" y="8"/>
                  <a:pt x="743" y="8"/>
                  <a:pt x="743" y="8"/>
                </a:cubicBezTo>
                <a:cubicBezTo>
                  <a:pt x="743" y="6"/>
                  <a:pt x="743" y="6"/>
                  <a:pt x="743" y="6"/>
                </a:cubicBezTo>
                <a:cubicBezTo>
                  <a:pt x="741" y="3"/>
                  <a:pt x="741" y="3"/>
                  <a:pt x="741" y="3"/>
                </a:cubicBezTo>
                <a:cubicBezTo>
                  <a:pt x="741" y="2"/>
                  <a:pt x="741" y="2"/>
                  <a:pt x="741" y="2"/>
                </a:cubicBezTo>
                <a:cubicBezTo>
                  <a:pt x="741" y="0"/>
                  <a:pt x="741" y="0"/>
                  <a:pt x="741" y="0"/>
                </a:cubicBezTo>
                <a:cubicBezTo>
                  <a:pt x="740" y="0"/>
                  <a:pt x="740" y="0"/>
                  <a:pt x="740" y="0"/>
                </a:cubicBezTo>
                <a:cubicBezTo>
                  <a:pt x="729" y="0"/>
                  <a:pt x="729" y="0"/>
                  <a:pt x="729" y="0"/>
                </a:cubicBezTo>
                <a:cubicBezTo>
                  <a:pt x="728" y="2"/>
                  <a:pt x="728" y="2"/>
                  <a:pt x="728" y="2"/>
                </a:cubicBezTo>
                <a:cubicBezTo>
                  <a:pt x="729" y="3"/>
                  <a:pt x="729" y="3"/>
                  <a:pt x="729" y="3"/>
                </a:cubicBezTo>
                <a:cubicBezTo>
                  <a:pt x="729" y="6"/>
                  <a:pt x="729" y="6"/>
                  <a:pt x="729" y="6"/>
                </a:cubicBezTo>
                <a:cubicBezTo>
                  <a:pt x="728" y="8"/>
                  <a:pt x="728" y="8"/>
                  <a:pt x="728" y="8"/>
                </a:cubicBezTo>
                <a:cubicBezTo>
                  <a:pt x="730" y="9"/>
                  <a:pt x="730" y="9"/>
                  <a:pt x="730" y="9"/>
                </a:cubicBezTo>
                <a:cubicBezTo>
                  <a:pt x="729" y="12"/>
                  <a:pt x="729" y="12"/>
                  <a:pt x="729" y="12"/>
                </a:cubicBezTo>
                <a:lnTo>
                  <a:pt x="727" y="13"/>
                </a:lnTo>
                <a:close/>
                <a:moveTo>
                  <a:pt x="777" y="29"/>
                </a:moveTo>
                <a:cubicBezTo>
                  <a:pt x="778" y="30"/>
                  <a:pt x="778" y="30"/>
                  <a:pt x="778" y="30"/>
                </a:cubicBezTo>
                <a:cubicBezTo>
                  <a:pt x="780" y="30"/>
                  <a:pt x="780" y="30"/>
                  <a:pt x="780" y="30"/>
                </a:cubicBezTo>
                <a:cubicBezTo>
                  <a:pt x="780" y="31"/>
                  <a:pt x="780" y="31"/>
                  <a:pt x="780" y="31"/>
                </a:cubicBezTo>
                <a:cubicBezTo>
                  <a:pt x="779" y="31"/>
                  <a:pt x="779" y="31"/>
                  <a:pt x="779" y="31"/>
                </a:cubicBezTo>
                <a:cubicBezTo>
                  <a:pt x="778" y="31"/>
                  <a:pt x="778" y="31"/>
                  <a:pt x="778" y="31"/>
                </a:cubicBezTo>
                <a:cubicBezTo>
                  <a:pt x="776" y="32"/>
                  <a:pt x="776" y="32"/>
                  <a:pt x="776" y="32"/>
                </a:cubicBezTo>
                <a:cubicBezTo>
                  <a:pt x="775" y="34"/>
                  <a:pt x="775" y="34"/>
                  <a:pt x="775" y="34"/>
                </a:cubicBezTo>
                <a:cubicBezTo>
                  <a:pt x="779" y="34"/>
                  <a:pt x="779" y="34"/>
                  <a:pt x="779" y="34"/>
                </a:cubicBezTo>
                <a:cubicBezTo>
                  <a:pt x="780" y="34"/>
                  <a:pt x="780" y="34"/>
                  <a:pt x="780" y="34"/>
                </a:cubicBezTo>
                <a:cubicBezTo>
                  <a:pt x="783" y="36"/>
                  <a:pt x="783" y="36"/>
                  <a:pt x="783" y="36"/>
                </a:cubicBezTo>
                <a:cubicBezTo>
                  <a:pt x="783" y="36"/>
                  <a:pt x="784" y="35"/>
                  <a:pt x="784" y="35"/>
                </a:cubicBezTo>
                <a:cubicBezTo>
                  <a:pt x="784" y="34"/>
                  <a:pt x="784" y="34"/>
                  <a:pt x="784" y="34"/>
                </a:cubicBezTo>
                <a:cubicBezTo>
                  <a:pt x="785" y="34"/>
                  <a:pt x="785" y="34"/>
                  <a:pt x="785" y="34"/>
                </a:cubicBezTo>
                <a:cubicBezTo>
                  <a:pt x="787" y="32"/>
                  <a:pt x="787" y="32"/>
                  <a:pt x="787" y="32"/>
                </a:cubicBezTo>
                <a:cubicBezTo>
                  <a:pt x="788" y="30"/>
                  <a:pt x="788" y="30"/>
                  <a:pt x="788" y="30"/>
                </a:cubicBezTo>
                <a:cubicBezTo>
                  <a:pt x="789" y="29"/>
                  <a:pt x="789" y="29"/>
                  <a:pt x="789" y="29"/>
                </a:cubicBezTo>
                <a:cubicBezTo>
                  <a:pt x="791" y="29"/>
                  <a:pt x="791" y="29"/>
                  <a:pt x="791" y="29"/>
                </a:cubicBezTo>
                <a:cubicBezTo>
                  <a:pt x="792" y="28"/>
                  <a:pt x="792" y="28"/>
                  <a:pt x="792" y="28"/>
                </a:cubicBezTo>
                <a:cubicBezTo>
                  <a:pt x="793" y="27"/>
                  <a:pt x="793" y="27"/>
                  <a:pt x="793" y="27"/>
                </a:cubicBezTo>
                <a:cubicBezTo>
                  <a:pt x="794" y="25"/>
                  <a:pt x="794" y="25"/>
                  <a:pt x="794" y="25"/>
                </a:cubicBezTo>
                <a:cubicBezTo>
                  <a:pt x="794" y="23"/>
                  <a:pt x="794" y="23"/>
                  <a:pt x="794" y="23"/>
                </a:cubicBezTo>
                <a:cubicBezTo>
                  <a:pt x="793" y="22"/>
                  <a:pt x="793" y="22"/>
                  <a:pt x="793" y="22"/>
                </a:cubicBezTo>
                <a:cubicBezTo>
                  <a:pt x="795" y="21"/>
                  <a:pt x="795" y="21"/>
                  <a:pt x="795" y="21"/>
                </a:cubicBezTo>
                <a:cubicBezTo>
                  <a:pt x="795" y="19"/>
                  <a:pt x="795" y="19"/>
                  <a:pt x="795" y="19"/>
                </a:cubicBezTo>
                <a:cubicBezTo>
                  <a:pt x="791" y="19"/>
                  <a:pt x="791" y="19"/>
                  <a:pt x="791" y="19"/>
                </a:cubicBezTo>
                <a:cubicBezTo>
                  <a:pt x="791" y="18"/>
                  <a:pt x="791" y="18"/>
                  <a:pt x="791" y="18"/>
                </a:cubicBezTo>
                <a:cubicBezTo>
                  <a:pt x="791" y="17"/>
                  <a:pt x="791" y="17"/>
                  <a:pt x="791" y="17"/>
                </a:cubicBezTo>
                <a:cubicBezTo>
                  <a:pt x="792" y="17"/>
                  <a:pt x="792" y="17"/>
                  <a:pt x="792" y="17"/>
                </a:cubicBezTo>
                <a:cubicBezTo>
                  <a:pt x="794" y="18"/>
                  <a:pt x="794" y="18"/>
                  <a:pt x="794" y="18"/>
                </a:cubicBezTo>
                <a:cubicBezTo>
                  <a:pt x="795" y="18"/>
                  <a:pt x="795" y="18"/>
                  <a:pt x="795" y="18"/>
                </a:cubicBezTo>
                <a:cubicBezTo>
                  <a:pt x="797" y="18"/>
                  <a:pt x="797" y="18"/>
                  <a:pt x="797" y="18"/>
                </a:cubicBezTo>
                <a:cubicBezTo>
                  <a:pt x="799" y="17"/>
                  <a:pt x="799" y="17"/>
                  <a:pt x="799" y="17"/>
                </a:cubicBezTo>
                <a:cubicBezTo>
                  <a:pt x="800" y="18"/>
                  <a:pt x="800" y="18"/>
                  <a:pt x="800" y="18"/>
                </a:cubicBezTo>
                <a:cubicBezTo>
                  <a:pt x="801" y="20"/>
                  <a:pt x="801" y="20"/>
                  <a:pt x="801" y="20"/>
                </a:cubicBezTo>
                <a:cubicBezTo>
                  <a:pt x="803" y="22"/>
                  <a:pt x="803" y="22"/>
                  <a:pt x="803" y="22"/>
                </a:cubicBezTo>
                <a:cubicBezTo>
                  <a:pt x="804" y="22"/>
                  <a:pt x="804" y="22"/>
                  <a:pt x="804" y="22"/>
                </a:cubicBezTo>
                <a:cubicBezTo>
                  <a:pt x="805" y="23"/>
                  <a:pt x="805" y="23"/>
                  <a:pt x="805" y="23"/>
                </a:cubicBezTo>
                <a:cubicBezTo>
                  <a:pt x="806" y="23"/>
                  <a:pt x="806" y="23"/>
                  <a:pt x="806" y="23"/>
                </a:cubicBezTo>
                <a:cubicBezTo>
                  <a:pt x="808" y="22"/>
                  <a:pt x="808" y="22"/>
                  <a:pt x="808" y="22"/>
                </a:cubicBezTo>
                <a:cubicBezTo>
                  <a:pt x="812" y="20"/>
                  <a:pt x="812" y="20"/>
                  <a:pt x="812" y="20"/>
                </a:cubicBezTo>
                <a:cubicBezTo>
                  <a:pt x="815" y="17"/>
                  <a:pt x="815" y="17"/>
                  <a:pt x="815" y="17"/>
                </a:cubicBezTo>
                <a:cubicBezTo>
                  <a:pt x="818" y="15"/>
                  <a:pt x="818" y="15"/>
                  <a:pt x="818" y="15"/>
                </a:cubicBezTo>
                <a:cubicBezTo>
                  <a:pt x="819" y="13"/>
                  <a:pt x="819" y="13"/>
                  <a:pt x="819" y="13"/>
                </a:cubicBezTo>
                <a:cubicBezTo>
                  <a:pt x="818" y="13"/>
                  <a:pt x="818" y="13"/>
                  <a:pt x="818" y="13"/>
                </a:cubicBezTo>
                <a:cubicBezTo>
                  <a:pt x="818" y="12"/>
                  <a:pt x="818" y="12"/>
                  <a:pt x="818" y="12"/>
                </a:cubicBezTo>
                <a:cubicBezTo>
                  <a:pt x="820" y="12"/>
                  <a:pt x="820" y="12"/>
                  <a:pt x="820" y="12"/>
                </a:cubicBezTo>
                <a:cubicBezTo>
                  <a:pt x="823" y="9"/>
                  <a:pt x="823" y="9"/>
                  <a:pt x="823" y="9"/>
                </a:cubicBezTo>
                <a:cubicBezTo>
                  <a:pt x="827" y="6"/>
                  <a:pt x="827" y="6"/>
                  <a:pt x="827" y="6"/>
                </a:cubicBezTo>
                <a:cubicBezTo>
                  <a:pt x="827" y="5"/>
                  <a:pt x="827" y="5"/>
                  <a:pt x="827" y="5"/>
                </a:cubicBezTo>
                <a:cubicBezTo>
                  <a:pt x="828" y="4"/>
                  <a:pt x="828" y="4"/>
                  <a:pt x="828" y="4"/>
                </a:cubicBezTo>
                <a:cubicBezTo>
                  <a:pt x="830" y="2"/>
                  <a:pt x="830" y="2"/>
                  <a:pt x="830" y="2"/>
                </a:cubicBezTo>
                <a:cubicBezTo>
                  <a:pt x="832" y="0"/>
                  <a:pt x="832" y="0"/>
                  <a:pt x="832" y="0"/>
                </a:cubicBezTo>
                <a:cubicBezTo>
                  <a:pt x="788" y="0"/>
                  <a:pt x="788" y="0"/>
                  <a:pt x="788" y="0"/>
                </a:cubicBezTo>
                <a:cubicBezTo>
                  <a:pt x="788" y="2"/>
                  <a:pt x="788" y="2"/>
                  <a:pt x="788" y="2"/>
                </a:cubicBezTo>
                <a:cubicBezTo>
                  <a:pt x="787" y="4"/>
                  <a:pt x="787" y="4"/>
                  <a:pt x="787" y="4"/>
                </a:cubicBezTo>
                <a:cubicBezTo>
                  <a:pt x="786" y="6"/>
                  <a:pt x="786" y="6"/>
                  <a:pt x="786" y="6"/>
                </a:cubicBezTo>
                <a:cubicBezTo>
                  <a:pt x="784" y="7"/>
                  <a:pt x="784" y="7"/>
                  <a:pt x="784" y="7"/>
                </a:cubicBezTo>
                <a:cubicBezTo>
                  <a:pt x="784" y="9"/>
                  <a:pt x="784" y="9"/>
                  <a:pt x="784" y="9"/>
                </a:cubicBezTo>
                <a:cubicBezTo>
                  <a:pt x="783" y="10"/>
                  <a:pt x="783" y="10"/>
                  <a:pt x="783" y="10"/>
                </a:cubicBezTo>
                <a:cubicBezTo>
                  <a:pt x="781" y="14"/>
                  <a:pt x="781" y="14"/>
                  <a:pt x="781" y="14"/>
                </a:cubicBezTo>
                <a:cubicBezTo>
                  <a:pt x="781" y="16"/>
                  <a:pt x="781" y="16"/>
                  <a:pt x="781" y="16"/>
                </a:cubicBezTo>
                <a:cubicBezTo>
                  <a:pt x="780" y="18"/>
                  <a:pt x="780" y="18"/>
                  <a:pt x="780" y="18"/>
                </a:cubicBezTo>
                <a:cubicBezTo>
                  <a:pt x="782" y="19"/>
                  <a:pt x="782" y="19"/>
                  <a:pt x="782" y="19"/>
                </a:cubicBezTo>
                <a:cubicBezTo>
                  <a:pt x="782" y="20"/>
                  <a:pt x="782" y="20"/>
                  <a:pt x="782" y="20"/>
                </a:cubicBezTo>
                <a:cubicBezTo>
                  <a:pt x="781" y="21"/>
                  <a:pt x="781" y="21"/>
                  <a:pt x="781" y="21"/>
                </a:cubicBezTo>
                <a:cubicBezTo>
                  <a:pt x="781" y="22"/>
                  <a:pt x="781" y="22"/>
                  <a:pt x="781" y="22"/>
                </a:cubicBezTo>
                <a:cubicBezTo>
                  <a:pt x="780" y="26"/>
                  <a:pt x="780" y="26"/>
                  <a:pt x="780" y="26"/>
                </a:cubicBezTo>
                <a:lnTo>
                  <a:pt x="777" y="29"/>
                </a:lnTo>
                <a:close/>
                <a:moveTo>
                  <a:pt x="169" y="0"/>
                </a:moveTo>
                <a:cubicBezTo>
                  <a:pt x="167" y="0"/>
                  <a:pt x="167" y="0"/>
                  <a:pt x="167" y="0"/>
                </a:cubicBezTo>
                <a:cubicBezTo>
                  <a:pt x="169" y="1"/>
                  <a:pt x="169" y="1"/>
                  <a:pt x="169" y="1"/>
                </a:cubicBezTo>
                <a:lnTo>
                  <a:pt x="169" y="0"/>
                </a:lnTo>
                <a:close/>
                <a:moveTo>
                  <a:pt x="779" y="0"/>
                </a:moveTo>
                <a:cubicBezTo>
                  <a:pt x="777" y="0"/>
                  <a:pt x="777" y="0"/>
                  <a:pt x="777" y="0"/>
                </a:cubicBezTo>
                <a:cubicBezTo>
                  <a:pt x="777" y="1"/>
                  <a:pt x="777" y="1"/>
                  <a:pt x="777" y="1"/>
                </a:cubicBezTo>
                <a:cubicBezTo>
                  <a:pt x="778" y="1"/>
                  <a:pt x="778" y="1"/>
                  <a:pt x="778" y="1"/>
                </a:cubicBezTo>
                <a:lnTo>
                  <a:pt x="779" y="0"/>
                </a:lnTo>
                <a:close/>
                <a:moveTo>
                  <a:pt x="1164" y="1111"/>
                </a:moveTo>
                <a:cubicBezTo>
                  <a:pt x="1164" y="1106"/>
                  <a:pt x="1164" y="1106"/>
                  <a:pt x="1164" y="1106"/>
                </a:cubicBezTo>
                <a:cubicBezTo>
                  <a:pt x="1163" y="1105"/>
                  <a:pt x="1163" y="1105"/>
                  <a:pt x="1163" y="1105"/>
                </a:cubicBezTo>
                <a:cubicBezTo>
                  <a:pt x="1162" y="1103"/>
                  <a:pt x="1162" y="1103"/>
                  <a:pt x="1162" y="1103"/>
                </a:cubicBezTo>
                <a:cubicBezTo>
                  <a:pt x="1159" y="1095"/>
                  <a:pt x="1159" y="1095"/>
                  <a:pt x="1159" y="1095"/>
                </a:cubicBezTo>
                <a:cubicBezTo>
                  <a:pt x="1159" y="1092"/>
                  <a:pt x="1159" y="1092"/>
                  <a:pt x="1159" y="1092"/>
                </a:cubicBezTo>
                <a:cubicBezTo>
                  <a:pt x="1158" y="1089"/>
                  <a:pt x="1158" y="1089"/>
                  <a:pt x="1158" y="1089"/>
                </a:cubicBezTo>
                <a:cubicBezTo>
                  <a:pt x="1152" y="1086"/>
                  <a:pt x="1152" y="1086"/>
                  <a:pt x="1152" y="1086"/>
                </a:cubicBezTo>
                <a:cubicBezTo>
                  <a:pt x="1148" y="1086"/>
                  <a:pt x="1148" y="1086"/>
                  <a:pt x="1148" y="1086"/>
                </a:cubicBezTo>
                <a:cubicBezTo>
                  <a:pt x="1145" y="1088"/>
                  <a:pt x="1145" y="1088"/>
                  <a:pt x="1145" y="1088"/>
                </a:cubicBezTo>
                <a:cubicBezTo>
                  <a:pt x="1143" y="1085"/>
                  <a:pt x="1143" y="1085"/>
                  <a:pt x="1143" y="1085"/>
                </a:cubicBezTo>
                <a:cubicBezTo>
                  <a:pt x="1141" y="1085"/>
                  <a:pt x="1141" y="1085"/>
                  <a:pt x="1141" y="1085"/>
                </a:cubicBezTo>
                <a:cubicBezTo>
                  <a:pt x="1139" y="1082"/>
                  <a:pt x="1139" y="1082"/>
                  <a:pt x="1139" y="1082"/>
                </a:cubicBezTo>
                <a:cubicBezTo>
                  <a:pt x="1136" y="1081"/>
                  <a:pt x="1136" y="1081"/>
                  <a:pt x="1136" y="1081"/>
                </a:cubicBezTo>
                <a:cubicBezTo>
                  <a:pt x="1134" y="1080"/>
                  <a:pt x="1134" y="1080"/>
                  <a:pt x="1134" y="1080"/>
                </a:cubicBezTo>
                <a:cubicBezTo>
                  <a:pt x="1129" y="1076"/>
                  <a:pt x="1129" y="1076"/>
                  <a:pt x="1129" y="1076"/>
                </a:cubicBezTo>
                <a:cubicBezTo>
                  <a:pt x="1126" y="1070"/>
                  <a:pt x="1126" y="1070"/>
                  <a:pt x="1126" y="1070"/>
                </a:cubicBezTo>
                <a:cubicBezTo>
                  <a:pt x="1124" y="1070"/>
                  <a:pt x="1124" y="1070"/>
                  <a:pt x="1124" y="1070"/>
                </a:cubicBezTo>
                <a:cubicBezTo>
                  <a:pt x="1122" y="1068"/>
                  <a:pt x="1122" y="1068"/>
                  <a:pt x="1122" y="1068"/>
                </a:cubicBezTo>
                <a:cubicBezTo>
                  <a:pt x="1119" y="1068"/>
                  <a:pt x="1119" y="1068"/>
                  <a:pt x="1119" y="1068"/>
                </a:cubicBezTo>
                <a:cubicBezTo>
                  <a:pt x="1113" y="1063"/>
                  <a:pt x="1113" y="1063"/>
                  <a:pt x="1113" y="1063"/>
                </a:cubicBezTo>
                <a:cubicBezTo>
                  <a:pt x="1110" y="1063"/>
                  <a:pt x="1110" y="1063"/>
                  <a:pt x="1110" y="1063"/>
                </a:cubicBezTo>
                <a:cubicBezTo>
                  <a:pt x="1107" y="1062"/>
                  <a:pt x="1107" y="1062"/>
                  <a:pt x="1107" y="1062"/>
                </a:cubicBezTo>
                <a:cubicBezTo>
                  <a:pt x="1106" y="1063"/>
                  <a:pt x="1106" y="1063"/>
                  <a:pt x="1106" y="1063"/>
                </a:cubicBezTo>
                <a:cubicBezTo>
                  <a:pt x="1103" y="1063"/>
                  <a:pt x="1103" y="1063"/>
                  <a:pt x="1103" y="1063"/>
                </a:cubicBezTo>
                <a:cubicBezTo>
                  <a:pt x="1101" y="1062"/>
                  <a:pt x="1101" y="1062"/>
                  <a:pt x="1101" y="1062"/>
                </a:cubicBezTo>
                <a:cubicBezTo>
                  <a:pt x="1099" y="1063"/>
                  <a:pt x="1099" y="1063"/>
                  <a:pt x="1099" y="1063"/>
                </a:cubicBezTo>
                <a:cubicBezTo>
                  <a:pt x="1098" y="1064"/>
                  <a:pt x="1098" y="1064"/>
                  <a:pt x="1098" y="1064"/>
                </a:cubicBezTo>
                <a:cubicBezTo>
                  <a:pt x="1097" y="1063"/>
                  <a:pt x="1097" y="1063"/>
                  <a:pt x="1097" y="1063"/>
                </a:cubicBezTo>
                <a:cubicBezTo>
                  <a:pt x="1094" y="1061"/>
                  <a:pt x="1094" y="1061"/>
                  <a:pt x="1094" y="1061"/>
                </a:cubicBezTo>
                <a:cubicBezTo>
                  <a:pt x="1094" y="1062"/>
                  <a:pt x="1094" y="1062"/>
                  <a:pt x="1094" y="1062"/>
                </a:cubicBezTo>
                <a:cubicBezTo>
                  <a:pt x="1093" y="1061"/>
                  <a:pt x="1093" y="1061"/>
                  <a:pt x="1093" y="1061"/>
                </a:cubicBezTo>
                <a:cubicBezTo>
                  <a:pt x="1092" y="1062"/>
                  <a:pt x="1092" y="1062"/>
                  <a:pt x="1092" y="1062"/>
                </a:cubicBezTo>
                <a:cubicBezTo>
                  <a:pt x="1092" y="1063"/>
                  <a:pt x="1092" y="1063"/>
                  <a:pt x="1092" y="1063"/>
                </a:cubicBezTo>
                <a:cubicBezTo>
                  <a:pt x="1090" y="1062"/>
                  <a:pt x="1090" y="1062"/>
                  <a:pt x="1090" y="1062"/>
                </a:cubicBezTo>
                <a:cubicBezTo>
                  <a:pt x="1090" y="1061"/>
                  <a:pt x="1090" y="1061"/>
                  <a:pt x="1090" y="1061"/>
                </a:cubicBezTo>
                <a:cubicBezTo>
                  <a:pt x="1089" y="1061"/>
                  <a:pt x="1089" y="1061"/>
                  <a:pt x="1089" y="1061"/>
                </a:cubicBezTo>
                <a:cubicBezTo>
                  <a:pt x="1089" y="1062"/>
                  <a:pt x="1089" y="1062"/>
                  <a:pt x="1089" y="1062"/>
                </a:cubicBezTo>
                <a:cubicBezTo>
                  <a:pt x="1089" y="1062"/>
                  <a:pt x="1089" y="1062"/>
                  <a:pt x="1089" y="1062"/>
                </a:cubicBezTo>
                <a:cubicBezTo>
                  <a:pt x="1086" y="1061"/>
                  <a:pt x="1086" y="1061"/>
                  <a:pt x="1086" y="1061"/>
                </a:cubicBezTo>
                <a:cubicBezTo>
                  <a:pt x="1085" y="1061"/>
                  <a:pt x="1085" y="1061"/>
                  <a:pt x="1085" y="1061"/>
                </a:cubicBezTo>
                <a:cubicBezTo>
                  <a:pt x="1082" y="1061"/>
                  <a:pt x="1082" y="1061"/>
                  <a:pt x="1082" y="1061"/>
                </a:cubicBezTo>
                <a:cubicBezTo>
                  <a:pt x="1077" y="1058"/>
                  <a:pt x="1077" y="1058"/>
                  <a:pt x="1077" y="1058"/>
                </a:cubicBezTo>
                <a:cubicBezTo>
                  <a:pt x="1075" y="1058"/>
                  <a:pt x="1075" y="1058"/>
                  <a:pt x="1075" y="1058"/>
                </a:cubicBezTo>
                <a:cubicBezTo>
                  <a:pt x="1074" y="1059"/>
                  <a:pt x="1074" y="1059"/>
                  <a:pt x="1074" y="1059"/>
                </a:cubicBezTo>
                <a:cubicBezTo>
                  <a:pt x="1075" y="1060"/>
                  <a:pt x="1075" y="1060"/>
                  <a:pt x="1075" y="1060"/>
                </a:cubicBezTo>
                <a:cubicBezTo>
                  <a:pt x="1074" y="1061"/>
                  <a:pt x="1074" y="1061"/>
                  <a:pt x="1074" y="1061"/>
                </a:cubicBezTo>
                <a:cubicBezTo>
                  <a:pt x="1073" y="1060"/>
                  <a:pt x="1073" y="1060"/>
                  <a:pt x="1073" y="1060"/>
                </a:cubicBezTo>
                <a:cubicBezTo>
                  <a:pt x="1073" y="1060"/>
                  <a:pt x="1073" y="1060"/>
                  <a:pt x="1073" y="1060"/>
                </a:cubicBezTo>
                <a:cubicBezTo>
                  <a:pt x="1072" y="1061"/>
                  <a:pt x="1072" y="1061"/>
                  <a:pt x="1072" y="1061"/>
                </a:cubicBezTo>
                <a:cubicBezTo>
                  <a:pt x="1071" y="1062"/>
                  <a:pt x="1071" y="1062"/>
                  <a:pt x="1071" y="1062"/>
                </a:cubicBezTo>
                <a:cubicBezTo>
                  <a:pt x="1070" y="1063"/>
                  <a:pt x="1070" y="1063"/>
                  <a:pt x="1070" y="1063"/>
                </a:cubicBezTo>
                <a:cubicBezTo>
                  <a:pt x="1070" y="1065"/>
                  <a:pt x="1070" y="1065"/>
                  <a:pt x="1070" y="1065"/>
                </a:cubicBezTo>
                <a:cubicBezTo>
                  <a:pt x="1069" y="1064"/>
                  <a:pt x="1069" y="1064"/>
                  <a:pt x="1069" y="1064"/>
                </a:cubicBezTo>
                <a:cubicBezTo>
                  <a:pt x="1068" y="1062"/>
                  <a:pt x="1068" y="1062"/>
                  <a:pt x="1068" y="1062"/>
                </a:cubicBezTo>
                <a:cubicBezTo>
                  <a:pt x="1067" y="1062"/>
                  <a:pt x="1067" y="1062"/>
                  <a:pt x="1067" y="1062"/>
                </a:cubicBezTo>
                <a:cubicBezTo>
                  <a:pt x="1067" y="1064"/>
                  <a:pt x="1067" y="1064"/>
                  <a:pt x="1067" y="1064"/>
                </a:cubicBezTo>
                <a:cubicBezTo>
                  <a:pt x="1065" y="1068"/>
                  <a:pt x="1065" y="1068"/>
                  <a:pt x="1065" y="1068"/>
                </a:cubicBezTo>
                <a:cubicBezTo>
                  <a:pt x="1065" y="1070"/>
                  <a:pt x="1065" y="1070"/>
                  <a:pt x="1065" y="1070"/>
                </a:cubicBezTo>
                <a:cubicBezTo>
                  <a:pt x="1065" y="1068"/>
                  <a:pt x="1065" y="1068"/>
                  <a:pt x="1065" y="1068"/>
                </a:cubicBezTo>
                <a:cubicBezTo>
                  <a:pt x="1065" y="1065"/>
                  <a:pt x="1065" y="1065"/>
                  <a:pt x="1065" y="1065"/>
                </a:cubicBezTo>
                <a:cubicBezTo>
                  <a:pt x="1065" y="1063"/>
                  <a:pt x="1065" y="1063"/>
                  <a:pt x="1065" y="1063"/>
                </a:cubicBezTo>
                <a:cubicBezTo>
                  <a:pt x="1066" y="1060"/>
                  <a:pt x="1066" y="1060"/>
                  <a:pt x="1066" y="1060"/>
                </a:cubicBezTo>
                <a:cubicBezTo>
                  <a:pt x="1067" y="1059"/>
                  <a:pt x="1067" y="1059"/>
                  <a:pt x="1067" y="1059"/>
                </a:cubicBezTo>
                <a:cubicBezTo>
                  <a:pt x="1066" y="1058"/>
                  <a:pt x="1066" y="1058"/>
                  <a:pt x="1066" y="1058"/>
                </a:cubicBezTo>
                <a:cubicBezTo>
                  <a:pt x="1065" y="1058"/>
                  <a:pt x="1065" y="1058"/>
                  <a:pt x="1065" y="1058"/>
                </a:cubicBezTo>
                <a:cubicBezTo>
                  <a:pt x="1067" y="1056"/>
                  <a:pt x="1067" y="1056"/>
                  <a:pt x="1067" y="1056"/>
                </a:cubicBezTo>
                <a:cubicBezTo>
                  <a:pt x="1064" y="1053"/>
                  <a:pt x="1064" y="1053"/>
                  <a:pt x="1064" y="1053"/>
                </a:cubicBezTo>
                <a:cubicBezTo>
                  <a:pt x="1062" y="1050"/>
                  <a:pt x="1062" y="1050"/>
                  <a:pt x="1062" y="1050"/>
                </a:cubicBezTo>
                <a:cubicBezTo>
                  <a:pt x="1061" y="1050"/>
                  <a:pt x="1061" y="1050"/>
                  <a:pt x="1061" y="1050"/>
                </a:cubicBezTo>
                <a:cubicBezTo>
                  <a:pt x="1059" y="1050"/>
                  <a:pt x="1059" y="1050"/>
                  <a:pt x="1059" y="1050"/>
                </a:cubicBezTo>
                <a:cubicBezTo>
                  <a:pt x="1057" y="1052"/>
                  <a:pt x="1057" y="1052"/>
                  <a:pt x="1057" y="1052"/>
                </a:cubicBezTo>
                <a:cubicBezTo>
                  <a:pt x="1056" y="1052"/>
                  <a:pt x="1056" y="1052"/>
                  <a:pt x="1056" y="1052"/>
                </a:cubicBezTo>
                <a:cubicBezTo>
                  <a:pt x="1055" y="1051"/>
                  <a:pt x="1055" y="1051"/>
                  <a:pt x="1055" y="1051"/>
                </a:cubicBezTo>
                <a:cubicBezTo>
                  <a:pt x="1054" y="1050"/>
                  <a:pt x="1054" y="1050"/>
                  <a:pt x="1054" y="1050"/>
                </a:cubicBezTo>
                <a:cubicBezTo>
                  <a:pt x="1054" y="1049"/>
                  <a:pt x="1054" y="1049"/>
                  <a:pt x="1054" y="1049"/>
                </a:cubicBezTo>
                <a:cubicBezTo>
                  <a:pt x="1053" y="1048"/>
                  <a:pt x="1053" y="1048"/>
                  <a:pt x="1053" y="1048"/>
                </a:cubicBezTo>
                <a:cubicBezTo>
                  <a:pt x="1051" y="1048"/>
                  <a:pt x="1051" y="1048"/>
                  <a:pt x="1051" y="1048"/>
                </a:cubicBezTo>
                <a:cubicBezTo>
                  <a:pt x="1050" y="1047"/>
                  <a:pt x="1050" y="1047"/>
                  <a:pt x="1050" y="1047"/>
                </a:cubicBezTo>
                <a:cubicBezTo>
                  <a:pt x="1049" y="1046"/>
                  <a:pt x="1049" y="1046"/>
                  <a:pt x="1049" y="1046"/>
                </a:cubicBezTo>
                <a:cubicBezTo>
                  <a:pt x="1048" y="1047"/>
                  <a:pt x="1048" y="1047"/>
                  <a:pt x="1048" y="1047"/>
                </a:cubicBezTo>
                <a:cubicBezTo>
                  <a:pt x="1048" y="1047"/>
                  <a:pt x="1048" y="1047"/>
                  <a:pt x="1048" y="1047"/>
                </a:cubicBezTo>
                <a:cubicBezTo>
                  <a:pt x="1047" y="1046"/>
                  <a:pt x="1047" y="1046"/>
                  <a:pt x="1047" y="1046"/>
                </a:cubicBezTo>
                <a:cubicBezTo>
                  <a:pt x="1046" y="1044"/>
                  <a:pt x="1046" y="1044"/>
                  <a:pt x="1046" y="1044"/>
                </a:cubicBezTo>
                <a:cubicBezTo>
                  <a:pt x="1045" y="1045"/>
                  <a:pt x="1045" y="1045"/>
                  <a:pt x="1045" y="1045"/>
                </a:cubicBezTo>
                <a:cubicBezTo>
                  <a:pt x="1043" y="1044"/>
                  <a:pt x="1043" y="1044"/>
                  <a:pt x="1043" y="1044"/>
                </a:cubicBezTo>
                <a:cubicBezTo>
                  <a:pt x="1040" y="1043"/>
                  <a:pt x="1040" y="1043"/>
                  <a:pt x="1040" y="1043"/>
                </a:cubicBezTo>
                <a:cubicBezTo>
                  <a:pt x="1039" y="1042"/>
                  <a:pt x="1039" y="1042"/>
                  <a:pt x="1039" y="1042"/>
                </a:cubicBezTo>
                <a:cubicBezTo>
                  <a:pt x="1038" y="1043"/>
                  <a:pt x="1038" y="1043"/>
                  <a:pt x="1038" y="1043"/>
                </a:cubicBezTo>
                <a:cubicBezTo>
                  <a:pt x="1037" y="1042"/>
                  <a:pt x="1037" y="1042"/>
                  <a:pt x="1037" y="1042"/>
                </a:cubicBezTo>
                <a:cubicBezTo>
                  <a:pt x="1035" y="1042"/>
                  <a:pt x="1035" y="1042"/>
                  <a:pt x="1035" y="1042"/>
                </a:cubicBezTo>
                <a:cubicBezTo>
                  <a:pt x="1035" y="1043"/>
                  <a:pt x="1035" y="1043"/>
                  <a:pt x="1035" y="1043"/>
                </a:cubicBezTo>
                <a:cubicBezTo>
                  <a:pt x="1034" y="1043"/>
                  <a:pt x="1034" y="1043"/>
                  <a:pt x="1034" y="1043"/>
                </a:cubicBezTo>
                <a:cubicBezTo>
                  <a:pt x="1034" y="1042"/>
                  <a:pt x="1034" y="1042"/>
                  <a:pt x="1034" y="1042"/>
                </a:cubicBezTo>
                <a:cubicBezTo>
                  <a:pt x="1031" y="1042"/>
                  <a:pt x="1031" y="1042"/>
                  <a:pt x="1031" y="1042"/>
                </a:cubicBezTo>
                <a:cubicBezTo>
                  <a:pt x="1029" y="1043"/>
                  <a:pt x="1029" y="1043"/>
                  <a:pt x="1029" y="1043"/>
                </a:cubicBezTo>
                <a:cubicBezTo>
                  <a:pt x="1028" y="1045"/>
                  <a:pt x="1028" y="1045"/>
                  <a:pt x="1028" y="1045"/>
                </a:cubicBezTo>
                <a:cubicBezTo>
                  <a:pt x="1028" y="1046"/>
                  <a:pt x="1028" y="1046"/>
                  <a:pt x="1028" y="1046"/>
                </a:cubicBezTo>
                <a:cubicBezTo>
                  <a:pt x="1026" y="1048"/>
                  <a:pt x="1026" y="1048"/>
                  <a:pt x="1026" y="1048"/>
                </a:cubicBezTo>
                <a:cubicBezTo>
                  <a:pt x="1023" y="1050"/>
                  <a:pt x="1023" y="1050"/>
                  <a:pt x="1023" y="1050"/>
                </a:cubicBezTo>
                <a:cubicBezTo>
                  <a:pt x="1020" y="1052"/>
                  <a:pt x="1020" y="1052"/>
                  <a:pt x="1020" y="1052"/>
                </a:cubicBezTo>
                <a:cubicBezTo>
                  <a:pt x="1018" y="1054"/>
                  <a:pt x="1018" y="1054"/>
                  <a:pt x="1018" y="1054"/>
                </a:cubicBezTo>
                <a:cubicBezTo>
                  <a:pt x="1017" y="1057"/>
                  <a:pt x="1017" y="1057"/>
                  <a:pt x="1017" y="1057"/>
                </a:cubicBezTo>
                <a:cubicBezTo>
                  <a:pt x="1016" y="1060"/>
                  <a:pt x="1016" y="1060"/>
                  <a:pt x="1016" y="1060"/>
                </a:cubicBezTo>
                <a:cubicBezTo>
                  <a:pt x="1016" y="1061"/>
                  <a:pt x="1016" y="1061"/>
                  <a:pt x="1016" y="1061"/>
                </a:cubicBezTo>
                <a:cubicBezTo>
                  <a:pt x="1014" y="1063"/>
                  <a:pt x="1014" y="1063"/>
                  <a:pt x="1014" y="1063"/>
                </a:cubicBezTo>
                <a:cubicBezTo>
                  <a:pt x="1014" y="1064"/>
                  <a:pt x="1014" y="1064"/>
                  <a:pt x="1014" y="1064"/>
                </a:cubicBezTo>
                <a:cubicBezTo>
                  <a:pt x="1014" y="1066"/>
                  <a:pt x="1014" y="1066"/>
                  <a:pt x="1014" y="1066"/>
                </a:cubicBezTo>
                <a:cubicBezTo>
                  <a:pt x="1014" y="1070"/>
                  <a:pt x="1014" y="1070"/>
                  <a:pt x="1014" y="1070"/>
                </a:cubicBezTo>
                <a:cubicBezTo>
                  <a:pt x="1013" y="1068"/>
                  <a:pt x="1013" y="1068"/>
                  <a:pt x="1013" y="1068"/>
                </a:cubicBezTo>
                <a:cubicBezTo>
                  <a:pt x="1012" y="1066"/>
                  <a:pt x="1012" y="1066"/>
                  <a:pt x="1012" y="1066"/>
                </a:cubicBezTo>
                <a:cubicBezTo>
                  <a:pt x="1012" y="1064"/>
                  <a:pt x="1012" y="1064"/>
                  <a:pt x="1012" y="1064"/>
                </a:cubicBezTo>
                <a:cubicBezTo>
                  <a:pt x="1013" y="1062"/>
                  <a:pt x="1013" y="1062"/>
                  <a:pt x="1013" y="1062"/>
                </a:cubicBezTo>
                <a:cubicBezTo>
                  <a:pt x="1015" y="1061"/>
                  <a:pt x="1015" y="1061"/>
                  <a:pt x="1015" y="1061"/>
                </a:cubicBezTo>
                <a:cubicBezTo>
                  <a:pt x="1015" y="1058"/>
                  <a:pt x="1015" y="1058"/>
                  <a:pt x="1015" y="1058"/>
                </a:cubicBezTo>
                <a:cubicBezTo>
                  <a:pt x="1016" y="1056"/>
                  <a:pt x="1016" y="1056"/>
                  <a:pt x="1016" y="1056"/>
                </a:cubicBezTo>
                <a:cubicBezTo>
                  <a:pt x="1015" y="1055"/>
                  <a:pt x="1015" y="1055"/>
                  <a:pt x="1015" y="1055"/>
                </a:cubicBezTo>
                <a:cubicBezTo>
                  <a:pt x="1014" y="1055"/>
                  <a:pt x="1014" y="1055"/>
                  <a:pt x="1014" y="1055"/>
                </a:cubicBezTo>
                <a:cubicBezTo>
                  <a:pt x="1012" y="1055"/>
                  <a:pt x="1012" y="1055"/>
                  <a:pt x="1012" y="1055"/>
                </a:cubicBezTo>
                <a:cubicBezTo>
                  <a:pt x="1009" y="1055"/>
                  <a:pt x="1009" y="1055"/>
                  <a:pt x="1009" y="1055"/>
                </a:cubicBezTo>
                <a:cubicBezTo>
                  <a:pt x="1007" y="1055"/>
                  <a:pt x="1007" y="1055"/>
                  <a:pt x="1007" y="1055"/>
                </a:cubicBezTo>
                <a:cubicBezTo>
                  <a:pt x="1005" y="1055"/>
                  <a:pt x="1005" y="1055"/>
                  <a:pt x="1005" y="1055"/>
                </a:cubicBezTo>
                <a:cubicBezTo>
                  <a:pt x="1004" y="1054"/>
                  <a:pt x="1004" y="1054"/>
                  <a:pt x="1004" y="1054"/>
                </a:cubicBezTo>
                <a:cubicBezTo>
                  <a:pt x="1005" y="1054"/>
                  <a:pt x="1005" y="1054"/>
                  <a:pt x="1005" y="1054"/>
                </a:cubicBezTo>
                <a:cubicBezTo>
                  <a:pt x="1007" y="1053"/>
                  <a:pt x="1007" y="1053"/>
                  <a:pt x="1007" y="1053"/>
                </a:cubicBezTo>
                <a:cubicBezTo>
                  <a:pt x="1009" y="1053"/>
                  <a:pt x="1009" y="1053"/>
                  <a:pt x="1009" y="1053"/>
                </a:cubicBezTo>
                <a:cubicBezTo>
                  <a:pt x="1012" y="1053"/>
                  <a:pt x="1012" y="1053"/>
                  <a:pt x="1012" y="1053"/>
                </a:cubicBezTo>
                <a:cubicBezTo>
                  <a:pt x="1014" y="1053"/>
                  <a:pt x="1014" y="1053"/>
                  <a:pt x="1014" y="1053"/>
                </a:cubicBezTo>
                <a:cubicBezTo>
                  <a:pt x="1015" y="1051"/>
                  <a:pt x="1015" y="1051"/>
                  <a:pt x="1015" y="1051"/>
                </a:cubicBezTo>
                <a:cubicBezTo>
                  <a:pt x="1016" y="1051"/>
                  <a:pt x="1016" y="1051"/>
                  <a:pt x="1016" y="1051"/>
                </a:cubicBezTo>
                <a:cubicBezTo>
                  <a:pt x="1017" y="1051"/>
                  <a:pt x="1017" y="1051"/>
                  <a:pt x="1017" y="1051"/>
                </a:cubicBezTo>
                <a:cubicBezTo>
                  <a:pt x="1018" y="1051"/>
                  <a:pt x="1018" y="1051"/>
                  <a:pt x="1018" y="1051"/>
                </a:cubicBezTo>
                <a:cubicBezTo>
                  <a:pt x="1020" y="1050"/>
                  <a:pt x="1020" y="1050"/>
                  <a:pt x="1020" y="1050"/>
                </a:cubicBezTo>
                <a:cubicBezTo>
                  <a:pt x="1023" y="1049"/>
                  <a:pt x="1023" y="1049"/>
                  <a:pt x="1023" y="1049"/>
                </a:cubicBezTo>
                <a:cubicBezTo>
                  <a:pt x="1023" y="1047"/>
                  <a:pt x="1023" y="1047"/>
                  <a:pt x="1023" y="1047"/>
                </a:cubicBezTo>
                <a:cubicBezTo>
                  <a:pt x="1025" y="1044"/>
                  <a:pt x="1025" y="1044"/>
                  <a:pt x="1025" y="1044"/>
                </a:cubicBezTo>
                <a:cubicBezTo>
                  <a:pt x="1025" y="1041"/>
                  <a:pt x="1025" y="1041"/>
                  <a:pt x="1025" y="1041"/>
                </a:cubicBezTo>
                <a:cubicBezTo>
                  <a:pt x="1026" y="1040"/>
                  <a:pt x="1026" y="1040"/>
                  <a:pt x="1026" y="1040"/>
                </a:cubicBezTo>
                <a:cubicBezTo>
                  <a:pt x="1026" y="1038"/>
                  <a:pt x="1026" y="1038"/>
                  <a:pt x="1026" y="1038"/>
                </a:cubicBezTo>
                <a:cubicBezTo>
                  <a:pt x="1024" y="1038"/>
                  <a:pt x="1024" y="1038"/>
                  <a:pt x="1024" y="1038"/>
                </a:cubicBezTo>
                <a:cubicBezTo>
                  <a:pt x="1021" y="1036"/>
                  <a:pt x="1021" y="1036"/>
                  <a:pt x="1021" y="1036"/>
                </a:cubicBezTo>
                <a:cubicBezTo>
                  <a:pt x="1019" y="1036"/>
                  <a:pt x="1019" y="1036"/>
                  <a:pt x="1019" y="1036"/>
                </a:cubicBezTo>
                <a:cubicBezTo>
                  <a:pt x="1016" y="1038"/>
                  <a:pt x="1016" y="1038"/>
                  <a:pt x="1016" y="1038"/>
                </a:cubicBezTo>
                <a:cubicBezTo>
                  <a:pt x="1014" y="1038"/>
                  <a:pt x="1014" y="1038"/>
                  <a:pt x="1014" y="1038"/>
                </a:cubicBezTo>
                <a:cubicBezTo>
                  <a:pt x="1010" y="1036"/>
                  <a:pt x="1010" y="1036"/>
                  <a:pt x="1010" y="1036"/>
                </a:cubicBezTo>
                <a:cubicBezTo>
                  <a:pt x="1007" y="1036"/>
                  <a:pt x="1007" y="1036"/>
                  <a:pt x="1007" y="1036"/>
                </a:cubicBezTo>
                <a:cubicBezTo>
                  <a:pt x="1004" y="1039"/>
                  <a:pt x="1004" y="1039"/>
                  <a:pt x="1004" y="1039"/>
                </a:cubicBezTo>
                <a:cubicBezTo>
                  <a:pt x="1004" y="1040"/>
                  <a:pt x="1004" y="1040"/>
                  <a:pt x="1004" y="1040"/>
                </a:cubicBezTo>
                <a:cubicBezTo>
                  <a:pt x="1005" y="1041"/>
                  <a:pt x="1005" y="1041"/>
                  <a:pt x="1005" y="1041"/>
                </a:cubicBezTo>
                <a:cubicBezTo>
                  <a:pt x="1006" y="1042"/>
                  <a:pt x="1006" y="1042"/>
                  <a:pt x="1006" y="1042"/>
                </a:cubicBezTo>
                <a:cubicBezTo>
                  <a:pt x="1004" y="1042"/>
                  <a:pt x="1004" y="1042"/>
                  <a:pt x="1004" y="1042"/>
                </a:cubicBezTo>
                <a:cubicBezTo>
                  <a:pt x="1003" y="1042"/>
                  <a:pt x="1003" y="1042"/>
                  <a:pt x="1003" y="1042"/>
                </a:cubicBezTo>
                <a:cubicBezTo>
                  <a:pt x="1003" y="1044"/>
                  <a:pt x="1003" y="1044"/>
                  <a:pt x="1003" y="1044"/>
                </a:cubicBezTo>
                <a:cubicBezTo>
                  <a:pt x="1002" y="1043"/>
                  <a:pt x="1002" y="1043"/>
                  <a:pt x="1002" y="1043"/>
                </a:cubicBezTo>
                <a:cubicBezTo>
                  <a:pt x="1001" y="1042"/>
                  <a:pt x="1001" y="1042"/>
                  <a:pt x="1001" y="1042"/>
                </a:cubicBezTo>
                <a:cubicBezTo>
                  <a:pt x="999" y="1043"/>
                  <a:pt x="999" y="1043"/>
                  <a:pt x="999" y="1043"/>
                </a:cubicBezTo>
                <a:cubicBezTo>
                  <a:pt x="997" y="1046"/>
                  <a:pt x="997" y="1046"/>
                  <a:pt x="997" y="1046"/>
                </a:cubicBezTo>
                <a:cubicBezTo>
                  <a:pt x="994" y="1050"/>
                  <a:pt x="994" y="1050"/>
                  <a:pt x="994" y="1050"/>
                </a:cubicBezTo>
                <a:cubicBezTo>
                  <a:pt x="996" y="1047"/>
                  <a:pt x="996" y="1047"/>
                  <a:pt x="996" y="1047"/>
                </a:cubicBezTo>
                <a:cubicBezTo>
                  <a:pt x="996" y="1045"/>
                  <a:pt x="996" y="1045"/>
                  <a:pt x="996" y="1045"/>
                </a:cubicBezTo>
                <a:cubicBezTo>
                  <a:pt x="996" y="1043"/>
                  <a:pt x="996" y="1043"/>
                  <a:pt x="996" y="1043"/>
                </a:cubicBezTo>
                <a:cubicBezTo>
                  <a:pt x="997" y="1042"/>
                  <a:pt x="997" y="1042"/>
                  <a:pt x="997" y="1042"/>
                </a:cubicBezTo>
                <a:cubicBezTo>
                  <a:pt x="996" y="1042"/>
                  <a:pt x="996" y="1042"/>
                  <a:pt x="996" y="1042"/>
                </a:cubicBezTo>
                <a:cubicBezTo>
                  <a:pt x="993" y="1044"/>
                  <a:pt x="993" y="1044"/>
                  <a:pt x="993" y="1044"/>
                </a:cubicBezTo>
                <a:cubicBezTo>
                  <a:pt x="992" y="1046"/>
                  <a:pt x="992" y="1046"/>
                  <a:pt x="992" y="1046"/>
                </a:cubicBezTo>
                <a:cubicBezTo>
                  <a:pt x="991" y="1049"/>
                  <a:pt x="991" y="1049"/>
                  <a:pt x="991" y="1049"/>
                </a:cubicBezTo>
                <a:cubicBezTo>
                  <a:pt x="990" y="1050"/>
                  <a:pt x="990" y="1050"/>
                  <a:pt x="990" y="1050"/>
                </a:cubicBezTo>
                <a:cubicBezTo>
                  <a:pt x="991" y="1047"/>
                  <a:pt x="991" y="1047"/>
                  <a:pt x="991" y="1047"/>
                </a:cubicBezTo>
                <a:cubicBezTo>
                  <a:pt x="992" y="1044"/>
                  <a:pt x="992" y="1044"/>
                  <a:pt x="992" y="1044"/>
                </a:cubicBezTo>
                <a:cubicBezTo>
                  <a:pt x="995" y="1040"/>
                  <a:pt x="995" y="1040"/>
                  <a:pt x="995" y="1040"/>
                </a:cubicBezTo>
                <a:cubicBezTo>
                  <a:pt x="996" y="1037"/>
                  <a:pt x="996" y="1037"/>
                  <a:pt x="996" y="1037"/>
                </a:cubicBezTo>
                <a:cubicBezTo>
                  <a:pt x="997" y="1035"/>
                  <a:pt x="997" y="1035"/>
                  <a:pt x="997" y="1035"/>
                </a:cubicBezTo>
                <a:cubicBezTo>
                  <a:pt x="999" y="1034"/>
                  <a:pt x="999" y="1034"/>
                  <a:pt x="999" y="1034"/>
                </a:cubicBezTo>
                <a:cubicBezTo>
                  <a:pt x="1002" y="1032"/>
                  <a:pt x="1002" y="1032"/>
                  <a:pt x="1002" y="1032"/>
                </a:cubicBezTo>
                <a:cubicBezTo>
                  <a:pt x="1003" y="1032"/>
                  <a:pt x="1003" y="1032"/>
                  <a:pt x="1003" y="1032"/>
                </a:cubicBezTo>
                <a:cubicBezTo>
                  <a:pt x="1005" y="1029"/>
                  <a:pt x="1005" y="1029"/>
                  <a:pt x="1005" y="1029"/>
                </a:cubicBezTo>
                <a:cubicBezTo>
                  <a:pt x="1010" y="1024"/>
                  <a:pt x="1010" y="1024"/>
                  <a:pt x="1010" y="1024"/>
                </a:cubicBezTo>
                <a:cubicBezTo>
                  <a:pt x="1010" y="1023"/>
                  <a:pt x="1010" y="1023"/>
                  <a:pt x="1010" y="1023"/>
                </a:cubicBezTo>
                <a:cubicBezTo>
                  <a:pt x="1011" y="1022"/>
                  <a:pt x="1011" y="1022"/>
                  <a:pt x="1011" y="1022"/>
                </a:cubicBezTo>
                <a:cubicBezTo>
                  <a:pt x="1010" y="1021"/>
                  <a:pt x="1010" y="1021"/>
                  <a:pt x="1010" y="1021"/>
                </a:cubicBezTo>
                <a:cubicBezTo>
                  <a:pt x="1010" y="1019"/>
                  <a:pt x="1010" y="1019"/>
                  <a:pt x="1010" y="1019"/>
                </a:cubicBezTo>
                <a:cubicBezTo>
                  <a:pt x="1011" y="1019"/>
                  <a:pt x="1011" y="1019"/>
                  <a:pt x="1011" y="1019"/>
                </a:cubicBezTo>
                <a:cubicBezTo>
                  <a:pt x="1011" y="1017"/>
                  <a:pt x="1011" y="1017"/>
                  <a:pt x="1011" y="1017"/>
                </a:cubicBezTo>
                <a:cubicBezTo>
                  <a:pt x="1009" y="1016"/>
                  <a:pt x="1009" y="1016"/>
                  <a:pt x="1009" y="1016"/>
                </a:cubicBezTo>
                <a:cubicBezTo>
                  <a:pt x="1007" y="1016"/>
                  <a:pt x="1007" y="1016"/>
                  <a:pt x="1007" y="1016"/>
                </a:cubicBezTo>
                <a:cubicBezTo>
                  <a:pt x="1006" y="1016"/>
                  <a:pt x="1006" y="1016"/>
                  <a:pt x="1006" y="1016"/>
                </a:cubicBezTo>
                <a:cubicBezTo>
                  <a:pt x="1005" y="1015"/>
                  <a:pt x="1005" y="1015"/>
                  <a:pt x="1005" y="1015"/>
                </a:cubicBezTo>
                <a:cubicBezTo>
                  <a:pt x="1004" y="1011"/>
                  <a:pt x="1004" y="1011"/>
                  <a:pt x="1004" y="1011"/>
                </a:cubicBezTo>
                <a:cubicBezTo>
                  <a:pt x="1002" y="1005"/>
                  <a:pt x="1002" y="1005"/>
                  <a:pt x="1002" y="1005"/>
                </a:cubicBezTo>
                <a:cubicBezTo>
                  <a:pt x="1000" y="1002"/>
                  <a:pt x="1000" y="1002"/>
                  <a:pt x="1000" y="1002"/>
                </a:cubicBezTo>
                <a:cubicBezTo>
                  <a:pt x="998" y="999"/>
                  <a:pt x="998" y="999"/>
                  <a:pt x="998" y="999"/>
                </a:cubicBezTo>
                <a:cubicBezTo>
                  <a:pt x="998" y="997"/>
                  <a:pt x="998" y="997"/>
                  <a:pt x="998" y="997"/>
                </a:cubicBezTo>
                <a:cubicBezTo>
                  <a:pt x="998" y="994"/>
                  <a:pt x="998" y="994"/>
                  <a:pt x="998" y="994"/>
                </a:cubicBezTo>
                <a:cubicBezTo>
                  <a:pt x="997" y="994"/>
                  <a:pt x="997" y="994"/>
                  <a:pt x="997" y="994"/>
                </a:cubicBezTo>
                <a:cubicBezTo>
                  <a:pt x="997" y="992"/>
                  <a:pt x="997" y="992"/>
                  <a:pt x="997" y="992"/>
                </a:cubicBezTo>
                <a:cubicBezTo>
                  <a:pt x="995" y="989"/>
                  <a:pt x="995" y="989"/>
                  <a:pt x="995" y="989"/>
                </a:cubicBezTo>
                <a:cubicBezTo>
                  <a:pt x="995" y="990"/>
                  <a:pt x="995" y="990"/>
                  <a:pt x="995" y="990"/>
                </a:cubicBezTo>
                <a:cubicBezTo>
                  <a:pt x="995" y="991"/>
                  <a:pt x="995" y="991"/>
                  <a:pt x="995" y="991"/>
                </a:cubicBezTo>
                <a:cubicBezTo>
                  <a:pt x="994" y="992"/>
                  <a:pt x="994" y="992"/>
                  <a:pt x="994" y="992"/>
                </a:cubicBezTo>
                <a:cubicBezTo>
                  <a:pt x="992" y="994"/>
                  <a:pt x="992" y="994"/>
                  <a:pt x="992" y="994"/>
                </a:cubicBezTo>
                <a:cubicBezTo>
                  <a:pt x="992" y="994"/>
                  <a:pt x="992" y="994"/>
                  <a:pt x="992" y="994"/>
                </a:cubicBezTo>
                <a:cubicBezTo>
                  <a:pt x="994" y="992"/>
                  <a:pt x="994" y="992"/>
                  <a:pt x="994" y="992"/>
                </a:cubicBezTo>
                <a:cubicBezTo>
                  <a:pt x="994" y="989"/>
                  <a:pt x="994" y="989"/>
                  <a:pt x="994" y="989"/>
                </a:cubicBezTo>
                <a:cubicBezTo>
                  <a:pt x="992" y="987"/>
                  <a:pt x="992" y="987"/>
                  <a:pt x="992" y="987"/>
                </a:cubicBezTo>
                <a:cubicBezTo>
                  <a:pt x="991" y="988"/>
                  <a:pt x="991" y="988"/>
                  <a:pt x="991" y="988"/>
                </a:cubicBezTo>
                <a:cubicBezTo>
                  <a:pt x="990" y="987"/>
                  <a:pt x="990" y="987"/>
                  <a:pt x="990" y="987"/>
                </a:cubicBezTo>
                <a:cubicBezTo>
                  <a:pt x="989" y="985"/>
                  <a:pt x="989" y="985"/>
                  <a:pt x="989" y="985"/>
                </a:cubicBezTo>
                <a:cubicBezTo>
                  <a:pt x="986" y="981"/>
                  <a:pt x="986" y="981"/>
                  <a:pt x="986" y="981"/>
                </a:cubicBezTo>
                <a:cubicBezTo>
                  <a:pt x="985" y="981"/>
                  <a:pt x="985" y="981"/>
                  <a:pt x="985" y="981"/>
                </a:cubicBezTo>
                <a:cubicBezTo>
                  <a:pt x="983" y="979"/>
                  <a:pt x="983" y="979"/>
                  <a:pt x="983" y="979"/>
                </a:cubicBezTo>
                <a:cubicBezTo>
                  <a:pt x="977" y="977"/>
                  <a:pt x="977" y="977"/>
                  <a:pt x="977" y="977"/>
                </a:cubicBezTo>
                <a:cubicBezTo>
                  <a:pt x="974" y="976"/>
                  <a:pt x="974" y="976"/>
                  <a:pt x="974" y="976"/>
                </a:cubicBezTo>
                <a:cubicBezTo>
                  <a:pt x="971" y="976"/>
                  <a:pt x="971" y="976"/>
                  <a:pt x="971" y="976"/>
                </a:cubicBezTo>
                <a:cubicBezTo>
                  <a:pt x="970" y="977"/>
                  <a:pt x="970" y="977"/>
                  <a:pt x="970" y="977"/>
                </a:cubicBezTo>
                <a:cubicBezTo>
                  <a:pt x="968" y="978"/>
                  <a:pt x="968" y="978"/>
                  <a:pt x="968" y="978"/>
                </a:cubicBezTo>
                <a:cubicBezTo>
                  <a:pt x="968" y="978"/>
                  <a:pt x="968" y="978"/>
                  <a:pt x="968" y="978"/>
                </a:cubicBezTo>
                <a:cubicBezTo>
                  <a:pt x="970" y="976"/>
                  <a:pt x="970" y="976"/>
                  <a:pt x="970" y="976"/>
                </a:cubicBezTo>
                <a:cubicBezTo>
                  <a:pt x="970" y="974"/>
                  <a:pt x="970" y="974"/>
                  <a:pt x="970" y="974"/>
                </a:cubicBezTo>
                <a:cubicBezTo>
                  <a:pt x="967" y="973"/>
                  <a:pt x="967" y="973"/>
                  <a:pt x="967" y="973"/>
                </a:cubicBezTo>
                <a:cubicBezTo>
                  <a:pt x="964" y="973"/>
                  <a:pt x="964" y="973"/>
                  <a:pt x="964" y="973"/>
                </a:cubicBezTo>
                <a:cubicBezTo>
                  <a:pt x="960" y="971"/>
                  <a:pt x="960" y="971"/>
                  <a:pt x="960" y="971"/>
                </a:cubicBezTo>
                <a:cubicBezTo>
                  <a:pt x="959" y="971"/>
                  <a:pt x="959" y="971"/>
                  <a:pt x="959" y="971"/>
                </a:cubicBezTo>
                <a:cubicBezTo>
                  <a:pt x="957" y="972"/>
                  <a:pt x="957" y="972"/>
                  <a:pt x="957" y="972"/>
                </a:cubicBezTo>
                <a:cubicBezTo>
                  <a:pt x="954" y="972"/>
                  <a:pt x="954" y="972"/>
                  <a:pt x="954" y="972"/>
                </a:cubicBezTo>
                <a:cubicBezTo>
                  <a:pt x="950" y="973"/>
                  <a:pt x="950" y="973"/>
                  <a:pt x="950" y="973"/>
                </a:cubicBezTo>
                <a:cubicBezTo>
                  <a:pt x="946" y="972"/>
                  <a:pt x="946" y="972"/>
                  <a:pt x="946" y="972"/>
                </a:cubicBezTo>
                <a:cubicBezTo>
                  <a:pt x="942" y="972"/>
                  <a:pt x="942" y="972"/>
                  <a:pt x="942" y="972"/>
                </a:cubicBezTo>
                <a:cubicBezTo>
                  <a:pt x="939" y="973"/>
                  <a:pt x="939" y="973"/>
                  <a:pt x="939" y="973"/>
                </a:cubicBezTo>
                <a:cubicBezTo>
                  <a:pt x="939" y="975"/>
                  <a:pt x="939" y="975"/>
                  <a:pt x="939" y="975"/>
                </a:cubicBezTo>
                <a:cubicBezTo>
                  <a:pt x="939" y="975"/>
                  <a:pt x="939" y="975"/>
                  <a:pt x="939" y="975"/>
                </a:cubicBezTo>
                <a:cubicBezTo>
                  <a:pt x="938" y="973"/>
                  <a:pt x="938" y="973"/>
                  <a:pt x="938" y="973"/>
                </a:cubicBezTo>
                <a:cubicBezTo>
                  <a:pt x="938" y="970"/>
                  <a:pt x="938" y="970"/>
                  <a:pt x="938" y="970"/>
                </a:cubicBezTo>
                <a:cubicBezTo>
                  <a:pt x="938" y="969"/>
                  <a:pt x="938" y="969"/>
                  <a:pt x="938" y="969"/>
                </a:cubicBezTo>
                <a:cubicBezTo>
                  <a:pt x="934" y="968"/>
                  <a:pt x="934" y="968"/>
                  <a:pt x="934" y="968"/>
                </a:cubicBezTo>
                <a:cubicBezTo>
                  <a:pt x="931" y="964"/>
                  <a:pt x="931" y="964"/>
                  <a:pt x="931" y="964"/>
                </a:cubicBezTo>
                <a:cubicBezTo>
                  <a:pt x="929" y="963"/>
                  <a:pt x="929" y="963"/>
                  <a:pt x="929" y="963"/>
                </a:cubicBezTo>
                <a:cubicBezTo>
                  <a:pt x="928" y="964"/>
                  <a:pt x="928" y="964"/>
                  <a:pt x="928" y="964"/>
                </a:cubicBezTo>
                <a:cubicBezTo>
                  <a:pt x="925" y="964"/>
                  <a:pt x="925" y="964"/>
                  <a:pt x="925" y="964"/>
                </a:cubicBezTo>
                <a:cubicBezTo>
                  <a:pt x="924" y="966"/>
                  <a:pt x="924" y="966"/>
                  <a:pt x="924" y="966"/>
                </a:cubicBezTo>
                <a:cubicBezTo>
                  <a:pt x="924" y="968"/>
                  <a:pt x="924" y="968"/>
                  <a:pt x="924" y="968"/>
                </a:cubicBezTo>
                <a:cubicBezTo>
                  <a:pt x="923" y="965"/>
                  <a:pt x="923" y="965"/>
                  <a:pt x="923" y="965"/>
                </a:cubicBezTo>
                <a:cubicBezTo>
                  <a:pt x="924" y="962"/>
                  <a:pt x="924" y="962"/>
                  <a:pt x="924" y="962"/>
                </a:cubicBezTo>
                <a:cubicBezTo>
                  <a:pt x="924" y="960"/>
                  <a:pt x="924" y="960"/>
                  <a:pt x="924" y="960"/>
                </a:cubicBezTo>
                <a:cubicBezTo>
                  <a:pt x="923" y="957"/>
                  <a:pt x="923" y="957"/>
                  <a:pt x="923" y="957"/>
                </a:cubicBezTo>
                <a:cubicBezTo>
                  <a:pt x="922" y="956"/>
                  <a:pt x="922" y="956"/>
                  <a:pt x="922" y="956"/>
                </a:cubicBezTo>
                <a:cubicBezTo>
                  <a:pt x="918" y="953"/>
                  <a:pt x="918" y="953"/>
                  <a:pt x="918" y="953"/>
                </a:cubicBezTo>
                <a:cubicBezTo>
                  <a:pt x="915" y="950"/>
                  <a:pt x="915" y="950"/>
                  <a:pt x="915" y="950"/>
                </a:cubicBezTo>
                <a:cubicBezTo>
                  <a:pt x="915" y="949"/>
                  <a:pt x="915" y="949"/>
                  <a:pt x="915" y="949"/>
                </a:cubicBezTo>
                <a:cubicBezTo>
                  <a:pt x="913" y="947"/>
                  <a:pt x="913" y="947"/>
                  <a:pt x="913" y="947"/>
                </a:cubicBezTo>
                <a:cubicBezTo>
                  <a:pt x="911" y="947"/>
                  <a:pt x="911" y="947"/>
                  <a:pt x="911" y="947"/>
                </a:cubicBezTo>
                <a:cubicBezTo>
                  <a:pt x="911" y="946"/>
                  <a:pt x="911" y="946"/>
                  <a:pt x="911" y="946"/>
                </a:cubicBezTo>
                <a:cubicBezTo>
                  <a:pt x="910" y="946"/>
                  <a:pt x="910" y="946"/>
                  <a:pt x="910" y="946"/>
                </a:cubicBezTo>
                <a:cubicBezTo>
                  <a:pt x="906" y="944"/>
                  <a:pt x="906" y="944"/>
                  <a:pt x="906" y="944"/>
                </a:cubicBezTo>
                <a:cubicBezTo>
                  <a:pt x="905" y="944"/>
                  <a:pt x="905" y="944"/>
                  <a:pt x="905" y="944"/>
                </a:cubicBezTo>
                <a:cubicBezTo>
                  <a:pt x="903" y="945"/>
                  <a:pt x="903" y="945"/>
                  <a:pt x="903" y="945"/>
                </a:cubicBezTo>
                <a:cubicBezTo>
                  <a:pt x="901" y="944"/>
                  <a:pt x="901" y="944"/>
                  <a:pt x="901" y="944"/>
                </a:cubicBezTo>
                <a:cubicBezTo>
                  <a:pt x="900" y="944"/>
                  <a:pt x="900" y="944"/>
                  <a:pt x="900" y="944"/>
                </a:cubicBezTo>
                <a:cubicBezTo>
                  <a:pt x="899" y="945"/>
                  <a:pt x="899" y="945"/>
                  <a:pt x="899" y="945"/>
                </a:cubicBezTo>
                <a:cubicBezTo>
                  <a:pt x="895" y="945"/>
                  <a:pt x="895" y="945"/>
                  <a:pt x="895" y="945"/>
                </a:cubicBezTo>
                <a:cubicBezTo>
                  <a:pt x="893" y="945"/>
                  <a:pt x="893" y="945"/>
                  <a:pt x="893" y="945"/>
                </a:cubicBezTo>
                <a:cubicBezTo>
                  <a:pt x="892" y="945"/>
                  <a:pt x="892" y="945"/>
                  <a:pt x="892" y="945"/>
                </a:cubicBezTo>
                <a:cubicBezTo>
                  <a:pt x="894" y="945"/>
                  <a:pt x="894" y="945"/>
                  <a:pt x="894" y="945"/>
                </a:cubicBezTo>
                <a:cubicBezTo>
                  <a:pt x="895" y="945"/>
                  <a:pt x="895" y="945"/>
                  <a:pt x="895" y="945"/>
                </a:cubicBezTo>
                <a:cubicBezTo>
                  <a:pt x="897" y="944"/>
                  <a:pt x="897" y="944"/>
                  <a:pt x="897" y="944"/>
                </a:cubicBezTo>
                <a:cubicBezTo>
                  <a:pt x="897" y="942"/>
                  <a:pt x="897" y="942"/>
                  <a:pt x="897" y="942"/>
                </a:cubicBezTo>
                <a:cubicBezTo>
                  <a:pt x="900" y="941"/>
                  <a:pt x="900" y="941"/>
                  <a:pt x="900" y="941"/>
                </a:cubicBezTo>
                <a:cubicBezTo>
                  <a:pt x="900" y="940"/>
                  <a:pt x="900" y="940"/>
                  <a:pt x="900" y="940"/>
                </a:cubicBezTo>
                <a:cubicBezTo>
                  <a:pt x="899" y="939"/>
                  <a:pt x="899" y="939"/>
                  <a:pt x="899" y="939"/>
                </a:cubicBezTo>
                <a:cubicBezTo>
                  <a:pt x="899" y="938"/>
                  <a:pt x="899" y="938"/>
                  <a:pt x="899" y="938"/>
                </a:cubicBezTo>
                <a:cubicBezTo>
                  <a:pt x="898" y="936"/>
                  <a:pt x="898" y="936"/>
                  <a:pt x="898" y="936"/>
                </a:cubicBezTo>
                <a:cubicBezTo>
                  <a:pt x="895" y="935"/>
                  <a:pt x="895" y="935"/>
                  <a:pt x="895" y="935"/>
                </a:cubicBezTo>
                <a:cubicBezTo>
                  <a:pt x="892" y="934"/>
                  <a:pt x="892" y="934"/>
                  <a:pt x="892" y="934"/>
                </a:cubicBezTo>
                <a:cubicBezTo>
                  <a:pt x="891" y="933"/>
                  <a:pt x="891" y="933"/>
                  <a:pt x="891" y="933"/>
                </a:cubicBezTo>
                <a:cubicBezTo>
                  <a:pt x="890" y="932"/>
                  <a:pt x="890" y="932"/>
                  <a:pt x="890" y="932"/>
                </a:cubicBezTo>
                <a:cubicBezTo>
                  <a:pt x="888" y="932"/>
                  <a:pt x="888" y="932"/>
                  <a:pt x="888" y="932"/>
                </a:cubicBezTo>
                <a:cubicBezTo>
                  <a:pt x="887" y="931"/>
                  <a:pt x="887" y="931"/>
                  <a:pt x="887" y="931"/>
                </a:cubicBezTo>
                <a:cubicBezTo>
                  <a:pt x="885" y="930"/>
                  <a:pt x="885" y="930"/>
                  <a:pt x="885" y="930"/>
                </a:cubicBezTo>
                <a:cubicBezTo>
                  <a:pt x="884" y="930"/>
                  <a:pt x="884" y="930"/>
                  <a:pt x="884" y="930"/>
                </a:cubicBezTo>
                <a:cubicBezTo>
                  <a:pt x="884" y="932"/>
                  <a:pt x="884" y="932"/>
                  <a:pt x="884" y="932"/>
                </a:cubicBezTo>
                <a:cubicBezTo>
                  <a:pt x="883" y="930"/>
                  <a:pt x="883" y="930"/>
                  <a:pt x="883" y="930"/>
                </a:cubicBezTo>
                <a:cubicBezTo>
                  <a:pt x="882" y="928"/>
                  <a:pt x="882" y="928"/>
                  <a:pt x="882" y="928"/>
                </a:cubicBezTo>
                <a:cubicBezTo>
                  <a:pt x="880" y="927"/>
                  <a:pt x="880" y="927"/>
                  <a:pt x="880" y="927"/>
                </a:cubicBezTo>
                <a:cubicBezTo>
                  <a:pt x="879" y="926"/>
                  <a:pt x="879" y="926"/>
                  <a:pt x="879" y="926"/>
                </a:cubicBezTo>
                <a:cubicBezTo>
                  <a:pt x="880" y="925"/>
                  <a:pt x="880" y="925"/>
                  <a:pt x="880" y="925"/>
                </a:cubicBezTo>
                <a:cubicBezTo>
                  <a:pt x="885" y="926"/>
                  <a:pt x="885" y="926"/>
                  <a:pt x="885" y="926"/>
                </a:cubicBezTo>
                <a:cubicBezTo>
                  <a:pt x="887" y="924"/>
                  <a:pt x="887" y="924"/>
                  <a:pt x="887" y="924"/>
                </a:cubicBezTo>
                <a:cubicBezTo>
                  <a:pt x="889" y="924"/>
                  <a:pt x="889" y="924"/>
                  <a:pt x="889" y="924"/>
                </a:cubicBezTo>
                <a:cubicBezTo>
                  <a:pt x="890" y="923"/>
                  <a:pt x="890" y="923"/>
                  <a:pt x="890" y="923"/>
                </a:cubicBezTo>
                <a:cubicBezTo>
                  <a:pt x="887" y="923"/>
                  <a:pt x="887" y="923"/>
                  <a:pt x="887" y="923"/>
                </a:cubicBezTo>
                <a:cubicBezTo>
                  <a:pt x="883" y="922"/>
                  <a:pt x="883" y="922"/>
                  <a:pt x="883" y="922"/>
                </a:cubicBezTo>
                <a:cubicBezTo>
                  <a:pt x="879" y="923"/>
                  <a:pt x="879" y="923"/>
                  <a:pt x="879" y="923"/>
                </a:cubicBezTo>
                <a:cubicBezTo>
                  <a:pt x="877" y="922"/>
                  <a:pt x="877" y="922"/>
                  <a:pt x="877" y="922"/>
                </a:cubicBezTo>
                <a:cubicBezTo>
                  <a:pt x="873" y="924"/>
                  <a:pt x="873" y="924"/>
                  <a:pt x="873" y="924"/>
                </a:cubicBezTo>
                <a:cubicBezTo>
                  <a:pt x="871" y="923"/>
                  <a:pt x="871" y="923"/>
                  <a:pt x="871" y="923"/>
                </a:cubicBezTo>
                <a:cubicBezTo>
                  <a:pt x="869" y="924"/>
                  <a:pt x="869" y="924"/>
                  <a:pt x="869" y="924"/>
                </a:cubicBezTo>
                <a:cubicBezTo>
                  <a:pt x="866" y="926"/>
                  <a:pt x="866" y="926"/>
                  <a:pt x="866" y="926"/>
                </a:cubicBezTo>
                <a:cubicBezTo>
                  <a:pt x="864" y="927"/>
                  <a:pt x="864" y="927"/>
                  <a:pt x="864" y="927"/>
                </a:cubicBezTo>
                <a:cubicBezTo>
                  <a:pt x="861" y="928"/>
                  <a:pt x="861" y="928"/>
                  <a:pt x="861" y="928"/>
                </a:cubicBezTo>
                <a:cubicBezTo>
                  <a:pt x="861" y="929"/>
                  <a:pt x="861" y="929"/>
                  <a:pt x="861" y="929"/>
                </a:cubicBezTo>
                <a:cubicBezTo>
                  <a:pt x="858" y="929"/>
                  <a:pt x="858" y="929"/>
                  <a:pt x="858" y="929"/>
                </a:cubicBezTo>
                <a:cubicBezTo>
                  <a:pt x="857" y="930"/>
                  <a:pt x="857" y="930"/>
                  <a:pt x="857" y="930"/>
                </a:cubicBezTo>
                <a:cubicBezTo>
                  <a:pt x="855" y="929"/>
                  <a:pt x="855" y="929"/>
                  <a:pt x="855" y="929"/>
                </a:cubicBezTo>
                <a:cubicBezTo>
                  <a:pt x="851" y="926"/>
                  <a:pt x="851" y="926"/>
                  <a:pt x="851" y="926"/>
                </a:cubicBezTo>
                <a:cubicBezTo>
                  <a:pt x="850" y="924"/>
                  <a:pt x="850" y="924"/>
                  <a:pt x="850" y="924"/>
                </a:cubicBezTo>
                <a:cubicBezTo>
                  <a:pt x="848" y="924"/>
                  <a:pt x="848" y="924"/>
                  <a:pt x="848" y="924"/>
                </a:cubicBezTo>
                <a:cubicBezTo>
                  <a:pt x="844" y="925"/>
                  <a:pt x="844" y="925"/>
                  <a:pt x="844" y="925"/>
                </a:cubicBezTo>
                <a:cubicBezTo>
                  <a:pt x="834" y="926"/>
                  <a:pt x="834" y="926"/>
                  <a:pt x="834" y="926"/>
                </a:cubicBezTo>
                <a:cubicBezTo>
                  <a:pt x="829" y="926"/>
                  <a:pt x="829" y="926"/>
                  <a:pt x="829" y="926"/>
                </a:cubicBezTo>
                <a:cubicBezTo>
                  <a:pt x="827" y="925"/>
                  <a:pt x="827" y="925"/>
                  <a:pt x="827" y="925"/>
                </a:cubicBezTo>
                <a:cubicBezTo>
                  <a:pt x="827" y="924"/>
                  <a:pt x="827" y="924"/>
                  <a:pt x="827" y="924"/>
                </a:cubicBezTo>
                <a:cubicBezTo>
                  <a:pt x="827" y="922"/>
                  <a:pt x="827" y="922"/>
                  <a:pt x="827" y="922"/>
                </a:cubicBezTo>
                <a:cubicBezTo>
                  <a:pt x="828" y="922"/>
                  <a:pt x="828" y="922"/>
                  <a:pt x="828" y="922"/>
                </a:cubicBezTo>
                <a:cubicBezTo>
                  <a:pt x="828" y="920"/>
                  <a:pt x="828" y="920"/>
                  <a:pt x="828" y="920"/>
                </a:cubicBezTo>
                <a:cubicBezTo>
                  <a:pt x="826" y="917"/>
                  <a:pt x="826" y="917"/>
                  <a:pt x="826" y="917"/>
                </a:cubicBezTo>
                <a:cubicBezTo>
                  <a:pt x="824" y="917"/>
                  <a:pt x="824" y="917"/>
                  <a:pt x="824" y="917"/>
                </a:cubicBezTo>
                <a:cubicBezTo>
                  <a:pt x="819" y="917"/>
                  <a:pt x="819" y="917"/>
                  <a:pt x="819" y="917"/>
                </a:cubicBezTo>
                <a:cubicBezTo>
                  <a:pt x="817" y="916"/>
                  <a:pt x="817" y="916"/>
                  <a:pt x="817" y="916"/>
                </a:cubicBezTo>
                <a:cubicBezTo>
                  <a:pt x="815" y="916"/>
                  <a:pt x="815" y="916"/>
                  <a:pt x="815" y="916"/>
                </a:cubicBezTo>
                <a:cubicBezTo>
                  <a:pt x="814" y="916"/>
                  <a:pt x="814" y="916"/>
                  <a:pt x="814" y="916"/>
                </a:cubicBezTo>
                <a:cubicBezTo>
                  <a:pt x="812" y="913"/>
                  <a:pt x="812" y="913"/>
                  <a:pt x="812" y="913"/>
                </a:cubicBezTo>
                <a:cubicBezTo>
                  <a:pt x="812" y="911"/>
                  <a:pt x="812" y="911"/>
                  <a:pt x="812" y="911"/>
                </a:cubicBezTo>
                <a:cubicBezTo>
                  <a:pt x="811" y="907"/>
                  <a:pt x="811" y="907"/>
                  <a:pt x="811" y="907"/>
                </a:cubicBezTo>
                <a:cubicBezTo>
                  <a:pt x="810" y="907"/>
                  <a:pt x="810" y="907"/>
                  <a:pt x="810" y="907"/>
                </a:cubicBezTo>
                <a:cubicBezTo>
                  <a:pt x="808" y="908"/>
                  <a:pt x="808" y="908"/>
                  <a:pt x="808" y="908"/>
                </a:cubicBezTo>
                <a:cubicBezTo>
                  <a:pt x="805" y="911"/>
                  <a:pt x="805" y="911"/>
                  <a:pt x="805" y="911"/>
                </a:cubicBezTo>
                <a:cubicBezTo>
                  <a:pt x="806" y="914"/>
                  <a:pt x="806" y="914"/>
                  <a:pt x="806" y="914"/>
                </a:cubicBezTo>
                <a:cubicBezTo>
                  <a:pt x="806" y="915"/>
                  <a:pt x="806" y="915"/>
                  <a:pt x="806" y="915"/>
                </a:cubicBezTo>
                <a:cubicBezTo>
                  <a:pt x="808" y="914"/>
                  <a:pt x="808" y="914"/>
                  <a:pt x="808" y="914"/>
                </a:cubicBezTo>
                <a:cubicBezTo>
                  <a:pt x="810" y="914"/>
                  <a:pt x="810" y="914"/>
                  <a:pt x="810" y="914"/>
                </a:cubicBezTo>
                <a:cubicBezTo>
                  <a:pt x="812" y="915"/>
                  <a:pt x="812" y="915"/>
                  <a:pt x="812" y="915"/>
                </a:cubicBezTo>
                <a:cubicBezTo>
                  <a:pt x="812" y="917"/>
                  <a:pt x="812" y="917"/>
                  <a:pt x="812" y="917"/>
                </a:cubicBezTo>
                <a:cubicBezTo>
                  <a:pt x="810" y="917"/>
                  <a:pt x="810" y="917"/>
                  <a:pt x="810" y="917"/>
                </a:cubicBezTo>
                <a:cubicBezTo>
                  <a:pt x="808" y="916"/>
                  <a:pt x="808" y="916"/>
                  <a:pt x="808" y="916"/>
                </a:cubicBezTo>
                <a:cubicBezTo>
                  <a:pt x="807" y="916"/>
                  <a:pt x="807" y="916"/>
                  <a:pt x="807" y="916"/>
                </a:cubicBezTo>
                <a:cubicBezTo>
                  <a:pt x="806" y="916"/>
                  <a:pt x="806" y="916"/>
                  <a:pt x="806" y="916"/>
                </a:cubicBezTo>
                <a:cubicBezTo>
                  <a:pt x="806" y="917"/>
                  <a:pt x="806" y="917"/>
                  <a:pt x="806" y="917"/>
                </a:cubicBezTo>
                <a:cubicBezTo>
                  <a:pt x="804" y="918"/>
                  <a:pt x="804" y="918"/>
                  <a:pt x="804" y="918"/>
                </a:cubicBezTo>
                <a:cubicBezTo>
                  <a:pt x="799" y="919"/>
                  <a:pt x="799" y="919"/>
                  <a:pt x="799" y="919"/>
                </a:cubicBezTo>
                <a:cubicBezTo>
                  <a:pt x="795" y="921"/>
                  <a:pt x="795" y="921"/>
                  <a:pt x="795" y="921"/>
                </a:cubicBezTo>
                <a:cubicBezTo>
                  <a:pt x="794" y="923"/>
                  <a:pt x="794" y="923"/>
                  <a:pt x="794" y="923"/>
                </a:cubicBezTo>
                <a:cubicBezTo>
                  <a:pt x="794" y="924"/>
                  <a:pt x="794" y="924"/>
                  <a:pt x="794" y="924"/>
                </a:cubicBezTo>
                <a:cubicBezTo>
                  <a:pt x="795" y="926"/>
                  <a:pt x="795" y="926"/>
                  <a:pt x="795" y="926"/>
                </a:cubicBezTo>
                <a:cubicBezTo>
                  <a:pt x="795" y="931"/>
                  <a:pt x="795" y="931"/>
                  <a:pt x="795" y="931"/>
                </a:cubicBezTo>
                <a:cubicBezTo>
                  <a:pt x="795" y="933"/>
                  <a:pt x="795" y="933"/>
                  <a:pt x="795" y="933"/>
                </a:cubicBezTo>
                <a:cubicBezTo>
                  <a:pt x="796" y="936"/>
                  <a:pt x="796" y="936"/>
                  <a:pt x="796" y="936"/>
                </a:cubicBezTo>
                <a:cubicBezTo>
                  <a:pt x="795" y="939"/>
                  <a:pt x="795" y="939"/>
                  <a:pt x="795" y="939"/>
                </a:cubicBezTo>
                <a:cubicBezTo>
                  <a:pt x="791" y="941"/>
                  <a:pt x="791" y="941"/>
                  <a:pt x="791" y="941"/>
                </a:cubicBezTo>
                <a:cubicBezTo>
                  <a:pt x="789" y="940"/>
                  <a:pt x="789" y="940"/>
                  <a:pt x="789" y="940"/>
                </a:cubicBezTo>
                <a:cubicBezTo>
                  <a:pt x="789" y="938"/>
                  <a:pt x="789" y="938"/>
                  <a:pt x="789" y="938"/>
                </a:cubicBezTo>
                <a:cubicBezTo>
                  <a:pt x="787" y="935"/>
                  <a:pt x="787" y="935"/>
                  <a:pt x="787" y="935"/>
                </a:cubicBezTo>
                <a:cubicBezTo>
                  <a:pt x="787" y="933"/>
                  <a:pt x="787" y="933"/>
                  <a:pt x="787" y="933"/>
                </a:cubicBezTo>
                <a:cubicBezTo>
                  <a:pt x="789" y="932"/>
                  <a:pt x="789" y="932"/>
                  <a:pt x="789" y="932"/>
                </a:cubicBezTo>
                <a:cubicBezTo>
                  <a:pt x="789" y="930"/>
                  <a:pt x="789" y="930"/>
                  <a:pt x="789" y="930"/>
                </a:cubicBezTo>
                <a:cubicBezTo>
                  <a:pt x="793" y="927"/>
                  <a:pt x="793" y="927"/>
                  <a:pt x="793" y="927"/>
                </a:cubicBezTo>
                <a:cubicBezTo>
                  <a:pt x="793" y="923"/>
                  <a:pt x="793" y="923"/>
                  <a:pt x="793" y="923"/>
                </a:cubicBezTo>
                <a:cubicBezTo>
                  <a:pt x="791" y="921"/>
                  <a:pt x="791" y="921"/>
                  <a:pt x="791" y="921"/>
                </a:cubicBezTo>
                <a:cubicBezTo>
                  <a:pt x="792" y="920"/>
                  <a:pt x="792" y="920"/>
                  <a:pt x="792" y="920"/>
                </a:cubicBezTo>
                <a:cubicBezTo>
                  <a:pt x="791" y="919"/>
                  <a:pt x="791" y="919"/>
                  <a:pt x="791" y="919"/>
                </a:cubicBezTo>
                <a:cubicBezTo>
                  <a:pt x="790" y="918"/>
                  <a:pt x="790" y="918"/>
                  <a:pt x="790" y="918"/>
                </a:cubicBezTo>
                <a:cubicBezTo>
                  <a:pt x="789" y="916"/>
                  <a:pt x="789" y="916"/>
                  <a:pt x="789" y="916"/>
                </a:cubicBezTo>
                <a:cubicBezTo>
                  <a:pt x="790" y="915"/>
                  <a:pt x="790" y="915"/>
                  <a:pt x="790" y="915"/>
                </a:cubicBezTo>
                <a:cubicBezTo>
                  <a:pt x="792" y="914"/>
                  <a:pt x="792" y="914"/>
                  <a:pt x="792" y="914"/>
                </a:cubicBezTo>
                <a:cubicBezTo>
                  <a:pt x="794" y="913"/>
                  <a:pt x="794" y="913"/>
                  <a:pt x="794" y="913"/>
                </a:cubicBezTo>
                <a:cubicBezTo>
                  <a:pt x="796" y="911"/>
                  <a:pt x="796" y="911"/>
                  <a:pt x="796" y="911"/>
                </a:cubicBezTo>
                <a:cubicBezTo>
                  <a:pt x="797" y="910"/>
                  <a:pt x="797" y="910"/>
                  <a:pt x="797" y="910"/>
                </a:cubicBezTo>
                <a:cubicBezTo>
                  <a:pt x="798" y="910"/>
                  <a:pt x="798" y="910"/>
                  <a:pt x="798" y="910"/>
                </a:cubicBezTo>
                <a:cubicBezTo>
                  <a:pt x="798" y="908"/>
                  <a:pt x="798" y="908"/>
                  <a:pt x="798" y="908"/>
                </a:cubicBezTo>
                <a:cubicBezTo>
                  <a:pt x="797" y="907"/>
                  <a:pt x="797" y="907"/>
                  <a:pt x="797" y="907"/>
                </a:cubicBezTo>
                <a:cubicBezTo>
                  <a:pt x="793" y="905"/>
                  <a:pt x="793" y="905"/>
                  <a:pt x="793" y="905"/>
                </a:cubicBezTo>
                <a:cubicBezTo>
                  <a:pt x="792" y="905"/>
                  <a:pt x="792" y="905"/>
                  <a:pt x="792" y="905"/>
                </a:cubicBezTo>
                <a:cubicBezTo>
                  <a:pt x="792" y="906"/>
                  <a:pt x="792" y="906"/>
                  <a:pt x="792" y="906"/>
                </a:cubicBezTo>
                <a:cubicBezTo>
                  <a:pt x="791" y="907"/>
                  <a:pt x="791" y="907"/>
                  <a:pt x="791" y="907"/>
                </a:cubicBezTo>
                <a:cubicBezTo>
                  <a:pt x="790" y="907"/>
                  <a:pt x="790" y="907"/>
                  <a:pt x="790" y="907"/>
                </a:cubicBezTo>
                <a:cubicBezTo>
                  <a:pt x="789" y="908"/>
                  <a:pt x="789" y="908"/>
                  <a:pt x="789" y="908"/>
                </a:cubicBezTo>
                <a:cubicBezTo>
                  <a:pt x="787" y="907"/>
                  <a:pt x="787" y="907"/>
                  <a:pt x="787" y="907"/>
                </a:cubicBezTo>
                <a:cubicBezTo>
                  <a:pt x="786" y="908"/>
                  <a:pt x="786" y="908"/>
                  <a:pt x="786" y="908"/>
                </a:cubicBezTo>
                <a:cubicBezTo>
                  <a:pt x="785" y="909"/>
                  <a:pt x="785" y="909"/>
                  <a:pt x="785" y="909"/>
                </a:cubicBezTo>
                <a:cubicBezTo>
                  <a:pt x="786" y="910"/>
                  <a:pt x="786" y="910"/>
                  <a:pt x="786" y="910"/>
                </a:cubicBezTo>
                <a:cubicBezTo>
                  <a:pt x="785" y="911"/>
                  <a:pt x="785" y="911"/>
                  <a:pt x="785" y="911"/>
                </a:cubicBezTo>
                <a:cubicBezTo>
                  <a:pt x="783" y="912"/>
                  <a:pt x="783" y="912"/>
                  <a:pt x="783" y="912"/>
                </a:cubicBezTo>
                <a:cubicBezTo>
                  <a:pt x="779" y="914"/>
                  <a:pt x="779" y="914"/>
                  <a:pt x="779" y="914"/>
                </a:cubicBezTo>
                <a:cubicBezTo>
                  <a:pt x="777" y="916"/>
                  <a:pt x="777" y="916"/>
                  <a:pt x="777" y="916"/>
                </a:cubicBezTo>
                <a:cubicBezTo>
                  <a:pt x="774" y="917"/>
                  <a:pt x="774" y="917"/>
                  <a:pt x="774" y="917"/>
                </a:cubicBezTo>
                <a:cubicBezTo>
                  <a:pt x="771" y="917"/>
                  <a:pt x="771" y="917"/>
                  <a:pt x="771" y="917"/>
                </a:cubicBezTo>
                <a:cubicBezTo>
                  <a:pt x="768" y="916"/>
                  <a:pt x="768" y="916"/>
                  <a:pt x="768" y="916"/>
                </a:cubicBezTo>
                <a:cubicBezTo>
                  <a:pt x="766" y="917"/>
                  <a:pt x="766" y="917"/>
                  <a:pt x="766" y="917"/>
                </a:cubicBezTo>
                <a:cubicBezTo>
                  <a:pt x="766" y="919"/>
                  <a:pt x="766" y="919"/>
                  <a:pt x="766" y="919"/>
                </a:cubicBezTo>
                <a:cubicBezTo>
                  <a:pt x="767" y="920"/>
                  <a:pt x="767" y="920"/>
                  <a:pt x="767" y="920"/>
                </a:cubicBezTo>
                <a:cubicBezTo>
                  <a:pt x="766" y="922"/>
                  <a:pt x="766" y="922"/>
                  <a:pt x="766" y="922"/>
                </a:cubicBezTo>
                <a:cubicBezTo>
                  <a:pt x="765" y="923"/>
                  <a:pt x="765" y="923"/>
                  <a:pt x="765" y="923"/>
                </a:cubicBezTo>
                <a:cubicBezTo>
                  <a:pt x="764" y="923"/>
                  <a:pt x="764" y="923"/>
                  <a:pt x="764" y="923"/>
                </a:cubicBezTo>
                <a:cubicBezTo>
                  <a:pt x="764" y="921"/>
                  <a:pt x="764" y="921"/>
                  <a:pt x="764" y="921"/>
                </a:cubicBezTo>
                <a:cubicBezTo>
                  <a:pt x="764" y="921"/>
                  <a:pt x="764" y="921"/>
                  <a:pt x="764" y="921"/>
                </a:cubicBezTo>
                <a:cubicBezTo>
                  <a:pt x="765" y="920"/>
                  <a:pt x="765" y="920"/>
                  <a:pt x="765" y="920"/>
                </a:cubicBezTo>
                <a:cubicBezTo>
                  <a:pt x="763" y="920"/>
                  <a:pt x="763" y="920"/>
                  <a:pt x="763" y="920"/>
                </a:cubicBezTo>
                <a:cubicBezTo>
                  <a:pt x="761" y="919"/>
                  <a:pt x="761" y="919"/>
                  <a:pt x="761" y="919"/>
                </a:cubicBezTo>
                <a:cubicBezTo>
                  <a:pt x="760" y="919"/>
                  <a:pt x="760" y="919"/>
                  <a:pt x="760" y="919"/>
                </a:cubicBezTo>
                <a:cubicBezTo>
                  <a:pt x="756" y="921"/>
                  <a:pt x="756" y="921"/>
                  <a:pt x="756" y="921"/>
                </a:cubicBezTo>
                <a:cubicBezTo>
                  <a:pt x="755" y="922"/>
                  <a:pt x="755" y="922"/>
                  <a:pt x="755" y="922"/>
                </a:cubicBezTo>
                <a:cubicBezTo>
                  <a:pt x="753" y="925"/>
                  <a:pt x="753" y="925"/>
                  <a:pt x="753" y="925"/>
                </a:cubicBezTo>
                <a:cubicBezTo>
                  <a:pt x="750" y="930"/>
                  <a:pt x="750" y="930"/>
                  <a:pt x="750" y="930"/>
                </a:cubicBezTo>
                <a:cubicBezTo>
                  <a:pt x="750" y="932"/>
                  <a:pt x="750" y="932"/>
                  <a:pt x="750" y="932"/>
                </a:cubicBezTo>
                <a:cubicBezTo>
                  <a:pt x="751" y="931"/>
                  <a:pt x="751" y="931"/>
                  <a:pt x="751" y="931"/>
                </a:cubicBezTo>
                <a:cubicBezTo>
                  <a:pt x="752" y="932"/>
                  <a:pt x="752" y="932"/>
                  <a:pt x="752" y="932"/>
                </a:cubicBezTo>
                <a:cubicBezTo>
                  <a:pt x="752" y="934"/>
                  <a:pt x="752" y="934"/>
                  <a:pt x="752" y="934"/>
                </a:cubicBezTo>
                <a:cubicBezTo>
                  <a:pt x="751" y="936"/>
                  <a:pt x="751" y="936"/>
                  <a:pt x="751" y="936"/>
                </a:cubicBezTo>
                <a:cubicBezTo>
                  <a:pt x="750" y="936"/>
                  <a:pt x="750" y="936"/>
                  <a:pt x="750" y="936"/>
                </a:cubicBezTo>
                <a:cubicBezTo>
                  <a:pt x="748" y="936"/>
                  <a:pt x="748" y="936"/>
                  <a:pt x="748" y="936"/>
                </a:cubicBezTo>
                <a:cubicBezTo>
                  <a:pt x="746" y="937"/>
                  <a:pt x="746" y="937"/>
                  <a:pt x="746" y="937"/>
                </a:cubicBezTo>
                <a:cubicBezTo>
                  <a:pt x="744" y="940"/>
                  <a:pt x="744" y="940"/>
                  <a:pt x="744" y="940"/>
                </a:cubicBezTo>
                <a:cubicBezTo>
                  <a:pt x="743" y="940"/>
                  <a:pt x="743" y="940"/>
                  <a:pt x="743" y="940"/>
                </a:cubicBezTo>
                <a:cubicBezTo>
                  <a:pt x="741" y="943"/>
                  <a:pt x="741" y="943"/>
                  <a:pt x="741" y="943"/>
                </a:cubicBezTo>
                <a:cubicBezTo>
                  <a:pt x="740" y="943"/>
                  <a:pt x="740" y="943"/>
                  <a:pt x="740" y="943"/>
                </a:cubicBezTo>
                <a:cubicBezTo>
                  <a:pt x="738" y="943"/>
                  <a:pt x="738" y="943"/>
                  <a:pt x="738" y="943"/>
                </a:cubicBezTo>
                <a:cubicBezTo>
                  <a:pt x="739" y="945"/>
                  <a:pt x="739" y="945"/>
                  <a:pt x="739" y="945"/>
                </a:cubicBezTo>
                <a:cubicBezTo>
                  <a:pt x="740" y="947"/>
                  <a:pt x="740" y="947"/>
                  <a:pt x="740" y="947"/>
                </a:cubicBezTo>
                <a:cubicBezTo>
                  <a:pt x="740" y="950"/>
                  <a:pt x="740" y="950"/>
                  <a:pt x="740" y="950"/>
                </a:cubicBezTo>
                <a:cubicBezTo>
                  <a:pt x="739" y="952"/>
                  <a:pt x="739" y="952"/>
                  <a:pt x="739" y="952"/>
                </a:cubicBezTo>
                <a:cubicBezTo>
                  <a:pt x="738" y="952"/>
                  <a:pt x="738" y="952"/>
                  <a:pt x="738" y="952"/>
                </a:cubicBezTo>
                <a:cubicBezTo>
                  <a:pt x="736" y="950"/>
                  <a:pt x="736" y="950"/>
                  <a:pt x="736" y="950"/>
                </a:cubicBezTo>
                <a:cubicBezTo>
                  <a:pt x="737" y="950"/>
                  <a:pt x="737" y="950"/>
                  <a:pt x="737" y="950"/>
                </a:cubicBezTo>
                <a:cubicBezTo>
                  <a:pt x="737" y="949"/>
                  <a:pt x="737" y="949"/>
                  <a:pt x="737" y="949"/>
                </a:cubicBezTo>
                <a:cubicBezTo>
                  <a:pt x="736" y="948"/>
                  <a:pt x="736" y="948"/>
                  <a:pt x="736" y="948"/>
                </a:cubicBezTo>
                <a:cubicBezTo>
                  <a:pt x="735" y="946"/>
                  <a:pt x="735" y="946"/>
                  <a:pt x="735" y="946"/>
                </a:cubicBezTo>
                <a:cubicBezTo>
                  <a:pt x="733" y="944"/>
                  <a:pt x="733" y="944"/>
                  <a:pt x="733" y="944"/>
                </a:cubicBezTo>
                <a:cubicBezTo>
                  <a:pt x="732" y="943"/>
                  <a:pt x="732" y="943"/>
                  <a:pt x="732" y="943"/>
                </a:cubicBezTo>
                <a:cubicBezTo>
                  <a:pt x="731" y="942"/>
                  <a:pt x="731" y="942"/>
                  <a:pt x="731" y="942"/>
                </a:cubicBezTo>
                <a:cubicBezTo>
                  <a:pt x="730" y="941"/>
                  <a:pt x="730" y="941"/>
                  <a:pt x="730" y="941"/>
                </a:cubicBezTo>
                <a:cubicBezTo>
                  <a:pt x="728" y="939"/>
                  <a:pt x="728" y="939"/>
                  <a:pt x="728" y="939"/>
                </a:cubicBezTo>
                <a:cubicBezTo>
                  <a:pt x="724" y="937"/>
                  <a:pt x="724" y="937"/>
                  <a:pt x="724" y="937"/>
                </a:cubicBezTo>
                <a:cubicBezTo>
                  <a:pt x="722" y="936"/>
                  <a:pt x="722" y="936"/>
                  <a:pt x="722" y="936"/>
                </a:cubicBezTo>
                <a:cubicBezTo>
                  <a:pt x="717" y="936"/>
                  <a:pt x="717" y="936"/>
                  <a:pt x="717" y="936"/>
                </a:cubicBezTo>
                <a:cubicBezTo>
                  <a:pt x="716" y="936"/>
                  <a:pt x="716" y="936"/>
                  <a:pt x="716" y="936"/>
                </a:cubicBezTo>
                <a:cubicBezTo>
                  <a:pt x="715" y="935"/>
                  <a:pt x="715" y="935"/>
                  <a:pt x="715" y="935"/>
                </a:cubicBezTo>
                <a:cubicBezTo>
                  <a:pt x="714" y="934"/>
                  <a:pt x="714" y="934"/>
                  <a:pt x="714" y="934"/>
                </a:cubicBezTo>
                <a:cubicBezTo>
                  <a:pt x="713" y="934"/>
                  <a:pt x="713" y="934"/>
                  <a:pt x="713" y="934"/>
                </a:cubicBezTo>
                <a:cubicBezTo>
                  <a:pt x="710" y="936"/>
                  <a:pt x="710" y="936"/>
                  <a:pt x="710" y="936"/>
                </a:cubicBezTo>
                <a:cubicBezTo>
                  <a:pt x="707" y="937"/>
                  <a:pt x="707" y="937"/>
                  <a:pt x="707" y="937"/>
                </a:cubicBezTo>
                <a:cubicBezTo>
                  <a:pt x="701" y="940"/>
                  <a:pt x="701" y="940"/>
                  <a:pt x="701" y="940"/>
                </a:cubicBezTo>
                <a:cubicBezTo>
                  <a:pt x="699" y="942"/>
                  <a:pt x="699" y="942"/>
                  <a:pt x="699" y="942"/>
                </a:cubicBezTo>
                <a:cubicBezTo>
                  <a:pt x="697" y="942"/>
                  <a:pt x="697" y="942"/>
                  <a:pt x="697" y="942"/>
                </a:cubicBezTo>
                <a:cubicBezTo>
                  <a:pt x="694" y="942"/>
                  <a:pt x="694" y="942"/>
                  <a:pt x="694" y="942"/>
                </a:cubicBezTo>
                <a:cubicBezTo>
                  <a:pt x="690" y="940"/>
                  <a:pt x="690" y="940"/>
                  <a:pt x="690" y="940"/>
                </a:cubicBezTo>
                <a:cubicBezTo>
                  <a:pt x="688" y="939"/>
                  <a:pt x="688" y="939"/>
                  <a:pt x="688" y="939"/>
                </a:cubicBezTo>
                <a:cubicBezTo>
                  <a:pt x="687" y="939"/>
                  <a:pt x="687" y="939"/>
                  <a:pt x="687" y="939"/>
                </a:cubicBezTo>
                <a:cubicBezTo>
                  <a:pt x="688" y="940"/>
                  <a:pt x="688" y="940"/>
                  <a:pt x="688" y="940"/>
                </a:cubicBezTo>
                <a:cubicBezTo>
                  <a:pt x="688" y="941"/>
                  <a:pt x="688" y="941"/>
                  <a:pt x="688" y="941"/>
                </a:cubicBezTo>
                <a:cubicBezTo>
                  <a:pt x="687" y="941"/>
                  <a:pt x="687" y="941"/>
                  <a:pt x="687" y="941"/>
                </a:cubicBezTo>
                <a:cubicBezTo>
                  <a:pt x="685" y="940"/>
                  <a:pt x="685" y="940"/>
                  <a:pt x="685" y="940"/>
                </a:cubicBezTo>
                <a:cubicBezTo>
                  <a:pt x="685" y="939"/>
                  <a:pt x="685" y="939"/>
                  <a:pt x="685" y="939"/>
                </a:cubicBezTo>
                <a:cubicBezTo>
                  <a:pt x="685" y="939"/>
                  <a:pt x="685" y="939"/>
                  <a:pt x="685" y="939"/>
                </a:cubicBezTo>
                <a:cubicBezTo>
                  <a:pt x="686" y="939"/>
                  <a:pt x="686" y="939"/>
                  <a:pt x="686" y="939"/>
                </a:cubicBezTo>
                <a:cubicBezTo>
                  <a:pt x="685" y="938"/>
                  <a:pt x="685" y="938"/>
                  <a:pt x="685" y="938"/>
                </a:cubicBezTo>
                <a:cubicBezTo>
                  <a:pt x="684" y="938"/>
                  <a:pt x="684" y="938"/>
                  <a:pt x="684" y="938"/>
                </a:cubicBezTo>
                <a:cubicBezTo>
                  <a:pt x="683" y="938"/>
                  <a:pt x="683" y="938"/>
                  <a:pt x="683" y="938"/>
                </a:cubicBezTo>
                <a:cubicBezTo>
                  <a:pt x="682" y="937"/>
                  <a:pt x="682" y="937"/>
                  <a:pt x="682" y="937"/>
                </a:cubicBezTo>
                <a:cubicBezTo>
                  <a:pt x="682" y="936"/>
                  <a:pt x="682" y="936"/>
                  <a:pt x="682" y="936"/>
                </a:cubicBezTo>
                <a:cubicBezTo>
                  <a:pt x="681" y="935"/>
                  <a:pt x="681" y="935"/>
                  <a:pt x="681" y="935"/>
                </a:cubicBezTo>
                <a:cubicBezTo>
                  <a:pt x="680" y="934"/>
                  <a:pt x="680" y="934"/>
                  <a:pt x="680" y="934"/>
                </a:cubicBezTo>
                <a:cubicBezTo>
                  <a:pt x="678" y="934"/>
                  <a:pt x="678" y="934"/>
                  <a:pt x="678" y="934"/>
                </a:cubicBezTo>
                <a:cubicBezTo>
                  <a:pt x="677" y="932"/>
                  <a:pt x="677" y="932"/>
                  <a:pt x="677" y="932"/>
                </a:cubicBezTo>
                <a:cubicBezTo>
                  <a:pt x="677" y="931"/>
                  <a:pt x="677" y="931"/>
                  <a:pt x="677" y="931"/>
                </a:cubicBezTo>
                <a:cubicBezTo>
                  <a:pt x="675" y="929"/>
                  <a:pt x="675" y="929"/>
                  <a:pt x="675" y="929"/>
                </a:cubicBezTo>
                <a:cubicBezTo>
                  <a:pt x="673" y="927"/>
                  <a:pt x="673" y="927"/>
                  <a:pt x="673" y="927"/>
                </a:cubicBezTo>
                <a:cubicBezTo>
                  <a:pt x="673" y="924"/>
                  <a:pt x="673" y="924"/>
                  <a:pt x="673" y="924"/>
                </a:cubicBezTo>
                <a:cubicBezTo>
                  <a:pt x="672" y="923"/>
                  <a:pt x="672" y="923"/>
                  <a:pt x="672" y="923"/>
                </a:cubicBezTo>
                <a:cubicBezTo>
                  <a:pt x="671" y="923"/>
                  <a:pt x="671" y="923"/>
                  <a:pt x="671" y="923"/>
                </a:cubicBezTo>
                <a:cubicBezTo>
                  <a:pt x="671" y="924"/>
                  <a:pt x="671" y="924"/>
                  <a:pt x="671" y="924"/>
                </a:cubicBezTo>
                <a:cubicBezTo>
                  <a:pt x="669" y="924"/>
                  <a:pt x="669" y="924"/>
                  <a:pt x="669" y="924"/>
                </a:cubicBezTo>
                <a:cubicBezTo>
                  <a:pt x="669" y="923"/>
                  <a:pt x="669" y="923"/>
                  <a:pt x="669" y="923"/>
                </a:cubicBezTo>
                <a:cubicBezTo>
                  <a:pt x="670" y="923"/>
                  <a:pt x="670" y="923"/>
                  <a:pt x="670" y="923"/>
                </a:cubicBezTo>
                <a:cubicBezTo>
                  <a:pt x="671" y="922"/>
                  <a:pt x="671" y="922"/>
                  <a:pt x="671" y="922"/>
                </a:cubicBezTo>
                <a:cubicBezTo>
                  <a:pt x="670" y="921"/>
                  <a:pt x="670" y="921"/>
                  <a:pt x="670" y="921"/>
                </a:cubicBezTo>
                <a:cubicBezTo>
                  <a:pt x="669" y="919"/>
                  <a:pt x="669" y="919"/>
                  <a:pt x="669" y="919"/>
                </a:cubicBezTo>
                <a:cubicBezTo>
                  <a:pt x="669" y="917"/>
                  <a:pt x="669" y="917"/>
                  <a:pt x="669" y="917"/>
                </a:cubicBezTo>
                <a:cubicBezTo>
                  <a:pt x="670" y="915"/>
                  <a:pt x="670" y="915"/>
                  <a:pt x="670" y="915"/>
                </a:cubicBezTo>
                <a:cubicBezTo>
                  <a:pt x="671" y="913"/>
                  <a:pt x="671" y="913"/>
                  <a:pt x="671" y="913"/>
                </a:cubicBezTo>
                <a:cubicBezTo>
                  <a:pt x="671" y="911"/>
                  <a:pt x="671" y="911"/>
                  <a:pt x="671" y="911"/>
                </a:cubicBezTo>
                <a:cubicBezTo>
                  <a:pt x="670" y="912"/>
                  <a:pt x="670" y="912"/>
                  <a:pt x="670" y="912"/>
                </a:cubicBezTo>
                <a:cubicBezTo>
                  <a:pt x="670" y="913"/>
                  <a:pt x="670" y="913"/>
                  <a:pt x="670" y="913"/>
                </a:cubicBezTo>
                <a:cubicBezTo>
                  <a:pt x="669" y="914"/>
                  <a:pt x="669" y="914"/>
                  <a:pt x="669" y="914"/>
                </a:cubicBezTo>
                <a:cubicBezTo>
                  <a:pt x="669" y="912"/>
                  <a:pt x="669" y="912"/>
                  <a:pt x="669" y="912"/>
                </a:cubicBezTo>
                <a:cubicBezTo>
                  <a:pt x="669" y="911"/>
                  <a:pt x="669" y="911"/>
                  <a:pt x="669" y="911"/>
                </a:cubicBezTo>
                <a:cubicBezTo>
                  <a:pt x="670" y="909"/>
                  <a:pt x="670" y="909"/>
                  <a:pt x="670" y="909"/>
                </a:cubicBezTo>
                <a:cubicBezTo>
                  <a:pt x="670" y="907"/>
                  <a:pt x="670" y="907"/>
                  <a:pt x="670" y="907"/>
                </a:cubicBezTo>
                <a:cubicBezTo>
                  <a:pt x="670" y="906"/>
                  <a:pt x="670" y="906"/>
                  <a:pt x="670" y="906"/>
                </a:cubicBezTo>
                <a:cubicBezTo>
                  <a:pt x="671" y="903"/>
                  <a:pt x="671" y="903"/>
                  <a:pt x="671" y="903"/>
                </a:cubicBezTo>
                <a:cubicBezTo>
                  <a:pt x="672" y="903"/>
                  <a:pt x="672" y="903"/>
                  <a:pt x="672" y="903"/>
                </a:cubicBezTo>
                <a:cubicBezTo>
                  <a:pt x="672" y="904"/>
                  <a:pt x="672" y="904"/>
                  <a:pt x="672" y="904"/>
                </a:cubicBezTo>
                <a:cubicBezTo>
                  <a:pt x="672" y="904"/>
                  <a:pt x="672" y="905"/>
                  <a:pt x="672" y="906"/>
                </a:cubicBezTo>
                <a:cubicBezTo>
                  <a:pt x="672" y="906"/>
                  <a:pt x="672" y="908"/>
                  <a:pt x="672" y="908"/>
                </a:cubicBezTo>
                <a:cubicBezTo>
                  <a:pt x="672" y="908"/>
                  <a:pt x="672" y="908"/>
                  <a:pt x="672" y="908"/>
                </a:cubicBezTo>
                <a:cubicBezTo>
                  <a:pt x="673" y="906"/>
                  <a:pt x="673" y="906"/>
                  <a:pt x="673" y="906"/>
                </a:cubicBezTo>
                <a:cubicBezTo>
                  <a:pt x="673" y="902"/>
                  <a:pt x="673" y="902"/>
                  <a:pt x="673" y="902"/>
                </a:cubicBezTo>
                <a:cubicBezTo>
                  <a:pt x="673" y="898"/>
                  <a:pt x="673" y="898"/>
                  <a:pt x="673" y="898"/>
                </a:cubicBezTo>
                <a:cubicBezTo>
                  <a:pt x="674" y="897"/>
                  <a:pt x="674" y="897"/>
                  <a:pt x="674" y="897"/>
                </a:cubicBezTo>
                <a:cubicBezTo>
                  <a:pt x="673" y="896"/>
                  <a:pt x="673" y="896"/>
                  <a:pt x="673" y="896"/>
                </a:cubicBezTo>
                <a:cubicBezTo>
                  <a:pt x="672" y="895"/>
                  <a:pt x="672" y="895"/>
                  <a:pt x="672" y="895"/>
                </a:cubicBezTo>
                <a:cubicBezTo>
                  <a:pt x="672" y="894"/>
                  <a:pt x="672" y="894"/>
                  <a:pt x="672" y="894"/>
                </a:cubicBezTo>
                <a:cubicBezTo>
                  <a:pt x="673" y="894"/>
                  <a:pt x="673" y="894"/>
                  <a:pt x="673" y="894"/>
                </a:cubicBezTo>
                <a:cubicBezTo>
                  <a:pt x="674" y="894"/>
                  <a:pt x="674" y="894"/>
                  <a:pt x="674" y="894"/>
                </a:cubicBezTo>
                <a:cubicBezTo>
                  <a:pt x="674" y="894"/>
                  <a:pt x="674" y="894"/>
                  <a:pt x="674" y="894"/>
                </a:cubicBezTo>
                <a:cubicBezTo>
                  <a:pt x="675" y="892"/>
                  <a:pt x="675" y="892"/>
                  <a:pt x="675" y="892"/>
                </a:cubicBezTo>
                <a:cubicBezTo>
                  <a:pt x="676" y="890"/>
                  <a:pt x="676" y="890"/>
                  <a:pt x="676" y="890"/>
                </a:cubicBezTo>
                <a:cubicBezTo>
                  <a:pt x="677" y="888"/>
                  <a:pt x="677" y="888"/>
                  <a:pt x="677" y="888"/>
                </a:cubicBezTo>
                <a:cubicBezTo>
                  <a:pt x="677" y="887"/>
                  <a:pt x="677" y="887"/>
                  <a:pt x="677" y="887"/>
                </a:cubicBezTo>
                <a:cubicBezTo>
                  <a:pt x="676" y="887"/>
                  <a:pt x="676" y="887"/>
                  <a:pt x="676" y="887"/>
                </a:cubicBezTo>
                <a:cubicBezTo>
                  <a:pt x="676" y="886"/>
                  <a:pt x="676" y="886"/>
                  <a:pt x="676" y="886"/>
                </a:cubicBezTo>
                <a:cubicBezTo>
                  <a:pt x="677" y="884"/>
                  <a:pt x="677" y="884"/>
                  <a:pt x="677" y="884"/>
                </a:cubicBezTo>
                <a:cubicBezTo>
                  <a:pt x="676" y="883"/>
                  <a:pt x="676" y="883"/>
                  <a:pt x="676" y="883"/>
                </a:cubicBezTo>
                <a:cubicBezTo>
                  <a:pt x="677" y="880"/>
                  <a:pt x="677" y="880"/>
                  <a:pt x="677" y="880"/>
                </a:cubicBezTo>
                <a:cubicBezTo>
                  <a:pt x="677" y="879"/>
                  <a:pt x="677" y="879"/>
                  <a:pt x="677" y="879"/>
                </a:cubicBezTo>
                <a:cubicBezTo>
                  <a:pt x="678" y="878"/>
                  <a:pt x="678" y="878"/>
                  <a:pt x="678" y="878"/>
                </a:cubicBezTo>
                <a:cubicBezTo>
                  <a:pt x="678" y="878"/>
                  <a:pt x="678" y="878"/>
                  <a:pt x="678" y="878"/>
                </a:cubicBezTo>
                <a:cubicBezTo>
                  <a:pt x="678" y="877"/>
                  <a:pt x="678" y="877"/>
                  <a:pt x="678" y="877"/>
                </a:cubicBezTo>
                <a:cubicBezTo>
                  <a:pt x="676" y="875"/>
                  <a:pt x="676" y="875"/>
                  <a:pt x="676" y="875"/>
                </a:cubicBezTo>
                <a:cubicBezTo>
                  <a:pt x="673" y="874"/>
                  <a:pt x="673" y="874"/>
                  <a:pt x="673" y="874"/>
                </a:cubicBezTo>
                <a:cubicBezTo>
                  <a:pt x="673" y="874"/>
                  <a:pt x="673" y="874"/>
                  <a:pt x="673" y="874"/>
                </a:cubicBezTo>
                <a:cubicBezTo>
                  <a:pt x="674" y="876"/>
                  <a:pt x="674" y="876"/>
                  <a:pt x="674" y="876"/>
                </a:cubicBezTo>
                <a:cubicBezTo>
                  <a:pt x="672" y="876"/>
                  <a:pt x="672" y="876"/>
                  <a:pt x="672" y="876"/>
                </a:cubicBezTo>
                <a:cubicBezTo>
                  <a:pt x="669" y="875"/>
                  <a:pt x="669" y="875"/>
                  <a:pt x="669" y="875"/>
                </a:cubicBezTo>
                <a:cubicBezTo>
                  <a:pt x="668" y="875"/>
                  <a:pt x="668" y="875"/>
                  <a:pt x="668" y="875"/>
                </a:cubicBezTo>
                <a:cubicBezTo>
                  <a:pt x="666" y="874"/>
                  <a:pt x="666" y="874"/>
                  <a:pt x="666" y="874"/>
                </a:cubicBezTo>
                <a:cubicBezTo>
                  <a:pt x="665" y="874"/>
                  <a:pt x="665" y="874"/>
                  <a:pt x="665" y="874"/>
                </a:cubicBezTo>
                <a:cubicBezTo>
                  <a:pt x="665" y="874"/>
                  <a:pt x="665" y="874"/>
                  <a:pt x="665" y="874"/>
                </a:cubicBezTo>
                <a:cubicBezTo>
                  <a:pt x="666" y="873"/>
                  <a:pt x="666" y="873"/>
                  <a:pt x="666" y="873"/>
                </a:cubicBezTo>
                <a:cubicBezTo>
                  <a:pt x="666" y="872"/>
                  <a:pt x="666" y="872"/>
                  <a:pt x="666" y="872"/>
                </a:cubicBezTo>
                <a:cubicBezTo>
                  <a:pt x="667" y="872"/>
                  <a:pt x="667" y="872"/>
                  <a:pt x="667" y="872"/>
                </a:cubicBezTo>
                <a:cubicBezTo>
                  <a:pt x="669" y="872"/>
                  <a:pt x="669" y="872"/>
                  <a:pt x="669" y="872"/>
                </a:cubicBezTo>
                <a:cubicBezTo>
                  <a:pt x="671" y="873"/>
                  <a:pt x="671" y="873"/>
                  <a:pt x="671" y="873"/>
                </a:cubicBezTo>
                <a:cubicBezTo>
                  <a:pt x="672" y="873"/>
                  <a:pt x="672" y="873"/>
                  <a:pt x="672" y="873"/>
                </a:cubicBezTo>
                <a:cubicBezTo>
                  <a:pt x="670" y="871"/>
                  <a:pt x="670" y="871"/>
                  <a:pt x="670" y="871"/>
                </a:cubicBezTo>
                <a:cubicBezTo>
                  <a:pt x="668" y="870"/>
                  <a:pt x="668" y="870"/>
                  <a:pt x="668" y="870"/>
                </a:cubicBezTo>
                <a:cubicBezTo>
                  <a:pt x="666" y="870"/>
                  <a:pt x="666" y="870"/>
                  <a:pt x="666" y="870"/>
                </a:cubicBezTo>
                <a:cubicBezTo>
                  <a:pt x="664" y="870"/>
                  <a:pt x="664" y="870"/>
                  <a:pt x="664" y="870"/>
                </a:cubicBezTo>
                <a:cubicBezTo>
                  <a:pt x="663" y="870"/>
                  <a:pt x="663" y="870"/>
                  <a:pt x="663" y="870"/>
                </a:cubicBezTo>
                <a:cubicBezTo>
                  <a:pt x="663" y="871"/>
                  <a:pt x="663" y="871"/>
                  <a:pt x="663" y="871"/>
                </a:cubicBezTo>
                <a:cubicBezTo>
                  <a:pt x="661" y="870"/>
                  <a:pt x="661" y="870"/>
                  <a:pt x="661" y="870"/>
                </a:cubicBezTo>
                <a:cubicBezTo>
                  <a:pt x="657" y="870"/>
                  <a:pt x="657" y="870"/>
                  <a:pt x="657" y="870"/>
                </a:cubicBezTo>
                <a:cubicBezTo>
                  <a:pt x="652" y="869"/>
                  <a:pt x="652" y="869"/>
                  <a:pt x="652" y="869"/>
                </a:cubicBezTo>
                <a:cubicBezTo>
                  <a:pt x="650" y="867"/>
                  <a:pt x="650" y="867"/>
                  <a:pt x="650" y="867"/>
                </a:cubicBezTo>
                <a:cubicBezTo>
                  <a:pt x="648" y="866"/>
                  <a:pt x="648" y="866"/>
                  <a:pt x="648" y="866"/>
                </a:cubicBezTo>
                <a:cubicBezTo>
                  <a:pt x="648" y="868"/>
                  <a:pt x="648" y="868"/>
                  <a:pt x="648" y="868"/>
                </a:cubicBezTo>
                <a:cubicBezTo>
                  <a:pt x="648" y="868"/>
                  <a:pt x="648" y="868"/>
                  <a:pt x="648" y="868"/>
                </a:cubicBezTo>
                <a:cubicBezTo>
                  <a:pt x="647" y="869"/>
                  <a:pt x="647" y="869"/>
                  <a:pt x="647" y="869"/>
                </a:cubicBezTo>
                <a:cubicBezTo>
                  <a:pt x="646" y="870"/>
                  <a:pt x="646" y="870"/>
                  <a:pt x="646" y="870"/>
                </a:cubicBezTo>
                <a:cubicBezTo>
                  <a:pt x="644" y="869"/>
                  <a:pt x="644" y="869"/>
                  <a:pt x="644" y="869"/>
                </a:cubicBezTo>
                <a:cubicBezTo>
                  <a:pt x="641" y="870"/>
                  <a:pt x="641" y="870"/>
                  <a:pt x="641" y="870"/>
                </a:cubicBezTo>
                <a:cubicBezTo>
                  <a:pt x="636" y="870"/>
                  <a:pt x="636" y="870"/>
                  <a:pt x="636" y="870"/>
                </a:cubicBezTo>
                <a:cubicBezTo>
                  <a:pt x="630" y="870"/>
                  <a:pt x="630" y="870"/>
                  <a:pt x="630" y="870"/>
                </a:cubicBezTo>
                <a:cubicBezTo>
                  <a:pt x="628" y="871"/>
                  <a:pt x="628" y="871"/>
                  <a:pt x="628" y="871"/>
                </a:cubicBezTo>
                <a:cubicBezTo>
                  <a:pt x="627" y="870"/>
                  <a:pt x="627" y="870"/>
                  <a:pt x="627" y="870"/>
                </a:cubicBezTo>
                <a:cubicBezTo>
                  <a:pt x="626" y="869"/>
                  <a:pt x="626" y="869"/>
                  <a:pt x="626" y="869"/>
                </a:cubicBezTo>
                <a:cubicBezTo>
                  <a:pt x="624" y="869"/>
                  <a:pt x="624" y="869"/>
                  <a:pt x="624" y="869"/>
                </a:cubicBezTo>
                <a:cubicBezTo>
                  <a:pt x="623" y="871"/>
                  <a:pt x="623" y="871"/>
                  <a:pt x="623" y="871"/>
                </a:cubicBezTo>
                <a:cubicBezTo>
                  <a:pt x="622" y="869"/>
                  <a:pt x="622" y="869"/>
                  <a:pt x="622" y="869"/>
                </a:cubicBezTo>
                <a:cubicBezTo>
                  <a:pt x="620" y="869"/>
                  <a:pt x="620" y="869"/>
                  <a:pt x="620" y="869"/>
                </a:cubicBezTo>
                <a:cubicBezTo>
                  <a:pt x="620" y="868"/>
                  <a:pt x="620" y="868"/>
                  <a:pt x="620" y="868"/>
                </a:cubicBezTo>
                <a:cubicBezTo>
                  <a:pt x="620" y="868"/>
                  <a:pt x="620" y="868"/>
                  <a:pt x="620" y="868"/>
                </a:cubicBezTo>
                <a:cubicBezTo>
                  <a:pt x="621" y="867"/>
                  <a:pt x="621" y="867"/>
                  <a:pt x="621" y="867"/>
                </a:cubicBezTo>
                <a:cubicBezTo>
                  <a:pt x="622" y="865"/>
                  <a:pt x="622" y="865"/>
                  <a:pt x="622" y="865"/>
                </a:cubicBezTo>
                <a:cubicBezTo>
                  <a:pt x="624" y="866"/>
                  <a:pt x="624" y="866"/>
                  <a:pt x="624" y="866"/>
                </a:cubicBezTo>
                <a:cubicBezTo>
                  <a:pt x="626" y="862"/>
                  <a:pt x="626" y="862"/>
                  <a:pt x="626" y="862"/>
                </a:cubicBezTo>
                <a:cubicBezTo>
                  <a:pt x="627" y="859"/>
                  <a:pt x="627" y="859"/>
                  <a:pt x="627" y="859"/>
                </a:cubicBezTo>
                <a:cubicBezTo>
                  <a:pt x="627" y="855"/>
                  <a:pt x="627" y="855"/>
                  <a:pt x="627" y="855"/>
                </a:cubicBezTo>
                <a:cubicBezTo>
                  <a:pt x="626" y="854"/>
                  <a:pt x="626" y="854"/>
                  <a:pt x="626" y="854"/>
                </a:cubicBezTo>
                <a:cubicBezTo>
                  <a:pt x="627" y="851"/>
                  <a:pt x="627" y="851"/>
                  <a:pt x="627" y="851"/>
                </a:cubicBezTo>
                <a:cubicBezTo>
                  <a:pt x="628" y="850"/>
                  <a:pt x="628" y="850"/>
                  <a:pt x="628" y="850"/>
                </a:cubicBezTo>
                <a:cubicBezTo>
                  <a:pt x="628" y="845"/>
                  <a:pt x="628" y="845"/>
                  <a:pt x="628" y="845"/>
                </a:cubicBezTo>
                <a:cubicBezTo>
                  <a:pt x="628" y="844"/>
                  <a:pt x="628" y="844"/>
                  <a:pt x="628" y="844"/>
                </a:cubicBezTo>
                <a:cubicBezTo>
                  <a:pt x="628" y="842"/>
                  <a:pt x="628" y="842"/>
                  <a:pt x="628" y="842"/>
                </a:cubicBezTo>
                <a:cubicBezTo>
                  <a:pt x="627" y="842"/>
                  <a:pt x="627" y="842"/>
                  <a:pt x="627" y="842"/>
                </a:cubicBezTo>
                <a:cubicBezTo>
                  <a:pt x="626" y="843"/>
                  <a:pt x="626" y="843"/>
                  <a:pt x="626" y="843"/>
                </a:cubicBezTo>
                <a:cubicBezTo>
                  <a:pt x="625" y="842"/>
                  <a:pt x="625" y="842"/>
                  <a:pt x="625" y="842"/>
                </a:cubicBezTo>
                <a:cubicBezTo>
                  <a:pt x="625" y="842"/>
                  <a:pt x="625" y="842"/>
                  <a:pt x="625" y="842"/>
                </a:cubicBezTo>
                <a:cubicBezTo>
                  <a:pt x="627" y="841"/>
                  <a:pt x="627" y="841"/>
                  <a:pt x="627" y="841"/>
                </a:cubicBezTo>
                <a:cubicBezTo>
                  <a:pt x="629" y="838"/>
                  <a:pt x="629" y="838"/>
                  <a:pt x="629" y="838"/>
                </a:cubicBezTo>
                <a:cubicBezTo>
                  <a:pt x="631" y="838"/>
                  <a:pt x="631" y="838"/>
                  <a:pt x="631" y="838"/>
                </a:cubicBezTo>
                <a:cubicBezTo>
                  <a:pt x="630" y="840"/>
                  <a:pt x="630" y="840"/>
                  <a:pt x="630" y="840"/>
                </a:cubicBezTo>
                <a:cubicBezTo>
                  <a:pt x="629" y="841"/>
                  <a:pt x="629" y="841"/>
                  <a:pt x="629" y="841"/>
                </a:cubicBezTo>
                <a:cubicBezTo>
                  <a:pt x="629" y="842"/>
                  <a:pt x="629" y="842"/>
                  <a:pt x="629" y="842"/>
                </a:cubicBezTo>
                <a:cubicBezTo>
                  <a:pt x="632" y="843"/>
                  <a:pt x="632" y="843"/>
                  <a:pt x="632" y="843"/>
                </a:cubicBezTo>
                <a:cubicBezTo>
                  <a:pt x="633" y="845"/>
                  <a:pt x="633" y="845"/>
                  <a:pt x="633" y="845"/>
                </a:cubicBezTo>
                <a:cubicBezTo>
                  <a:pt x="633" y="844"/>
                  <a:pt x="633" y="844"/>
                  <a:pt x="633" y="844"/>
                </a:cubicBezTo>
                <a:cubicBezTo>
                  <a:pt x="635" y="841"/>
                  <a:pt x="635" y="841"/>
                  <a:pt x="635" y="841"/>
                </a:cubicBezTo>
                <a:cubicBezTo>
                  <a:pt x="636" y="835"/>
                  <a:pt x="636" y="835"/>
                  <a:pt x="636" y="835"/>
                </a:cubicBezTo>
                <a:cubicBezTo>
                  <a:pt x="637" y="833"/>
                  <a:pt x="637" y="833"/>
                  <a:pt x="637" y="833"/>
                </a:cubicBezTo>
                <a:cubicBezTo>
                  <a:pt x="637" y="833"/>
                  <a:pt x="637" y="833"/>
                  <a:pt x="637" y="833"/>
                </a:cubicBezTo>
                <a:cubicBezTo>
                  <a:pt x="635" y="834"/>
                  <a:pt x="635" y="834"/>
                  <a:pt x="635" y="834"/>
                </a:cubicBezTo>
                <a:cubicBezTo>
                  <a:pt x="635" y="834"/>
                  <a:pt x="635" y="834"/>
                  <a:pt x="635" y="834"/>
                </a:cubicBezTo>
                <a:cubicBezTo>
                  <a:pt x="635" y="833"/>
                  <a:pt x="635" y="833"/>
                  <a:pt x="635" y="833"/>
                </a:cubicBezTo>
                <a:cubicBezTo>
                  <a:pt x="637" y="831"/>
                  <a:pt x="637" y="831"/>
                  <a:pt x="637" y="831"/>
                </a:cubicBezTo>
                <a:cubicBezTo>
                  <a:pt x="637" y="829"/>
                  <a:pt x="637" y="829"/>
                  <a:pt x="637" y="829"/>
                </a:cubicBezTo>
                <a:cubicBezTo>
                  <a:pt x="636" y="829"/>
                  <a:pt x="636" y="829"/>
                  <a:pt x="636" y="829"/>
                </a:cubicBezTo>
                <a:cubicBezTo>
                  <a:pt x="634" y="828"/>
                  <a:pt x="634" y="828"/>
                  <a:pt x="634" y="828"/>
                </a:cubicBezTo>
                <a:cubicBezTo>
                  <a:pt x="635" y="827"/>
                  <a:pt x="635" y="827"/>
                  <a:pt x="635" y="827"/>
                </a:cubicBezTo>
                <a:cubicBezTo>
                  <a:pt x="637" y="826"/>
                  <a:pt x="637" y="826"/>
                  <a:pt x="637" y="826"/>
                </a:cubicBezTo>
                <a:cubicBezTo>
                  <a:pt x="637" y="823"/>
                  <a:pt x="637" y="823"/>
                  <a:pt x="637" y="823"/>
                </a:cubicBezTo>
                <a:cubicBezTo>
                  <a:pt x="638" y="822"/>
                  <a:pt x="638" y="822"/>
                  <a:pt x="638" y="822"/>
                </a:cubicBezTo>
                <a:cubicBezTo>
                  <a:pt x="642" y="818"/>
                  <a:pt x="642" y="818"/>
                  <a:pt x="642" y="818"/>
                </a:cubicBezTo>
                <a:cubicBezTo>
                  <a:pt x="645" y="814"/>
                  <a:pt x="645" y="814"/>
                  <a:pt x="645" y="814"/>
                </a:cubicBezTo>
                <a:cubicBezTo>
                  <a:pt x="646" y="812"/>
                  <a:pt x="646" y="812"/>
                  <a:pt x="646" y="812"/>
                </a:cubicBezTo>
                <a:cubicBezTo>
                  <a:pt x="646" y="809"/>
                  <a:pt x="646" y="809"/>
                  <a:pt x="646" y="809"/>
                </a:cubicBezTo>
                <a:cubicBezTo>
                  <a:pt x="643" y="806"/>
                  <a:pt x="643" y="806"/>
                  <a:pt x="643" y="806"/>
                </a:cubicBezTo>
                <a:cubicBezTo>
                  <a:pt x="641" y="806"/>
                  <a:pt x="641" y="806"/>
                  <a:pt x="641" y="806"/>
                </a:cubicBezTo>
                <a:cubicBezTo>
                  <a:pt x="642" y="807"/>
                  <a:pt x="642" y="807"/>
                  <a:pt x="642" y="807"/>
                </a:cubicBezTo>
                <a:cubicBezTo>
                  <a:pt x="641" y="807"/>
                  <a:pt x="641" y="807"/>
                  <a:pt x="641" y="807"/>
                </a:cubicBezTo>
                <a:cubicBezTo>
                  <a:pt x="636" y="806"/>
                  <a:pt x="636" y="806"/>
                  <a:pt x="636" y="806"/>
                </a:cubicBezTo>
                <a:cubicBezTo>
                  <a:pt x="632" y="806"/>
                  <a:pt x="632" y="806"/>
                  <a:pt x="632" y="806"/>
                </a:cubicBezTo>
                <a:cubicBezTo>
                  <a:pt x="632" y="807"/>
                  <a:pt x="632" y="807"/>
                  <a:pt x="632" y="807"/>
                </a:cubicBezTo>
                <a:cubicBezTo>
                  <a:pt x="630" y="809"/>
                  <a:pt x="630" y="809"/>
                  <a:pt x="630" y="809"/>
                </a:cubicBezTo>
                <a:cubicBezTo>
                  <a:pt x="629" y="808"/>
                  <a:pt x="629" y="808"/>
                  <a:pt x="629" y="808"/>
                </a:cubicBezTo>
                <a:cubicBezTo>
                  <a:pt x="626" y="808"/>
                  <a:pt x="626" y="808"/>
                  <a:pt x="626" y="808"/>
                </a:cubicBezTo>
                <a:cubicBezTo>
                  <a:pt x="625" y="810"/>
                  <a:pt x="625" y="810"/>
                  <a:pt x="625" y="810"/>
                </a:cubicBezTo>
                <a:cubicBezTo>
                  <a:pt x="616" y="810"/>
                  <a:pt x="616" y="810"/>
                  <a:pt x="616" y="810"/>
                </a:cubicBezTo>
                <a:cubicBezTo>
                  <a:pt x="610" y="812"/>
                  <a:pt x="610" y="812"/>
                  <a:pt x="610" y="812"/>
                </a:cubicBezTo>
                <a:cubicBezTo>
                  <a:pt x="610" y="813"/>
                  <a:pt x="610" y="813"/>
                  <a:pt x="610" y="813"/>
                </a:cubicBezTo>
                <a:cubicBezTo>
                  <a:pt x="611" y="813"/>
                  <a:pt x="611" y="813"/>
                  <a:pt x="611" y="813"/>
                </a:cubicBezTo>
                <a:cubicBezTo>
                  <a:pt x="607" y="817"/>
                  <a:pt x="607" y="817"/>
                  <a:pt x="607" y="817"/>
                </a:cubicBezTo>
                <a:cubicBezTo>
                  <a:pt x="607" y="824"/>
                  <a:pt x="607" y="824"/>
                  <a:pt x="607" y="824"/>
                </a:cubicBezTo>
                <a:cubicBezTo>
                  <a:pt x="607" y="824"/>
                  <a:pt x="607" y="824"/>
                  <a:pt x="607" y="824"/>
                </a:cubicBezTo>
                <a:cubicBezTo>
                  <a:pt x="604" y="828"/>
                  <a:pt x="604" y="828"/>
                  <a:pt x="604" y="828"/>
                </a:cubicBezTo>
                <a:cubicBezTo>
                  <a:pt x="604" y="832"/>
                  <a:pt x="604" y="832"/>
                  <a:pt x="604" y="832"/>
                </a:cubicBezTo>
                <a:cubicBezTo>
                  <a:pt x="602" y="834"/>
                  <a:pt x="602" y="834"/>
                  <a:pt x="602" y="834"/>
                </a:cubicBezTo>
                <a:cubicBezTo>
                  <a:pt x="600" y="834"/>
                  <a:pt x="600" y="834"/>
                  <a:pt x="600" y="834"/>
                </a:cubicBezTo>
                <a:cubicBezTo>
                  <a:pt x="596" y="837"/>
                  <a:pt x="596" y="837"/>
                  <a:pt x="596" y="837"/>
                </a:cubicBezTo>
                <a:cubicBezTo>
                  <a:pt x="596" y="837"/>
                  <a:pt x="596" y="837"/>
                  <a:pt x="596" y="837"/>
                </a:cubicBezTo>
                <a:cubicBezTo>
                  <a:pt x="598" y="836"/>
                  <a:pt x="598" y="836"/>
                  <a:pt x="598" y="836"/>
                </a:cubicBezTo>
                <a:cubicBezTo>
                  <a:pt x="598" y="838"/>
                  <a:pt x="598" y="838"/>
                  <a:pt x="598" y="838"/>
                </a:cubicBezTo>
                <a:cubicBezTo>
                  <a:pt x="598" y="841"/>
                  <a:pt x="598" y="841"/>
                  <a:pt x="598" y="841"/>
                </a:cubicBezTo>
                <a:cubicBezTo>
                  <a:pt x="596" y="843"/>
                  <a:pt x="596" y="843"/>
                  <a:pt x="596" y="843"/>
                </a:cubicBezTo>
                <a:cubicBezTo>
                  <a:pt x="594" y="843"/>
                  <a:pt x="594" y="843"/>
                  <a:pt x="594" y="843"/>
                </a:cubicBezTo>
                <a:cubicBezTo>
                  <a:pt x="594" y="844"/>
                  <a:pt x="594" y="844"/>
                  <a:pt x="594" y="844"/>
                </a:cubicBezTo>
                <a:cubicBezTo>
                  <a:pt x="593" y="843"/>
                  <a:pt x="593" y="843"/>
                  <a:pt x="593" y="843"/>
                </a:cubicBezTo>
                <a:cubicBezTo>
                  <a:pt x="590" y="842"/>
                  <a:pt x="590" y="842"/>
                  <a:pt x="590" y="842"/>
                </a:cubicBezTo>
                <a:cubicBezTo>
                  <a:pt x="591" y="841"/>
                  <a:pt x="591" y="841"/>
                  <a:pt x="591" y="841"/>
                </a:cubicBezTo>
                <a:cubicBezTo>
                  <a:pt x="593" y="840"/>
                  <a:pt x="593" y="840"/>
                  <a:pt x="593" y="840"/>
                </a:cubicBezTo>
                <a:cubicBezTo>
                  <a:pt x="590" y="839"/>
                  <a:pt x="590" y="839"/>
                  <a:pt x="590" y="839"/>
                </a:cubicBezTo>
                <a:cubicBezTo>
                  <a:pt x="589" y="840"/>
                  <a:pt x="589" y="840"/>
                  <a:pt x="589" y="840"/>
                </a:cubicBezTo>
                <a:cubicBezTo>
                  <a:pt x="587" y="839"/>
                  <a:pt x="587" y="839"/>
                  <a:pt x="587" y="839"/>
                </a:cubicBezTo>
                <a:cubicBezTo>
                  <a:pt x="584" y="839"/>
                  <a:pt x="584" y="839"/>
                  <a:pt x="584" y="839"/>
                </a:cubicBezTo>
                <a:cubicBezTo>
                  <a:pt x="582" y="841"/>
                  <a:pt x="582" y="841"/>
                  <a:pt x="582" y="841"/>
                </a:cubicBezTo>
                <a:cubicBezTo>
                  <a:pt x="580" y="841"/>
                  <a:pt x="580" y="841"/>
                  <a:pt x="580" y="841"/>
                </a:cubicBezTo>
                <a:cubicBezTo>
                  <a:pt x="577" y="841"/>
                  <a:pt x="577" y="841"/>
                  <a:pt x="577" y="841"/>
                </a:cubicBezTo>
                <a:cubicBezTo>
                  <a:pt x="576" y="842"/>
                  <a:pt x="576" y="842"/>
                  <a:pt x="576" y="842"/>
                </a:cubicBezTo>
                <a:cubicBezTo>
                  <a:pt x="572" y="845"/>
                  <a:pt x="572" y="845"/>
                  <a:pt x="572" y="845"/>
                </a:cubicBezTo>
                <a:cubicBezTo>
                  <a:pt x="571" y="845"/>
                  <a:pt x="571" y="845"/>
                  <a:pt x="571" y="845"/>
                </a:cubicBezTo>
                <a:cubicBezTo>
                  <a:pt x="570" y="844"/>
                  <a:pt x="570" y="844"/>
                  <a:pt x="570" y="844"/>
                </a:cubicBezTo>
                <a:cubicBezTo>
                  <a:pt x="566" y="844"/>
                  <a:pt x="566" y="844"/>
                  <a:pt x="566" y="844"/>
                </a:cubicBezTo>
                <a:cubicBezTo>
                  <a:pt x="564" y="845"/>
                  <a:pt x="564" y="845"/>
                  <a:pt x="564" y="845"/>
                </a:cubicBezTo>
                <a:cubicBezTo>
                  <a:pt x="563" y="843"/>
                  <a:pt x="563" y="843"/>
                  <a:pt x="563" y="843"/>
                </a:cubicBezTo>
                <a:cubicBezTo>
                  <a:pt x="561" y="840"/>
                  <a:pt x="561" y="840"/>
                  <a:pt x="561" y="840"/>
                </a:cubicBezTo>
                <a:cubicBezTo>
                  <a:pt x="558" y="838"/>
                  <a:pt x="558" y="838"/>
                  <a:pt x="558" y="838"/>
                </a:cubicBezTo>
                <a:cubicBezTo>
                  <a:pt x="557" y="838"/>
                  <a:pt x="557" y="838"/>
                  <a:pt x="557" y="838"/>
                </a:cubicBezTo>
                <a:cubicBezTo>
                  <a:pt x="554" y="838"/>
                  <a:pt x="554" y="838"/>
                  <a:pt x="554" y="838"/>
                </a:cubicBezTo>
                <a:cubicBezTo>
                  <a:pt x="553" y="838"/>
                  <a:pt x="553" y="838"/>
                  <a:pt x="553" y="838"/>
                </a:cubicBezTo>
                <a:cubicBezTo>
                  <a:pt x="552" y="836"/>
                  <a:pt x="552" y="836"/>
                  <a:pt x="552" y="836"/>
                </a:cubicBezTo>
                <a:cubicBezTo>
                  <a:pt x="548" y="831"/>
                  <a:pt x="548" y="831"/>
                  <a:pt x="548" y="831"/>
                </a:cubicBezTo>
                <a:cubicBezTo>
                  <a:pt x="547" y="830"/>
                  <a:pt x="547" y="830"/>
                  <a:pt x="547" y="830"/>
                </a:cubicBezTo>
                <a:cubicBezTo>
                  <a:pt x="548" y="828"/>
                  <a:pt x="548" y="828"/>
                  <a:pt x="548" y="828"/>
                </a:cubicBezTo>
                <a:cubicBezTo>
                  <a:pt x="546" y="826"/>
                  <a:pt x="546" y="826"/>
                  <a:pt x="546" y="826"/>
                </a:cubicBezTo>
                <a:cubicBezTo>
                  <a:pt x="545" y="823"/>
                  <a:pt x="545" y="823"/>
                  <a:pt x="545" y="823"/>
                </a:cubicBezTo>
                <a:cubicBezTo>
                  <a:pt x="539" y="817"/>
                  <a:pt x="539" y="817"/>
                  <a:pt x="539" y="817"/>
                </a:cubicBezTo>
                <a:cubicBezTo>
                  <a:pt x="539" y="815"/>
                  <a:pt x="539" y="815"/>
                  <a:pt x="539" y="815"/>
                </a:cubicBezTo>
                <a:cubicBezTo>
                  <a:pt x="538" y="814"/>
                  <a:pt x="538" y="814"/>
                  <a:pt x="538" y="814"/>
                </a:cubicBezTo>
                <a:cubicBezTo>
                  <a:pt x="538" y="812"/>
                  <a:pt x="538" y="812"/>
                  <a:pt x="538" y="812"/>
                </a:cubicBezTo>
                <a:cubicBezTo>
                  <a:pt x="538" y="811"/>
                  <a:pt x="538" y="811"/>
                  <a:pt x="538" y="811"/>
                </a:cubicBezTo>
                <a:cubicBezTo>
                  <a:pt x="537" y="807"/>
                  <a:pt x="537" y="807"/>
                  <a:pt x="537" y="807"/>
                </a:cubicBezTo>
                <a:cubicBezTo>
                  <a:pt x="535" y="805"/>
                  <a:pt x="535" y="805"/>
                  <a:pt x="535" y="805"/>
                </a:cubicBezTo>
                <a:cubicBezTo>
                  <a:pt x="535" y="803"/>
                  <a:pt x="535" y="803"/>
                  <a:pt x="535" y="803"/>
                </a:cubicBezTo>
                <a:cubicBezTo>
                  <a:pt x="538" y="806"/>
                  <a:pt x="538" y="806"/>
                  <a:pt x="538" y="806"/>
                </a:cubicBezTo>
                <a:cubicBezTo>
                  <a:pt x="538" y="810"/>
                  <a:pt x="538" y="810"/>
                  <a:pt x="538" y="810"/>
                </a:cubicBezTo>
                <a:cubicBezTo>
                  <a:pt x="539" y="809"/>
                  <a:pt x="539" y="809"/>
                  <a:pt x="539" y="809"/>
                </a:cubicBezTo>
                <a:cubicBezTo>
                  <a:pt x="539" y="806"/>
                  <a:pt x="539" y="806"/>
                  <a:pt x="539" y="806"/>
                </a:cubicBezTo>
                <a:cubicBezTo>
                  <a:pt x="536" y="802"/>
                  <a:pt x="536" y="802"/>
                  <a:pt x="536" y="802"/>
                </a:cubicBezTo>
                <a:cubicBezTo>
                  <a:pt x="536" y="800"/>
                  <a:pt x="536" y="800"/>
                  <a:pt x="536" y="800"/>
                </a:cubicBezTo>
                <a:cubicBezTo>
                  <a:pt x="536" y="796"/>
                  <a:pt x="536" y="796"/>
                  <a:pt x="536" y="796"/>
                </a:cubicBezTo>
                <a:cubicBezTo>
                  <a:pt x="535" y="794"/>
                  <a:pt x="535" y="794"/>
                  <a:pt x="535" y="794"/>
                </a:cubicBezTo>
                <a:cubicBezTo>
                  <a:pt x="537" y="792"/>
                  <a:pt x="537" y="792"/>
                  <a:pt x="537" y="792"/>
                </a:cubicBezTo>
                <a:cubicBezTo>
                  <a:pt x="537" y="787"/>
                  <a:pt x="537" y="787"/>
                  <a:pt x="537" y="787"/>
                </a:cubicBezTo>
                <a:cubicBezTo>
                  <a:pt x="537" y="784"/>
                  <a:pt x="537" y="784"/>
                  <a:pt x="537" y="784"/>
                </a:cubicBezTo>
                <a:cubicBezTo>
                  <a:pt x="538" y="779"/>
                  <a:pt x="538" y="779"/>
                  <a:pt x="538" y="779"/>
                </a:cubicBezTo>
                <a:cubicBezTo>
                  <a:pt x="538" y="778"/>
                  <a:pt x="538" y="778"/>
                  <a:pt x="538" y="778"/>
                </a:cubicBezTo>
                <a:cubicBezTo>
                  <a:pt x="538" y="776"/>
                  <a:pt x="538" y="776"/>
                  <a:pt x="538" y="776"/>
                </a:cubicBezTo>
                <a:cubicBezTo>
                  <a:pt x="538" y="775"/>
                  <a:pt x="538" y="775"/>
                  <a:pt x="538" y="775"/>
                </a:cubicBezTo>
                <a:cubicBezTo>
                  <a:pt x="538" y="773"/>
                  <a:pt x="538" y="773"/>
                  <a:pt x="538" y="773"/>
                </a:cubicBezTo>
                <a:cubicBezTo>
                  <a:pt x="539" y="772"/>
                  <a:pt x="539" y="772"/>
                  <a:pt x="539" y="772"/>
                </a:cubicBezTo>
                <a:cubicBezTo>
                  <a:pt x="539" y="769"/>
                  <a:pt x="539" y="769"/>
                  <a:pt x="539" y="769"/>
                </a:cubicBezTo>
                <a:cubicBezTo>
                  <a:pt x="540" y="768"/>
                  <a:pt x="540" y="768"/>
                  <a:pt x="540" y="768"/>
                </a:cubicBezTo>
                <a:cubicBezTo>
                  <a:pt x="538" y="767"/>
                  <a:pt x="538" y="767"/>
                  <a:pt x="538" y="767"/>
                </a:cubicBezTo>
                <a:cubicBezTo>
                  <a:pt x="540" y="766"/>
                  <a:pt x="540" y="766"/>
                  <a:pt x="540" y="766"/>
                </a:cubicBezTo>
                <a:cubicBezTo>
                  <a:pt x="540" y="763"/>
                  <a:pt x="540" y="763"/>
                  <a:pt x="540" y="763"/>
                </a:cubicBezTo>
                <a:cubicBezTo>
                  <a:pt x="541" y="763"/>
                  <a:pt x="541" y="763"/>
                  <a:pt x="541" y="763"/>
                </a:cubicBezTo>
                <a:cubicBezTo>
                  <a:pt x="541" y="765"/>
                  <a:pt x="541" y="765"/>
                  <a:pt x="541" y="765"/>
                </a:cubicBezTo>
                <a:cubicBezTo>
                  <a:pt x="541" y="766"/>
                  <a:pt x="541" y="766"/>
                  <a:pt x="541" y="766"/>
                </a:cubicBezTo>
                <a:cubicBezTo>
                  <a:pt x="542" y="766"/>
                  <a:pt x="542" y="766"/>
                  <a:pt x="542" y="766"/>
                </a:cubicBezTo>
                <a:cubicBezTo>
                  <a:pt x="542" y="764"/>
                  <a:pt x="542" y="764"/>
                  <a:pt x="542" y="764"/>
                </a:cubicBezTo>
                <a:cubicBezTo>
                  <a:pt x="544" y="762"/>
                  <a:pt x="544" y="762"/>
                  <a:pt x="544" y="762"/>
                </a:cubicBezTo>
                <a:cubicBezTo>
                  <a:pt x="544" y="759"/>
                  <a:pt x="544" y="759"/>
                  <a:pt x="544" y="759"/>
                </a:cubicBezTo>
                <a:cubicBezTo>
                  <a:pt x="545" y="759"/>
                  <a:pt x="545" y="759"/>
                  <a:pt x="545" y="759"/>
                </a:cubicBezTo>
                <a:cubicBezTo>
                  <a:pt x="545" y="756"/>
                  <a:pt x="545" y="756"/>
                  <a:pt x="545" y="756"/>
                </a:cubicBezTo>
                <a:cubicBezTo>
                  <a:pt x="546" y="755"/>
                  <a:pt x="546" y="755"/>
                  <a:pt x="546" y="755"/>
                </a:cubicBezTo>
                <a:cubicBezTo>
                  <a:pt x="544" y="756"/>
                  <a:pt x="544" y="756"/>
                  <a:pt x="544" y="756"/>
                </a:cubicBezTo>
                <a:cubicBezTo>
                  <a:pt x="544" y="759"/>
                  <a:pt x="544" y="759"/>
                  <a:pt x="544" y="759"/>
                </a:cubicBezTo>
                <a:cubicBezTo>
                  <a:pt x="542" y="760"/>
                  <a:pt x="542" y="760"/>
                  <a:pt x="542" y="760"/>
                </a:cubicBezTo>
                <a:cubicBezTo>
                  <a:pt x="543" y="759"/>
                  <a:pt x="543" y="759"/>
                  <a:pt x="543" y="759"/>
                </a:cubicBezTo>
                <a:cubicBezTo>
                  <a:pt x="544" y="756"/>
                  <a:pt x="544" y="756"/>
                  <a:pt x="544" y="756"/>
                </a:cubicBezTo>
                <a:cubicBezTo>
                  <a:pt x="544" y="753"/>
                  <a:pt x="544" y="753"/>
                  <a:pt x="544" y="753"/>
                </a:cubicBezTo>
                <a:cubicBezTo>
                  <a:pt x="544" y="752"/>
                  <a:pt x="544" y="752"/>
                  <a:pt x="544" y="752"/>
                </a:cubicBezTo>
                <a:cubicBezTo>
                  <a:pt x="544" y="748"/>
                  <a:pt x="544" y="748"/>
                  <a:pt x="544" y="748"/>
                </a:cubicBezTo>
                <a:cubicBezTo>
                  <a:pt x="543" y="746"/>
                  <a:pt x="543" y="746"/>
                  <a:pt x="543" y="746"/>
                </a:cubicBezTo>
                <a:cubicBezTo>
                  <a:pt x="544" y="744"/>
                  <a:pt x="544" y="744"/>
                  <a:pt x="544" y="744"/>
                </a:cubicBezTo>
                <a:cubicBezTo>
                  <a:pt x="545" y="741"/>
                  <a:pt x="545" y="741"/>
                  <a:pt x="545" y="741"/>
                </a:cubicBezTo>
                <a:cubicBezTo>
                  <a:pt x="546" y="739"/>
                  <a:pt x="546" y="739"/>
                  <a:pt x="546" y="739"/>
                </a:cubicBezTo>
                <a:cubicBezTo>
                  <a:pt x="546" y="735"/>
                  <a:pt x="546" y="735"/>
                  <a:pt x="546" y="735"/>
                </a:cubicBezTo>
                <a:cubicBezTo>
                  <a:pt x="547" y="734"/>
                  <a:pt x="547" y="734"/>
                  <a:pt x="547" y="734"/>
                </a:cubicBezTo>
                <a:cubicBezTo>
                  <a:pt x="549" y="733"/>
                  <a:pt x="549" y="733"/>
                  <a:pt x="549" y="733"/>
                </a:cubicBezTo>
                <a:cubicBezTo>
                  <a:pt x="548" y="731"/>
                  <a:pt x="548" y="731"/>
                  <a:pt x="548" y="731"/>
                </a:cubicBezTo>
                <a:cubicBezTo>
                  <a:pt x="550" y="729"/>
                  <a:pt x="550" y="729"/>
                  <a:pt x="550" y="729"/>
                </a:cubicBezTo>
                <a:cubicBezTo>
                  <a:pt x="551" y="730"/>
                  <a:pt x="551" y="730"/>
                  <a:pt x="551" y="730"/>
                </a:cubicBezTo>
                <a:cubicBezTo>
                  <a:pt x="553" y="729"/>
                  <a:pt x="553" y="729"/>
                  <a:pt x="553" y="729"/>
                </a:cubicBezTo>
                <a:cubicBezTo>
                  <a:pt x="553" y="726"/>
                  <a:pt x="553" y="726"/>
                  <a:pt x="553" y="726"/>
                </a:cubicBezTo>
                <a:cubicBezTo>
                  <a:pt x="554" y="727"/>
                  <a:pt x="554" y="727"/>
                  <a:pt x="554" y="727"/>
                </a:cubicBezTo>
                <a:cubicBezTo>
                  <a:pt x="556" y="726"/>
                  <a:pt x="556" y="726"/>
                  <a:pt x="556" y="726"/>
                </a:cubicBezTo>
                <a:cubicBezTo>
                  <a:pt x="555" y="725"/>
                  <a:pt x="555" y="725"/>
                  <a:pt x="555" y="725"/>
                </a:cubicBezTo>
                <a:cubicBezTo>
                  <a:pt x="557" y="724"/>
                  <a:pt x="557" y="724"/>
                  <a:pt x="557" y="724"/>
                </a:cubicBezTo>
                <a:cubicBezTo>
                  <a:pt x="557" y="725"/>
                  <a:pt x="557" y="725"/>
                  <a:pt x="557" y="725"/>
                </a:cubicBezTo>
                <a:cubicBezTo>
                  <a:pt x="558" y="724"/>
                  <a:pt x="558" y="724"/>
                  <a:pt x="558" y="724"/>
                </a:cubicBezTo>
                <a:cubicBezTo>
                  <a:pt x="560" y="725"/>
                  <a:pt x="560" y="725"/>
                  <a:pt x="560" y="725"/>
                </a:cubicBezTo>
                <a:cubicBezTo>
                  <a:pt x="558" y="727"/>
                  <a:pt x="558" y="727"/>
                  <a:pt x="558" y="727"/>
                </a:cubicBezTo>
                <a:cubicBezTo>
                  <a:pt x="560" y="727"/>
                  <a:pt x="560" y="727"/>
                  <a:pt x="560" y="727"/>
                </a:cubicBezTo>
                <a:cubicBezTo>
                  <a:pt x="561" y="725"/>
                  <a:pt x="561" y="725"/>
                  <a:pt x="561" y="725"/>
                </a:cubicBezTo>
                <a:cubicBezTo>
                  <a:pt x="563" y="725"/>
                  <a:pt x="563" y="725"/>
                  <a:pt x="563" y="725"/>
                </a:cubicBezTo>
                <a:cubicBezTo>
                  <a:pt x="567" y="723"/>
                  <a:pt x="567" y="723"/>
                  <a:pt x="567" y="723"/>
                </a:cubicBezTo>
                <a:cubicBezTo>
                  <a:pt x="570" y="720"/>
                  <a:pt x="570" y="720"/>
                  <a:pt x="570" y="720"/>
                </a:cubicBezTo>
                <a:cubicBezTo>
                  <a:pt x="572" y="720"/>
                  <a:pt x="572" y="720"/>
                  <a:pt x="572" y="720"/>
                </a:cubicBezTo>
                <a:cubicBezTo>
                  <a:pt x="573" y="719"/>
                  <a:pt x="573" y="719"/>
                  <a:pt x="573" y="719"/>
                </a:cubicBezTo>
                <a:cubicBezTo>
                  <a:pt x="572" y="717"/>
                  <a:pt x="572" y="717"/>
                  <a:pt x="572" y="717"/>
                </a:cubicBezTo>
                <a:cubicBezTo>
                  <a:pt x="572" y="715"/>
                  <a:pt x="572" y="715"/>
                  <a:pt x="572" y="715"/>
                </a:cubicBezTo>
                <a:cubicBezTo>
                  <a:pt x="571" y="712"/>
                  <a:pt x="571" y="712"/>
                  <a:pt x="571" y="712"/>
                </a:cubicBezTo>
                <a:cubicBezTo>
                  <a:pt x="572" y="714"/>
                  <a:pt x="572" y="714"/>
                  <a:pt x="572" y="714"/>
                </a:cubicBezTo>
                <a:cubicBezTo>
                  <a:pt x="573" y="714"/>
                  <a:pt x="573" y="714"/>
                  <a:pt x="573" y="714"/>
                </a:cubicBezTo>
                <a:cubicBezTo>
                  <a:pt x="575" y="712"/>
                  <a:pt x="575" y="712"/>
                  <a:pt x="575" y="712"/>
                </a:cubicBezTo>
                <a:cubicBezTo>
                  <a:pt x="576" y="711"/>
                  <a:pt x="576" y="711"/>
                  <a:pt x="576" y="711"/>
                </a:cubicBezTo>
                <a:cubicBezTo>
                  <a:pt x="576" y="713"/>
                  <a:pt x="576" y="713"/>
                  <a:pt x="576" y="713"/>
                </a:cubicBezTo>
                <a:cubicBezTo>
                  <a:pt x="575" y="714"/>
                  <a:pt x="575" y="714"/>
                  <a:pt x="575" y="714"/>
                </a:cubicBezTo>
                <a:cubicBezTo>
                  <a:pt x="576" y="716"/>
                  <a:pt x="576" y="716"/>
                  <a:pt x="576" y="716"/>
                </a:cubicBezTo>
                <a:cubicBezTo>
                  <a:pt x="575" y="718"/>
                  <a:pt x="575" y="718"/>
                  <a:pt x="575" y="718"/>
                </a:cubicBezTo>
                <a:cubicBezTo>
                  <a:pt x="578" y="717"/>
                  <a:pt x="578" y="717"/>
                  <a:pt x="578" y="717"/>
                </a:cubicBezTo>
                <a:cubicBezTo>
                  <a:pt x="579" y="715"/>
                  <a:pt x="579" y="715"/>
                  <a:pt x="579" y="715"/>
                </a:cubicBezTo>
                <a:cubicBezTo>
                  <a:pt x="581" y="715"/>
                  <a:pt x="581" y="715"/>
                  <a:pt x="581" y="715"/>
                </a:cubicBezTo>
                <a:cubicBezTo>
                  <a:pt x="582" y="714"/>
                  <a:pt x="582" y="714"/>
                  <a:pt x="582" y="714"/>
                </a:cubicBezTo>
                <a:cubicBezTo>
                  <a:pt x="585" y="713"/>
                  <a:pt x="585" y="713"/>
                  <a:pt x="585" y="713"/>
                </a:cubicBezTo>
                <a:cubicBezTo>
                  <a:pt x="588" y="713"/>
                  <a:pt x="588" y="713"/>
                  <a:pt x="588" y="713"/>
                </a:cubicBezTo>
                <a:cubicBezTo>
                  <a:pt x="593" y="714"/>
                  <a:pt x="593" y="714"/>
                  <a:pt x="593" y="714"/>
                </a:cubicBezTo>
                <a:cubicBezTo>
                  <a:pt x="594" y="715"/>
                  <a:pt x="594" y="715"/>
                  <a:pt x="594" y="715"/>
                </a:cubicBezTo>
                <a:cubicBezTo>
                  <a:pt x="599" y="716"/>
                  <a:pt x="599" y="716"/>
                  <a:pt x="599" y="716"/>
                </a:cubicBezTo>
                <a:cubicBezTo>
                  <a:pt x="601" y="716"/>
                  <a:pt x="601" y="716"/>
                  <a:pt x="601" y="716"/>
                </a:cubicBezTo>
                <a:cubicBezTo>
                  <a:pt x="601" y="714"/>
                  <a:pt x="601" y="714"/>
                  <a:pt x="601" y="714"/>
                </a:cubicBezTo>
                <a:cubicBezTo>
                  <a:pt x="601" y="713"/>
                  <a:pt x="601" y="713"/>
                  <a:pt x="601" y="713"/>
                </a:cubicBezTo>
                <a:cubicBezTo>
                  <a:pt x="603" y="713"/>
                  <a:pt x="603" y="713"/>
                  <a:pt x="603" y="713"/>
                </a:cubicBezTo>
                <a:cubicBezTo>
                  <a:pt x="604" y="713"/>
                  <a:pt x="604" y="713"/>
                  <a:pt x="604" y="713"/>
                </a:cubicBezTo>
                <a:cubicBezTo>
                  <a:pt x="603" y="714"/>
                  <a:pt x="603" y="714"/>
                  <a:pt x="603" y="714"/>
                </a:cubicBezTo>
                <a:cubicBezTo>
                  <a:pt x="605" y="715"/>
                  <a:pt x="605" y="715"/>
                  <a:pt x="605" y="715"/>
                </a:cubicBezTo>
                <a:cubicBezTo>
                  <a:pt x="606" y="714"/>
                  <a:pt x="606" y="714"/>
                  <a:pt x="606" y="714"/>
                </a:cubicBezTo>
                <a:cubicBezTo>
                  <a:pt x="607" y="715"/>
                  <a:pt x="607" y="715"/>
                  <a:pt x="607" y="715"/>
                </a:cubicBezTo>
                <a:cubicBezTo>
                  <a:pt x="607" y="716"/>
                  <a:pt x="607" y="716"/>
                  <a:pt x="607" y="716"/>
                </a:cubicBezTo>
                <a:cubicBezTo>
                  <a:pt x="607" y="717"/>
                  <a:pt x="607" y="717"/>
                  <a:pt x="607" y="717"/>
                </a:cubicBezTo>
                <a:cubicBezTo>
                  <a:pt x="609" y="717"/>
                  <a:pt x="609" y="717"/>
                  <a:pt x="609" y="717"/>
                </a:cubicBezTo>
                <a:cubicBezTo>
                  <a:pt x="610" y="718"/>
                  <a:pt x="610" y="718"/>
                  <a:pt x="610" y="718"/>
                </a:cubicBezTo>
                <a:cubicBezTo>
                  <a:pt x="609" y="719"/>
                  <a:pt x="609" y="719"/>
                  <a:pt x="609" y="719"/>
                </a:cubicBezTo>
                <a:cubicBezTo>
                  <a:pt x="608" y="720"/>
                  <a:pt x="608" y="720"/>
                  <a:pt x="608" y="720"/>
                </a:cubicBezTo>
                <a:cubicBezTo>
                  <a:pt x="609" y="721"/>
                  <a:pt x="609" y="721"/>
                  <a:pt x="609" y="721"/>
                </a:cubicBezTo>
                <a:cubicBezTo>
                  <a:pt x="611" y="720"/>
                  <a:pt x="611" y="720"/>
                  <a:pt x="611" y="720"/>
                </a:cubicBezTo>
                <a:cubicBezTo>
                  <a:pt x="612" y="721"/>
                  <a:pt x="612" y="721"/>
                  <a:pt x="612" y="721"/>
                </a:cubicBezTo>
                <a:cubicBezTo>
                  <a:pt x="614" y="722"/>
                  <a:pt x="614" y="722"/>
                  <a:pt x="614" y="722"/>
                </a:cubicBezTo>
                <a:cubicBezTo>
                  <a:pt x="615" y="721"/>
                  <a:pt x="615" y="721"/>
                  <a:pt x="615" y="721"/>
                </a:cubicBezTo>
                <a:cubicBezTo>
                  <a:pt x="617" y="720"/>
                  <a:pt x="617" y="720"/>
                  <a:pt x="617" y="720"/>
                </a:cubicBezTo>
                <a:cubicBezTo>
                  <a:pt x="619" y="721"/>
                  <a:pt x="619" y="721"/>
                  <a:pt x="619" y="721"/>
                </a:cubicBezTo>
                <a:cubicBezTo>
                  <a:pt x="619" y="722"/>
                  <a:pt x="619" y="722"/>
                  <a:pt x="619" y="722"/>
                </a:cubicBezTo>
                <a:cubicBezTo>
                  <a:pt x="621" y="721"/>
                  <a:pt x="621" y="721"/>
                  <a:pt x="621" y="721"/>
                </a:cubicBezTo>
                <a:cubicBezTo>
                  <a:pt x="621" y="719"/>
                  <a:pt x="621" y="719"/>
                  <a:pt x="621" y="719"/>
                </a:cubicBezTo>
                <a:cubicBezTo>
                  <a:pt x="620" y="717"/>
                  <a:pt x="620" y="717"/>
                  <a:pt x="620" y="717"/>
                </a:cubicBezTo>
                <a:cubicBezTo>
                  <a:pt x="622" y="717"/>
                  <a:pt x="622" y="717"/>
                  <a:pt x="622" y="717"/>
                </a:cubicBezTo>
                <a:cubicBezTo>
                  <a:pt x="623" y="719"/>
                  <a:pt x="623" y="719"/>
                  <a:pt x="623" y="719"/>
                </a:cubicBezTo>
                <a:cubicBezTo>
                  <a:pt x="625" y="720"/>
                  <a:pt x="625" y="720"/>
                  <a:pt x="625" y="720"/>
                </a:cubicBezTo>
                <a:cubicBezTo>
                  <a:pt x="626" y="721"/>
                  <a:pt x="626" y="721"/>
                  <a:pt x="626" y="721"/>
                </a:cubicBezTo>
                <a:cubicBezTo>
                  <a:pt x="627" y="721"/>
                  <a:pt x="627" y="721"/>
                  <a:pt x="627" y="721"/>
                </a:cubicBezTo>
                <a:cubicBezTo>
                  <a:pt x="628" y="722"/>
                  <a:pt x="628" y="722"/>
                  <a:pt x="628" y="722"/>
                </a:cubicBezTo>
                <a:cubicBezTo>
                  <a:pt x="628" y="724"/>
                  <a:pt x="628" y="724"/>
                  <a:pt x="628" y="724"/>
                </a:cubicBezTo>
                <a:cubicBezTo>
                  <a:pt x="629" y="722"/>
                  <a:pt x="629" y="722"/>
                  <a:pt x="629" y="722"/>
                </a:cubicBezTo>
                <a:cubicBezTo>
                  <a:pt x="630" y="722"/>
                  <a:pt x="630" y="722"/>
                  <a:pt x="630" y="722"/>
                </a:cubicBezTo>
                <a:cubicBezTo>
                  <a:pt x="631" y="721"/>
                  <a:pt x="631" y="721"/>
                  <a:pt x="631" y="721"/>
                </a:cubicBezTo>
                <a:cubicBezTo>
                  <a:pt x="628" y="719"/>
                  <a:pt x="628" y="719"/>
                  <a:pt x="628" y="719"/>
                </a:cubicBezTo>
                <a:cubicBezTo>
                  <a:pt x="625" y="718"/>
                  <a:pt x="625" y="718"/>
                  <a:pt x="625" y="718"/>
                </a:cubicBezTo>
                <a:cubicBezTo>
                  <a:pt x="624" y="717"/>
                  <a:pt x="624" y="717"/>
                  <a:pt x="624" y="717"/>
                </a:cubicBezTo>
                <a:cubicBezTo>
                  <a:pt x="624" y="715"/>
                  <a:pt x="624" y="715"/>
                  <a:pt x="624" y="715"/>
                </a:cubicBezTo>
                <a:cubicBezTo>
                  <a:pt x="627" y="714"/>
                  <a:pt x="627" y="714"/>
                  <a:pt x="627" y="714"/>
                </a:cubicBezTo>
                <a:cubicBezTo>
                  <a:pt x="628" y="713"/>
                  <a:pt x="628" y="713"/>
                  <a:pt x="628" y="713"/>
                </a:cubicBezTo>
                <a:cubicBezTo>
                  <a:pt x="626" y="712"/>
                  <a:pt x="626" y="712"/>
                  <a:pt x="626" y="712"/>
                </a:cubicBezTo>
                <a:cubicBezTo>
                  <a:pt x="626" y="711"/>
                  <a:pt x="626" y="711"/>
                  <a:pt x="626" y="711"/>
                </a:cubicBezTo>
                <a:cubicBezTo>
                  <a:pt x="625" y="711"/>
                  <a:pt x="625" y="711"/>
                  <a:pt x="625" y="711"/>
                </a:cubicBezTo>
                <a:cubicBezTo>
                  <a:pt x="624" y="712"/>
                  <a:pt x="624" y="712"/>
                  <a:pt x="624" y="712"/>
                </a:cubicBezTo>
                <a:cubicBezTo>
                  <a:pt x="623" y="713"/>
                  <a:pt x="623" y="713"/>
                  <a:pt x="623" y="713"/>
                </a:cubicBezTo>
                <a:cubicBezTo>
                  <a:pt x="623" y="712"/>
                  <a:pt x="623" y="712"/>
                  <a:pt x="623" y="712"/>
                </a:cubicBezTo>
                <a:cubicBezTo>
                  <a:pt x="624" y="710"/>
                  <a:pt x="624" y="710"/>
                  <a:pt x="624" y="710"/>
                </a:cubicBezTo>
                <a:cubicBezTo>
                  <a:pt x="628" y="708"/>
                  <a:pt x="628" y="708"/>
                  <a:pt x="628" y="708"/>
                </a:cubicBezTo>
                <a:cubicBezTo>
                  <a:pt x="629" y="707"/>
                  <a:pt x="629" y="707"/>
                  <a:pt x="629" y="707"/>
                </a:cubicBezTo>
                <a:cubicBezTo>
                  <a:pt x="635" y="706"/>
                  <a:pt x="635" y="706"/>
                  <a:pt x="635" y="706"/>
                </a:cubicBezTo>
                <a:cubicBezTo>
                  <a:pt x="638" y="706"/>
                  <a:pt x="638" y="706"/>
                  <a:pt x="638" y="706"/>
                </a:cubicBezTo>
                <a:cubicBezTo>
                  <a:pt x="639" y="706"/>
                  <a:pt x="639" y="706"/>
                  <a:pt x="639" y="706"/>
                </a:cubicBezTo>
                <a:cubicBezTo>
                  <a:pt x="640" y="706"/>
                  <a:pt x="640" y="706"/>
                  <a:pt x="640" y="706"/>
                </a:cubicBezTo>
                <a:cubicBezTo>
                  <a:pt x="641" y="704"/>
                  <a:pt x="641" y="704"/>
                  <a:pt x="641" y="704"/>
                </a:cubicBezTo>
                <a:cubicBezTo>
                  <a:pt x="642" y="703"/>
                  <a:pt x="642" y="703"/>
                  <a:pt x="642" y="703"/>
                </a:cubicBezTo>
                <a:cubicBezTo>
                  <a:pt x="643" y="703"/>
                  <a:pt x="643" y="703"/>
                  <a:pt x="643" y="703"/>
                </a:cubicBezTo>
                <a:cubicBezTo>
                  <a:pt x="643" y="704"/>
                  <a:pt x="643" y="704"/>
                  <a:pt x="643" y="704"/>
                </a:cubicBezTo>
                <a:cubicBezTo>
                  <a:pt x="643" y="705"/>
                  <a:pt x="643" y="705"/>
                  <a:pt x="643" y="705"/>
                </a:cubicBezTo>
                <a:cubicBezTo>
                  <a:pt x="645" y="707"/>
                  <a:pt x="645" y="707"/>
                  <a:pt x="645" y="707"/>
                </a:cubicBezTo>
                <a:cubicBezTo>
                  <a:pt x="647" y="706"/>
                  <a:pt x="647" y="706"/>
                  <a:pt x="647" y="706"/>
                </a:cubicBezTo>
                <a:cubicBezTo>
                  <a:pt x="650" y="706"/>
                  <a:pt x="650" y="706"/>
                  <a:pt x="650" y="706"/>
                </a:cubicBezTo>
                <a:cubicBezTo>
                  <a:pt x="651" y="706"/>
                  <a:pt x="651" y="706"/>
                  <a:pt x="651" y="706"/>
                </a:cubicBezTo>
                <a:cubicBezTo>
                  <a:pt x="652" y="707"/>
                  <a:pt x="652" y="707"/>
                  <a:pt x="652" y="707"/>
                </a:cubicBezTo>
                <a:cubicBezTo>
                  <a:pt x="655" y="706"/>
                  <a:pt x="655" y="706"/>
                  <a:pt x="655" y="706"/>
                </a:cubicBezTo>
                <a:cubicBezTo>
                  <a:pt x="656" y="707"/>
                  <a:pt x="656" y="707"/>
                  <a:pt x="656" y="707"/>
                </a:cubicBezTo>
                <a:cubicBezTo>
                  <a:pt x="658" y="705"/>
                  <a:pt x="658" y="705"/>
                  <a:pt x="658" y="705"/>
                </a:cubicBezTo>
                <a:cubicBezTo>
                  <a:pt x="661" y="705"/>
                  <a:pt x="661" y="705"/>
                  <a:pt x="661" y="705"/>
                </a:cubicBezTo>
                <a:cubicBezTo>
                  <a:pt x="661" y="706"/>
                  <a:pt x="661" y="706"/>
                  <a:pt x="661" y="706"/>
                </a:cubicBezTo>
                <a:cubicBezTo>
                  <a:pt x="660" y="706"/>
                  <a:pt x="660" y="706"/>
                  <a:pt x="660" y="706"/>
                </a:cubicBezTo>
                <a:cubicBezTo>
                  <a:pt x="657" y="706"/>
                  <a:pt x="657" y="706"/>
                  <a:pt x="657" y="706"/>
                </a:cubicBezTo>
                <a:cubicBezTo>
                  <a:pt x="657" y="707"/>
                  <a:pt x="657" y="707"/>
                  <a:pt x="657" y="707"/>
                </a:cubicBezTo>
                <a:cubicBezTo>
                  <a:pt x="660" y="707"/>
                  <a:pt x="660" y="707"/>
                  <a:pt x="660" y="707"/>
                </a:cubicBezTo>
                <a:cubicBezTo>
                  <a:pt x="662" y="707"/>
                  <a:pt x="662" y="707"/>
                  <a:pt x="662" y="707"/>
                </a:cubicBezTo>
                <a:cubicBezTo>
                  <a:pt x="664" y="708"/>
                  <a:pt x="664" y="708"/>
                  <a:pt x="664" y="708"/>
                </a:cubicBezTo>
                <a:cubicBezTo>
                  <a:pt x="665" y="709"/>
                  <a:pt x="665" y="709"/>
                  <a:pt x="665" y="709"/>
                </a:cubicBezTo>
                <a:cubicBezTo>
                  <a:pt x="664" y="708"/>
                  <a:pt x="664" y="708"/>
                  <a:pt x="664" y="708"/>
                </a:cubicBezTo>
                <a:cubicBezTo>
                  <a:pt x="665" y="707"/>
                  <a:pt x="665" y="707"/>
                  <a:pt x="665" y="707"/>
                </a:cubicBezTo>
                <a:cubicBezTo>
                  <a:pt x="666" y="707"/>
                  <a:pt x="666" y="707"/>
                  <a:pt x="666" y="707"/>
                </a:cubicBezTo>
                <a:cubicBezTo>
                  <a:pt x="666" y="708"/>
                  <a:pt x="666" y="708"/>
                  <a:pt x="666" y="708"/>
                </a:cubicBezTo>
                <a:cubicBezTo>
                  <a:pt x="668" y="710"/>
                  <a:pt x="668" y="710"/>
                  <a:pt x="668" y="710"/>
                </a:cubicBezTo>
                <a:cubicBezTo>
                  <a:pt x="668" y="710"/>
                  <a:pt x="668" y="710"/>
                  <a:pt x="668" y="710"/>
                </a:cubicBezTo>
                <a:cubicBezTo>
                  <a:pt x="666" y="710"/>
                  <a:pt x="666" y="710"/>
                  <a:pt x="666" y="710"/>
                </a:cubicBezTo>
                <a:cubicBezTo>
                  <a:pt x="666" y="710"/>
                  <a:pt x="666" y="710"/>
                  <a:pt x="666" y="710"/>
                </a:cubicBezTo>
                <a:cubicBezTo>
                  <a:pt x="668" y="711"/>
                  <a:pt x="668" y="711"/>
                  <a:pt x="668" y="711"/>
                </a:cubicBezTo>
                <a:cubicBezTo>
                  <a:pt x="669" y="713"/>
                  <a:pt x="669" y="713"/>
                  <a:pt x="669" y="713"/>
                </a:cubicBezTo>
                <a:cubicBezTo>
                  <a:pt x="670" y="714"/>
                  <a:pt x="670" y="714"/>
                  <a:pt x="670" y="714"/>
                </a:cubicBezTo>
                <a:cubicBezTo>
                  <a:pt x="669" y="714"/>
                  <a:pt x="669" y="714"/>
                  <a:pt x="669" y="714"/>
                </a:cubicBezTo>
                <a:cubicBezTo>
                  <a:pt x="669" y="713"/>
                  <a:pt x="669" y="713"/>
                  <a:pt x="669" y="713"/>
                </a:cubicBezTo>
                <a:cubicBezTo>
                  <a:pt x="669" y="714"/>
                  <a:pt x="669" y="714"/>
                  <a:pt x="669" y="714"/>
                </a:cubicBezTo>
                <a:cubicBezTo>
                  <a:pt x="669" y="715"/>
                  <a:pt x="669" y="715"/>
                  <a:pt x="669" y="715"/>
                </a:cubicBezTo>
                <a:cubicBezTo>
                  <a:pt x="672" y="714"/>
                  <a:pt x="672" y="714"/>
                  <a:pt x="672" y="714"/>
                </a:cubicBezTo>
                <a:cubicBezTo>
                  <a:pt x="674" y="714"/>
                  <a:pt x="674" y="714"/>
                  <a:pt x="674" y="714"/>
                </a:cubicBezTo>
                <a:cubicBezTo>
                  <a:pt x="677" y="712"/>
                  <a:pt x="677" y="712"/>
                  <a:pt x="677" y="712"/>
                </a:cubicBezTo>
                <a:cubicBezTo>
                  <a:pt x="678" y="712"/>
                  <a:pt x="678" y="712"/>
                  <a:pt x="678" y="712"/>
                </a:cubicBezTo>
                <a:cubicBezTo>
                  <a:pt x="678" y="712"/>
                  <a:pt x="678" y="712"/>
                  <a:pt x="678" y="712"/>
                </a:cubicBezTo>
                <a:cubicBezTo>
                  <a:pt x="678" y="711"/>
                  <a:pt x="678" y="711"/>
                  <a:pt x="678" y="711"/>
                </a:cubicBezTo>
                <a:cubicBezTo>
                  <a:pt x="679" y="710"/>
                  <a:pt x="679" y="710"/>
                  <a:pt x="679" y="710"/>
                </a:cubicBezTo>
                <a:cubicBezTo>
                  <a:pt x="681" y="710"/>
                  <a:pt x="681" y="710"/>
                  <a:pt x="681" y="710"/>
                </a:cubicBezTo>
                <a:cubicBezTo>
                  <a:pt x="683" y="710"/>
                  <a:pt x="683" y="710"/>
                  <a:pt x="683" y="710"/>
                </a:cubicBezTo>
                <a:cubicBezTo>
                  <a:pt x="685" y="711"/>
                  <a:pt x="685" y="711"/>
                  <a:pt x="685" y="711"/>
                </a:cubicBezTo>
                <a:cubicBezTo>
                  <a:pt x="686" y="715"/>
                  <a:pt x="686" y="715"/>
                  <a:pt x="686" y="715"/>
                </a:cubicBezTo>
                <a:cubicBezTo>
                  <a:pt x="687" y="716"/>
                  <a:pt x="687" y="716"/>
                  <a:pt x="687" y="716"/>
                </a:cubicBezTo>
                <a:cubicBezTo>
                  <a:pt x="688" y="716"/>
                  <a:pt x="688" y="716"/>
                  <a:pt x="688" y="716"/>
                </a:cubicBezTo>
                <a:cubicBezTo>
                  <a:pt x="688" y="718"/>
                  <a:pt x="688" y="718"/>
                  <a:pt x="688" y="718"/>
                </a:cubicBezTo>
                <a:cubicBezTo>
                  <a:pt x="689" y="719"/>
                  <a:pt x="689" y="719"/>
                  <a:pt x="689" y="719"/>
                </a:cubicBezTo>
                <a:cubicBezTo>
                  <a:pt x="690" y="719"/>
                  <a:pt x="690" y="719"/>
                  <a:pt x="690" y="719"/>
                </a:cubicBezTo>
                <a:cubicBezTo>
                  <a:pt x="690" y="720"/>
                  <a:pt x="690" y="720"/>
                  <a:pt x="690" y="720"/>
                </a:cubicBezTo>
                <a:cubicBezTo>
                  <a:pt x="691" y="721"/>
                  <a:pt x="691" y="721"/>
                  <a:pt x="691" y="721"/>
                </a:cubicBezTo>
                <a:cubicBezTo>
                  <a:pt x="693" y="722"/>
                  <a:pt x="693" y="722"/>
                  <a:pt x="693" y="722"/>
                </a:cubicBezTo>
                <a:cubicBezTo>
                  <a:pt x="694" y="724"/>
                  <a:pt x="694" y="724"/>
                  <a:pt x="694" y="724"/>
                </a:cubicBezTo>
                <a:cubicBezTo>
                  <a:pt x="694" y="727"/>
                  <a:pt x="694" y="727"/>
                  <a:pt x="694" y="727"/>
                </a:cubicBezTo>
                <a:cubicBezTo>
                  <a:pt x="692" y="731"/>
                  <a:pt x="692" y="731"/>
                  <a:pt x="692" y="731"/>
                </a:cubicBezTo>
                <a:cubicBezTo>
                  <a:pt x="690" y="735"/>
                  <a:pt x="690" y="735"/>
                  <a:pt x="690" y="735"/>
                </a:cubicBezTo>
                <a:cubicBezTo>
                  <a:pt x="690" y="736"/>
                  <a:pt x="690" y="736"/>
                  <a:pt x="690" y="736"/>
                </a:cubicBezTo>
                <a:cubicBezTo>
                  <a:pt x="691" y="739"/>
                  <a:pt x="691" y="739"/>
                  <a:pt x="691" y="739"/>
                </a:cubicBezTo>
                <a:cubicBezTo>
                  <a:pt x="692" y="738"/>
                  <a:pt x="692" y="738"/>
                  <a:pt x="692" y="738"/>
                </a:cubicBezTo>
                <a:cubicBezTo>
                  <a:pt x="693" y="736"/>
                  <a:pt x="693" y="736"/>
                  <a:pt x="693" y="736"/>
                </a:cubicBezTo>
                <a:cubicBezTo>
                  <a:pt x="693" y="736"/>
                  <a:pt x="693" y="736"/>
                  <a:pt x="693" y="736"/>
                </a:cubicBezTo>
                <a:cubicBezTo>
                  <a:pt x="694" y="735"/>
                  <a:pt x="694" y="735"/>
                  <a:pt x="694" y="735"/>
                </a:cubicBezTo>
                <a:cubicBezTo>
                  <a:pt x="695" y="736"/>
                  <a:pt x="695" y="736"/>
                  <a:pt x="695" y="736"/>
                </a:cubicBezTo>
                <a:cubicBezTo>
                  <a:pt x="695" y="737"/>
                  <a:pt x="695" y="737"/>
                  <a:pt x="695" y="737"/>
                </a:cubicBezTo>
                <a:cubicBezTo>
                  <a:pt x="693" y="741"/>
                  <a:pt x="693" y="741"/>
                  <a:pt x="693" y="741"/>
                </a:cubicBezTo>
                <a:cubicBezTo>
                  <a:pt x="693" y="742"/>
                  <a:pt x="693" y="742"/>
                  <a:pt x="693" y="742"/>
                </a:cubicBezTo>
                <a:cubicBezTo>
                  <a:pt x="693" y="744"/>
                  <a:pt x="693" y="744"/>
                  <a:pt x="693" y="744"/>
                </a:cubicBezTo>
                <a:cubicBezTo>
                  <a:pt x="695" y="746"/>
                  <a:pt x="695" y="746"/>
                  <a:pt x="695" y="746"/>
                </a:cubicBezTo>
                <a:cubicBezTo>
                  <a:pt x="695" y="747"/>
                  <a:pt x="695" y="747"/>
                  <a:pt x="695" y="747"/>
                </a:cubicBezTo>
                <a:cubicBezTo>
                  <a:pt x="696" y="746"/>
                  <a:pt x="696" y="746"/>
                  <a:pt x="696" y="746"/>
                </a:cubicBezTo>
                <a:cubicBezTo>
                  <a:pt x="696" y="748"/>
                  <a:pt x="696" y="748"/>
                  <a:pt x="696" y="748"/>
                </a:cubicBezTo>
                <a:cubicBezTo>
                  <a:pt x="697" y="747"/>
                  <a:pt x="697" y="747"/>
                  <a:pt x="697" y="747"/>
                </a:cubicBezTo>
                <a:cubicBezTo>
                  <a:pt x="697" y="746"/>
                  <a:pt x="697" y="746"/>
                  <a:pt x="697" y="746"/>
                </a:cubicBezTo>
                <a:cubicBezTo>
                  <a:pt x="698" y="747"/>
                  <a:pt x="698" y="747"/>
                  <a:pt x="698" y="747"/>
                </a:cubicBezTo>
                <a:cubicBezTo>
                  <a:pt x="700" y="747"/>
                  <a:pt x="700" y="747"/>
                  <a:pt x="700" y="747"/>
                </a:cubicBezTo>
                <a:cubicBezTo>
                  <a:pt x="698" y="748"/>
                  <a:pt x="698" y="748"/>
                  <a:pt x="698" y="748"/>
                </a:cubicBezTo>
                <a:cubicBezTo>
                  <a:pt x="698" y="750"/>
                  <a:pt x="698" y="750"/>
                  <a:pt x="698" y="750"/>
                </a:cubicBezTo>
                <a:cubicBezTo>
                  <a:pt x="697" y="751"/>
                  <a:pt x="697" y="751"/>
                  <a:pt x="697" y="751"/>
                </a:cubicBezTo>
                <a:cubicBezTo>
                  <a:pt x="697" y="752"/>
                  <a:pt x="697" y="752"/>
                  <a:pt x="697" y="752"/>
                </a:cubicBezTo>
                <a:cubicBezTo>
                  <a:pt x="700" y="754"/>
                  <a:pt x="700" y="754"/>
                  <a:pt x="700" y="754"/>
                </a:cubicBezTo>
                <a:cubicBezTo>
                  <a:pt x="700" y="756"/>
                  <a:pt x="700" y="756"/>
                  <a:pt x="700" y="756"/>
                </a:cubicBezTo>
                <a:cubicBezTo>
                  <a:pt x="700" y="758"/>
                  <a:pt x="700" y="758"/>
                  <a:pt x="700" y="758"/>
                </a:cubicBezTo>
                <a:cubicBezTo>
                  <a:pt x="701" y="759"/>
                  <a:pt x="701" y="759"/>
                  <a:pt x="701" y="759"/>
                </a:cubicBezTo>
                <a:cubicBezTo>
                  <a:pt x="702" y="759"/>
                  <a:pt x="702" y="759"/>
                  <a:pt x="702" y="759"/>
                </a:cubicBezTo>
                <a:cubicBezTo>
                  <a:pt x="703" y="761"/>
                  <a:pt x="703" y="761"/>
                  <a:pt x="703" y="761"/>
                </a:cubicBezTo>
                <a:cubicBezTo>
                  <a:pt x="703" y="762"/>
                  <a:pt x="703" y="762"/>
                  <a:pt x="703" y="762"/>
                </a:cubicBezTo>
                <a:cubicBezTo>
                  <a:pt x="705" y="764"/>
                  <a:pt x="705" y="764"/>
                  <a:pt x="705" y="764"/>
                </a:cubicBezTo>
                <a:cubicBezTo>
                  <a:pt x="704" y="765"/>
                  <a:pt x="704" y="765"/>
                  <a:pt x="704" y="765"/>
                </a:cubicBezTo>
                <a:cubicBezTo>
                  <a:pt x="706" y="765"/>
                  <a:pt x="706" y="765"/>
                  <a:pt x="706" y="765"/>
                </a:cubicBezTo>
                <a:cubicBezTo>
                  <a:pt x="707" y="767"/>
                  <a:pt x="707" y="767"/>
                  <a:pt x="707" y="767"/>
                </a:cubicBezTo>
                <a:cubicBezTo>
                  <a:pt x="709" y="767"/>
                  <a:pt x="709" y="767"/>
                  <a:pt x="709" y="767"/>
                </a:cubicBezTo>
                <a:cubicBezTo>
                  <a:pt x="711" y="766"/>
                  <a:pt x="711" y="766"/>
                  <a:pt x="711" y="766"/>
                </a:cubicBezTo>
                <a:cubicBezTo>
                  <a:pt x="713" y="766"/>
                  <a:pt x="713" y="766"/>
                  <a:pt x="713" y="766"/>
                </a:cubicBezTo>
                <a:cubicBezTo>
                  <a:pt x="713" y="763"/>
                  <a:pt x="713" y="763"/>
                  <a:pt x="713" y="763"/>
                </a:cubicBezTo>
                <a:cubicBezTo>
                  <a:pt x="714" y="762"/>
                  <a:pt x="714" y="762"/>
                  <a:pt x="714" y="762"/>
                </a:cubicBezTo>
                <a:cubicBezTo>
                  <a:pt x="715" y="759"/>
                  <a:pt x="715" y="759"/>
                  <a:pt x="715" y="759"/>
                </a:cubicBezTo>
                <a:cubicBezTo>
                  <a:pt x="717" y="756"/>
                  <a:pt x="717" y="756"/>
                  <a:pt x="717" y="756"/>
                </a:cubicBezTo>
                <a:cubicBezTo>
                  <a:pt x="717" y="754"/>
                  <a:pt x="717" y="754"/>
                  <a:pt x="717" y="754"/>
                </a:cubicBezTo>
                <a:cubicBezTo>
                  <a:pt x="717" y="753"/>
                  <a:pt x="717" y="753"/>
                  <a:pt x="717" y="753"/>
                </a:cubicBezTo>
                <a:cubicBezTo>
                  <a:pt x="718" y="749"/>
                  <a:pt x="718" y="749"/>
                  <a:pt x="718" y="749"/>
                </a:cubicBezTo>
                <a:cubicBezTo>
                  <a:pt x="717" y="749"/>
                  <a:pt x="717" y="749"/>
                  <a:pt x="717" y="749"/>
                </a:cubicBezTo>
                <a:cubicBezTo>
                  <a:pt x="718" y="747"/>
                  <a:pt x="718" y="747"/>
                  <a:pt x="718" y="747"/>
                </a:cubicBezTo>
                <a:cubicBezTo>
                  <a:pt x="718" y="744"/>
                  <a:pt x="718" y="744"/>
                  <a:pt x="718" y="744"/>
                </a:cubicBezTo>
                <a:cubicBezTo>
                  <a:pt x="715" y="743"/>
                  <a:pt x="715" y="743"/>
                  <a:pt x="715" y="743"/>
                </a:cubicBezTo>
                <a:cubicBezTo>
                  <a:pt x="714" y="737"/>
                  <a:pt x="714" y="737"/>
                  <a:pt x="714" y="737"/>
                </a:cubicBezTo>
                <a:cubicBezTo>
                  <a:pt x="714" y="736"/>
                  <a:pt x="714" y="736"/>
                  <a:pt x="714" y="736"/>
                </a:cubicBezTo>
                <a:cubicBezTo>
                  <a:pt x="714" y="732"/>
                  <a:pt x="714" y="732"/>
                  <a:pt x="714" y="732"/>
                </a:cubicBezTo>
                <a:cubicBezTo>
                  <a:pt x="715" y="730"/>
                  <a:pt x="715" y="730"/>
                  <a:pt x="715" y="730"/>
                </a:cubicBezTo>
                <a:cubicBezTo>
                  <a:pt x="714" y="728"/>
                  <a:pt x="714" y="728"/>
                  <a:pt x="714" y="728"/>
                </a:cubicBezTo>
                <a:cubicBezTo>
                  <a:pt x="713" y="727"/>
                  <a:pt x="713" y="727"/>
                  <a:pt x="713" y="727"/>
                </a:cubicBezTo>
                <a:cubicBezTo>
                  <a:pt x="712" y="722"/>
                  <a:pt x="712" y="722"/>
                  <a:pt x="712" y="722"/>
                </a:cubicBezTo>
                <a:cubicBezTo>
                  <a:pt x="711" y="720"/>
                  <a:pt x="711" y="720"/>
                  <a:pt x="711" y="720"/>
                </a:cubicBezTo>
                <a:cubicBezTo>
                  <a:pt x="710" y="716"/>
                  <a:pt x="710" y="716"/>
                  <a:pt x="710" y="716"/>
                </a:cubicBezTo>
                <a:cubicBezTo>
                  <a:pt x="709" y="713"/>
                  <a:pt x="709" y="713"/>
                  <a:pt x="709" y="713"/>
                </a:cubicBezTo>
                <a:cubicBezTo>
                  <a:pt x="710" y="708"/>
                  <a:pt x="710" y="708"/>
                  <a:pt x="710" y="708"/>
                </a:cubicBezTo>
                <a:cubicBezTo>
                  <a:pt x="710" y="706"/>
                  <a:pt x="710" y="706"/>
                  <a:pt x="710" y="706"/>
                </a:cubicBezTo>
                <a:cubicBezTo>
                  <a:pt x="710" y="699"/>
                  <a:pt x="710" y="699"/>
                  <a:pt x="710" y="699"/>
                </a:cubicBezTo>
                <a:cubicBezTo>
                  <a:pt x="710" y="696"/>
                  <a:pt x="710" y="696"/>
                  <a:pt x="710" y="696"/>
                </a:cubicBezTo>
                <a:cubicBezTo>
                  <a:pt x="712" y="693"/>
                  <a:pt x="712" y="693"/>
                  <a:pt x="712" y="693"/>
                </a:cubicBezTo>
                <a:cubicBezTo>
                  <a:pt x="713" y="690"/>
                  <a:pt x="713" y="690"/>
                  <a:pt x="713" y="690"/>
                </a:cubicBezTo>
                <a:cubicBezTo>
                  <a:pt x="715" y="690"/>
                  <a:pt x="715" y="690"/>
                  <a:pt x="715" y="690"/>
                </a:cubicBezTo>
                <a:cubicBezTo>
                  <a:pt x="716" y="688"/>
                  <a:pt x="716" y="688"/>
                  <a:pt x="716" y="688"/>
                </a:cubicBezTo>
                <a:cubicBezTo>
                  <a:pt x="717" y="688"/>
                  <a:pt x="717" y="688"/>
                  <a:pt x="717" y="688"/>
                </a:cubicBezTo>
                <a:cubicBezTo>
                  <a:pt x="718" y="686"/>
                  <a:pt x="718" y="686"/>
                  <a:pt x="718" y="686"/>
                </a:cubicBezTo>
                <a:cubicBezTo>
                  <a:pt x="718" y="685"/>
                  <a:pt x="718" y="685"/>
                  <a:pt x="718" y="685"/>
                </a:cubicBezTo>
                <a:cubicBezTo>
                  <a:pt x="718" y="684"/>
                  <a:pt x="718" y="684"/>
                  <a:pt x="718" y="684"/>
                </a:cubicBezTo>
                <a:cubicBezTo>
                  <a:pt x="718" y="684"/>
                  <a:pt x="718" y="684"/>
                  <a:pt x="718" y="684"/>
                </a:cubicBezTo>
                <a:cubicBezTo>
                  <a:pt x="721" y="684"/>
                  <a:pt x="721" y="684"/>
                  <a:pt x="721" y="684"/>
                </a:cubicBezTo>
                <a:cubicBezTo>
                  <a:pt x="721" y="682"/>
                  <a:pt x="721" y="682"/>
                  <a:pt x="721" y="682"/>
                </a:cubicBezTo>
                <a:cubicBezTo>
                  <a:pt x="723" y="682"/>
                  <a:pt x="723" y="682"/>
                  <a:pt x="723" y="682"/>
                </a:cubicBezTo>
                <a:cubicBezTo>
                  <a:pt x="723" y="681"/>
                  <a:pt x="723" y="681"/>
                  <a:pt x="723" y="681"/>
                </a:cubicBezTo>
                <a:cubicBezTo>
                  <a:pt x="727" y="681"/>
                  <a:pt x="727" y="681"/>
                  <a:pt x="727" y="681"/>
                </a:cubicBezTo>
                <a:cubicBezTo>
                  <a:pt x="728" y="680"/>
                  <a:pt x="728" y="680"/>
                  <a:pt x="728" y="680"/>
                </a:cubicBezTo>
                <a:cubicBezTo>
                  <a:pt x="730" y="680"/>
                  <a:pt x="730" y="680"/>
                  <a:pt x="730" y="680"/>
                </a:cubicBezTo>
                <a:cubicBezTo>
                  <a:pt x="730" y="679"/>
                  <a:pt x="730" y="679"/>
                  <a:pt x="730" y="679"/>
                </a:cubicBezTo>
                <a:cubicBezTo>
                  <a:pt x="731" y="679"/>
                  <a:pt x="731" y="679"/>
                  <a:pt x="731" y="679"/>
                </a:cubicBezTo>
                <a:cubicBezTo>
                  <a:pt x="733" y="679"/>
                  <a:pt x="733" y="679"/>
                  <a:pt x="733" y="679"/>
                </a:cubicBezTo>
                <a:cubicBezTo>
                  <a:pt x="734" y="677"/>
                  <a:pt x="734" y="677"/>
                  <a:pt x="734" y="677"/>
                </a:cubicBezTo>
                <a:cubicBezTo>
                  <a:pt x="734" y="676"/>
                  <a:pt x="734" y="676"/>
                  <a:pt x="734" y="676"/>
                </a:cubicBezTo>
                <a:cubicBezTo>
                  <a:pt x="735" y="676"/>
                  <a:pt x="735" y="676"/>
                  <a:pt x="735" y="676"/>
                </a:cubicBezTo>
                <a:cubicBezTo>
                  <a:pt x="737" y="674"/>
                  <a:pt x="737" y="674"/>
                  <a:pt x="737" y="674"/>
                </a:cubicBezTo>
                <a:cubicBezTo>
                  <a:pt x="737" y="673"/>
                  <a:pt x="737" y="673"/>
                  <a:pt x="737" y="673"/>
                </a:cubicBezTo>
                <a:cubicBezTo>
                  <a:pt x="741" y="668"/>
                  <a:pt x="741" y="668"/>
                  <a:pt x="741" y="668"/>
                </a:cubicBezTo>
                <a:cubicBezTo>
                  <a:pt x="743" y="667"/>
                  <a:pt x="743" y="667"/>
                  <a:pt x="743" y="667"/>
                </a:cubicBezTo>
                <a:cubicBezTo>
                  <a:pt x="746" y="666"/>
                  <a:pt x="746" y="666"/>
                  <a:pt x="746" y="666"/>
                </a:cubicBezTo>
                <a:cubicBezTo>
                  <a:pt x="747" y="667"/>
                  <a:pt x="747" y="667"/>
                  <a:pt x="747" y="667"/>
                </a:cubicBezTo>
                <a:cubicBezTo>
                  <a:pt x="748" y="667"/>
                  <a:pt x="748" y="667"/>
                  <a:pt x="748" y="667"/>
                </a:cubicBezTo>
                <a:cubicBezTo>
                  <a:pt x="749" y="664"/>
                  <a:pt x="749" y="664"/>
                  <a:pt x="749" y="664"/>
                </a:cubicBezTo>
                <a:cubicBezTo>
                  <a:pt x="754" y="659"/>
                  <a:pt x="754" y="659"/>
                  <a:pt x="754" y="659"/>
                </a:cubicBezTo>
                <a:cubicBezTo>
                  <a:pt x="759" y="657"/>
                  <a:pt x="759" y="657"/>
                  <a:pt x="759" y="657"/>
                </a:cubicBezTo>
                <a:cubicBezTo>
                  <a:pt x="762" y="656"/>
                  <a:pt x="762" y="656"/>
                  <a:pt x="762" y="656"/>
                </a:cubicBezTo>
                <a:cubicBezTo>
                  <a:pt x="762" y="656"/>
                  <a:pt x="762" y="656"/>
                  <a:pt x="762" y="656"/>
                </a:cubicBezTo>
                <a:cubicBezTo>
                  <a:pt x="764" y="656"/>
                  <a:pt x="764" y="656"/>
                  <a:pt x="764" y="656"/>
                </a:cubicBezTo>
                <a:cubicBezTo>
                  <a:pt x="764" y="656"/>
                  <a:pt x="764" y="656"/>
                  <a:pt x="764" y="656"/>
                </a:cubicBezTo>
                <a:cubicBezTo>
                  <a:pt x="765" y="656"/>
                  <a:pt x="765" y="656"/>
                  <a:pt x="765" y="656"/>
                </a:cubicBezTo>
                <a:cubicBezTo>
                  <a:pt x="767" y="654"/>
                  <a:pt x="767" y="654"/>
                  <a:pt x="767" y="654"/>
                </a:cubicBezTo>
                <a:cubicBezTo>
                  <a:pt x="767" y="654"/>
                  <a:pt x="767" y="654"/>
                  <a:pt x="767" y="654"/>
                </a:cubicBezTo>
                <a:cubicBezTo>
                  <a:pt x="766" y="653"/>
                  <a:pt x="766" y="653"/>
                  <a:pt x="766" y="653"/>
                </a:cubicBezTo>
                <a:cubicBezTo>
                  <a:pt x="764" y="655"/>
                  <a:pt x="764" y="655"/>
                  <a:pt x="764" y="655"/>
                </a:cubicBezTo>
                <a:cubicBezTo>
                  <a:pt x="762" y="654"/>
                  <a:pt x="762" y="654"/>
                  <a:pt x="762" y="654"/>
                </a:cubicBezTo>
                <a:cubicBezTo>
                  <a:pt x="760" y="653"/>
                  <a:pt x="760" y="653"/>
                  <a:pt x="760" y="653"/>
                </a:cubicBezTo>
                <a:cubicBezTo>
                  <a:pt x="762" y="654"/>
                  <a:pt x="762" y="654"/>
                  <a:pt x="762" y="654"/>
                </a:cubicBezTo>
                <a:cubicBezTo>
                  <a:pt x="765" y="653"/>
                  <a:pt x="765" y="653"/>
                  <a:pt x="765" y="653"/>
                </a:cubicBezTo>
                <a:cubicBezTo>
                  <a:pt x="764" y="652"/>
                  <a:pt x="764" y="652"/>
                  <a:pt x="764" y="652"/>
                </a:cubicBezTo>
                <a:cubicBezTo>
                  <a:pt x="765" y="651"/>
                  <a:pt x="765" y="651"/>
                  <a:pt x="765" y="651"/>
                </a:cubicBezTo>
                <a:cubicBezTo>
                  <a:pt x="765" y="650"/>
                  <a:pt x="765" y="650"/>
                  <a:pt x="765" y="650"/>
                </a:cubicBezTo>
                <a:cubicBezTo>
                  <a:pt x="762" y="650"/>
                  <a:pt x="762" y="650"/>
                  <a:pt x="762" y="650"/>
                </a:cubicBezTo>
                <a:cubicBezTo>
                  <a:pt x="761" y="648"/>
                  <a:pt x="761" y="648"/>
                  <a:pt x="761" y="648"/>
                </a:cubicBezTo>
                <a:cubicBezTo>
                  <a:pt x="763" y="648"/>
                  <a:pt x="763" y="648"/>
                  <a:pt x="763" y="648"/>
                </a:cubicBezTo>
                <a:cubicBezTo>
                  <a:pt x="764" y="649"/>
                  <a:pt x="764" y="649"/>
                  <a:pt x="764" y="649"/>
                </a:cubicBezTo>
                <a:cubicBezTo>
                  <a:pt x="765" y="648"/>
                  <a:pt x="765" y="648"/>
                  <a:pt x="765" y="648"/>
                </a:cubicBezTo>
                <a:cubicBezTo>
                  <a:pt x="766" y="647"/>
                  <a:pt x="766" y="647"/>
                  <a:pt x="766" y="647"/>
                </a:cubicBezTo>
                <a:cubicBezTo>
                  <a:pt x="766" y="649"/>
                  <a:pt x="766" y="649"/>
                  <a:pt x="766" y="649"/>
                </a:cubicBezTo>
                <a:cubicBezTo>
                  <a:pt x="768" y="649"/>
                  <a:pt x="768" y="649"/>
                  <a:pt x="768" y="649"/>
                </a:cubicBezTo>
                <a:cubicBezTo>
                  <a:pt x="769" y="650"/>
                  <a:pt x="769" y="650"/>
                  <a:pt x="769" y="650"/>
                </a:cubicBezTo>
                <a:cubicBezTo>
                  <a:pt x="770" y="649"/>
                  <a:pt x="770" y="649"/>
                  <a:pt x="770" y="649"/>
                </a:cubicBezTo>
                <a:cubicBezTo>
                  <a:pt x="771" y="648"/>
                  <a:pt x="771" y="648"/>
                  <a:pt x="771" y="648"/>
                </a:cubicBezTo>
                <a:cubicBezTo>
                  <a:pt x="773" y="646"/>
                  <a:pt x="773" y="646"/>
                  <a:pt x="773" y="646"/>
                </a:cubicBezTo>
                <a:cubicBezTo>
                  <a:pt x="774" y="646"/>
                  <a:pt x="774" y="646"/>
                  <a:pt x="774" y="646"/>
                </a:cubicBezTo>
                <a:cubicBezTo>
                  <a:pt x="774" y="644"/>
                  <a:pt x="774" y="644"/>
                  <a:pt x="774" y="644"/>
                </a:cubicBezTo>
                <a:cubicBezTo>
                  <a:pt x="773" y="642"/>
                  <a:pt x="773" y="642"/>
                  <a:pt x="773" y="642"/>
                </a:cubicBezTo>
                <a:cubicBezTo>
                  <a:pt x="773" y="642"/>
                  <a:pt x="773" y="642"/>
                  <a:pt x="773" y="642"/>
                </a:cubicBezTo>
                <a:cubicBezTo>
                  <a:pt x="772" y="644"/>
                  <a:pt x="772" y="644"/>
                  <a:pt x="772" y="644"/>
                </a:cubicBezTo>
                <a:cubicBezTo>
                  <a:pt x="772" y="645"/>
                  <a:pt x="772" y="645"/>
                  <a:pt x="772" y="645"/>
                </a:cubicBezTo>
                <a:cubicBezTo>
                  <a:pt x="771" y="645"/>
                  <a:pt x="771" y="645"/>
                  <a:pt x="771" y="645"/>
                </a:cubicBezTo>
                <a:cubicBezTo>
                  <a:pt x="770" y="642"/>
                  <a:pt x="770" y="642"/>
                  <a:pt x="770" y="642"/>
                </a:cubicBezTo>
                <a:cubicBezTo>
                  <a:pt x="770" y="642"/>
                  <a:pt x="770" y="642"/>
                  <a:pt x="770" y="642"/>
                </a:cubicBezTo>
                <a:cubicBezTo>
                  <a:pt x="765" y="642"/>
                  <a:pt x="765" y="642"/>
                  <a:pt x="765" y="642"/>
                </a:cubicBezTo>
                <a:cubicBezTo>
                  <a:pt x="763" y="643"/>
                  <a:pt x="763" y="643"/>
                  <a:pt x="763" y="643"/>
                </a:cubicBezTo>
                <a:cubicBezTo>
                  <a:pt x="764" y="642"/>
                  <a:pt x="764" y="642"/>
                  <a:pt x="764" y="642"/>
                </a:cubicBezTo>
                <a:cubicBezTo>
                  <a:pt x="764" y="639"/>
                  <a:pt x="764" y="639"/>
                  <a:pt x="764" y="639"/>
                </a:cubicBezTo>
                <a:cubicBezTo>
                  <a:pt x="765" y="638"/>
                  <a:pt x="765" y="638"/>
                  <a:pt x="765" y="638"/>
                </a:cubicBezTo>
                <a:cubicBezTo>
                  <a:pt x="766" y="640"/>
                  <a:pt x="766" y="640"/>
                  <a:pt x="766" y="640"/>
                </a:cubicBezTo>
                <a:cubicBezTo>
                  <a:pt x="767" y="641"/>
                  <a:pt x="767" y="641"/>
                  <a:pt x="767" y="641"/>
                </a:cubicBezTo>
                <a:cubicBezTo>
                  <a:pt x="768" y="640"/>
                  <a:pt x="768" y="640"/>
                  <a:pt x="768" y="640"/>
                </a:cubicBezTo>
                <a:cubicBezTo>
                  <a:pt x="771" y="639"/>
                  <a:pt x="771" y="639"/>
                  <a:pt x="771" y="639"/>
                </a:cubicBezTo>
                <a:cubicBezTo>
                  <a:pt x="771" y="638"/>
                  <a:pt x="771" y="638"/>
                  <a:pt x="771" y="638"/>
                </a:cubicBezTo>
                <a:cubicBezTo>
                  <a:pt x="772" y="638"/>
                  <a:pt x="772" y="638"/>
                  <a:pt x="772" y="638"/>
                </a:cubicBezTo>
                <a:cubicBezTo>
                  <a:pt x="773" y="637"/>
                  <a:pt x="773" y="637"/>
                  <a:pt x="773" y="637"/>
                </a:cubicBezTo>
                <a:cubicBezTo>
                  <a:pt x="773" y="635"/>
                  <a:pt x="773" y="635"/>
                  <a:pt x="773" y="635"/>
                </a:cubicBezTo>
                <a:cubicBezTo>
                  <a:pt x="772" y="634"/>
                  <a:pt x="772" y="634"/>
                  <a:pt x="772" y="634"/>
                </a:cubicBezTo>
                <a:cubicBezTo>
                  <a:pt x="772" y="633"/>
                  <a:pt x="772" y="633"/>
                  <a:pt x="772" y="633"/>
                </a:cubicBezTo>
                <a:cubicBezTo>
                  <a:pt x="773" y="634"/>
                  <a:pt x="773" y="634"/>
                  <a:pt x="773" y="634"/>
                </a:cubicBezTo>
                <a:cubicBezTo>
                  <a:pt x="774" y="632"/>
                  <a:pt x="774" y="632"/>
                  <a:pt x="774" y="632"/>
                </a:cubicBezTo>
                <a:cubicBezTo>
                  <a:pt x="773" y="630"/>
                  <a:pt x="773" y="630"/>
                  <a:pt x="773" y="630"/>
                </a:cubicBezTo>
                <a:cubicBezTo>
                  <a:pt x="772" y="629"/>
                  <a:pt x="772" y="629"/>
                  <a:pt x="772" y="629"/>
                </a:cubicBezTo>
                <a:cubicBezTo>
                  <a:pt x="771" y="630"/>
                  <a:pt x="771" y="630"/>
                  <a:pt x="771" y="630"/>
                </a:cubicBezTo>
                <a:cubicBezTo>
                  <a:pt x="769" y="629"/>
                  <a:pt x="769" y="629"/>
                  <a:pt x="769" y="629"/>
                </a:cubicBezTo>
                <a:cubicBezTo>
                  <a:pt x="768" y="627"/>
                  <a:pt x="768" y="627"/>
                  <a:pt x="768" y="627"/>
                </a:cubicBezTo>
                <a:cubicBezTo>
                  <a:pt x="767" y="627"/>
                  <a:pt x="767" y="627"/>
                  <a:pt x="767" y="627"/>
                </a:cubicBezTo>
                <a:cubicBezTo>
                  <a:pt x="765" y="626"/>
                  <a:pt x="765" y="626"/>
                  <a:pt x="765" y="626"/>
                </a:cubicBezTo>
                <a:cubicBezTo>
                  <a:pt x="764" y="624"/>
                  <a:pt x="764" y="624"/>
                  <a:pt x="764" y="624"/>
                </a:cubicBezTo>
                <a:cubicBezTo>
                  <a:pt x="766" y="625"/>
                  <a:pt x="766" y="625"/>
                  <a:pt x="766" y="625"/>
                </a:cubicBezTo>
                <a:cubicBezTo>
                  <a:pt x="768" y="625"/>
                  <a:pt x="768" y="625"/>
                  <a:pt x="768" y="625"/>
                </a:cubicBezTo>
                <a:cubicBezTo>
                  <a:pt x="769" y="627"/>
                  <a:pt x="769" y="627"/>
                  <a:pt x="769" y="627"/>
                </a:cubicBezTo>
                <a:cubicBezTo>
                  <a:pt x="770" y="628"/>
                  <a:pt x="770" y="628"/>
                  <a:pt x="770" y="628"/>
                </a:cubicBezTo>
                <a:cubicBezTo>
                  <a:pt x="771" y="626"/>
                  <a:pt x="771" y="626"/>
                  <a:pt x="771" y="626"/>
                </a:cubicBezTo>
                <a:cubicBezTo>
                  <a:pt x="769" y="624"/>
                  <a:pt x="769" y="624"/>
                  <a:pt x="769" y="624"/>
                </a:cubicBezTo>
                <a:cubicBezTo>
                  <a:pt x="771" y="625"/>
                  <a:pt x="771" y="625"/>
                  <a:pt x="771" y="625"/>
                </a:cubicBezTo>
                <a:cubicBezTo>
                  <a:pt x="771" y="624"/>
                  <a:pt x="771" y="624"/>
                  <a:pt x="771" y="624"/>
                </a:cubicBezTo>
                <a:cubicBezTo>
                  <a:pt x="772" y="623"/>
                  <a:pt x="772" y="623"/>
                  <a:pt x="772" y="623"/>
                </a:cubicBezTo>
                <a:cubicBezTo>
                  <a:pt x="771" y="622"/>
                  <a:pt x="771" y="622"/>
                  <a:pt x="771" y="622"/>
                </a:cubicBezTo>
                <a:cubicBezTo>
                  <a:pt x="769" y="620"/>
                  <a:pt x="769" y="620"/>
                  <a:pt x="769" y="620"/>
                </a:cubicBezTo>
                <a:cubicBezTo>
                  <a:pt x="768" y="618"/>
                  <a:pt x="768" y="618"/>
                  <a:pt x="768" y="618"/>
                </a:cubicBezTo>
                <a:cubicBezTo>
                  <a:pt x="769" y="618"/>
                  <a:pt x="769" y="618"/>
                  <a:pt x="769" y="618"/>
                </a:cubicBezTo>
                <a:cubicBezTo>
                  <a:pt x="770" y="620"/>
                  <a:pt x="770" y="620"/>
                  <a:pt x="770" y="620"/>
                </a:cubicBezTo>
                <a:cubicBezTo>
                  <a:pt x="771" y="620"/>
                  <a:pt x="771" y="620"/>
                  <a:pt x="771" y="620"/>
                </a:cubicBezTo>
                <a:cubicBezTo>
                  <a:pt x="772" y="618"/>
                  <a:pt x="772" y="618"/>
                  <a:pt x="772" y="618"/>
                </a:cubicBezTo>
                <a:cubicBezTo>
                  <a:pt x="771" y="616"/>
                  <a:pt x="771" y="616"/>
                  <a:pt x="771" y="616"/>
                </a:cubicBezTo>
                <a:cubicBezTo>
                  <a:pt x="770" y="615"/>
                  <a:pt x="770" y="615"/>
                  <a:pt x="770" y="615"/>
                </a:cubicBezTo>
                <a:cubicBezTo>
                  <a:pt x="768" y="613"/>
                  <a:pt x="768" y="613"/>
                  <a:pt x="768" y="613"/>
                </a:cubicBezTo>
                <a:cubicBezTo>
                  <a:pt x="765" y="612"/>
                  <a:pt x="765" y="612"/>
                  <a:pt x="765" y="612"/>
                </a:cubicBezTo>
                <a:cubicBezTo>
                  <a:pt x="764" y="610"/>
                  <a:pt x="764" y="610"/>
                  <a:pt x="764" y="610"/>
                </a:cubicBezTo>
                <a:cubicBezTo>
                  <a:pt x="763" y="609"/>
                  <a:pt x="763" y="609"/>
                  <a:pt x="763" y="609"/>
                </a:cubicBezTo>
                <a:cubicBezTo>
                  <a:pt x="763" y="607"/>
                  <a:pt x="763" y="607"/>
                  <a:pt x="763" y="607"/>
                </a:cubicBezTo>
                <a:cubicBezTo>
                  <a:pt x="764" y="605"/>
                  <a:pt x="764" y="605"/>
                  <a:pt x="764" y="605"/>
                </a:cubicBezTo>
                <a:cubicBezTo>
                  <a:pt x="763" y="608"/>
                  <a:pt x="763" y="608"/>
                  <a:pt x="763" y="608"/>
                </a:cubicBezTo>
                <a:cubicBezTo>
                  <a:pt x="764" y="609"/>
                  <a:pt x="764" y="609"/>
                  <a:pt x="764" y="609"/>
                </a:cubicBezTo>
                <a:cubicBezTo>
                  <a:pt x="765" y="609"/>
                  <a:pt x="765" y="609"/>
                  <a:pt x="765" y="609"/>
                </a:cubicBezTo>
                <a:cubicBezTo>
                  <a:pt x="766" y="611"/>
                  <a:pt x="766" y="611"/>
                  <a:pt x="766" y="611"/>
                </a:cubicBezTo>
                <a:cubicBezTo>
                  <a:pt x="768" y="611"/>
                  <a:pt x="768" y="611"/>
                  <a:pt x="768" y="611"/>
                </a:cubicBezTo>
                <a:cubicBezTo>
                  <a:pt x="770" y="614"/>
                  <a:pt x="770" y="614"/>
                  <a:pt x="770" y="614"/>
                </a:cubicBezTo>
                <a:cubicBezTo>
                  <a:pt x="771" y="614"/>
                  <a:pt x="771" y="614"/>
                  <a:pt x="771" y="614"/>
                </a:cubicBezTo>
                <a:cubicBezTo>
                  <a:pt x="771" y="610"/>
                  <a:pt x="771" y="610"/>
                  <a:pt x="771" y="610"/>
                </a:cubicBezTo>
                <a:cubicBezTo>
                  <a:pt x="771" y="608"/>
                  <a:pt x="771" y="608"/>
                  <a:pt x="771" y="608"/>
                </a:cubicBezTo>
                <a:cubicBezTo>
                  <a:pt x="771" y="607"/>
                  <a:pt x="771" y="607"/>
                  <a:pt x="771" y="607"/>
                </a:cubicBezTo>
                <a:cubicBezTo>
                  <a:pt x="771" y="605"/>
                  <a:pt x="771" y="605"/>
                  <a:pt x="771" y="605"/>
                </a:cubicBezTo>
                <a:cubicBezTo>
                  <a:pt x="771" y="603"/>
                  <a:pt x="771" y="603"/>
                  <a:pt x="771" y="603"/>
                </a:cubicBezTo>
                <a:cubicBezTo>
                  <a:pt x="771" y="601"/>
                  <a:pt x="771" y="601"/>
                  <a:pt x="771" y="601"/>
                </a:cubicBezTo>
                <a:cubicBezTo>
                  <a:pt x="770" y="600"/>
                  <a:pt x="770" y="600"/>
                  <a:pt x="770" y="600"/>
                </a:cubicBezTo>
                <a:cubicBezTo>
                  <a:pt x="771" y="600"/>
                  <a:pt x="771" y="600"/>
                  <a:pt x="771" y="600"/>
                </a:cubicBezTo>
                <a:cubicBezTo>
                  <a:pt x="773" y="599"/>
                  <a:pt x="773" y="599"/>
                  <a:pt x="773" y="599"/>
                </a:cubicBezTo>
                <a:cubicBezTo>
                  <a:pt x="775" y="597"/>
                  <a:pt x="775" y="597"/>
                  <a:pt x="775" y="597"/>
                </a:cubicBezTo>
                <a:cubicBezTo>
                  <a:pt x="775" y="596"/>
                  <a:pt x="775" y="596"/>
                  <a:pt x="775" y="596"/>
                </a:cubicBezTo>
                <a:cubicBezTo>
                  <a:pt x="775" y="595"/>
                  <a:pt x="775" y="595"/>
                  <a:pt x="775" y="595"/>
                </a:cubicBezTo>
                <a:cubicBezTo>
                  <a:pt x="776" y="596"/>
                  <a:pt x="776" y="596"/>
                  <a:pt x="776" y="596"/>
                </a:cubicBezTo>
                <a:cubicBezTo>
                  <a:pt x="775" y="598"/>
                  <a:pt x="775" y="598"/>
                  <a:pt x="775" y="598"/>
                </a:cubicBezTo>
                <a:cubicBezTo>
                  <a:pt x="776" y="598"/>
                  <a:pt x="776" y="598"/>
                  <a:pt x="776" y="598"/>
                </a:cubicBezTo>
                <a:cubicBezTo>
                  <a:pt x="774" y="599"/>
                  <a:pt x="774" y="599"/>
                  <a:pt x="774" y="599"/>
                </a:cubicBezTo>
                <a:cubicBezTo>
                  <a:pt x="773" y="602"/>
                  <a:pt x="773" y="602"/>
                  <a:pt x="773" y="602"/>
                </a:cubicBezTo>
                <a:cubicBezTo>
                  <a:pt x="774" y="604"/>
                  <a:pt x="774" y="604"/>
                  <a:pt x="774" y="604"/>
                </a:cubicBezTo>
                <a:cubicBezTo>
                  <a:pt x="774" y="607"/>
                  <a:pt x="774" y="607"/>
                  <a:pt x="774" y="607"/>
                </a:cubicBezTo>
                <a:cubicBezTo>
                  <a:pt x="773" y="609"/>
                  <a:pt x="773" y="609"/>
                  <a:pt x="773" y="609"/>
                </a:cubicBezTo>
                <a:cubicBezTo>
                  <a:pt x="773" y="611"/>
                  <a:pt x="773" y="611"/>
                  <a:pt x="773" y="611"/>
                </a:cubicBezTo>
                <a:cubicBezTo>
                  <a:pt x="774" y="613"/>
                  <a:pt x="774" y="613"/>
                  <a:pt x="774" y="613"/>
                </a:cubicBezTo>
                <a:cubicBezTo>
                  <a:pt x="775" y="612"/>
                  <a:pt x="775" y="612"/>
                  <a:pt x="775" y="612"/>
                </a:cubicBezTo>
                <a:cubicBezTo>
                  <a:pt x="775" y="613"/>
                  <a:pt x="775" y="613"/>
                  <a:pt x="775" y="613"/>
                </a:cubicBezTo>
                <a:cubicBezTo>
                  <a:pt x="776" y="613"/>
                  <a:pt x="776" y="613"/>
                  <a:pt x="776" y="613"/>
                </a:cubicBezTo>
                <a:cubicBezTo>
                  <a:pt x="776" y="614"/>
                  <a:pt x="776" y="614"/>
                  <a:pt x="776" y="614"/>
                </a:cubicBezTo>
                <a:cubicBezTo>
                  <a:pt x="776" y="614"/>
                  <a:pt x="776" y="614"/>
                  <a:pt x="776" y="614"/>
                </a:cubicBezTo>
                <a:cubicBezTo>
                  <a:pt x="776" y="616"/>
                  <a:pt x="776" y="616"/>
                  <a:pt x="776" y="616"/>
                </a:cubicBezTo>
                <a:cubicBezTo>
                  <a:pt x="779" y="616"/>
                  <a:pt x="779" y="616"/>
                  <a:pt x="779" y="616"/>
                </a:cubicBezTo>
                <a:cubicBezTo>
                  <a:pt x="777" y="617"/>
                  <a:pt x="777" y="617"/>
                  <a:pt x="777" y="617"/>
                </a:cubicBezTo>
                <a:cubicBezTo>
                  <a:pt x="777" y="617"/>
                  <a:pt x="777" y="617"/>
                  <a:pt x="777" y="617"/>
                </a:cubicBezTo>
                <a:cubicBezTo>
                  <a:pt x="776" y="619"/>
                  <a:pt x="776" y="619"/>
                  <a:pt x="776" y="619"/>
                </a:cubicBezTo>
                <a:cubicBezTo>
                  <a:pt x="776" y="620"/>
                  <a:pt x="776" y="620"/>
                  <a:pt x="776" y="620"/>
                </a:cubicBezTo>
                <a:cubicBezTo>
                  <a:pt x="775" y="622"/>
                  <a:pt x="775" y="622"/>
                  <a:pt x="775" y="622"/>
                </a:cubicBezTo>
                <a:cubicBezTo>
                  <a:pt x="775" y="624"/>
                  <a:pt x="775" y="624"/>
                  <a:pt x="775" y="624"/>
                </a:cubicBezTo>
                <a:cubicBezTo>
                  <a:pt x="775" y="626"/>
                  <a:pt x="775" y="626"/>
                  <a:pt x="775" y="626"/>
                </a:cubicBezTo>
                <a:cubicBezTo>
                  <a:pt x="775" y="626"/>
                  <a:pt x="775" y="626"/>
                  <a:pt x="775" y="626"/>
                </a:cubicBezTo>
                <a:cubicBezTo>
                  <a:pt x="776" y="625"/>
                  <a:pt x="776" y="625"/>
                  <a:pt x="776" y="625"/>
                </a:cubicBezTo>
                <a:cubicBezTo>
                  <a:pt x="778" y="621"/>
                  <a:pt x="778" y="621"/>
                  <a:pt x="778" y="621"/>
                </a:cubicBezTo>
                <a:cubicBezTo>
                  <a:pt x="778" y="622"/>
                  <a:pt x="778" y="622"/>
                  <a:pt x="778" y="622"/>
                </a:cubicBezTo>
                <a:cubicBezTo>
                  <a:pt x="778" y="622"/>
                  <a:pt x="778" y="622"/>
                  <a:pt x="778" y="622"/>
                </a:cubicBezTo>
                <a:cubicBezTo>
                  <a:pt x="779" y="622"/>
                  <a:pt x="779" y="622"/>
                  <a:pt x="779" y="622"/>
                </a:cubicBezTo>
                <a:cubicBezTo>
                  <a:pt x="779" y="620"/>
                  <a:pt x="779" y="620"/>
                  <a:pt x="779" y="620"/>
                </a:cubicBezTo>
                <a:cubicBezTo>
                  <a:pt x="780" y="618"/>
                  <a:pt x="780" y="618"/>
                  <a:pt x="780" y="618"/>
                </a:cubicBezTo>
                <a:cubicBezTo>
                  <a:pt x="781" y="614"/>
                  <a:pt x="781" y="614"/>
                  <a:pt x="781" y="614"/>
                </a:cubicBezTo>
                <a:cubicBezTo>
                  <a:pt x="784" y="613"/>
                  <a:pt x="784" y="613"/>
                  <a:pt x="784" y="613"/>
                </a:cubicBezTo>
                <a:cubicBezTo>
                  <a:pt x="785" y="609"/>
                  <a:pt x="785" y="609"/>
                  <a:pt x="785" y="609"/>
                </a:cubicBezTo>
                <a:cubicBezTo>
                  <a:pt x="785" y="607"/>
                  <a:pt x="785" y="607"/>
                  <a:pt x="785" y="607"/>
                </a:cubicBezTo>
                <a:cubicBezTo>
                  <a:pt x="784" y="603"/>
                  <a:pt x="784" y="603"/>
                  <a:pt x="784" y="603"/>
                </a:cubicBezTo>
                <a:cubicBezTo>
                  <a:pt x="783" y="602"/>
                  <a:pt x="783" y="602"/>
                  <a:pt x="783" y="602"/>
                </a:cubicBezTo>
                <a:cubicBezTo>
                  <a:pt x="783" y="600"/>
                  <a:pt x="783" y="600"/>
                  <a:pt x="783" y="600"/>
                </a:cubicBezTo>
                <a:cubicBezTo>
                  <a:pt x="782" y="599"/>
                  <a:pt x="782" y="599"/>
                  <a:pt x="782" y="599"/>
                </a:cubicBezTo>
                <a:cubicBezTo>
                  <a:pt x="782" y="597"/>
                  <a:pt x="782" y="597"/>
                  <a:pt x="782" y="597"/>
                </a:cubicBezTo>
                <a:cubicBezTo>
                  <a:pt x="783" y="595"/>
                  <a:pt x="783" y="595"/>
                  <a:pt x="783" y="595"/>
                </a:cubicBezTo>
                <a:cubicBezTo>
                  <a:pt x="784" y="593"/>
                  <a:pt x="784" y="593"/>
                  <a:pt x="784" y="593"/>
                </a:cubicBezTo>
                <a:cubicBezTo>
                  <a:pt x="787" y="592"/>
                  <a:pt x="787" y="592"/>
                  <a:pt x="787" y="592"/>
                </a:cubicBezTo>
                <a:cubicBezTo>
                  <a:pt x="783" y="595"/>
                  <a:pt x="783" y="595"/>
                  <a:pt x="783" y="595"/>
                </a:cubicBezTo>
                <a:cubicBezTo>
                  <a:pt x="783" y="597"/>
                  <a:pt x="783" y="597"/>
                  <a:pt x="783" y="597"/>
                </a:cubicBezTo>
                <a:cubicBezTo>
                  <a:pt x="784" y="598"/>
                  <a:pt x="784" y="598"/>
                  <a:pt x="784" y="598"/>
                </a:cubicBezTo>
                <a:cubicBezTo>
                  <a:pt x="786" y="601"/>
                  <a:pt x="786" y="601"/>
                  <a:pt x="786" y="601"/>
                </a:cubicBezTo>
                <a:cubicBezTo>
                  <a:pt x="787" y="600"/>
                  <a:pt x="787" y="600"/>
                  <a:pt x="787" y="600"/>
                </a:cubicBezTo>
                <a:cubicBezTo>
                  <a:pt x="788" y="601"/>
                  <a:pt x="788" y="601"/>
                  <a:pt x="788" y="601"/>
                </a:cubicBezTo>
                <a:cubicBezTo>
                  <a:pt x="787" y="604"/>
                  <a:pt x="787" y="604"/>
                  <a:pt x="787" y="604"/>
                </a:cubicBezTo>
                <a:cubicBezTo>
                  <a:pt x="789" y="603"/>
                  <a:pt x="789" y="603"/>
                  <a:pt x="789" y="603"/>
                </a:cubicBezTo>
                <a:cubicBezTo>
                  <a:pt x="789" y="603"/>
                  <a:pt x="789" y="603"/>
                  <a:pt x="789" y="603"/>
                </a:cubicBezTo>
                <a:cubicBezTo>
                  <a:pt x="790" y="601"/>
                  <a:pt x="790" y="601"/>
                  <a:pt x="790" y="601"/>
                </a:cubicBezTo>
                <a:cubicBezTo>
                  <a:pt x="791" y="600"/>
                  <a:pt x="791" y="600"/>
                  <a:pt x="791" y="600"/>
                </a:cubicBezTo>
                <a:cubicBezTo>
                  <a:pt x="791" y="600"/>
                  <a:pt x="791" y="600"/>
                  <a:pt x="791" y="600"/>
                </a:cubicBezTo>
                <a:cubicBezTo>
                  <a:pt x="792" y="599"/>
                  <a:pt x="792" y="599"/>
                  <a:pt x="792" y="599"/>
                </a:cubicBezTo>
                <a:cubicBezTo>
                  <a:pt x="794" y="599"/>
                  <a:pt x="794" y="599"/>
                  <a:pt x="794" y="599"/>
                </a:cubicBezTo>
                <a:cubicBezTo>
                  <a:pt x="795" y="595"/>
                  <a:pt x="795" y="595"/>
                  <a:pt x="795" y="595"/>
                </a:cubicBezTo>
                <a:cubicBezTo>
                  <a:pt x="795" y="594"/>
                  <a:pt x="795" y="594"/>
                  <a:pt x="795" y="594"/>
                </a:cubicBezTo>
                <a:cubicBezTo>
                  <a:pt x="796" y="594"/>
                  <a:pt x="796" y="594"/>
                  <a:pt x="796" y="594"/>
                </a:cubicBezTo>
                <a:cubicBezTo>
                  <a:pt x="797" y="592"/>
                  <a:pt x="797" y="592"/>
                  <a:pt x="797" y="592"/>
                </a:cubicBezTo>
                <a:cubicBezTo>
                  <a:pt x="798" y="591"/>
                  <a:pt x="798" y="591"/>
                  <a:pt x="798" y="591"/>
                </a:cubicBezTo>
                <a:cubicBezTo>
                  <a:pt x="798" y="590"/>
                  <a:pt x="798" y="590"/>
                  <a:pt x="798" y="590"/>
                </a:cubicBezTo>
                <a:cubicBezTo>
                  <a:pt x="799" y="588"/>
                  <a:pt x="799" y="588"/>
                  <a:pt x="799" y="588"/>
                </a:cubicBezTo>
                <a:cubicBezTo>
                  <a:pt x="798" y="587"/>
                  <a:pt x="798" y="587"/>
                  <a:pt x="798" y="587"/>
                </a:cubicBezTo>
                <a:cubicBezTo>
                  <a:pt x="800" y="586"/>
                  <a:pt x="800" y="586"/>
                  <a:pt x="800" y="586"/>
                </a:cubicBezTo>
                <a:cubicBezTo>
                  <a:pt x="799" y="585"/>
                  <a:pt x="799" y="585"/>
                  <a:pt x="799" y="585"/>
                </a:cubicBezTo>
                <a:cubicBezTo>
                  <a:pt x="798" y="584"/>
                  <a:pt x="798" y="584"/>
                  <a:pt x="798" y="584"/>
                </a:cubicBezTo>
                <a:cubicBezTo>
                  <a:pt x="797" y="582"/>
                  <a:pt x="797" y="582"/>
                  <a:pt x="797" y="582"/>
                </a:cubicBezTo>
                <a:cubicBezTo>
                  <a:pt x="800" y="581"/>
                  <a:pt x="800" y="581"/>
                  <a:pt x="800" y="581"/>
                </a:cubicBezTo>
                <a:cubicBezTo>
                  <a:pt x="800" y="579"/>
                  <a:pt x="800" y="579"/>
                  <a:pt x="800" y="579"/>
                </a:cubicBezTo>
                <a:cubicBezTo>
                  <a:pt x="802" y="578"/>
                  <a:pt x="802" y="578"/>
                  <a:pt x="802" y="578"/>
                </a:cubicBezTo>
                <a:cubicBezTo>
                  <a:pt x="803" y="577"/>
                  <a:pt x="803" y="577"/>
                  <a:pt x="803" y="577"/>
                </a:cubicBezTo>
                <a:cubicBezTo>
                  <a:pt x="807" y="576"/>
                  <a:pt x="807" y="576"/>
                  <a:pt x="807" y="576"/>
                </a:cubicBezTo>
                <a:cubicBezTo>
                  <a:pt x="809" y="576"/>
                  <a:pt x="809" y="576"/>
                  <a:pt x="809" y="576"/>
                </a:cubicBezTo>
                <a:cubicBezTo>
                  <a:pt x="812" y="573"/>
                  <a:pt x="812" y="573"/>
                  <a:pt x="812" y="573"/>
                </a:cubicBezTo>
                <a:cubicBezTo>
                  <a:pt x="813" y="573"/>
                  <a:pt x="813" y="573"/>
                  <a:pt x="813" y="573"/>
                </a:cubicBezTo>
                <a:cubicBezTo>
                  <a:pt x="814" y="574"/>
                  <a:pt x="814" y="574"/>
                  <a:pt x="814" y="574"/>
                </a:cubicBezTo>
                <a:cubicBezTo>
                  <a:pt x="818" y="574"/>
                  <a:pt x="818" y="574"/>
                  <a:pt x="818" y="574"/>
                </a:cubicBezTo>
                <a:cubicBezTo>
                  <a:pt x="820" y="574"/>
                  <a:pt x="820" y="574"/>
                  <a:pt x="820" y="574"/>
                </a:cubicBezTo>
                <a:cubicBezTo>
                  <a:pt x="822" y="574"/>
                  <a:pt x="822" y="574"/>
                  <a:pt x="822" y="574"/>
                </a:cubicBezTo>
                <a:cubicBezTo>
                  <a:pt x="827" y="573"/>
                  <a:pt x="827" y="573"/>
                  <a:pt x="827" y="573"/>
                </a:cubicBezTo>
                <a:cubicBezTo>
                  <a:pt x="828" y="573"/>
                  <a:pt x="828" y="573"/>
                  <a:pt x="828" y="573"/>
                </a:cubicBezTo>
                <a:cubicBezTo>
                  <a:pt x="827" y="572"/>
                  <a:pt x="827" y="572"/>
                  <a:pt x="827" y="572"/>
                </a:cubicBezTo>
                <a:cubicBezTo>
                  <a:pt x="827" y="569"/>
                  <a:pt x="827" y="569"/>
                  <a:pt x="827" y="569"/>
                </a:cubicBezTo>
                <a:cubicBezTo>
                  <a:pt x="827" y="567"/>
                  <a:pt x="827" y="567"/>
                  <a:pt x="827" y="567"/>
                </a:cubicBezTo>
                <a:cubicBezTo>
                  <a:pt x="829" y="569"/>
                  <a:pt x="829" y="569"/>
                  <a:pt x="829" y="569"/>
                </a:cubicBezTo>
                <a:cubicBezTo>
                  <a:pt x="829" y="571"/>
                  <a:pt x="829" y="571"/>
                  <a:pt x="829" y="571"/>
                </a:cubicBezTo>
                <a:cubicBezTo>
                  <a:pt x="829" y="573"/>
                  <a:pt x="829" y="573"/>
                  <a:pt x="829" y="573"/>
                </a:cubicBezTo>
                <a:cubicBezTo>
                  <a:pt x="830" y="573"/>
                  <a:pt x="830" y="573"/>
                  <a:pt x="830" y="573"/>
                </a:cubicBezTo>
                <a:cubicBezTo>
                  <a:pt x="832" y="571"/>
                  <a:pt x="832" y="571"/>
                  <a:pt x="832" y="571"/>
                </a:cubicBezTo>
                <a:cubicBezTo>
                  <a:pt x="834" y="567"/>
                  <a:pt x="834" y="567"/>
                  <a:pt x="834" y="567"/>
                </a:cubicBezTo>
                <a:cubicBezTo>
                  <a:pt x="835" y="569"/>
                  <a:pt x="835" y="569"/>
                  <a:pt x="835" y="569"/>
                </a:cubicBezTo>
                <a:cubicBezTo>
                  <a:pt x="835" y="571"/>
                  <a:pt x="835" y="571"/>
                  <a:pt x="835" y="571"/>
                </a:cubicBezTo>
                <a:cubicBezTo>
                  <a:pt x="836" y="571"/>
                  <a:pt x="836" y="571"/>
                  <a:pt x="836" y="571"/>
                </a:cubicBezTo>
                <a:cubicBezTo>
                  <a:pt x="841" y="569"/>
                  <a:pt x="841" y="569"/>
                  <a:pt x="841" y="569"/>
                </a:cubicBezTo>
                <a:cubicBezTo>
                  <a:pt x="842" y="567"/>
                  <a:pt x="842" y="567"/>
                  <a:pt x="842" y="567"/>
                </a:cubicBezTo>
                <a:cubicBezTo>
                  <a:pt x="841" y="563"/>
                  <a:pt x="841" y="563"/>
                  <a:pt x="841" y="563"/>
                </a:cubicBezTo>
                <a:cubicBezTo>
                  <a:pt x="840" y="563"/>
                  <a:pt x="840" y="563"/>
                  <a:pt x="840" y="563"/>
                </a:cubicBezTo>
                <a:cubicBezTo>
                  <a:pt x="840" y="565"/>
                  <a:pt x="840" y="565"/>
                  <a:pt x="840" y="565"/>
                </a:cubicBezTo>
                <a:cubicBezTo>
                  <a:pt x="840" y="567"/>
                  <a:pt x="840" y="567"/>
                  <a:pt x="840" y="567"/>
                </a:cubicBezTo>
                <a:cubicBezTo>
                  <a:pt x="837" y="568"/>
                  <a:pt x="837" y="568"/>
                  <a:pt x="837" y="568"/>
                </a:cubicBezTo>
                <a:cubicBezTo>
                  <a:pt x="836" y="566"/>
                  <a:pt x="836" y="566"/>
                  <a:pt x="836" y="566"/>
                </a:cubicBezTo>
                <a:cubicBezTo>
                  <a:pt x="835" y="563"/>
                  <a:pt x="835" y="563"/>
                  <a:pt x="835" y="563"/>
                </a:cubicBezTo>
                <a:cubicBezTo>
                  <a:pt x="833" y="561"/>
                  <a:pt x="833" y="561"/>
                  <a:pt x="833" y="561"/>
                </a:cubicBezTo>
                <a:cubicBezTo>
                  <a:pt x="833" y="560"/>
                  <a:pt x="833" y="560"/>
                  <a:pt x="833" y="560"/>
                </a:cubicBezTo>
                <a:cubicBezTo>
                  <a:pt x="836" y="557"/>
                  <a:pt x="836" y="557"/>
                  <a:pt x="836" y="557"/>
                </a:cubicBezTo>
                <a:cubicBezTo>
                  <a:pt x="836" y="555"/>
                  <a:pt x="836" y="555"/>
                  <a:pt x="836" y="555"/>
                </a:cubicBezTo>
                <a:cubicBezTo>
                  <a:pt x="835" y="555"/>
                  <a:pt x="835" y="555"/>
                  <a:pt x="835" y="555"/>
                </a:cubicBezTo>
                <a:cubicBezTo>
                  <a:pt x="835" y="554"/>
                  <a:pt x="835" y="554"/>
                  <a:pt x="835" y="554"/>
                </a:cubicBezTo>
                <a:cubicBezTo>
                  <a:pt x="836" y="553"/>
                  <a:pt x="836" y="553"/>
                  <a:pt x="836" y="553"/>
                </a:cubicBezTo>
                <a:cubicBezTo>
                  <a:pt x="837" y="552"/>
                  <a:pt x="837" y="552"/>
                  <a:pt x="837" y="552"/>
                </a:cubicBezTo>
                <a:cubicBezTo>
                  <a:pt x="838" y="550"/>
                  <a:pt x="838" y="550"/>
                  <a:pt x="838" y="550"/>
                </a:cubicBezTo>
                <a:cubicBezTo>
                  <a:pt x="839" y="547"/>
                  <a:pt x="839" y="547"/>
                  <a:pt x="839" y="547"/>
                </a:cubicBezTo>
                <a:cubicBezTo>
                  <a:pt x="843" y="544"/>
                  <a:pt x="843" y="544"/>
                  <a:pt x="843" y="544"/>
                </a:cubicBezTo>
                <a:cubicBezTo>
                  <a:pt x="844" y="541"/>
                  <a:pt x="844" y="541"/>
                  <a:pt x="844" y="541"/>
                </a:cubicBezTo>
                <a:cubicBezTo>
                  <a:pt x="845" y="541"/>
                  <a:pt x="845" y="541"/>
                  <a:pt x="845" y="541"/>
                </a:cubicBezTo>
                <a:cubicBezTo>
                  <a:pt x="846" y="539"/>
                  <a:pt x="846" y="539"/>
                  <a:pt x="846" y="539"/>
                </a:cubicBezTo>
                <a:cubicBezTo>
                  <a:pt x="846" y="541"/>
                  <a:pt x="846" y="541"/>
                  <a:pt x="846" y="541"/>
                </a:cubicBezTo>
                <a:cubicBezTo>
                  <a:pt x="848" y="541"/>
                  <a:pt x="848" y="541"/>
                  <a:pt x="848" y="541"/>
                </a:cubicBezTo>
                <a:cubicBezTo>
                  <a:pt x="849" y="540"/>
                  <a:pt x="849" y="540"/>
                  <a:pt x="849" y="540"/>
                </a:cubicBezTo>
                <a:cubicBezTo>
                  <a:pt x="850" y="538"/>
                  <a:pt x="850" y="538"/>
                  <a:pt x="850" y="538"/>
                </a:cubicBezTo>
                <a:cubicBezTo>
                  <a:pt x="850" y="540"/>
                  <a:pt x="850" y="540"/>
                  <a:pt x="850" y="540"/>
                </a:cubicBezTo>
                <a:cubicBezTo>
                  <a:pt x="851" y="540"/>
                  <a:pt x="851" y="540"/>
                  <a:pt x="851" y="540"/>
                </a:cubicBezTo>
                <a:cubicBezTo>
                  <a:pt x="853" y="538"/>
                  <a:pt x="853" y="538"/>
                  <a:pt x="853" y="538"/>
                </a:cubicBezTo>
                <a:cubicBezTo>
                  <a:pt x="853" y="539"/>
                  <a:pt x="853" y="539"/>
                  <a:pt x="853" y="539"/>
                </a:cubicBezTo>
                <a:cubicBezTo>
                  <a:pt x="854" y="538"/>
                  <a:pt x="854" y="538"/>
                  <a:pt x="854" y="538"/>
                </a:cubicBezTo>
                <a:cubicBezTo>
                  <a:pt x="856" y="535"/>
                  <a:pt x="856" y="535"/>
                  <a:pt x="856" y="535"/>
                </a:cubicBezTo>
                <a:cubicBezTo>
                  <a:pt x="859" y="531"/>
                  <a:pt x="859" y="531"/>
                  <a:pt x="859" y="531"/>
                </a:cubicBezTo>
                <a:cubicBezTo>
                  <a:pt x="858" y="533"/>
                  <a:pt x="858" y="533"/>
                  <a:pt x="858" y="533"/>
                </a:cubicBezTo>
                <a:cubicBezTo>
                  <a:pt x="859" y="535"/>
                  <a:pt x="859" y="535"/>
                  <a:pt x="859" y="535"/>
                </a:cubicBezTo>
                <a:cubicBezTo>
                  <a:pt x="861" y="535"/>
                  <a:pt x="861" y="535"/>
                  <a:pt x="861" y="535"/>
                </a:cubicBezTo>
                <a:cubicBezTo>
                  <a:pt x="862" y="533"/>
                  <a:pt x="862" y="533"/>
                  <a:pt x="862" y="533"/>
                </a:cubicBezTo>
                <a:cubicBezTo>
                  <a:pt x="865" y="533"/>
                  <a:pt x="865" y="533"/>
                  <a:pt x="865" y="533"/>
                </a:cubicBezTo>
                <a:cubicBezTo>
                  <a:pt x="865" y="535"/>
                  <a:pt x="865" y="535"/>
                  <a:pt x="865" y="535"/>
                </a:cubicBezTo>
                <a:cubicBezTo>
                  <a:pt x="867" y="535"/>
                  <a:pt x="867" y="535"/>
                  <a:pt x="867" y="535"/>
                </a:cubicBezTo>
                <a:cubicBezTo>
                  <a:pt x="868" y="533"/>
                  <a:pt x="868" y="533"/>
                  <a:pt x="868" y="533"/>
                </a:cubicBezTo>
                <a:cubicBezTo>
                  <a:pt x="870" y="534"/>
                  <a:pt x="870" y="534"/>
                  <a:pt x="870" y="534"/>
                </a:cubicBezTo>
                <a:cubicBezTo>
                  <a:pt x="871" y="533"/>
                  <a:pt x="871" y="533"/>
                  <a:pt x="871" y="533"/>
                </a:cubicBezTo>
                <a:cubicBezTo>
                  <a:pt x="873" y="532"/>
                  <a:pt x="873" y="532"/>
                  <a:pt x="873" y="532"/>
                </a:cubicBezTo>
                <a:cubicBezTo>
                  <a:pt x="874" y="532"/>
                  <a:pt x="874" y="532"/>
                  <a:pt x="874" y="532"/>
                </a:cubicBezTo>
                <a:cubicBezTo>
                  <a:pt x="877" y="530"/>
                  <a:pt x="877" y="530"/>
                  <a:pt x="877" y="530"/>
                </a:cubicBezTo>
                <a:cubicBezTo>
                  <a:pt x="877" y="532"/>
                  <a:pt x="877" y="532"/>
                  <a:pt x="877" y="532"/>
                </a:cubicBezTo>
                <a:cubicBezTo>
                  <a:pt x="879" y="531"/>
                  <a:pt x="879" y="531"/>
                  <a:pt x="879" y="531"/>
                </a:cubicBezTo>
                <a:cubicBezTo>
                  <a:pt x="881" y="530"/>
                  <a:pt x="881" y="530"/>
                  <a:pt x="881" y="530"/>
                </a:cubicBezTo>
                <a:cubicBezTo>
                  <a:pt x="879" y="529"/>
                  <a:pt x="879" y="529"/>
                  <a:pt x="879" y="529"/>
                </a:cubicBezTo>
                <a:cubicBezTo>
                  <a:pt x="878" y="530"/>
                  <a:pt x="878" y="530"/>
                  <a:pt x="878" y="530"/>
                </a:cubicBezTo>
                <a:cubicBezTo>
                  <a:pt x="876" y="528"/>
                  <a:pt x="876" y="528"/>
                  <a:pt x="876" y="528"/>
                </a:cubicBezTo>
                <a:cubicBezTo>
                  <a:pt x="877" y="526"/>
                  <a:pt x="877" y="526"/>
                  <a:pt x="877" y="526"/>
                </a:cubicBezTo>
                <a:cubicBezTo>
                  <a:pt x="873" y="524"/>
                  <a:pt x="873" y="524"/>
                  <a:pt x="873" y="524"/>
                </a:cubicBezTo>
                <a:cubicBezTo>
                  <a:pt x="873" y="524"/>
                  <a:pt x="873" y="524"/>
                  <a:pt x="873" y="524"/>
                </a:cubicBezTo>
                <a:cubicBezTo>
                  <a:pt x="876" y="525"/>
                  <a:pt x="876" y="525"/>
                  <a:pt x="876" y="525"/>
                </a:cubicBezTo>
                <a:cubicBezTo>
                  <a:pt x="879" y="524"/>
                  <a:pt x="879" y="524"/>
                  <a:pt x="879" y="524"/>
                </a:cubicBezTo>
                <a:cubicBezTo>
                  <a:pt x="879" y="526"/>
                  <a:pt x="879" y="526"/>
                  <a:pt x="879" y="526"/>
                </a:cubicBezTo>
                <a:cubicBezTo>
                  <a:pt x="880" y="526"/>
                  <a:pt x="880" y="526"/>
                  <a:pt x="880" y="526"/>
                </a:cubicBezTo>
                <a:cubicBezTo>
                  <a:pt x="881" y="525"/>
                  <a:pt x="881" y="525"/>
                  <a:pt x="881" y="525"/>
                </a:cubicBezTo>
                <a:cubicBezTo>
                  <a:pt x="883" y="525"/>
                  <a:pt x="883" y="525"/>
                  <a:pt x="883" y="525"/>
                </a:cubicBezTo>
                <a:cubicBezTo>
                  <a:pt x="885" y="525"/>
                  <a:pt x="885" y="525"/>
                  <a:pt x="885" y="525"/>
                </a:cubicBezTo>
                <a:cubicBezTo>
                  <a:pt x="886" y="523"/>
                  <a:pt x="886" y="523"/>
                  <a:pt x="886" y="523"/>
                </a:cubicBezTo>
                <a:cubicBezTo>
                  <a:pt x="888" y="521"/>
                  <a:pt x="888" y="521"/>
                  <a:pt x="888" y="521"/>
                </a:cubicBezTo>
                <a:cubicBezTo>
                  <a:pt x="887" y="523"/>
                  <a:pt x="887" y="523"/>
                  <a:pt x="887" y="523"/>
                </a:cubicBezTo>
                <a:cubicBezTo>
                  <a:pt x="887" y="523"/>
                  <a:pt x="887" y="523"/>
                  <a:pt x="887" y="523"/>
                </a:cubicBezTo>
                <a:cubicBezTo>
                  <a:pt x="887" y="524"/>
                  <a:pt x="887" y="524"/>
                  <a:pt x="887" y="524"/>
                </a:cubicBezTo>
                <a:cubicBezTo>
                  <a:pt x="888" y="525"/>
                  <a:pt x="888" y="525"/>
                  <a:pt x="888" y="525"/>
                </a:cubicBezTo>
                <a:cubicBezTo>
                  <a:pt x="892" y="524"/>
                  <a:pt x="892" y="524"/>
                  <a:pt x="892" y="524"/>
                </a:cubicBezTo>
                <a:cubicBezTo>
                  <a:pt x="893" y="522"/>
                  <a:pt x="893" y="522"/>
                  <a:pt x="893" y="522"/>
                </a:cubicBezTo>
                <a:cubicBezTo>
                  <a:pt x="895" y="522"/>
                  <a:pt x="895" y="522"/>
                  <a:pt x="895" y="522"/>
                </a:cubicBezTo>
                <a:cubicBezTo>
                  <a:pt x="898" y="520"/>
                  <a:pt x="898" y="520"/>
                  <a:pt x="898" y="520"/>
                </a:cubicBezTo>
                <a:cubicBezTo>
                  <a:pt x="899" y="520"/>
                  <a:pt x="899" y="520"/>
                  <a:pt x="899" y="520"/>
                </a:cubicBezTo>
                <a:cubicBezTo>
                  <a:pt x="901" y="516"/>
                  <a:pt x="901" y="516"/>
                  <a:pt x="901" y="516"/>
                </a:cubicBezTo>
                <a:cubicBezTo>
                  <a:pt x="902" y="518"/>
                  <a:pt x="902" y="518"/>
                  <a:pt x="902" y="518"/>
                </a:cubicBezTo>
                <a:cubicBezTo>
                  <a:pt x="903" y="517"/>
                  <a:pt x="903" y="517"/>
                  <a:pt x="903" y="517"/>
                </a:cubicBezTo>
                <a:cubicBezTo>
                  <a:pt x="903" y="518"/>
                  <a:pt x="903" y="518"/>
                  <a:pt x="903" y="518"/>
                </a:cubicBezTo>
                <a:cubicBezTo>
                  <a:pt x="901" y="520"/>
                  <a:pt x="901" y="520"/>
                  <a:pt x="901" y="520"/>
                </a:cubicBezTo>
                <a:cubicBezTo>
                  <a:pt x="899" y="521"/>
                  <a:pt x="899" y="521"/>
                  <a:pt x="899" y="521"/>
                </a:cubicBezTo>
                <a:cubicBezTo>
                  <a:pt x="897" y="523"/>
                  <a:pt x="897" y="523"/>
                  <a:pt x="897" y="523"/>
                </a:cubicBezTo>
                <a:cubicBezTo>
                  <a:pt x="899" y="524"/>
                  <a:pt x="899" y="524"/>
                  <a:pt x="899" y="524"/>
                </a:cubicBezTo>
                <a:cubicBezTo>
                  <a:pt x="900" y="522"/>
                  <a:pt x="900" y="522"/>
                  <a:pt x="900" y="522"/>
                </a:cubicBezTo>
                <a:cubicBezTo>
                  <a:pt x="902" y="522"/>
                  <a:pt x="902" y="522"/>
                  <a:pt x="902" y="522"/>
                </a:cubicBezTo>
                <a:cubicBezTo>
                  <a:pt x="904" y="523"/>
                  <a:pt x="904" y="523"/>
                  <a:pt x="904" y="523"/>
                </a:cubicBezTo>
                <a:cubicBezTo>
                  <a:pt x="908" y="523"/>
                  <a:pt x="908" y="523"/>
                  <a:pt x="908" y="523"/>
                </a:cubicBezTo>
                <a:cubicBezTo>
                  <a:pt x="911" y="523"/>
                  <a:pt x="911" y="523"/>
                  <a:pt x="911" y="523"/>
                </a:cubicBezTo>
                <a:cubicBezTo>
                  <a:pt x="909" y="524"/>
                  <a:pt x="909" y="524"/>
                  <a:pt x="909" y="524"/>
                </a:cubicBezTo>
                <a:cubicBezTo>
                  <a:pt x="906" y="525"/>
                  <a:pt x="906" y="525"/>
                  <a:pt x="906" y="525"/>
                </a:cubicBezTo>
                <a:cubicBezTo>
                  <a:pt x="904" y="525"/>
                  <a:pt x="904" y="525"/>
                  <a:pt x="904" y="525"/>
                </a:cubicBezTo>
                <a:cubicBezTo>
                  <a:pt x="904" y="526"/>
                  <a:pt x="904" y="526"/>
                  <a:pt x="904" y="526"/>
                </a:cubicBezTo>
                <a:cubicBezTo>
                  <a:pt x="904" y="527"/>
                  <a:pt x="904" y="527"/>
                  <a:pt x="904" y="527"/>
                </a:cubicBezTo>
                <a:cubicBezTo>
                  <a:pt x="903" y="526"/>
                  <a:pt x="903" y="526"/>
                  <a:pt x="903" y="526"/>
                </a:cubicBezTo>
                <a:cubicBezTo>
                  <a:pt x="902" y="524"/>
                  <a:pt x="902" y="524"/>
                  <a:pt x="902" y="524"/>
                </a:cubicBezTo>
                <a:cubicBezTo>
                  <a:pt x="901" y="524"/>
                  <a:pt x="901" y="524"/>
                  <a:pt x="901" y="524"/>
                </a:cubicBezTo>
                <a:cubicBezTo>
                  <a:pt x="898" y="525"/>
                  <a:pt x="898" y="525"/>
                  <a:pt x="898" y="525"/>
                </a:cubicBezTo>
                <a:cubicBezTo>
                  <a:pt x="895" y="527"/>
                  <a:pt x="895" y="527"/>
                  <a:pt x="895" y="527"/>
                </a:cubicBezTo>
                <a:cubicBezTo>
                  <a:pt x="890" y="528"/>
                  <a:pt x="890" y="528"/>
                  <a:pt x="890" y="528"/>
                </a:cubicBezTo>
                <a:cubicBezTo>
                  <a:pt x="886" y="530"/>
                  <a:pt x="886" y="530"/>
                  <a:pt x="886" y="530"/>
                </a:cubicBezTo>
                <a:cubicBezTo>
                  <a:pt x="886" y="532"/>
                  <a:pt x="886" y="532"/>
                  <a:pt x="886" y="532"/>
                </a:cubicBezTo>
                <a:cubicBezTo>
                  <a:pt x="884" y="534"/>
                  <a:pt x="884" y="534"/>
                  <a:pt x="884" y="534"/>
                </a:cubicBezTo>
                <a:cubicBezTo>
                  <a:pt x="882" y="537"/>
                  <a:pt x="882" y="537"/>
                  <a:pt x="882" y="537"/>
                </a:cubicBezTo>
                <a:cubicBezTo>
                  <a:pt x="882" y="539"/>
                  <a:pt x="882" y="539"/>
                  <a:pt x="882" y="539"/>
                </a:cubicBezTo>
                <a:cubicBezTo>
                  <a:pt x="883" y="541"/>
                  <a:pt x="883" y="541"/>
                  <a:pt x="883" y="541"/>
                </a:cubicBezTo>
                <a:cubicBezTo>
                  <a:pt x="883" y="543"/>
                  <a:pt x="883" y="543"/>
                  <a:pt x="883" y="543"/>
                </a:cubicBezTo>
                <a:cubicBezTo>
                  <a:pt x="884" y="543"/>
                  <a:pt x="884" y="543"/>
                  <a:pt x="884" y="543"/>
                </a:cubicBezTo>
                <a:cubicBezTo>
                  <a:pt x="885" y="543"/>
                  <a:pt x="885" y="543"/>
                  <a:pt x="885" y="543"/>
                </a:cubicBezTo>
                <a:cubicBezTo>
                  <a:pt x="885" y="546"/>
                  <a:pt x="885" y="546"/>
                  <a:pt x="885" y="546"/>
                </a:cubicBezTo>
                <a:cubicBezTo>
                  <a:pt x="887" y="547"/>
                  <a:pt x="887" y="547"/>
                  <a:pt x="887" y="547"/>
                </a:cubicBezTo>
                <a:cubicBezTo>
                  <a:pt x="888" y="546"/>
                  <a:pt x="888" y="546"/>
                  <a:pt x="888" y="546"/>
                </a:cubicBezTo>
                <a:cubicBezTo>
                  <a:pt x="889" y="547"/>
                  <a:pt x="889" y="547"/>
                  <a:pt x="889" y="547"/>
                </a:cubicBezTo>
                <a:cubicBezTo>
                  <a:pt x="890" y="546"/>
                  <a:pt x="890" y="546"/>
                  <a:pt x="890" y="546"/>
                </a:cubicBezTo>
                <a:cubicBezTo>
                  <a:pt x="890" y="544"/>
                  <a:pt x="890" y="544"/>
                  <a:pt x="890" y="544"/>
                </a:cubicBezTo>
                <a:cubicBezTo>
                  <a:pt x="891" y="544"/>
                  <a:pt x="891" y="544"/>
                  <a:pt x="891" y="544"/>
                </a:cubicBezTo>
                <a:cubicBezTo>
                  <a:pt x="892" y="544"/>
                  <a:pt x="892" y="544"/>
                  <a:pt x="892" y="544"/>
                </a:cubicBezTo>
                <a:cubicBezTo>
                  <a:pt x="894" y="542"/>
                  <a:pt x="894" y="542"/>
                  <a:pt x="894" y="542"/>
                </a:cubicBezTo>
                <a:cubicBezTo>
                  <a:pt x="896" y="542"/>
                  <a:pt x="896" y="542"/>
                  <a:pt x="896" y="542"/>
                </a:cubicBezTo>
                <a:cubicBezTo>
                  <a:pt x="899" y="538"/>
                  <a:pt x="899" y="538"/>
                  <a:pt x="899" y="538"/>
                </a:cubicBezTo>
                <a:cubicBezTo>
                  <a:pt x="902" y="536"/>
                  <a:pt x="902" y="536"/>
                  <a:pt x="902" y="536"/>
                </a:cubicBezTo>
                <a:cubicBezTo>
                  <a:pt x="901" y="535"/>
                  <a:pt x="901" y="535"/>
                  <a:pt x="901" y="535"/>
                </a:cubicBezTo>
                <a:cubicBezTo>
                  <a:pt x="903" y="532"/>
                  <a:pt x="903" y="532"/>
                  <a:pt x="903" y="532"/>
                </a:cubicBezTo>
                <a:cubicBezTo>
                  <a:pt x="904" y="532"/>
                  <a:pt x="904" y="532"/>
                  <a:pt x="904" y="532"/>
                </a:cubicBezTo>
                <a:cubicBezTo>
                  <a:pt x="905" y="531"/>
                  <a:pt x="905" y="531"/>
                  <a:pt x="905" y="531"/>
                </a:cubicBezTo>
                <a:cubicBezTo>
                  <a:pt x="906" y="531"/>
                  <a:pt x="906" y="531"/>
                  <a:pt x="906" y="531"/>
                </a:cubicBezTo>
                <a:cubicBezTo>
                  <a:pt x="907" y="534"/>
                  <a:pt x="907" y="534"/>
                  <a:pt x="907" y="534"/>
                </a:cubicBezTo>
                <a:cubicBezTo>
                  <a:pt x="909" y="534"/>
                  <a:pt x="909" y="534"/>
                  <a:pt x="909" y="534"/>
                </a:cubicBezTo>
                <a:cubicBezTo>
                  <a:pt x="909" y="533"/>
                  <a:pt x="909" y="533"/>
                  <a:pt x="909" y="533"/>
                </a:cubicBezTo>
                <a:cubicBezTo>
                  <a:pt x="911" y="533"/>
                  <a:pt x="911" y="533"/>
                  <a:pt x="911" y="533"/>
                </a:cubicBezTo>
                <a:cubicBezTo>
                  <a:pt x="914" y="531"/>
                  <a:pt x="914" y="531"/>
                  <a:pt x="914" y="531"/>
                </a:cubicBezTo>
                <a:cubicBezTo>
                  <a:pt x="917" y="530"/>
                  <a:pt x="917" y="530"/>
                  <a:pt x="917" y="530"/>
                </a:cubicBezTo>
                <a:cubicBezTo>
                  <a:pt x="920" y="530"/>
                  <a:pt x="920" y="530"/>
                  <a:pt x="920" y="530"/>
                </a:cubicBezTo>
                <a:cubicBezTo>
                  <a:pt x="922" y="529"/>
                  <a:pt x="922" y="529"/>
                  <a:pt x="922" y="529"/>
                </a:cubicBezTo>
                <a:cubicBezTo>
                  <a:pt x="927" y="527"/>
                  <a:pt x="927" y="527"/>
                  <a:pt x="927" y="527"/>
                </a:cubicBezTo>
                <a:cubicBezTo>
                  <a:pt x="930" y="526"/>
                  <a:pt x="930" y="526"/>
                  <a:pt x="930" y="526"/>
                </a:cubicBezTo>
                <a:cubicBezTo>
                  <a:pt x="932" y="526"/>
                  <a:pt x="932" y="526"/>
                  <a:pt x="932" y="526"/>
                </a:cubicBezTo>
                <a:cubicBezTo>
                  <a:pt x="933" y="526"/>
                  <a:pt x="933" y="526"/>
                  <a:pt x="933" y="526"/>
                </a:cubicBezTo>
                <a:cubicBezTo>
                  <a:pt x="934" y="526"/>
                  <a:pt x="934" y="526"/>
                  <a:pt x="934" y="526"/>
                </a:cubicBezTo>
                <a:cubicBezTo>
                  <a:pt x="933" y="525"/>
                  <a:pt x="933" y="525"/>
                  <a:pt x="933" y="525"/>
                </a:cubicBezTo>
                <a:cubicBezTo>
                  <a:pt x="932" y="525"/>
                  <a:pt x="932" y="525"/>
                  <a:pt x="932" y="525"/>
                </a:cubicBezTo>
                <a:cubicBezTo>
                  <a:pt x="930" y="524"/>
                  <a:pt x="930" y="524"/>
                  <a:pt x="930" y="524"/>
                </a:cubicBezTo>
                <a:cubicBezTo>
                  <a:pt x="930" y="523"/>
                  <a:pt x="930" y="523"/>
                  <a:pt x="930" y="523"/>
                </a:cubicBezTo>
                <a:cubicBezTo>
                  <a:pt x="932" y="523"/>
                  <a:pt x="932" y="523"/>
                  <a:pt x="932" y="523"/>
                </a:cubicBezTo>
                <a:cubicBezTo>
                  <a:pt x="932" y="522"/>
                  <a:pt x="932" y="522"/>
                  <a:pt x="932" y="522"/>
                </a:cubicBezTo>
                <a:cubicBezTo>
                  <a:pt x="928" y="520"/>
                  <a:pt x="928" y="520"/>
                  <a:pt x="928" y="520"/>
                </a:cubicBezTo>
                <a:cubicBezTo>
                  <a:pt x="926" y="520"/>
                  <a:pt x="926" y="520"/>
                  <a:pt x="926" y="520"/>
                </a:cubicBezTo>
                <a:cubicBezTo>
                  <a:pt x="926" y="519"/>
                  <a:pt x="926" y="519"/>
                  <a:pt x="926" y="519"/>
                </a:cubicBezTo>
                <a:cubicBezTo>
                  <a:pt x="926" y="517"/>
                  <a:pt x="926" y="517"/>
                  <a:pt x="926" y="517"/>
                </a:cubicBezTo>
                <a:cubicBezTo>
                  <a:pt x="923" y="519"/>
                  <a:pt x="923" y="519"/>
                  <a:pt x="923" y="519"/>
                </a:cubicBezTo>
                <a:cubicBezTo>
                  <a:pt x="923" y="520"/>
                  <a:pt x="923" y="520"/>
                  <a:pt x="923" y="520"/>
                </a:cubicBezTo>
                <a:cubicBezTo>
                  <a:pt x="919" y="520"/>
                  <a:pt x="919" y="520"/>
                  <a:pt x="919" y="520"/>
                </a:cubicBezTo>
                <a:cubicBezTo>
                  <a:pt x="919" y="519"/>
                  <a:pt x="919" y="519"/>
                  <a:pt x="919" y="519"/>
                </a:cubicBezTo>
                <a:cubicBezTo>
                  <a:pt x="916" y="518"/>
                  <a:pt x="916" y="518"/>
                  <a:pt x="916" y="518"/>
                </a:cubicBezTo>
                <a:cubicBezTo>
                  <a:pt x="915" y="518"/>
                  <a:pt x="915" y="518"/>
                  <a:pt x="915" y="518"/>
                </a:cubicBezTo>
                <a:cubicBezTo>
                  <a:pt x="913" y="517"/>
                  <a:pt x="913" y="517"/>
                  <a:pt x="913" y="517"/>
                </a:cubicBezTo>
                <a:cubicBezTo>
                  <a:pt x="910" y="517"/>
                  <a:pt x="910" y="517"/>
                  <a:pt x="910" y="517"/>
                </a:cubicBezTo>
                <a:cubicBezTo>
                  <a:pt x="907" y="516"/>
                  <a:pt x="907" y="516"/>
                  <a:pt x="907" y="516"/>
                </a:cubicBezTo>
                <a:cubicBezTo>
                  <a:pt x="909" y="515"/>
                  <a:pt x="909" y="515"/>
                  <a:pt x="909" y="515"/>
                </a:cubicBezTo>
                <a:cubicBezTo>
                  <a:pt x="910" y="513"/>
                  <a:pt x="910" y="513"/>
                  <a:pt x="910" y="513"/>
                </a:cubicBezTo>
                <a:cubicBezTo>
                  <a:pt x="907" y="513"/>
                  <a:pt x="907" y="513"/>
                  <a:pt x="907" y="513"/>
                </a:cubicBezTo>
                <a:cubicBezTo>
                  <a:pt x="906" y="512"/>
                  <a:pt x="906" y="512"/>
                  <a:pt x="906" y="512"/>
                </a:cubicBezTo>
                <a:cubicBezTo>
                  <a:pt x="904" y="512"/>
                  <a:pt x="904" y="512"/>
                  <a:pt x="904" y="512"/>
                </a:cubicBezTo>
                <a:cubicBezTo>
                  <a:pt x="903" y="510"/>
                  <a:pt x="903" y="510"/>
                  <a:pt x="903" y="510"/>
                </a:cubicBezTo>
                <a:cubicBezTo>
                  <a:pt x="902" y="509"/>
                  <a:pt x="902" y="509"/>
                  <a:pt x="902" y="509"/>
                </a:cubicBezTo>
                <a:cubicBezTo>
                  <a:pt x="902" y="506"/>
                  <a:pt x="902" y="506"/>
                  <a:pt x="902" y="506"/>
                </a:cubicBezTo>
                <a:cubicBezTo>
                  <a:pt x="902" y="504"/>
                  <a:pt x="902" y="504"/>
                  <a:pt x="902" y="504"/>
                </a:cubicBezTo>
                <a:cubicBezTo>
                  <a:pt x="901" y="503"/>
                  <a:pt x="901" y="503"/>
                  <a:pt x="901" y="503"/>
                </a:cubicBezTo>
                <a:cubicBezTo>
                  <a:pt x="902" y="501"/>
                  <a:pt x="902" y="501"/>
                  <a:pt x="902" y="501"/>
                </a:cubicBezTo>
                <a:cubicBezTo>
                  <a:pt x="902" y="500"/>
                  <a:pt x="902" y="500"/>
                  <a:pt x="902" y="500"/>
                </a:cubicBezTo>
                <a:cubicBezTo>
                  <a:pt x="898" y="500"/>
                  <a:pt x="898" y="500"/>
                  <a:pt x="898" y="500"/>
                </a:cubicBezTo>
                <a:cubicBezTo>
                  <a:pt x="899" y="499"/>
                  <a:pt x="899" y="499"/>
                  <a:pt x="899" y="499"/>
                </a:cubicBezTo>
                <a:cubicBezTo>
                  <a:pt x="901" y="499"/>
                  <a:pt x="901" y="499"/>
                  <a:pt x="901" y="499"/>
                </a:cubicBezTo>
                <a:cubicBezTo>
                  <a:pt x="903" y="494"/>
                  <a:pt x="903" y="494"/>
                  <a:pt x="903" y="494"/>
                </a:cubicBezTo>
                <a:cubicBezTo>
                  <a:pt x="905" y="492"/>
                  <a:pt x="905" y="492"/>
                  <a:pt x="905" y="492"/>
                </a:cubicBezTo>
                <a:cubicBezTo>
                  <a:pt x="905" y="491"/>
                  <a:pt x="905" y="491"/>
                  <a:pt x="905" y="491"/>
                </a:cubicBezTo>
                <a:cubicBezTo>
                  <a:pt x="903" y="491"/>
                  <a:pt x="903" y="491"/>
                  <a:pt x="903" y="491"/>
                </a:cubicBezTo>
                <a:cubicBezTo>
                  <a:pt x="903" y="490"/>
                  <a:pt x="903" y="490"/>
                  <a:pt x="903" y="490"/>
                </a:cubicBezTo>
                <a:cubicBezTo>
                  <a:pt x="901" y="490"/>
                  <a:pt x="901" y="490"/>
                  <a:pt x="901" y="490"/>
                </a:cubicBezTo>
                <a:cubicBezTo>
                  <a:pt x="899" y="491"/>
                  <a:pt x="899" y="491"/>
                  <a:pt x="899" y="491"/>
                </a:cubicBezTo>
                <a:cubicBezTo>
                  <a:pt x="896" y="492"/>
                  <a:pt x="896" y="492"/>
                  <a:pt x="896" y="492"/>
                </a:cubicBezTo>
                <a:cubicBezTo>
                  <a:pt x="896" y="491"/>
                  <a:pt x="896" y="491"/>
                  <a:pt x="896" y="491"/>
                </a:cubicBezTo>
                <a:cubicBezTo>
                  <a:pt x="895" y="489"/>
                  <a:pt x="895" y="489"/>
                  <a:pt x="895" y="489"/>
                </a:cubicBezTo>
                <a:cubicBezTo>
                  <a:pt x="891" y="488"/>
                  <a:pt x="891" y="488"/>
                  <a:pt x="891" y="488"/>
                </a:cubicBezTo>
                <a:cubicBezTo>
                  <a:pt x="888" y="488"/>
                  <a:pt x="888" y="488"/>
                  <a:pt x="888" y="488"/>
                </a:cubicBezTo>
                <a:cubicBezTo>
                  <a:pt x="886" y="488"/>
                  <a:pt x="886" y="488"/>
                  <a:pt x="886" y="488"/>
                </a:cubicBezTo>
                <a:cubicBezTo>
                  <a:pt x="888" y="487"/>
                  <a:pt x="888" y="487"/>
                  <a:pt x="888" y="487"/>
                </a:cubicBezTo>
                <a:cubicBezTo>
                  <a:pt x="890" y="487"/>
                  <a:pt x="890" y="487"/>
                  <a:pt x="890" y="487"/>
                </a:cubicBezTo>
                <a:cubicBezTo>
                  <a:pt x="893" y="487"/>
                  <a:pt x="893" y="487"/>
                  <a:pt x="893" y="487"/>
                </a:cubicBezTo>
                <a:cubicBezTo>
                  <a:pt x="894" y="486"/>
                  <a:pt x="894" y="486"/>
                  <a:pt x="894" y="486"/>
                </a:cubicBezTo>
                <a:cubicBezTo>
                  <a:pt x="896" y="487"/>
                  <a:pt x="896" y="487"/>
                  <a:pt x="896" y="487"/>
                </a:cubicBezTo>
                <a:cubicBezTo>
                  <a:pt x="898" y="488"/>
                  <a:pt x="898" y="488"/>
                  <a:pt x="898" y="488"/>
                </a:cubicBezTo>
                <a:cubicBezTo>
                  <a:pt x="900" y="488"/>
                  <a:pt x="900" y="488"/>
                  <a:pt x="900" y="488"/>
                </a:cubicBezTo>
                <a:cubicBezTo>
                  <a:pt x="903" y="486"/>
                  <a:pt x="903" y="486"/>
                  <a:pt x="903" y="486"/>
                </a:cubicBezTo>
                <a:cubicBezTo>
                  <a:pt x="904" y="486"/>
                  <a:pt x="904" y="486"/>
                  <a:pt x="904" y="486"/>
                </a:cubicBezTo>
                <a:cubicBezTo>
                  <a:pt x="907" y="484"/>
                  <a:pt x="907" y="484"/>
                  <a:pt x="907" y="484"/>
                </a:cubicBezTo>
                <a:cubicBezTo>
                  <a:pt x="909" y="484"/>
                  <a:pt x="909" y="484"/>
                  <a:pt x="909" y="484"/>
                </a:cubicBezTo>
                <a:cubicBezTo>
                  <a:pt x="910" y="480"/>
                  <a:pt x="910" y="480"/>
                  <a:pt x="910" y="480"/>
                </a:cubicBezTo>
                <a:cubicBezTo>
                  <a:pt x="909" y="480"/>
                  <a:pt x="909" y="480"/>
                  <a:pt x="909" y="480"/>
                </a:cubicBezTo>
                <a:cubicBezTo>
                  <a:pt x="911" y="479"/>
                  <a:pt x="911" y="479"/>
                  <a:pt x="911" y="479"/>
                </a:cubicBezTo>
                <a:cubicBezTo>
                  <a:pt x="910" y="478"/>
                  <a:pt x="910" y="478"/>
                  <a:pt x="910" y="478"/>
                </a:cubicBezTo>
                <a:cubicBezTo>
                  <a:pt x="908" y="477"/>
                  <a:pt x="908" y="477"/>
                  <a:pt x="908" y="477"/>
                </a:cubicBezTo>
                <a:cubicBezTo>
                  <a:pt x="906" y="477"/>
                  <a:pt x="906" y="477"/>
                  <a:pt x="906" y="477"/>
                </a:cubicBezTo>
                <a:cubicBezTo>
                  <a:pt x="906" y="476"/>
                  <a:pt x="906" y="476"/>
                  <a:pt x="906" y="476"/>
                </a:cubicBezTo>
                <a:cubicBezTo>
                  <a:pt x="906" y="476"/>
                  <a:pt x="906" y="476"/>
                  <a:pt x="906" y="476"/>
                </a:cubicBezTo>
                <a:cubicBezTo>
                  <a:pt x="909" y="477"/>
                  <a:pt x="909" y="477"/>
                  <a:pt x="909" y="477"/>
                </a:cubicBezTo>
                <a:cubicBezTo>
                  <a:pt x="909" y="476"/>
                  <a:pt x="909" y="476"/>
                  <a:pt x="909" y="476"/>
                </a:cubicBezTo>
                <a:cubicBezTo>
                  <a:pt x="905" y="473"/>
                  <a:pt x="905" y="473"/>
                  <a:pt x="905" y="473"/>
                </a:cubicBezTo>
                <a:cubicBezTo>
                  <a:pt x="901" y="472"/>
                  <a:pt x="901" y="472"/>
                  <a:pt x="901" y="472"/>
                </a:cubicBezTo>
                <a:cubicBezTo>
                  <a:pt x="895" y="472"/>
                  <a:pt x="895" y="472"/>
                  <a:pt x="895" y="472"/>
                </a:cubicBezTo>
                <a:cubicBezTo>
                  <a:pt x="893" y="473"/>
                  <a:pt x="893" y="473"/>
                  <a:pt x="893" y="473"/>
                </a:cubicBezTo>
                <a:cubicBezTo>
                  <a:pt x="890" y="473"/>
                  <a:pt x="890" y="473"/>
                  <a:pt x="890" y="473"/>
                </a:cubicBezTo>
                <a:cubicBezTo>
                  <a:pt x="884" y="475"/>
                  <a:pt x="884" y="475"/>
                  <a:pt x="884" y="475"/>
                </a:cubicBezTo>
                <a:cubicBezTo>
                  <a:pt x="879" y="476"/>
                  <a:pt x="879" y="476"/>
                  <a:pt x="879" y="476"/>
                </a:cubicBezTo>
                <a:cubicBezTo>
                  <a:pt x="876" y="478"/>
                  <a:pt x="876" y="478"/>
                  <a:pt x="876" y="478"/>
                </a:cubicBezTo>
                <a:cubicBezTo>
                  <a:pt x="873" y="478"/>
                  <a:pt x="873" y="478"/>
                  <a:pt x="873" y="478"/>
                </a:cubicBezTo>
                <a:cubicBezTo>
                  <a:pt x="869" y="481"/>
                  <a:pt x="869" y="481"/>
                  <a:pt x="869" y="481"/>
                </a:cubicBezTo>
                <a:cubicBezTo>
                  <a:pt x="862" y="486"/>
                  <a:pt x="862" y="486"/>
                  <a:pt x="862" y="486"/>
                </a:cubicBezTo>
                <a:cubicBezTo>
                  <a:pt x="857" y="490"/>
                  <a:pt x="857" y="490"/>
                  <a:pt x="857" y="490"/>
                </a:cubicBezTo>
                <a:cubicBezTo>
                  <a:pt x="855" y="491"/>
                  <a:pt x="855" y="491"/>
                  <a:pt x="855" y="491"/>
                </a:cubicBezTo>
                <a:cubicBezTo>
                  <a:pt x="853" y="493"/>
                  <a:pt x="853" y="493"/>
                  <a:pt x="853" y="493"/>
                </a:cubicBezTo>
                <a:cubicBezTo>
                  <a:pt x="850" y="497"/>
                  <a:pt x="850" y="497"/>
                  <a:pt x="850" y="497"/>
                </a:cubicBezTo>
                <a:cubicBezTo>
                  <a:pt x="847" y="499"/>
                  <a:pt x="847" y="499"/>
                  <a:pt x="847" y="499"/>
                </a:cubicBezTo>
                <a:cubicBezTo>
                  <a:pt x="842" y="501"/>
                  <a:pt x="842" y="501"/>
                  <a:pt x="842" y="501"/>
                </a:cubicBezTo>
                <a:cubicBezTo>
                  <a:pt x="837" y="504"/>
                  <a:pt x="837" y="504"/>
                  <a:pt x="837" y="504"/>
                </a:cubicBezTo>
                <a:cubicBezTo>
                  <a:pt x="835" y="503"/>
                  <a:pt x="835" y="503"/>
                  <a:pt x="835" y="503"/>
                </a:cubicBezTo>
                <a:cubicBezTo>
                  <a:pt x="838" y="503"/>
                  <a:pt x="838" y="503"/>
                  <a:pt x="838" y="503"/>
                </a:cubicBezTo>
                <a:cubicBezTo>
                  <a:pt x="843" y="500"/>
                  <a:pt x="843" y="500"/>
                  <a:pt x="843" y="500"/>
                </a:cubicBezTo>
                <a:cubicBezTo>
                  <a:pt x="843" y="499"/>
                  <a:pt x="843" y="499"/>
                  <a:pt x="843" y="499"/>
                </a:cubicBezTo>
                <a:cubicBezTo>
                  <a:pt x="848" y="496"/>
                  <a:pt x="848" y="496"/>
                  <a:pt x="848" y="496"/>
                </a:cubicBezTo>
                <a:cubicBezTo>
                  <a:pt x="849" y="494"/>
                  <a:pt x="849" y="494"/>
                  <a:pt x="849" y="494"/>
                </a:cubicBezTo>
                <a:cubicBezTo>
                  <a:pt x="850" y="491"/>
                  <a:pt x="850" y="491"/>
                  <a:pt x="850" y="491"/>
                </a:cubicBezTo>
                <a:cubicBezTo>
                  <a:pt x="852" y="491"/>
                  <a:pt x="852" y="491"/>
                  <a:pt x="852" y="491"/>
                </a:cubicBezTo>
                <a:cubicBezTo>
                  <a:pt x="855" y="489"/>
                  <a:pt x="855" y="489"/>
                  <a:pt x="855" y="489"/>
                </a:cubicBezTo>
                <a:cubicBezTo>
                  <a:pt x="857" y="487"/>
                  <a:pt x="857" y="487"/>
                  <a:pt x="857" y="487"/>
                </a:cubicBezTo>
                <a:cubicBezTo>
                  <a:pt x="858" y="484"/>
                  <a:pt x="858" y="484"/>
                  <a:pt x="858" y="484"/>
                </a:cubicBezTo>
                <a:cubicBezTo>
                  <a:pt x="862" y="482"/>
                  <a:pt x="862" y="482"/>
                  <a:pt x="862" y="482"/>
                </a:cubicBezTo>
                <a:cubicBezTo>
                  <a:pt x="865" y="478"/>
                  <a:pt x="865" y="478"/>
                  <a:pt x="865" y="478"/>
                </a:cubicBezTo>
                <a:cubicBezTo>
                  <a:pt x="866" y="478"/>
                  <a:pt x="866" y="478"/>
                  <a:pt x="866" y="478"/>
                </a:cubicBezTo>
                <a:cubicBezTo>
                  <a:pt x="866" y="477"/>
                  <a:pt x="866" y="477"/>
                  <a:pt x="866" y="477"/>
                </a:cubicBezTo>
                <a:cubicBezTo>
                  <a:pt x="868" y="475"/>
                  <a:pt x="868" y="475"/>
                  <a:pt x="868" y="475"/>
                </a:cubicBezTo>
                <a:cubicBezTo>
                  <a:pt x="870" y="475"/>
                  <a:pt x="870" y="475"/>
                  <a:pt x="870" y="475"/>
                </a:cubicBezTo>
                <a:cubicBezTo>
                  <a:pt x="871" y="472"/>
                  <a:pt x="871" y="472"/>
                  <a:pt x="871" y="472"/>
                </a:cubicBezTo>
                <a:cubicBezTo>
                  <a:pt x="873" y="471"/>
                  <a:pt x="873" y="471"/>
                  <a:pt x="873" y="471"/>
                </a:cubicBezTo>
                <a:cubicBezTo>
                  <a:pt x="874" y="472"/>
                  <a:pt x="874" y="472"/>
                  <a:pt x="874" y="472"/>
                </a:cubicBezTo>
                <a:cubicBezTo>
                  <a:pt x="875" y="472"/>
                  <a:pt x="875" y="472"/>
                  <a:pt x="875" y="472"/>
                </a:cubicBezTo>
                <a:cubicBezTo>
                  <a:pt x="876" y="470"/>
                  <a:pt x="876" y="470"/>
                  <a:pt x="876" y="470"/>
                </a:cubicBezTo>
                <a:cubicBezTo>
                  <a:pt x="880" y="469"/>
                  <a:pt x="880" y="469"/>
                  <a:pt x="880" y="469"/>
                </a:cubicBezTo>
                <a:cubicBezTo>
                  <a:pt x="881" y="469"/>
                  <a:pt x="881" y="469"/>
                  <a:pt x="881" y="469"/>
                </a:cubicBezTo>
                <a:cubicBezTo>
                  <a:pt x="885" y="469"/>
                  <a:pt x="885" y="469"/>
                  <a:pt x="885" y="469"/>
                </a:cubicBezTo>
                <a:cubicBezTo>
                  <a:pt x="886" y="467"/>
                  <a:pt x="886" y="467"/>
                  <a:pt x="886" y="467"/>
                </a:cubicBezTo>
                <a:cubicBezTo>
                  <a:pt x="886" y="465"/>
                  <a:pt x="886" y="465"/>
                  <a:pt x="886" y="465"/>
                </a:cubicBezTo>
                <a:cubicBezTo>
                  <a:pt x="887" y="463"/>
                  <a:pt x="887" y="463"/>
                  <a:pt x="887" y="463"/>
                </a:cubicBezTo>
                <a:cubicBezTo>
                  <a:pt x="887" y="462"/>
                  <a:pt x="887" y="462"/>
                  <a:pt x="887" y="462"/>
                </a:cubicBezTo>
                <a:cubicBezTo>
                  <a:pt x="889" y="461"/>
                  <a:pt x="889" y="461"/>
                  <a:pt x="889" y="461"/>
                </a:cubicBezTo>
                <a:cubicBezTo>
                  <a:pt x="893" y="457"/>
                  <a:pt x="893" y="457"/>
                  <a:pt x="893" y="457"/>
                </a:cubicBezTo>
                <a:cubicBezTo>
                  <a:pt x="895" y="457"/>
                  <a:pt x="895" y="457"/>
                  <a:pt x="895" y="457"/>
                </a:cubicBezTo>
                <a:cubicBezTo>
                  <a:pt x="896" y="456"/>
                  <a:pt x="896" y="456"/>
                  <a:pt x="896" y="456"/>
                </a:cubicBezTo>
                <a:cubicBezTo>
                  <a:pt x="895" y="455"/>
                  <a:pt x="895" y="455"/>
                  <a:pt x="895" y="455"/>
                </a:cubicBezTo>
                <a:cubicBezTo>
                  <a:pt x="896" y="454"/>
                  <a:pt x="896" y="454"/>
                  <a:pt x="896" y="454"/>
                </a:cubicBezTo>
                <a:cubicBezTo>
                  <a:pt x="897" y="453"/>
                  <a:pt x="897" y="453"/>
                  <a:pt x="897" y="453"/>
                </a:cubicBezTo>
                <a:cubicBezTo>
                  <a:pt x="899" y="455"/>
                  <a:pt x="899" y="455"/>
                  <a:pt x="899" y="455"/>
                </a:cubicBezTo>
                <a:cubicBezTo>
                  <a:pt x="902" y="456"/>
                  <a:pt x="902" y="456"/>
                  <a:pt x="902" y="456"/>
                </a:cubicBezTo>
                <a:cubicBezTo>
                  <a:pt x="906" y="455"/>
                  <a:pt x="906" y="455"/>
                  <a:pt x="906" y="455"/>
                </a:cubicBezTo>
                <a:cubicBezTo>
                  <a:pt x="909" y="456"/>
                  <a:pt x="909" y="456"/>
                  <a:pt x="909" y="456"/>
                </a:cubicBezTo>
                <a:cubicBezTo>
                  <a:pt x="910" y="456"/>
                  <a:pt x="910" y="456"/>
                  <a:pt x="910" y="456"/>
                </a:cubicBezTo>
                <a:cubicBezTo>
                  <a:pt x="911" y="457"/>
                  <a:pt x="911" y="457"/>
                  <a:pt x="911" y="457"/>
                </a:cubicBezTo>
                <a:cubicBezTo>
                  <a:pt x="914" y="455"/>
                  <a:pt x="914" y="455"/>
                  <a:pt x="914" y="455"/>
                </a:cubicBezTo>
                <a:cubicBezTo>
                  <a:pt x="915" y="457"/>
                  <a:pt x="915" y="457"/>
                  <a:pt x="915" y="457"/>
                </a:cubicBezTo>
                <a:cubicBezTo>
                  <a:pt x="917" y="457"/>
                  <a:pt x="917" y="457"/>
                  <a:pt x="917" y="457"/>
                </a:cubicBezTo>
                <a:cubicBezTo>
                  <a:pt x="919" y="456"/>
                  <a:pt x="919" y="456"/>
                  <a:pt x="919" y="456"/>
                </a:cubicBezTo>
                <a:cubicBezTo>
                  <a:pt x="921" y="457"/>
                  <a:pt x="921" y="457"/>
                  <a:pt x="921" y="457"/>
                </a:cubicBezTo>
                <a:cubicBezTo>
                  <a:pt x="924" y="457"/>
                  <a:pt x="924" y="457"/>
                  <a:pt x="924" y="457"/>
                </a:cubicBezTo>
                <a:cubicBezTo>
                  <a:pt x="925" y="456"/>
                  <a:pt x="925" y="456"/>
                  <a:pt x="925" y="456"/>
                </a:cubicBezTo>
                <a:cubicBezTo>
                  <a:pt x="926" y="456"/>
                  <a:pt x="926" y="456"/>
                  <a:pt x="926" y="456"/>
                </a:cubicBezTo>
                <a:cubicBezTo>
                  <a:pt x="928" y="458"/>
                  <a:pt x="928" y="458"/>
                  <a:pt x="928" y="458"/>
                </a:cubicBezTo>
                <a:cubicBezTo>
                  <a:pt x="930" y="458"/>
                  <a:pt x="930" y="458"/>
                  <a:pt x="930" y="458"/>
                </a:cubicBezTo>
                <a:cubicBezTo>
                  <a:pt x="931" y="458"/>
                  <a:pt x="931" y="458"/>
                  <a:pt x="931" y="458"/>
                </a:cubicBezTo>
                <a:cubicBezTo>
                  <a:pt x="934" y="459"/>
                  <a:pt x="934" y="459"/>
                  <a:pt x="934" y="459"/>
                </a:cubicBezTo>
                <a:cubicBezTo>
                  <a:pt x="936" y="459"/>
                  <a:pt x="936" y="459"/>
                  <a:pt x="936" y="459"/>
                </a:cubicBezTo>
                <a:cubicBezTo>
                  <a:pt x="938" y="458"/>
                  <a:pt x="938" y="458"/>
                  <a:pt x="938" y="458"/>
                </a:cubicBezTo>
                <a:cubicBezTo>
                  <a:pt x="939" y="458"/>
                  <a:pt x="939" y="458"/>
                  <a:pt x="939" y="458"/>
                </a:cubicBezTo>
                <a:cubicBezTo>
                  <a:pt x="939" y="460"/>
                  <a:pt x="939" y="460"/>
                  <a:pt x="939" y="460"/>
                </a:cubicBezTo>
                <a:cubicBezTo>
                  <a:pt x="941" y="460"/>
                  <a:pt x="941" y="460"/>
                  <a:pt x="941" y="460"/>
                </a:cubicBezTo>
                <a:cubicBezTo>
                  <a:pt x="945" y="458"/>
                  <a:pt x="945" y="458"/>
                  <a:pt x="945" y="458"/>
                </a:cubicBezTo>
                <a:cubicBezTo>
                  <a:pt x="946" y="459"/>
                  <a:pt x="946" y="459"/>
                  <a:pt x="946" y="459"/>
                </a:cubicBezTo>
                <a:cubicBezTo>
                  <a:pt x="949" y="458"/>
                  <a:pt x="949" y="458"/>
                  <a:pt x="949" y="458"/>
                </a:cubicBezTo>
                <a:cubicBezTo>
                  <a:pt x="949" y="458"/>
                  <a:pt x="949" y="458"/>
                  <a:pt x="949" y="458"/>
                </a:cubicBezTo>
                <a:cubicBezTo>
                  <a:pt x="953" y="459"/>
                  <a:pt x="953" y="459"/>
                  <a:pt x="953" y="459"/>
                </a:cubicBezTo>
                <a:cubicBezTo>
                  <a:pt x="954" y="459"/>
                  <a:pt x="954" y="459"/>
                  <a:pt x="954" y="459"/>
                </a:cubicBezTo>
                <a:cubicBezTo>
                  <a:pt x="956" y="459"/>
                  <a:pt x="956" y="459"/>
                  <a:pt x="956" y="459"/>
                </a:cubicBezTo>
                <a:cubicBezTo>
                  <a:pt x="956" y="457"/>
                  <a:pt x="956" y="457"/>
                  <a:pt x="956" y="457"/>
                </a:cubicBezTo>
                <a:cubicBezTo>
                  <a:pt x="958" y="457"/>
                  <a:pt x="958" y="457"/>
                  <a:pt x="958" y="457"/>
                </a:cubicBezTo>
                <a:cubicBezTo>
                  <a:pt x="959" y="457"/>
                  <a:pt x="959" y="457"/>
                  <a:pt x="959" y="457"/>
                </a:cubicBezTo>
                <a:cubicBezTo>
                  <a:pt x="960" y="457"/>
                  <a:pt x="960" y="457"/>
                  <a:pt x="960" y="457"/>
                </a:cubicBezTo>
                <a:cubicBezTo>
                  <a:pt x="962" y="455"/>
                  <a:pt x="962" y="455"/>
                  <a:pt x="962" y="455"/>
                </a:cubicBezTo>
                <a:cubicBezTo>
                  <a:pt x="963" y="454"/>
                  <a:pt x="963" y="454"/>
                  <a:pt x="963" y="454"/>
                </a:cubicBezTo>
                <a:cubicBezTo>
                  <a:pt x="964" y="453"/>
                  <a:pt x="964" y="453"/>
                  <a:pt x="964" y="453"/>
                </a:cubicBezTo>
                <a:cubicBezTo>
                  <a:pt x="965" y="453"/>
                  <a:pt x="965" y="453"/>
                  <a:pt x="965" y="453"/>
                </a:cubicBezTo>
                <a:cubicBezTo>
                  <a:pt x="967" y="451"/>
                  <a:pt x="967" y="451"/>
                  <a:pt x="967" y="451"/>
                </a:cubicBezTo>
                <a:cubicBezTo>
                  <a:pt x="967" y="449"/>
                  <a:pt x="967" y="449"/>
                  <a:pt x="967" y="449"/>
                </a:cubicBezTo>
                <a:cubicBezTo>
                  <a:pt x="968" y="449"/>
                  <a:pt x="968" y="449"/>
                  <a:pt x="968" y="449"/>
                </a:cubicBezTo>
                <a:cubicBezTo>
                  <a:pt x="970" y="448"/>
                  <a:pt x="970" y="448"/>
                  <a:pt x="970" y="448"/>
                </a:cubicBezTo>
                <a:cubicBezTo>
                  <a:pt x="970" y="446"/>
                  <a:pt x="970" y="446"/>
                  <a:pt x="970" y="446"/>
                </a:cubicBezTo>
                <a:cubicBezTo>
                  <a:pt x="969" y="446"/>
                  <a:pt x="969" y="446"/>
                  <a:pt x="969" y="446"/>
                </a:cubicBezTo>
                <a:cubicBezTo>
                  <a:pt x="970" y="445"/>
                  <a:pt x="970" y="445"/>
                  <a:pt x="970" y="445"/>
                </a:cubicBezTo>
                <a:cubicBezTo>
                  <a:pt x="972" y="445"/>
                  <a:pt x="972" y="445"/>
                  <a:pt x="972" y="445"/>
                </a:cubicBezTo>
                <a:cubicBezTo>
                  <a:pt x="974" y="445"/>
                  <a:pt x="974" y="445"/>
                  <a:pt x="974" y="445"/>
                </a:cubicBezTo>
                <a:cubicBezTo>
                  <a:pt x="974" y="444"/>
                  <a:pt x="974" y="444"/>
                  <a:pt x="974" y="444"/>
                </a:cubicBezTo>
                <a:cubicBezTo>
                  <a:pt x="974" y="443"/>
                  <a:pt x="974" y="443"/>
                  <a:pt x="974" y="443"/>
                </a:cubicBezTo>
                <a:cubicBezTo>
                  <a:pt x="975" y="445"/>
                  <a:pt x="975" y="445"/>
                  <a:pt x="975" y="445"/>
                </a:cubicBezTo>
                <a:cubicBezTo>
                  <a:pt x="977" y="445"/>
                  <a:pt x="977" y="445"/>
                  <a:pt x="977" y="445"/>
                </a:cubicBezTo>
                <a:cubicBezTo>
                  <a:pt x="979" y="443"/>
                  <a:pt x="979" y="443"/>
                  <a:pt x="979" y="443"/>
                </a:cubicBezTo>
                <a:cubicBezTo>
                  <a:pt x="980" y="444"/>
                  <a:pt x="980" y="444"/>
                  <a:pt x="980" y="444"/>
                </a:cubicBezTo>
                <a:cubicBezTo>
                  <a:pt x="982" y="444"/>
                  <a:pt x="982" y="444"/>
                  <a:pt x="982" y="444"/>
                </a:cubicBezTo>
                <a:cubicBezTo>
                  <a:pt x="983" y="444"/>
                  <a:pt x="983" y="444"/>
                  <a:pt x="983" y="444"/>
                </a:cubicBezTo>
                <a:cubicBezTo>
                  <a:pt x="984" y="445"/>
                  <a:pt x="984" y="445"/>
                  <a:pt x="984" y="445"/>
                </a:cubicBezTo>
                <a:cubicBezTo>
                  <a:pt x="986" y="444"/>
                  <a:pt x="986" y="444"/>
                  <a:pt x="986" y="444"/>
                </a:cubicBezTo>
                <a:cubicBezTo>
                  <a:pt x="986" y="443"/>
                  <a:pt x="986" y="443"/>
                  <a:pt x="986" y="443"/>
                </a:cubicBezTo>
                <a:cubicBezTo>
                  <a:pt x="987" y="443"/>
                  <a:pt x="987" y="443"/>
                  <a:pt x="987" y="443"/>
                </a:cubicBezTo>
                <a:cubicBezTo>
                  <a:pt x="989" y="442"/>
                  <a:pt x="989" y="442"/>
                  <a:pt x="989" y="442"/>
                </a:cubicBezTo>
                <a:cubicBezTo>
                  <a:pt x="990" y="442"/>
                  <a:pt x="990" y="442"/>
                  <a:pt x="990" y="442"/>
                </a:cubicBezTo>
                <a:cubicBezTo>
                  <a:pt x="992" y="440"/>
                  <a:pt x="992" y="440"/>
                  <a:pt x="992" y="440"/>
                </a:cubicBezTo>
                <a:cubicBezTo>
                  <a:pt x="994" y="440"/>
                  <a:pt x="994" y="440"/>
                  <a:pt x="994" y="440"/>
                </a:cubicBezTo>
                <a:cubicBezTo>
                  <a:pt x="997" y="438"/>
                  <a:pt x="997" y="438"/>
                  <a:pt x="997" y="438"/>
                </a:cubicBezTo>
                <a:cubicBezTo>
                  <a:pt x="998" y="436"/>
                  <a:pt x="998" y="436"/>
                  <a:pt x="998" y="436"/>
                </a:cubicBezTo>
                <a:cubicBezTo>
                  <a:pt x="999" y="436"/>
                  <a:pt x="999" y="436"/>
                  <a:pt x="999" y="436"/>
                </a:cubicBezTo>
                <a:cubicBezTo>
                  <a:pt x="999" y="434"/>
                  <a:pt x="999" y="434"/>
                  <a:pt x="999" y="434"/>
                </a:cubicBezTo>
                <a:cubicBezTo>
                  <a:pt x="1000" y="432"/>
                  <a:pt x="1000" y="432"/>
                  <a:pt x="1000" y="432"/>
                </a:cubicBezTo>
                <a:cubicBezTo>
                  <a:pt x="999" y="432"/>
                  <a:pt x="999" y="432"/>
                  <a:pt x="999" y="432"/>
                </a:cubicBezTo>
                <a:cubicBezTo>
                  <a:pt x="997" y="432"/>
                  <a:pt x="997" y="432"/>
                  <a:pt x="997" y="432"/>
                </a:cubicBezTo>
                <a:cubicBezTo>
                  <a:pt x="996" y="431"/>
                  <a:pt x="996" y="431"/>
                  <a:pt x="996" y="431"/>
                </a:cubicBezTo>
                <a:cubicBezTo>
                  <a:pt x="997" y="431"/>
                  <a:pt x="997" y="431"/>
                  <a:pt x="997" y="431"/>
                </a:cubicBezTo>
                <a:cubicBezTo>
                  <a:pt x="999" y="431"/>
                  <a:pt x="999" y="431"/>
                  <a:pt x="999" y="431"/>
                </a:cubicBezTo>
                <a:cubicBezTo>
                  <a:pt x="1000" y="431"/>
                  <a:pt x="1000" y="431"/>
                  <a:pt x="1000" y="431"/>
                </a:cubicBezTo>
                <a:cubicBezTo>
                  <a:pt x="999" y="429"/>
                  <a:pt x="999" y="429"/>
                  <a:pt x="999" y="429"/>
                </a:cubicBezTo>
                <a:cubicBezTo>
                  <a:pt x="997" y="429"/>
                  <a:pt x="997" y="429"/>
                  <a:pt x="997" y="429"/>
                </a:cubicBezTo>
                <a:cubicBezTo>
                  <a:pt x="994" y="428"/>
                  <a:pt x="994" y="428"/>
                  <a:pt x="994" y="428"/>
                </a:cubicBezTo>
                <a:cubicBezTo>
                  <a:pt x="993" y="426"/>
                  <a:pt x="993" y="426"/>
                  <a:pt x="993" y="426"/>
                </a:cubicBezTo>
                <a:cubicBezTo>
                  <a:pt x="996" y="428"/>
                  <a:pt x="996" y="428"/>
                  <a:pt x="996" y="428"/>
                </a:cubicBezTo>
                <a:cubicBezTo>
                  <a:pt x="997" y="427"/>
                  <a:pt x="997" y="427"/>
                  <a:pt x="997" y="427"/>
                </a:cubicBezTo>
                <a:cubicBezTo>
                  <a:pt x="998" y="425"/>
                  <a:pt x="998" y="425"/>
                  <a:pt x="998" y="425"/>
                </a:cubicBezTo>
                <a:cubicBezTo>
                  <a:pt x="999" y="425"/>
                  <a:pt x="999" y="425"/>
                  <a:pt x="999" y="425"/>
                </a:cubicBezTo>
                <a:cubicBezTo>
                  <a:pt x="1000" y="423"/>
                  <a:pt x="1000" y="423"/>
                  <a:pt x="1000" y="423"/>
                </a:cubicBezTo>
                <a:cubicBezTo>
                  <a:pt x="997" y="422"/>
                  <a:pt x="997" y="422"/>
                  <a:pt x="997" y="422"/>
                </a:cubicBezTo>
                <a:cubicBezTo>
                  <a:pt x="999" y="421"/>
                  <a:pt x="999" y="421"/>
                  <a:pt x="999" y="421"/>
                </a:cubicBezTo>
                <a:cubicBezTo>
                  <a:pt x="1000" y="421"/>
                  <a:pt x="1000" y="421"/>
                  <a:pt x="1000" y="421"/>
                </a:cubicBezTo>
                <a:cubicBezTo>
                  <a:pt x="1002" y="420"/>
                  <a:pt x="1002" y="420"/>
                  <a:pt x="1002" y="420"/>
                </a:cubicBezTo>
                <a:cubicBezTo>
                  <a:pt x="1002" y="418"/>
                  <a:pt x="1002" y="418"/>
                  <a:pt x="1002" y="418"/>
                </a:cubicBezTo>
                <a:cubicBezTo>
                  <a:pt x="999" y="417"/>
                  <a:pt x="999" y="417"/>
                  <a:pt x="999" y="417"/>
                </a:cubicBezTo>
                <a:cubicBezTo>
                  <a:pt x="998" y="415"/>
                  <a:pt x="998" y="415"/>
                  <a:pt x="998" y="415"/>
                </a:cubicBezTo>
                <a:cubicBezTo>
                  <a:pt x="999" y="415"/>
                  <a:pt x="999" y="415"/>
                  <a:pt x="999" y="415"/>
                </a:cubicBezTo>
                <a:cubicBezTo>
                  <a:pt x="1001" y="416"/>
                  <a:pt x="1001" y="416"/>
                  <a:pt x="1001" y="416"/>
                </a:cubicBezTo>
                <a:cubicBezTo>
                  <a:pt x="1001" y="415"/>
                  <a:pt x="1001" y="415"/>
                  <a:pt x="1001" y="415"/>
                </a:cubicBezTo>
                <a:cubicBezTo>
                  <a:pt x="998" y="414"/>
                  <a:pt x="998" y="414"/>
                  <a:pt x="998" y="414"/>
                </a:cubicBezTo>
                <a:cubicBezTo>
                  <a:pt x="995" y="414"/>
                  <a:pt x="995" y="414"/>
                  <a:pt x="995" y="414"/>
                </a:cubicBezTo>
                <a:cubicBezTo>
                  <a:pt x="996" y="412"/>
                  <a:pt x="996" y="412"/>
                  <a:pt x="996" y="412"/>
                </a:cubicBezTo>
                <a:cubicBezTo>
                  <a:pt x="996" y="412"/>
                  <a:pt x="996" y="412"/>
                  <a:pt x="996" y="412"/>
                </a:cubicBezTo>
                <a:cubicBezTo>
                  <a:pt x="996" y="411"/>
                  <a:pt x="996" y="411"/>
                  <a:pt x="996" y="411"/>
                </a:cubicBezTo>
                <a:cubicBezTo>
                  <a:pt x="994" y="411"/>
                  <a:pt x="994" y="411"/>
                  <a:pt x="994" y="411"/>
                </a:cubicBezTo>
                <a:cubicBezTo>
                  <a:pt x="991" y="413"/>
                  <a:pt x="991" y="413"/>
                  <a:pt x="991" y="413"/>
                </a:cubicBezTo>
                <a:cubicBezTo>
                  <a:pt x="990" y="414"/>
                  <a:pt x="990" y="414"/>
                  <a:pt x="990" y="414"/>
                </a:cubicBezTo>
                <a:cubicBezTo>
                  <a:pt x="989" y="415"/>
                  <a:pt x="989" y="415"/>
                  <a:pt x="989" y="415"/>
                </a:cubicBezTo>
                <a:cubicBezTo>
                  <a:pt x="988" y="414"/>
                  <a:pt x="988" y="414"/>
                  <a:pt x="988" y="414"/>
                </a:cubicBezTo>
                <a:cubicBezTo>
                  <a:pt x="986" y="414"/>
                  <a:pt x="986" y="414"/>
                  <a:pt x="986" y="414"/>
                </a:cubicBezTo>
                <a:cubicBezTo>
                  <a:pt x="987" y="412"/>
                  <a:pt x="987" y="412"/>
                  <a:pt x="987" y="412"/>
                </a:cubicBezTo>
                <a:cubicBezTo>
                  <a:pt x="988" y="412"/>
                  <a:pt x="988" y="412"/>
                  <a:pt x="988" y="412"/>
                </a:cubicBezTo>
                <a:cubicBezTo>
                  <a:pt x="991" y="410"/>
                  <a:pt x="991" y="410"/>
                  <a:pt x="991" y="410"/>
                </a:cubicBezTo>
                <a:cubicBezTo>
                  <a:pt x="991" y="408"/>
                  <a:pt x="991" y="408"/>
                  <a:pt x="991" y="408"/>
                </a:cubicBezTo>
                <a:cubicBezTo>
                  <a:pt x="989" y="405"/>
                  <a:pt x="989" y="405"/>
                  <a:pt x="989" y="405"/>
                </a:cubicBezTo>
                <a:cubicBezTo>
                  <a:pt x="986" y="404"/>
                  <a:pt x="986" y="404"/>
                  <a:pt x="986" y="404"/>
                </a:cubicBezTo>
                <a:cubicBezTo>
                  <a:pt x="982" y="405"/>
                  <a:pt x="982" y="405"/>
                  <a:pt x="982" y="405"/>
                </a:cubicBezTo>
                <a:cubicBezTo>
                  <a:pt x="980" y="405"/>
                  <a:pt x="980" y="405"/>
                  <a:pt x="980" y="405"/>
                </a:cubicBezTo>
                <a:cubicBezTo>
                  <a:pt x="981" y="406"/>
                  <a:pt x="981" y="406"/>
                  <a:pt x="981" y="406"/>
                </a:cubicBezTo>
                <a:cubicBezTo>
                  <a:pt x="983" y="406"/>
                  <a:pt x="983" y="406"/>
                  <a:pt x="983" y="406"/>
                </a:cubicBezTo>
                <a:cubicBezTo>
                  <a:pt x="984" y="406"/>
                  <a:pt x="984" y="406"/>
                  <a:pt x="984" y="406"/>
                </a:cubicBezTo>
                <a:cubicBezTo>
                  <a:pt x="982" y="406"/>
                  <a:pt x="982" y="406"/>
                  <a:pt x="982" y="406"/>
                </a:cubicBezTo>
                <a:cubicBezTo>
                  <a:pt x="979" y="406"/>
                  <a:pt x="979" y="406"/>
                  <a:pt x="979" y="406"/>
                </a:cubicBezTo>
                <a:cubicBezTo>
                  <a:pt x="976" y="408"/>
                  <a:pt x="976" y="408"/>
                  <a:pt x="976" y="408"/>
                </a:cubicBezTo>
                <a:cubicBezTo>
                  <a:pt x="974" y="408"/>
                  <a:pt x="974" y="408"/>
                  <a:pt x="974" y="408"/>
                </a:cubicBezTo>
                <a:cubicBezTo>
                  <a:pt x="972" y="410"/>
                  <a:pt x="972" y="410"/>
                  <a:pt x="972" y="410"/>
                </a:cubicBezTo>
                <a:cubicBezTo>
                  <a:pt x="971" y="412"/>
                  <a:pt x="971" y="412"/>
                  <a:pt x="971" y="412"/>
                </a:cubicBezTo>
                <a:cubicBezTo>
                  <a:pt x="970" y="412"/>
                  <a:pt x="970" y="412"/>
                  <a:pt x="970" y="412"/>
                </a:cubicBezTo>
                <a:cubicBezTo>
                  <a:pt x="968" y="414"/>
                  <a:pt x="968" y="414"/>
                  <a:pt x="968" y="414"/>
                </a:cubicBezTo>
                <a:cubicBezTo>
                  <a:pt x="965" y="414"/>
                  <a:pt x="965" y="414"/>
                  <a:pt x="965" y="414"/>
                </a:cubicBezTo>
                <a:cubicBezTo>
                  <a:pt x="963" y="417"/>
                  <a:pt x="963" y="417"/>
                  <a:pt x="963" y="417"/>
                </a:cubicBezTo>
                <a:cubicBezTo>
                  <a:pt x="962" y="417"/>
                  <a:pt x="962" y="417"/>
                  <a:pt x="962" y="417"/>
                </a:cubicBezTo>
                <a:cubicBezTo>
                  <a:pt x="961" y="418"/>
                  <a:pt x="961" y="418"/>
                  <a:pt x="961" y="418"/>
                </a:cubicBezTo>
                <a:cubicBezTo>
                  <a:pt x="960" y="418"/>
                  <a:pt x="960" y="418"/>
                  <a:pt x="960" y="418"/>
                </a:cubicBezTo>
                <a:cubicBezTo>
                  <a:pt x="959" y="416"/>
                  <a:pt x="959" y="416"/>
                  <a:pt x="959" y="416"/>
                </a:cubicBezTo>
                <a:cubicBezTo>
                  <a:pt x="960" y="415"/>
                  <a:pt x="960" y="415"/>
                  <a:pt x="960" y="415"/>
                </a:cubicBezTo>
                <a:cubicBezTo>
                  <a:pt x="961" y="415"/>
                  <a:pt x="961" y="415"/>
                  <a:pt x="961" y="415"/>
                </a:cubicBezTo>
                <a:cubicBezTo>
                  <a:pt x="962" y="414"/>
                  <a:pt x="962" y="414"/>
                  <a:pt x="962" y="414"/>
                </a:cubicBezTo>
                <a:cubicBezTo>
                  <a:pt x="958" y="411"/>
                  <a:pt x="958" y="411"/>
                  <a:pt x="958" y="411"/>
                </a:cubicBezTo>
                <a:cubicBezTo>
                  <a:pt x="958" y="410"/>
                  <a:pt x="958" y="410"/>
                  <a:pt x="958" y="410"/>
                </a:cubicBezTo>
                <a:cubicBezTo>
                  <a:pt x="956" y="409"/>
                  <a:pt x="956" y="409"/>
                  <a:pt x="956" y="409"/>
                </a:cubicBezTo>
                <a:cubicBezTo>
                  <a:pt x="957" y="408"/>
                  <a:pt x="957" y="408"/>
                  <a:pt x="957" y="408"/>
                </a:cubicBezTo>
                <a:cubicBezTo>
                  <a:pt x="957" y="407"/>
                  <a:pt x="957" y="407"/>
                  <a:pt x="957" y="407"/>
                </a:cubicBezTo>
                <a:cubicBezTo>
                  <a:pt x="959" y="410"/>
                  <a:pt x="959" y="410"/>
                  <a:pt x="959" y="410"/>
                </a:cubicBezTo>
                <a:cubicBezTo>
                  <a:pt x="962" y="413"/>
                  <a:pt x="962" y="413"/>
                  <a:pt x="962" y="413"/>
                </a:cubicBezTo>
                <a:cubicBezTo>
                  <a:pt x="963" y="412"/>
                  <a:pt x="963" y="412"/>
                  <a:pt x="963" y="412"/>
                </a:cubicBezTo>
                <a:cubicBezTo>
                  <a:pt x="963" y="410"/>
                  <a:pt x="963" y="410"/>
                  <a:pt x="963" y="410"/>
                </a:cubicBezTo>
                <a:cubicBezTo>
                  <a:pt x="966" y="410"/>
                  <a:pt x="966" y="410"/>
                  <a:pt x="966" y="410"/>
                </a:cubicBezTo>
                <a:cubicBezTo>
                  <a:pt x="967" y="409"/>
                  <a:pt x="967" y="409"/>
                  <a:pt x="967" y="409"/>
                </a:cubicBezTo>
                <a:cubicBezTo>
                  <a:pt x="970" y="407"/>
                  <a:pt x="970" y="407"/>
                  <a:pt x="970" y="407"/>
                </a:cubicBezTo>
                <a:cubicBezTo>
                  <a:pt x="974" y="406"/>
                  <a:pt x="974" y="406"/>
                  <a:pt x="974" y="406"/>
                </a:cubicBezTo>
                <a:cubicBezTo>
                  <a:pt x="978" y="405"/>
                  <a:pt x="978" y="405"/>
                  <a:pt x="978" y="405"/>
                </a:cubicBezTo>
                <a:cubicBezTo>
                  <a:pt x="978" y="405"/>
                  <a:pt x="978" y="405"/>
                  <a:pt x="978" y="405"/>
                </a:cubicBezTo>
                <a:cubicBezTo>
                  <a:pt x="976" y="404"/>
                  <a:pt x="976" y="404"/>
                  <a:pt x="976" y="404"/>
                </a:cubicBezTo>
                <a:cubicBezTo>
                  <a:pt x="972" y="405"/>
                  <a:pt x="972" y="405"/>
                  <a:pt x="972" y="405"/>
                </a:cubicBezTo>
                <a:cubicBezTo>
                  <a:pt x="969" y="406"/>
                  <a:pt x="969" y="406"/>
                  <a:pt x="969" y="406"/>
                </a:cubicBezTo>
                <a:cubicBezTo>
                  <a:pt x="969" y="405"/>
                  <a:pt x="969" y="405"/>
                  <a:pt x="969" y="405"/>
                </a:cubicBezTo>
                <a:cubicBezTo>
                  <a:pt x="974" y="404"/>
                  <a:pt x="974" y="404"/>
                  <a:pt x="974" y="404"/>
                </a:cubicBezTo>
                <a:cubicBezTo>
                  <a:pt x="978" y="404"/>
                  <a:pt x="978" y="404"/>
                  <a:pt x="978" y="404"/>
                </a:cubicBezTo>
                <a:cubicBezTo>
                  <a:pt x="980" y="402"/>
                  <a:pt x="980" y="402"/>
                  <a:pt x="980" y="402"/>
                </a:cubicBezTo>
                <a:cubicBezTo>
                  <a:pt x="983" y="401"/>
                  <a:pt x="983" y="401"/>
                  <a:pt x="983" y="401"/>
                </a:cubicBezTo>
                <a:cubicBezTo>
                  <a:pt x="984" y="401"/>
                  <a:pt x="984" y="401"/>
                  <a:pt x="984" y="401"/>
                </a:cubicBezTo>
                <a:cubicBezTo>
                  <a:pt x="988" y="401"/>
                  <a:pt x="988" y="401"/>
                  <a:pt x="988" y="401"/>
                </a:cubicBezTo>
                <a:cubicBezTo>
                  <a:pt x="988" y="400"/>
                  <a:pt x="988" y="400"/>
                  <a:pt x="988" y="400"/>
                </a:cubicBezTo>
                <a:cubicBezTo>
                  <a:pt x="991" y="400"/>
                  <a:pt x="991" y="400"/>
                  <a:pt x="991" y="400"/>
                </a:cubicBezTo>
                <a:cubicBezTo>
                  <a:pt x="989" y="398"/>
                  <a:pt x="989" y="398"/>
                  <a:pt x="989" y="398"/>
                </a:cubicBezTo>
                <a:cubicBezTo>
                  <a:pt x="984" y="397"/>
                  <a:pt x="984" y="397"/>
                  <a:pt x="984" y="397"/>
                </a:cubicBezTo>
                <a:cubicBezTo>
                  <a:pt x="985" y="396"/>
                  <a:pt x="985" y="396"/>
                  <a:pt x="985" y="396"/>
                </a:cubicBezTo>
                <a:cubicBezTo>
                  <a:pt x="986" y="396"/>
                  <a:pt x="986" y="396"/>
                  <a:pt x="986" y="396"/>
                </a:cubicBezTo>
                <a:cubicBezTo>
                  <a:pt x="987" y="394"/>
                  <a:pt x="987" y="394"/>
                  <a:pt x="987" y="394"/>
                </a:cubicBezTo>
                <a:cubicBezTo>
                  <a:pt x="986" y="393"/>
                  <a:pt x="986" y="393"/>
                  <a:pt x="986" y="393"/>
                </a:cubicBezTo>
                <a:cubicBezTo>
                  <a:pt x="983" y="394"/>
                  <a:pt x="983" y="394"/>
                  <a:pt x="983" y="394"/>
                </a:cubicBezTo>
                <a:cubicBezTo>
                  <a:pt x="981" y="396"/>
                  <a:pt x="981" y="396"/>
                  <a:pt x="981" y="396"/>
                </a:cubicBezTo>
                <a:cubicBezTo>
                  <a:pt x="979" y="394"/>
                  <a:pt x="979" y="394"/>
                  <a:pt x="979" y="394"/>
                </a:cubicBezTo>
                <a:cubicBezTo>
                  <a:pt x="977" y="395"/>
                  <a:pt x="977" y="395"/>
                  <a:pt x="977" y="395"/>
                </a:cubicBezTo>
                <a:cubicBezTo>
                  <a:pt x="976" y="394"/>
                  <a:pt x="976" y="394"/>
                  <a:pt x="976" y="394"/>
                </a:cubicBezTo>
                <a:cubicBezTo>
                  <a:pt x="978" y="393"/>
                  <a:pt x="978" y="393"/>
                  <a:pt x="978" y="393"/>
                </a:cubicBezTo>
                <a:cubicBezTo>
                  <a:pt x="978" y="390"/>
                  <a:pt x="978" y="390"/>
                  <a:pt x="978" y="390"/>
                </a:cubicBezTo>
                <a:cubicBezTo>
                  <a:pt x="978" y="389"/>
                  <a:pt x="978" y="389"/>
                  <a:pt x="978" y="389"/>
                </a:cubicBezTo>
                <a:cubicBezTo>
                  <a:pt x="975" y="391"/>
                  <a:pt x="975" y="391"/>
                  <a:pt x="975" y="391"/>
                </a:cubicBezTo>
                <a:cubicBezTo>
                  <a:pt x="975" y="390"/>
                  <a:pt x="975" y="390"/>
                  <a:pt x="975" y="390"/>
                </a:cubicBezTo>
                <a:cubicBezTo>
                  <a:pt x="976" y="389"/>
                  <a:pt x="976" y="389"/>
                  <a:pt x="976" y="389"/>
                </a:cubicBezTo>
                <a:cubicBezTo>
                  <a:pt x="976" y="389"/>
                  <a:pt x="976" y="389"/>
                  <a:pt x="976" y="389"/>
                </a:cubicBezTo>
                <a:cubicBezTo>
                  <a:pt x="972" y="392"/>
                  <a:pt x="972" y="392"/>
                  <a:pt x="972" y="392"/>
                </a:cubicBezTo>
                <a:cubicBezTo>
                  <a:pt x="970" y="393"/>
                  <a:pt x="970" y="393"/>
                  <a:pt x="970" y="393"/>
                </a:cubicBezTo>
                <a:cubicBezTo>
                  <a:pt x="969" y="393"/>
                  <a:pt x="969" y="393"/>
                  <a:pt x="969" y="393"/>
                </a:cubicBezTo>
                <a:cubicBezTo>
                  <a:pt x="971" y="391"/>
                  <a:pt x="971" y="391"/>
                  <a:pt x="971" y="391"/>
                </a:cubicBezTo>
                <a:cubicBezTo>
                  <a:pt x="974" y="389"/>
                  <a:pt x="974" y="389"/>
                  <a:pt x="974" y="389"/>
                </a:cubicBezTo>
                <a:cubicBezTo>
                  <a:pt x="973" y="388"/>
                  <a:pt x="973" y="388"/>
                  <a:pt x="973" y="388"/>
                </a:cubicBezTo>
                <a:cubicBezTo>
                  <a:pt x="970" y="390"/>
                  <a:pt x="970" y="390"/>
                  <a:pt x="970" y="390"/>
                </a:cubicBezTo>
                <a:cubicBezTo>
                  <a:pt x="969" y="389"/>
                  <a:pt x="969" y="389"/>
                  <a:pt x="969" y="389"/>
                </a:cubicBezTo>
                <a:cubicBezTo>
                  <a:pt x="970" y="388"/>
                  <a:pt x="970" y="388"/>
                  <a:pt x="970" y="388"/>
                </a:cubicBezTo>
                <a:cubicBezTo>
                  <a:pt x="972" y="387"/>
                  <a:pt x="972" y="387"/>
                  <a:pt x="972" y="387"/>
                </a:cubicBezTo>
                <a:cubicBezTo>
                  <a:pt x="972" y="387"/>
                  <a:pt x="972" y="387"/>
                  <a:pt x="972" y="387"/>
                </a:cubicBezTo>
                <a:cubicBezTo>
                  <a:pt x="970" y="387"/>
                  <a:pt x="970" y="387"/>
                  <a:pt x="970" y="387"/>
                </a:cubicBezTo>
                <a:cubicBezTo>
                  <a:pt x="968" y="389"/>
                  <a:pt x="968" y="389"/>
                  <a:pt x="968" y="389"/>
                </a:cubicBezTo>
                <a:cubicBezTo>
                  <a:pt x="966" y="391"/>
                  <a:pt x="966" y="391"/>
                  <a:pt x="966" y="391"/>
                </a:cubicBezTo>
                <a:cubicBezTo>
                  <a:pt x="965" y="391"/>
                  <a:pt x="965" y="391"/>
                  <a:pt x="965" y="391"/>
                </a:cubicBezTo>
                <a:cubicBezTo>
                  <a:pt x="966" y="389"/>
                  <a:pt x="966" y="389"/>
                  <a:pt x="966" y="389"/>
                </a:cubicBezTo>
                <a:cubicBezTo>
                  <a:pt x="967" y="388"/>
                  <a:pt x="967" y="388"/>
                  <a:pt x="967" y="388"/>
                </a:cubicBezTo>
                <a:cubicBezTo>
                  <a:pt x="967" y="387"/>
                  <a:pt x="967" y="387"/>
                  <a:pt x="967" y="387"/>
                </a:cubicBezTo>
                <a:cubicBezTo>
                  <a:pt x="966" y="387"/>
                  <a:pt x="966" y="387"/>
                  <a:pt x="966" y="387"/>
                </a:cubicBezTo>
                <a:cubicBezTo>
                  <a:pt x="962" y="390"/>
                  <a:pt x="962" y="390"/>
                  <a:pt x="962" y="390"/>
                </a:cubicBezTo>
                <a:cubicBezTo>
                  <a:pt x="960" y="391"/>
                  <a:pt x="960" y="391"/>
                  <a:pt x="960" y="391"/>
                </a:cubicBezTo>
                <a:cubicBezTo>
                  <a:pt x="958" y="390"/>
                  <a:pt x="958" y="390"/>
                  <a:pt x="958" y="390"/>
                </a:cubicBezTo>
                <a:cubicBezTo>
                  <a:pt x="961" y="390"/>
                  <a:pt x="961" y="390"/>
                  <a:pt x="961" y="390"/>
                </a:cubicBezTo>
                <a:cubicBezTo>
                  <a:pt x="962" y="389"/>
                  <a:pt x="962" y="389"/>
                  <a:pt x="962" y="389"/>
                </a:cubicBezTo>
                <a:cubicBezTo>
                  <a:pt x="965" y="385"/>
                  <a:pt x="965" y="385"/>
                  <a:pt x="965" y="385"/>
                </a:cubicBezTo>
                <a:cubicBezTo>
                  <a:pt x="968" y="383"/>
                  <a:pt x="968" y="383"/>
                  <a:pt x="968" y="383"/>
                </a:cubicBezTo>
                <a:cubicBezTo>
                  <a:pt x="967" y="382"/>
                  <a:pt x="967" y="382"/>
                  <a:pt x="967" y="382"/>
                </a:cubicBezTo>
                <a:cubicBezTo>
                  <a:pt x="967" y="380"/>
                  <a:pt x="967" y="380"/>
                  <a:pt x="967" y="380"/>
                </a:cubicBezTo>
                <a:cubicBezTo>
                  <a:pt x="966" y="380"/>
                  <a:pt x="966" y="380"/>
                  <a:pt x="966" y="380"/>
                </a:cubicBezTo>
                <a:cubicBezTo>
                  <a:pt x="964" y="383"/>
                  <a:pt x="964" y="383"/>
                  <a:pt x="964" y="383"/>
                </a:cubicBezTo>
                <a:cubicBezTo>
                  <a:pt x="964" y="383"/>
                  <a:pt x="964" y="383"/>
                  <a:pt x="964" y="383"/>
                </a:cubicBezTo>
                <a:cubicBezTo>
                  <a:pt x="964" y="382"/>
                  <a:pt x="964" y="382"/>
                  <a:pt x="964" y="382"/>
                </a:cubicBezTo>
                <a:cubicBezTo>
                  <a:pt x="964" y="381"/>
                  <a:pt x="964" y="381"/>
                  <a:pt x="964" y="381"/>
                </a:cubicBezTo>
                <a:cubicBezTo>
                  <a:pt x="964" y="378"/>
                  <a:pt x="964" y="378"/>
                  <a:pt x="964" y="378"/>
                </a:cubicBezTo>
                <a:cubicBezTo>
                  <a:pt x="963" y="378"/>
                  <a:pt x="963" y="378"/>
                  <a:pt x="963" y="378"/>
                </a:cubicBezTo>
                <a:cubicBezTo>
                  <a:pt x="962" y="378"/>
                  <a:pt x="962" y="378"/>
                  <a:pt x="962" y="378"/>
                </a:cubicBezTo>
                <a:cubicBezTo>
                  <a:pt x="961" y="379"/>
                  <a:pt x="961" y="379"/>
                  <a:pt x="961" y="379"/>
                </a:cubicBezTo>
                <a:cubicBezTo>
                  <a:pt x="960" y="378"/>
                  <a:pt x="960" y="378"/>
                  <a:pt x="960" y="378"/>
                </a:cubicBezTo>
                <a:cubicBezTo>
                  <a:pt x="960" y="377"/>
                  <a:pt x="960" y="377"/>
                  <a:pt x="960" y="377"/>
                </a:cubicBezTo>
                <a:cubicBezTo>
                  <a:pt x="960" y="376"/>
                  <a:pt x="960" y="376"/>
                  <a:pt x="960" y="376"/>
                </a:cubicBezTo>
                <a:cubicBezTo>
                  <a:pt x="959" y="376"/>
                  <a:pt x="959" y="376"/>
                  <a:pt x="959" y="376"/>
                </a:cubicBezTo>
                <a:cubicBezTo>
                  <a:pt x="960" y="375"/>
                  <a:pt x="960" y="375"/>
                  <a:pt x="960" y="375"/>
                </a:cubicBezTo>
                <a:cubicBezTo>
                  <a:pt x="959" y="374"/>
                  <a:pt x="959" y="374"/>
                  <a:pt x="959" y="374"/>
                </a:cubicBezTo>
                <a:cubicBezTo>
                  <a:pt x="959" y="373"/>
                  <a:pt x="959" y="373"/>
                  <a:pt x="959" y="373"/>
                </a:cubicBezTo>
                <a:cubicBezTo>
                  <a:pt x="958" y="372"/>
                  <a:pt x="958" y="372"/>
                  <a:pt x="958" y="372"/>
                </a:cubicBezTo>
                <a:cubicBezTo>
                  <a:pt x="955" y="373"/>
                  <a:pt x="955" y="373"/>
                  <a:pt x="955" y="373"/>
                </a:cubicBezTo>
                <a:cubicBezTo>
                  <a:pt x="955" y="374"/>
                  <a:pt x="955" y="374"/>
                  <a:pt x="955" y="374"/>
                </a:cubicBezTo>
                <a:cubicBezTo>
                  <a:pt x="953" y="374"/>
                  <a:pt x="953" y="374"/>
                  <a:pt x="953" y="374"/>
                </a:cubicBezTo>
                <a:cubicBezTo>
                  <a:pt x="950" y="373"/>
                  <a:pt x="950" y="373"/>
                  <a:pt x="950" y="373"/>
                </a:cubicBezTo>
                <a:cubicBezTo>
                  <a:pt x="953" y="373"/>
                  <a:pt x="953" y="373"/>
                  <a:pt x="953" y="373"/>
                </a:cubicBezTo>
                <a:cubicBezTo>
                  <a:pt x="953" y="372"/>
                  <a:pt x="953" y="372"/>
                  <a:pt x="953" y="372"/>
                </a:cubicBezTo>
                <a:cubicBezTo>
                  <a:pt x="956" y="372"/>
                  <a:pt x="956" y="372"/>
                  <a:pt x="956" y="372"/>
                </a:cubicBezTo>
                <a:cubicBezTo>
                  <a:pt x="956" y="371"/>
                  <a:pt x="956" y="371"/>
                  <a:pt x="956" y="371"/>
                </a:cubicBezTo>
                <a:cubicBezTo>
                  <a:pt x="955" y="370"/>
                  <a:pt x="955" y="370"/>
                  <a:pt x="955" y="370"/>
                </a:cubicBezTo>
                <a:cubicBezTo>
                  <a:pt x="953" y="368"/>
                  <a:pt x="953" y="368"/>
                  <a:pt x="953" y="368"/>
                </a:cubicBezTo>
                <a:cubicBezTo>
                  <a:pt x="953" y="366"/>
                  <a:pt x="953" y="366"/>
                  <a:pt x="953" y="366"/>
                </a:cubicBezTo>
                <a:cubicBezTo>
                  <a:pt x="950" y="364"/>
                  <a:pt x="950" y="364"/>
                  <a:pt x="950" y="364"/>
                </a:cubicBezTo>
                <a:cubicBezTo>
                  <a:pt x="953" y="364"/>
                  <a:pt x="953" y="364"/>
                  <a:pt x="953" y="364"/>
                </a:cubicBezTo>
                <a:cubicBezTo>
                  <a:pt x="956" y="366"/>
                  <a:pt x="956" y="366"/>
                  <a:pt x="956" y="366"/>
                </a:cubicBezTo>
                <a:cubicBezTo>
                  <a:pt x="958" y="366"/>
                  <a:pt x="958" y="366"/>
                  <a:pt x="958" y="366"/>
                </a:cubicBezTo>
                <a:cubicBezTo>
                  <a:pt x="958" y="364"/>
                  <a:pt x="958" y="364"/>
                  <a:pt x="958" y="364"/>
                </a:cubicBezTo>
                <a:cubicBezTo>
                  <a:pt x="956" y="364"/>
                  <a:pt x="956" y="364"/>
                  <a:pt x="956" y="364"/>
                </a:cubicBezTo>
                <a:cubicBezTo>
                  <a:pt x="957" y="363"/>
                  <a:pt x="957" y="363"/>
                  <a:pt x="957" y="363"/>
                </a:cubicBezTo>
                <a:cubicBezTo>
                  <a:pt x="958" y="363"/>
                  <a:pt x="958" y="363"/>
                  <a:pt x="958" y="363"/>
                </a:cubicBezTo>
                <a:cubicBezTo>
                  <a:pt x="961" y="361"/>
                  <a:pt x="961" y="361"/>
                  <a:pt x="961" y="361"/>
                </a:cubicBezTo>
                <a:cubicBezTo>
                  <a:pt x="962" y="360"/>
                  <a:pt x="962" y="360"/>
                  <a:pt x="962" y="360"/>
                </a:cubicBezTo>
                <a:cubicBezTo>
                  <a:pt x="963" y="359"/>
                  <a:pt x="963" y="359"/>
                  <a:pt x="963" y="359"/>
                </a:cubicBezTo>
                <a:cubicBezTo>
                  <a:pt x="961" y="357"/>
                  <a:pt x="961" y="357"/>
                  <a:pt x="961" y="357"/>
                </a:cubicBezTo>
                <a:cubicBezTo>
                  <a:pt x="959" y="357"/>
                  <a:pt x="959" y="357"/>
                  <a:pt x="959" y="357"/>
                </a:cubicBezTo>
                <a:cubicBezTo>
                  <a:pt x="957" y="357"/>
                  <a:pt x="957" y="357"/>
                  <a:pt x="957" y="357"/>
                </a:cubicBezTo>
                <a:cubicBezTo>
                  <a:pt x="959" y="356"/>
                  <a:pt x="959" y="356"/>
                  <a:pt x="959" y="356"/>
                </a:cubicBezTo>
                <a:cubicBezTo>
                  <a:pt x="959" y="354"/>
                  <a:pt x="959" y="354"/>
                  <a:pt x="959" y="354"/>
                </a:cubicBezTo>
                <a:cubicBezTo>
                  <a:pt x="958" y="353"/>
                  <a:pt x="958" y="353"/>
                  <a:pt x="958" y="353"/>
                </a:cubicBezTo>
                <a:cubicBezTo>
                  <a:pt x="956" y="353"/>
                  <a:pt x="956" y="353"/>
                  <a:pt x="956" y="353"/>
                </a:cubicBezTo>
                <a:cubicBezTo>
                  <a:pt x="955" y="353"/>
                  <a:pt x="955" y="353"/>
                  <a:pt x="955" y="353"/>
                </a:cubicBezTo>
                <a:cubicBezTo>
                  <a:pt x="954" y="353"/>
                  <a:pt x="954" y="353"/>
                  <a:pt x="954" y="353"/>
                </a:cubicBezTo>
                <a:cubicBezTo>
                  <a:pt x="953" y="352"/>
                  <a:pt x="953" y="352"/>
                  <a:pt x="953" y="352"/>
                </a:cubicBezTo>
                <a:cubicBezTo>
                  <a:pt x="955" y="352"/>
                  <a:pt x="955" y="352"/>
                  <a:pt x="955" y="352"/>
                </a:cubicBezTo>
                <a:cubicBezTo>
                  <a:pt x="956" y="351"/>
                  <a:pt x="956" y="351"/>
                  <a:pt x="956" y="351"/>
                </a:cubicBezTo>
                <a:cubicBezTo>
                  <a:pt x="957" y="351"/>
                  <a:pt x="957" y="351"/>
                  <a:pt x="957" y="351"/>
                </a:cubicBezTo>
                <a:cubicBezTo>
                  <a:pt x="959" y="349"/>
                  <a:pt x="959" y="349"/>
                  <a:pt x="959" y="349"/>
                </a:cubicBezTo>
                <a:cubicBezTo>
                  <a:pt x="958" y="346"/>
                  <a:pt x="958" y="346"/>
                  <a:pt x="958" y="346"/>
                </a:cubicBezTo>
                <a:cubicBezTo>
                  <a:pt x="956" y="344"/>
                  <a:pt x="956" y="344"/>
                  <a:pt x="956" y="344"/>
                </a:cubicBezTo>
                <a:cubicBezTo>
                  <a:pt x="955" y="346"/>
                  <a:pt x="955" y="346"/>
                  <a:pt x="955" y="346"/>
                </a:cubicBezTo>
                <a:cubicBezTo>
                  <a:pt x="953" y="345"/>
                  <a:pt x="953" y="345"/>
                  <a:pt x="953" y="345"/>
                </a:cubicBezTo>
                <a:cubicBezTo>
                  <a:pt x="952" y="346"/>
                  <a:pt x="952" y="346"/>
                  <a:pt x="952" y="346"/>
                </a:cubicBezTo>
                <a:cubicBezTo>
                  <a:pt x="953" y="344"/>
                  <a:pt x="953" y="344"/>
                  <a:pt x="953" y="344"/>
                </a:cubicBezTo>
                <a:cubicBezTo>
                  <a:pt x="955" y="343"/>
                  <a:pt x="955" y="343"/>
                  <a:pt x="955" y="343"/>
                </a:cubicBezTo>
                <a:cubicBezTo>
                  <a:pt x="956" y="343"/>
                  <a:pt x="956" y="343"/>
                  <a:pt x="956" y="343"/>
                </a:cubicBezTo>
                <a:cubicBezTo>
                  <a:pt x="956" y="341"/>
                  <a:pt x="956" y="341"/>
                  <a:pt x="956" y="341"/>
                </a:cubicBezTo>
                <a:cubicBezTo>
                  <a:pt x="954" y="341"/>
                  <a:pt x="954" y="341"/>
                  <a:pt x="954" y="341"/>
                </a:cubicBezTo>
                <a:cubicBezTo>
                  <a:pt x="953" y="341"/>
                  <a:pt x="953" y="341"/>
                  <a:pt x="953" y="341"/>
                </a:cubicBezTo>
                <a:cubicBezTo>
                  <a:pt x="951" y="341"/>
                  <a:pt x="951" y="341"/>
                  <a:pt x="951" y="341"/>
                </a:cubicBezTo>
                <a:cubicBezTo>
                  <a:pt x="948" y="342"/>
                  <a:pt x="948" y="342"/>
                  <a:pt x="948" y="342"/>
                </a:cubicBezTo>
                <a:cubicBezTo>
                  <a:pt x="950" y="339"/>
                  <a:pt x="950" y="339"/>
                  <a:pt x="950" y="339"/>
                </a:cubicBezTo>
                <a:cubicBezTo>
                  <a:pt x="952" y="339"/>
                  <a:pt x="952" y="339"/>
                  <a:pt x="952" y="339"/>
                </a:cubicBezTo>
                <a:cubicBezTo>
                  <a:pt x="954" y="338"/>
                  <a:pt x="954" y="338"/>
                  <a:pt x="954" y="338"/>
                </a:cubicBezTo>
                <a:cubicBezTo>
                  <a:pt x="954" y="337"/>
                  <a:pt x="954" y="337"/>
                  <a:pt x="954" y="337"/>
                </a:cubicBezTo>
                <a:cubicBezTo>
                  <a:pt x="955" y="336"/>
                  <a:pt x="955" y="336"/>
                  <a:pt x="955" y="336"/>
                </a:cubicBezTo>
                <a:cubicBezTo>
                  <a:pt x="955" y="335"/>
                  <a:pt x="955" y="335"/>
                  <a:pt x="955" y="335"/>
                </a:cubicBezTo>
                <a:cubicBezTo>
                  <a:pt x="953" y="336"/>
                  <a:pt x="953" y="336"/>
                  <a:pt x="953" y="336"/>
                </a:cubicBezTo>
                <a:cubicBezTo>
                  <a:pt x="949" y="336"/>
                  <a:pt x="949" y="336"/>
                  <a:pt x="949" y="336"/>
                </a:cubicBezTo>
                <a:cubicBezTo>
                  <a:pt x="947" y="337"/>
                  <a:pt x="947" y="337"/>
                  <a:pt x="947" y="337"/>
                </a:cubicBezTo>
                <a:cubicBezTo>
                  <a:pt x="947" y="335"/>
                  <a:pt x="947" y="335"/>
                  <a:pt x="947" y="335"/>
                </a:cubicBezTo>
                <a:cubicBezTo>
                  <a:pt x="947" y="334"/>
                  <a:pt x="947" y="334"/>
                  <a:pt x="947" y="334"/>
                </a:cubicBezTo>
                <a:cubicBezTo>
                  <a:pt x="948" y="333"/>
                  <a:pt x="948" y="333"/>
                  <a:pt x="948" y="333"/>
                </a:cubicBezTo>
                <a:cubicBezTo>
                  <a:pt x="949" y="334"/>
                  <a:pt x="949" y="334"/>
                  <a:pt x="949" y="334"/>
                </a:cubicBezTo>
                <a:cubicBezTo>
                  <a:pt x="952" y="334"/>
                  <a:pt x="952" y="334"/>
                  <a:pt x="952" y="334"/>
                </a:cubicBezTo>
                <a:cubicBezTo>
                  <a:pt x="954" y="331"/>
                  <a:pt x="954" y="331"/>
                  <a:pt x="954" y="331"/>
                </a:cubicBezTo>
                <a:cubicBezTo>
                  <a:pt x="954" y="329"/>
                  <a:pt x="954" y="329"/>
                  <a:pt x="954" y="329"/>
                </a:cubicBezTo>
                <a:cubicBezTo>
                  <a:pt x="952" y="330"/>
                  <a:pt x="952" y="330"/>
                  <a:pt x="952" y="330"/>
                </a:cubicBezTo>
                <a:cubicBezTo>
                  <a:pt x="951" y="330"/>
                  <a:pt x="951" y="330"/>
                  <a:pt x="951" y="330"/>
                </a:cubicBezTo>
                <a:cubicBezTo>
                  <a:pt x="953" y="327"/>
                  <a:pt x="953" y="327"/>
                  <a:pt x="953" y="327"/>
                </a:cubicBezTo>
                <a:cubicBezTo>
                  <a:pt x="953" y="326"/>
                  <a:pt x="953" y="326"/>
                  <a:pt x="953" y="326"/>
                </a:cubicBezTo>
                <a:cubicBezTo>
                  <a:pt x="952" y="325"/>
                  <a:pt x="952" y="325"/>
                  <a:pt x="952" y="325"/>
                </a:cubicBezTo>
                <a:cubicBezTo>
                  <a:pt x="947" y="327"/>
                  <a:pt x="947" y="327"/>
                  <a:pt x="947" y="327"/>
                </a:cubicBezTo>
                <a:cubicBezTo>
                  <a:pt x="945" y="326"/>
                  <a:pt x="945" y="326"/>
                  <a:pt x="945" y="326"/>
                </a:cubicBezTo>
                <a:cubicBezTo>
                  <a:pt x="946" y="324"/>
                  <a:pt x="946" y="324"/>
                  <a:pt x="946" y="324"/>
                </a:cubicBezTo>
                <a:cubicBezTo>
                  <a:pt x="949" y="325"/>
                  <a:pt x="949" y="325"/>
                  <a:pt x="949" y="325"/>
                </a:cubicBezTo>
                <a:cubicBezTo>
                  <a:pt x="950" y="324"/>
                  <a:pt x="950" y="324"/>
                  <a:pt x="950" y="324"/>
                </a:cubicBezTo>
                <a:cubicBezTo>
                  <a:pt x="952" y="322"/>
                  <a:pt x="952" y="322"/>
                  <a:pt x="952" y="322"/>
                </a:cubicBezTo>
                <a:cubicBezTo>
                  <a:pt x="951" y="321"/>
                  <a:pt x="951" y="321"/>
                  <a:pt x="951" y="321"/>
                </a:cubicBezTo>
                <a:cubicBezTo>
                  <a:pt x="950" y="320"/>
                  <a:pt x="950" y="320"/>
                  <a:pt x="950" y="320"/>
                </a:cubicBezTo>
                <a:cubicBezTo>
                  <a:pt x="949" y="321"/>
                  <a:pt x="949" y="321"/>
                  <a:pt x="949" y="321"/>
                </a:cubicBezTo>
                <a:cubicBezTo>
                  <a:pt x="948" y="321"/>
                  <a:pt x="948" y="321"/>
                  <a:pt x="948" y="321"/>
                </a:cubicBezTo>
                <a:cubicBezTo>
                  <a:pt x="948" y="320"/>
                  <a:pt x="948" y="320"/>
                  <a:pt x="948" y="320"/>
                </a:cubicBezTo>
                <a:cubicBezTo>
                  <a:pt x="946" y="318"/>
                  <a:pt x="946" y="318"/>
                  <a:pt x="946" y="318"/>
                </a:cubicBezTo>
                <a:cubicBezTo>
                  <a:pt x="948" y="318"/>
                  <a:pt x="948" y="318"/>
                  <a:pt x="948" y="318"/>
                </a:cubicBezTo>
                <a:cubicBezTo>
                  <a:pt x="949" y="319"/>
                  <a:pt x="949" y="319"/>
                  <a:pt x="949" y="319"/>
                </a:cubicBezTo>
                <a:cubicBezTo>
                  <a:pt x="949" y="318"/>
                  <a:pt x="949" y="318"/>
                  <a:pt x="949" y="318"/>
                </a:cubicBezTo>
                <a:cubicBezTo>
                  <a:pt x="949" y="315"/>
                  <a:pt x="949" y="315"/>
                  <a:pt x="949" y="315"/>
                </a:cubicBezTo>
                <a:cubicBezTo>
                  <a:pt x="947" y="314"/>
                  <a:pt x="947" y="314"/>
                  <a:pt x="947" y="314"/>
                </a:cubicBezTo>
                <a:cubicBezTo>
                  <a:pt x="947" y="312"/>
                  <a:pt x="947" y="312"/>
                  <a:pt x="947" y="312"/>
                </a:cubicBezTo>
                <a:cubicBezTo>
                  <a:pt x="948" y="311"/>
                  <a:pt x="948" y="311"/>
                  <a:pt x="948" y="311"/>
                </a:cubicBezTo>
                <a:cubicBezTo>
                  <a:pt x="948" y="309"/>
                  <a:pt x="948" y="309"/>
                  <a:pt x="948" y="309"/>
                </a:cubicBezTo>
                <a:cubicBezTo>
                  <a:pt x="947" y="309"/>
                  <a:pt x="947" y="309"/>
                  <a:pt x="947" y="309"/>
                </a:cubicBezTo>
                <a:cubicBezTo>
                  <a:pt x="947" y="308"/>
                  <a:pt x="947" y="308"/>
                  <a:pt x="947" y="308"/>
                </a:cubicBezTo>
                <a:cubicBezTo>
                  <a:pt x="948" y="307"/>
                  <a:pt x="948" y="307"/>
                  <a:pt x="948" y="307"/>
                </a:cubicBezTo>
                <a:cubicBezTo>
                  <a:pt x="947" y="307"/>
                  <a:pt x="947" y="307"/>
                  <a:pt x="947" y="307"/>
                </a:cubicBezTo>
                <a:cubicBezTo>
                  <a:pt x="945" y="306"/>
                  <a:pt x="945" y="306"/>
                  <a:pt x="945" y="306"/>
                </a:cubicBezTo>
                <a:cubicBezTo>
                  <a:pt x="946" y="306"/>
                  <a:pt x="946" y="306"/>
                  <a:pt x="946" y="306"/>
                </a:cubicBezTo>
                <a:cubicBezTo>
                  <a:pt x="947" y="306"/>
                  <a:pt x="947" y="306"/>
                  <a:pt x="947" y="306"/>
                </a:cubicBezTo>
                <a:cubicBezTo>
                  <a:pt x="948" y="304"/>
                  <a:pt x="948" y="304"/>
                  <a:pt x="948" y="304"/>
                </a:cubicBezTo>
                <a:cubicBezTo>
                  <a:pt x="946" y="303"/>
                  <a:pt x="946" y="303"/>
                  <a:pt x="946" y="303"/>
                </a:cubicBezTo>
                <a:cubicBezTo>
                  <a:pt x="947" y="302"/>
                  <a:pt x="947" y="302"/>
                  <a:pt x="947" y="302"/>
                </a:cubicBezTo>
                <a:cubicBezTo>
                  <a:pt x="948" y="301"/>
                  <a:pt x="948" y="301"/>
                  <a:pt x="948" y="301"/>
                </a:cubicBezTo>
                <a:cubicBezTo>
                  <a:pt x="947" y="300"/>
                  <a:pt x="947" y="300"/>
                  <a:pt x="947" y="300"/>
                </a:cubicBezTo>
                <a:cubicBezTo>
                  <a:pt x="946" y="301"/>
                  <a:pt x="946" y="301"/>
                  <a:pt x="946" y="301"/>
                </a:cubicBezTo>
                <a:cubicBezTo>
                  <a:pt x="947" y="299"/>
                  <a:pt x="947" y="299"/>
                  <a:pt x="947" y="299"/>
                </a:cubicBezTo>
                <a:cubicBezTo>
                  <a:pt x="946" y="299"/>
                  <a:pt x="946" y="299"/>
                  <a:pt x="946" y="299"/>
                </a:cubicBezTo>
                <a:cubicBezTo>
                  <a:pt x="944" y="299"/>
                  <a:pt x="944" y="299"/>
                  <a:pt x="944" y="299"/>
                </a:cubicBezTo>
                <a:cubicBezTo>
                  <a:pt x="943" y="302"/>
                  <a:pt x="943" y="302"/>
                  <a:pt x="943" y="302"/>
                </a:cubicBezTo>
                <a:cubicBezTo>
                  <a:pt x="943" y="303"/>
                  <a:pt x="943" y="303"/>
                  <a:pt x="943" y="303"/>
                </a:cubicBezTo>
                <a:cubicBezTo>
                  <a:pt x="942" y="305"/>
                  <a:pt x="942" y="305"/>
                  <a:pt x="942" y="305"/>
                </a:cubicBezTo>
                <a:cubicBezTo>
                  <a:pt x="940" y="307"/>
                  <a:pt x="940" y="307"/>
                  <a:pt x="940" y="307"/>
                </a:cubicBezTo>
                <a:cubicBezTo>
                  <a:pt x="940" y="309"/>
                  <a:pt x="940" y="309"/>
                  <a:pt x="940" y="309"/>
                </a:cubicBezTo>
                <a:cubicBezTo>
                  <a:pt x="938" y="309"/>
                  <a:pt x="938" y="309"/>
                  <a:pt x="938" y="309"/>
                </a:cubicBezTo>
                <a:cubicBezTo>
                  <a:pt x="939" y="311"/>
                  <a:pt x="939" y="311"/>
                  <a:pt x="939" y="311"/>
                </a:cubicBezTo>
                <a:cubicBezTo>
                  <a:pt x="937" y="310"/>
                  <a:pt x="937" y="310"/>
                  <a:pt x="937" y="310"/>
                </a:cubicBezTo>
                <a:cubicBezTo>
                  <a:pt x="936" y="311"/>
                  <a:pt x="936" y="311"/>
                  <a:pt x="936" y="311"/>
                </a:cubicBezTo>
                <a:cubicBezTo>
                  <a:pt x="935" y="314"/>
                  <a:pt x="935" y="314"/>
                  <a:pt x="935" y="314"/>
                </a:cubicBezTo>
                <a:cubicBezTo>
                  <a:pt x="935" y="315"/>
                  <a:pt x="935" y="315"/>
                  <a:pt x="935" y="315"/>
                </a:cubicBezTo>
                <a:cubicBezTo>
                  <a:pt x="937" y="315"/>
                  <a:pt x="937" y="315"/>
                  <a:pt x="937" y="315"/>
                </a:cubicBezTo>
                <a:cubicBezTo>
                  <a:pt x="938" y="316"/>
                  <a:pt x="938" y="316"/>
                  <a:pt x="938" y="316"/>
                </a:cubicBezTo>
                <a:cubicBezTo>
                  <a:pt x="938" y="318"/>
                  <a:pt x="938" y="318"/>
                  <a:pt x="938" y="318"/>
                </a:cubicBezTo>
                <a:cubicBezTo>
                  <a:pt x="936" y="316"/>
                  <a:pt x="936" y="316"/>
                  <a:pt x="936" y="316"/>
                </a:cubicBezTo>
                <a:cubicBezTo>
                  <a:pt x="935" y="316"/>
                  <a:pt x="935" y="316"/>
                  <a:pt x="935" y="316"/>
                </a:cubicBezTo>
                <a:cubicBezTo>
                  <a:pt x="934" y="317"/>
                  <a:pt x="934" y="317"/>
                  <a:pt x="934" y="317"/>
                </a:cubicBezTo>
                <a:cubicBezTo>
                  <a:pt x="933" y="319"/>
                  <a:pt x="933" y="319"/>
                  <a:pt x="933" y="319"/>
                </a:cubicBezTo>
                <a:cubicBezTo>
                  <a:pt x="931" y="320"/>
                  <a:pt x="931" y="320"/>
                  <a:pt x="931" y="320"/>
                </a:cubicBezTo>
                <a:cubicBezTo>
                  <a:pt x="931" y="323"/>
                  <a:pt x="931" y="323"/>
                  <a:pt x="931" y="323"/>
                </a:cubicBezTo>
                <a:cubicBezTo>
                  <a:pt x="929" y="323"/>
                  <a:pt x="929" y="323"/>
                  <a:pt x="929" y="323"/>
                </a:cubicBezTo>
                <a:cubicBezTo>
                  <a:pt x="928" y="325"/>
                  <a:pt x="928" y="325"/>
                  <a:pt x="928" y="325"/>
                </a:cubicBezTo>
                <a:cubicBezTo>
                  <a:pt x="928" y="326"/>
                  <a:pt x="928" y="326"/>
                  <a:pt x="928" y="326"/>
                </a:cubicBezTo>
                <a:cubicBezTo>
                  <a:pt x="927" y="326"/>
                  <a:pt x="927" y="326"/>
                  <a:pt x="927" y="326"/>
                </a:cubicBezTo>
                <a:cubicBezTo>
                  <a:pt x="928" y="329"/>
                  <a:pt x="928" y="329"/>
                  <a:pt x="928" y="329"/>
                </a:cubicBezTo>
                <a:cubicBezTo>
                  <a:pt x="926" y="332"/>
                  <a:pt x="926" y="332"/>
                  <a:pt x="926" y="332"/>
                </a:cubicBezTo>
                <a:cubicBezTo>
                  <a:pt x="926" y="330"/>
                  <a:pt x="926" y="330"/>
                  <a:pt x="926" y="330"/>
                </a:cubicBezTo>
                <a:cubicBezTo>
                  <a:pt x="926" y="327"/>
                  <a:pt x="926" y="327"/>
                  <a:pt x="926" y="327"/>
                </a:cubicBezTo>
                <a:cubicBezTo>
                  <a:pt x="925" y="326"/>
                  <a:pt x="925" y="326"/>
                  <a:pt x="925" y="326"/>
                </a:cubicBezTo>
                <a:cubicBezTo>
                  <a:pt x="922" y="328"/>
                  <a:pt x="922" y="328"/>
                  <a:pt x="922" y="328"/>
                </a:cubicBezTo>
                <a:cubicBezTo>
                  <a:pt x="921" y="330"/>
                  <a:pt x="921" y="330"/>
                  <a:pt x="921" y="330"/>
                </a:cubicBezTo>
                <a:cubicBezTo>
                  <a:pt x="920" y="331"/>
                  <a:pt x="920" y="331"/>
                  <a:pt x="920" y="331"/>
                </a:cubicBezTo>
                <a:cubicBezTo>
                  <a:pt x="918" y="332"/>
                  <a:pt x="918" y="332"/>
                  <a:pt x="918" y="332"/>
                </a:cubicBezTo>
                <a:cubicBezTo>
                  <a:pt x="918" y="333"/>
                  <a:pt x="918" y="333"/>
                  <a:pt x="918" y="333"/>
                </a:cubicBezTo>
                <a:cubicBezTo>
                  <a:pt x="917" y="332"/>
                  <a:pt x="917" y="332"/>
                  <a:pt x="917" y="332"/>
                </a:cubicBezTo>
                <a:cubicBezTo>
                  <a:pt x="916" y="332"/>
                  <a:pt x="916" y="332"/>
                  <a:pt x="916" y="332"/>
                </a:cubicBezTo>
                <a:cubicBezTo>
                  <a:pt x="914" y="333"/>
                  <a:pt x="914" y="333"/>
                  <a:pt x="914" y="333"/>
                </a:cubicBezTo>
                <a:cubicBezTo>
                  <a:pt x="912" y="334"/>
                  <a:pt x="912" y="334"/>
                  <a:pt x="912" y="334"/>
                </a:cubicBezTo>
                <a:cubicBezTo>
                  <a:pt x="910" y="335"/>
                  <a:pt x="910" y="335"/>
                  <a:pt x="910" y="335"/>
                </a:cubicBezTo>
                <a:cubicBezTo>
                  <a:pt x="910" y="338"/>
                  <a:pt x="910" y="338"/>
                  <a:pt x="910" y="338"/>
                </a:cubicBezTo>
                <a:cubicBezTo>
                  <a:pt x="908" y="340"/>
                  <a:pt x="908" y="340"/>
                  <a:pt x="908" y="340"/>
                </a:cubicBezTo>
                <a:cubicBezTo>
                  <a:pt x="908" y="338"/>
                  <a:pt x="908" y="338"/>
                  <a:pt x="908" y="338"/>
                </a:cubicBezTo>
                <a:cubicBezTo>
                  <a:pt x="908" y="337"/>
                  <a:pt x="908" y="337"/>
                  <a:pt x="908" y="337"/>
                </a:cubicBezTo>
                <a:cubicBezTo>
                  <a:pt x="909" y="336"/>
                  <a:pt x="909" y="336"/>
                  <a:pt x="909" y="336"/>
                </a:cubicBezTo>
                <a:cubicBezTo>
                  <a:pt x="909" y="332"/>
                  <a:pt x="909" y="332"/>
                  <a:pt x="909" y="332"/>
                </a:cubicBezTo>
                <a:cubicBezTo>
                  <a:pt x="909" y="330"/>
                  <a:pt x="909" y="330"/>
                  <a:pt x="909" y="330"/>
                </a:cubicBezTo>
                <a:cubicBezTo>
                  <a:pt x="908" y="330"/>
                  <a:pt x="908" y="330"/>
                  <a:pt x="908" y="330"/>
                </a:cubicBezTo>
                <a:cubicBezTo>
                  <a:pt x="906" y="332"/>
                  <a:pt x="906" y="332"/>
                  <a:pt x="906" y="332"/>
                </a:cubicBezTo>
                <a:cubicBezTo>
                  <a:pt x="903" y="337"/>
                  <a:pt x="903" y="337"/>
                  <a:pt x="903" y="337"/>
                </a:cubicBezTo>
                <a:cubicBezTo>
                  <a:pt x="901" y="339"/>
                  <a:pt x="901" y="339"/>
                  <a:pt x="901" y="339"/>
                </a:cubicBezTo>
                <a:cubicBezTo>
                  <a:pt x="902" y="337"/>
                  <a:pt x="902" y="337"/>
                  <a:pt x="902" y="337"/>
                </a:cubicBezTo>
                <a:cubicBezTo>
                  <a:pt x="903" y="334"/>
                  <a:pt x="903" y="334"/>
                  <a:pt x="903" y="334"/>
                </a:cubicBezTo>
                <a:cubicBezTo>
                  <a:pt x="905" y="331"/>
                  <a:pt x="905" y="331"/>
                  <a:pt x="905" y="331"/>
                </a:cubicBezTo>
                <a:cubicBezTo>
                  <a:pt x="905" y="329"/>
                  <a:pt x="905" y="329"/>
                  <a:pt x="905" y="329"/>
                </a:cubicBezTo>
                <a:cubicBezTo>
                  <a:pt x="905" y="327"/>
                  <a:pt x="905" y="327"/>
                  <a:pt x="905" y="327"/>
                </a:cubicBezTo>
                <a:cubicBezTo>
                  <a:pt x="904" y="325"/>
                  <a:pt x="904" y="325"/>
                  <a:pt x="904" y="325"/>
                </a:cubicBezTo>
                <a:cubicBezTo>
                  <a:pt x="902" y="323"/>
                  <a:pt x="902" y="323"/>
                  <a:pt x="902" y="323"/>
                </a:cubicBezTo>
                <a:cubicBezTo>
                  <a:pt x="900" y="323"/>
                  <a:pt x="900" y="323"/>
                  <a:pt x="900" y="323"/>
                </a:cubicBezTo>
                <a:cubicBezTo>
                  <a:pt x="901" y="325"/>
                  <a:pt x="901" y="325"/>
                  <a:pt x="901" y="325"/>
                </a:cubicBezTo>
                <a:cubicBezTo>
                  <a:pt x="900" y="325"/>
                  <a:pt x="900" y="325"/>
                  <a:pt x="900" y="325"/>
                </a:cubicBezTo>
                <a:cubicBezTo>
                  <a:pt x="898" y="324"/>
                  <a:pt x="898" y="324"/>
                  <a:pt x="898" y="324"/>
                </a:cubicBezTo>
                <a:cubicBezTo>
                  <a:pt x="896" y="320"/>
                  <a:pt x="896" y="320"/>
                  <a:pt x="896" y="320"/>
                </a:cubicBezTo>
                <a:cubicBezTo>
                  <a:pt x="900" y="322"/>
                  <a:pt x="900" y="322"/>
                  <a:pt x="900" y="322"/>
                </a:cubicBezTo>
                <a:cubicBezTo>
                  <a:pt x="901" y="321"/>
                  <a:pt x="901" y="321"/>
                  <a:pt x="901" y="321"/>
                </a:cubicBezTo>
                <a:cubicBezTo>
                  <a:pt x="899" y="321"/>
                  <a:pt x="899" y="321"/>
                  <a:pt x="899" y="321"/>
                </a:cubicBezTo>
                <a:cubicBezTo>
                  <a:pt x="897" y="317"/>
                  <a:pt x="897" y="317"/>
                  <a:pt x="897" y="317"/>
                </a:cubicBezTo>
                <a:cubicBezTo>
                  <a:pt x="896" y="317"/>
                  <a:pt x="896" y="317"/>
                  <a:pt x="896" y="317"/>
                </a:cubicBezTo>
                <a:cubicBezTo>
                  <a:pt x="898" y="314"/>
                  <a:pt x="898" y="314"/>
                  <a:pt x="898" y="314"/>
                </a:cubicBezTo>
                <a:cubicBezTo>
                  <a:pt x="898" y="313"/>
                  <a:pt x="898" y="313"/>
                  <a:pt x="898" y="313"/>
                </a:cubicBezTo>
                <a:cubicBezTo>
                  <a:pt x="900" y="310"/>
                  <a:pt x="900" y="310"/>
                  <a:pt x="900" y="310"/>
                </a:cubicBezTo>
                <a:cubicBezTo>
                  <a:pt x="900" y="307"/>
                  <a:pt x="900" y="307"/>
                  <a:pt x="900" y="307"/>
                </a:cubicBezTo>
                <a:cubicBezTo>
                  <a:pt x="898" y="304"/>
                  <a:pt x="898" y="304"/>
                  <a:pt x="898" y="304"/>
                </a:cubicBezTo>
                <a:cubicBezTo>
                  <a:pt x="894" y="304"/>
                  <a:pt x="894" y="304"/>
                  <a:pt x="894" y="304"/>
                </a:cubicBezTo>
                <a:cubicBezTo>
                  <a:pt x="889" y="301"/>
                  <a:pt x="889" y="301"/>
                  <a:pt x="889" y="301"/>
                </a:cubicBezTo>
                <a:cubicBezTo>
                  <a:pt x="894" y="303"/>
                  <a:pt x="894" y="303"/>
                  <a:pt x="894" y="303"/>
                </a:cubicBezTo>
                <a:cubicBezTo>
                  <a:pt x="899" y="303"/>
                  <a:pt x="899" y="303"/>
                  <a:pt x="899" y="303"/>
                </a:cubicBezTo>
                <a:cubicBezTo>
                  <a:pt x="899" y="300"/>
                  <a:pt x="899" y="300"/>
                  <a:pt x="899" y="300"/>
                </a:cubicBezTo>
                <a:cubicBezTo>
                  <a:pt x="900" y="299"/>
                  <a:pt x="900" y="299"/>
                  <a:pt x="900" y="299"/>
                </a:cubicBezTo>
                <a:cubicBezTo>
                  <a:pt x="901" y="302"/>
                  <a:pt x="901" y="302"/>
                  <a:pt x="901" y="302"/>
                </a:cubicBezTo>
                <a:cubicBezTo>
                  <a:pt x="902" y="300"/>
                  <a:pt x="902" y="300"/>
                  <a:pt x="902" y="300"/>
                </a:cubicBezTo>
                <a:cubicBezTo>
                  <a:pt x="901" y="295"/>
                  <a:pt x="901" y="295"/>
                  <a:pt x="901" y="295"/>
                </a:cubicBezTo>
                <a:cubicBezTo>
                  <a:pt x="903" y="292"/>
                  <a:pt x="903" y="292"/>
                  <a:pt x="903" y="292"/>
                </a:cubicBezTo>
                <a:cubicBezTo>
                  <a:pt x="906" y="292"/>
                  <a:pt x="906" y="292"/>
                  <a:pt x="906" y="292"/>
                </a:cubicBezTo>
                <a:cubicBezTo>
                  <a:pt x="906" y="288"/>
                  <a:pt x="906" y="288"/>
                  <a:pt x="906" y="288"/>
                </a:cubicBezTo>
                <a:cubicBezTo>
                  <a:pt x="906" y="285"/>
                  <a:pt x="906" y="285"/>
                  <a:pt x="906" y="285"/>
                </a:cubicBezTo>
                <a:cubicBezTo>
                  <a:pt x="904" y="285"/>
                  <a:pt x="904" y="285"/>
                  <a:pt x="904" y="285"/>
                </a:cubicBezTo>
                <a:cubicBezTo>
                  <a:pt x="904" y="288"/>
                  <a:pt x="904" y="288"/>
                  <a:pt x="904" y="288"/>
                </a:cubicBezTo>
                <a:cubicBezTo>
                  <a:pt x="902" y="290"/>
                  <a:pt x="902" y="290"/>
                  <a:pt x="902" y="290"/>
                </a:cubicBezTo>
                <a:cubicBezTo>
                  <a:pt x="901" y="288"/>
                  <a:pt x="901" y="288"/>
                  <a:pt x="901" y="288"/>
                </a:cubicBezTo>
                <a:cubicBezTo>
                  <a:pt x="901" y="284"/>
                  <a:pt x="901" y="284"/>
                  <a:pt x="901" y="284"/>
                </a:cubicBezTo>
                <a:cubicBezTo>
                  <a:pt x="898" y="284"/>
                  <a:pt x="898" y="284"/>
                  <a:pt x="898" y="284"/>
                </a:cubicBezTo>
                <a:cubicBezTo>
                  <a:pt x="896" y="285"/>
                  <a:pt x="896" y="285"/>
                  <a:pt x="896" y="285"/>
                </a:cubicBezTo>
                <a:cubicBezTo>
                  <a:pt x="896" y="284"/>
                  <a:pt x="896" y="284"/>
                  <a:pt x="896" y="284"/>
                </a:cubicBezTo>
                <a:cubicBezTo>
                  <a:pt x="894" y="284"/>
                  <a:pt x="894" y="284"/>
                  <a:pt x="894" y="284"/>
                </a:cubicBezTo>
                <a:cubicBezTo>
                  <a:pt x="891" y="281"/>
                  <a:pt x="891" y="281"/>
                  <a:pt x="891" y="281"/>
                </a:cubicBezTo>
                <a:cubicBezTo>
                  <a:pt x="890" y="282"/>
                  <a:pt x="890" y="282"/>
                  <a:pt x="890" y="282"/>
                </a:cubicBezTo>
                <a:cubicBezTo>
                  <a:pt x="890" y="281"/>
                  <a:pt x="890" y="281"/>
                  <a:pt x="890" y="281"/>
                </a:cubicBezTo>
                <a:cubicBezTo>
                  <a:pt x="888" y="282"/>
                  <a:pt x="888" y="282"/>
                  <a:pt x="888" y="282"/>
                </a:cubicBezTo>
                <a:cubicBezTo>
                  <a:pt x="888" y="280"/>
                  <a:pt x="888" y="280"/>
                  <a:pt x="888" y="280"/>
                </a:cubicBezTo>
                <a:cubicBezTo>
                  <a:pt x="885" y="278"/>
                  <a:pt x="885" y="278"/>
                  <a:pt x="885" y="278"/>
                </a:cubicBezTo>
                <a:cubicBezTo>
                  <a:pt x="887" y="278"/>
                  <a:pt x="887" y="278"/>
                  <a:pt x="887" y="278"/>
                </a:cubicBezTo>
                <a:cubicBezTo>
                  <a:pt x="888" y="276"/>
                  <a:pt x="888" y="276"/>
                  <a:pt x="888" y="276"/>
                </a:cubicBezTo>
                <a:cubicBezTo>
                  <a:pt x="890" y="277"/>
                  <a:pt x="890" y="277"/>
                  <a:pt x="890" y="277"/>
                </a:cubicBezTo>
                <a:cubicBezTo>
                  <a:pt x="890" y="276"/>
                  <a:pt x="890" y="276"/>
                  <a:pt x="890" y="276"/>
                </a:cubicBezTo>
                <a:cubicBezTo>
                  <a:pt x="888" y="274"/>
                  <a:pt x="888" y="274"/>
                  <a:pt x="888" y="274"/>
                </a:cubicBezTo>
                <a:cubicBezTo>
                  <a:pt x="887" y="275"/>
                  <a:pt x="887" y="275"/>
                  <a:pt x="887" y="275"/>
                </a:cubicBezTo>
                <a:cubicBezTo>
                  <a:pt x="885" y="274"/>
                  <a:pt x="885" y="274"/>
                  <a:pt x="885" y="274"/>
                </a:cubicBezTo>
                <a:cubicBezTo>
                  <a:pt x="887" y="273"/>
                  <a:pt x="887" y="273"/>
                  <a:pt x="887" y="273"/>
                </a:cubicBezTo>
                <a:cubicBezTo>
                  <a:pt x="886" y="271"/>
                  <a:pt x="886" y="271"/>
                  <a:pt x="886" y="271"/>
                </a:cubicBezTo>
                <a:cubicBezTo>
                  <a:pt x="883" y="269"/>
                  <a:pt x="883" y="269"/>
                  <a:pt x="883" y="269"/>
                </a:cubicBezTo>
                <a:cubicBezTo>
                  <a:pt x="882" y="270"/>
                  <a:pt x="882" y="270"/>
                  <a:pt x="882" y="270"/>
                </a:cubicBezTo>
                <a:cubicBezTo>
                  <a:pt x="882" y="268"/>
                  <a:pt x="882" y="268"/>
                  <a:pt x="882" y="268"/>
                </a:cubicBezTo>
                <a:cubicBezTo>
                  <a:pt x="883" y="267"/>
                  <a:pt x="883" y="267"/>
                  <a:pt x="883" y="267"/>
                </a:cubicBezTo>
                <a:cubicBezTo>
                  <a:pt x="883" y="264"/>
                  <a:pt x="883" y="264"/>
                  <a:pt x="883" y="264"/>
                </a:cubicBezTo>
                <a:cubicBezTo>
                  <a:pt x="882" y="264"/>
                  <a:pt x="882" y="264"/>
                  <a:pt x="882" y="264"/>
                </a:cubicBezTo>
                <a:cubicBezTo>
                  <a:pt x="879" y="262"/>
                  <a:pt x="879" y="262"/>
                  <a:pt x="879" y="262"/>
                </a:cubicBezTo>
                <a:cubicBezTo>
                  <a:pt x="879" y="260"/>
                  <a:pt x="879" y="260"/>
                  <a:pt x="879" y="260"/>
                </a:cubicBezTo>
                <a:cubicBezTo>
                  <a:pt x="876" y="257"/>
                  <a:pt x="876" y="257"/>
                  <a:pt x="876" y="257"/>
                </a:cubicBezTo>
                <a:cubicBezTo>
                  <a:pt x="873" y="258"/>
                  <a:pt x="873" y="258"/>
                  <a:pt x="873" y="258"/>
                </a:cubicBezTo>
                <a:cubicBezTo>
                  <a:pt x="871" y="259"/>
                  <a:pt x="871" y="259"/>
                  <a:pt x="871" y="259"/>
                </a:cubicBezTo>
                <a:cubicBezTo>
                  <a:pt x="870" y="260"/>
                  <a:pt x="870" y="260"/>
                  <a:pt x="870" y="260"/>
                </a:cubicBezTo>
                <a:cubicBezTo>
                  <a:pt x="868" y="259"/>
                  <a:pt x="868" y="259"/>
                  <a:pt x="868" y="259"/>
                </a:cubicBezTo>
                <a:cubicBezTo>
                  <a:pt x="868" y="261"/>
                  <a:pt x="868" y="261"/>
                  <a:pt x="868" y="261"/>
                </a:cubicBezTo>
                <a:cubicBezTo>
                  <a:pt x="867" y="259"/>
                  <a:pt x="867" y="259"/>
                  <a:pt x="867" y="259"/>
                </a:cubicBezTo>
                <a:cubicBezTo>
                  <a:pt x="865" y="259"/>
                  <a:pt x="865" y="259"/>
                  <a:pt x="865" y="259"/>
                </a:cubicBezTo>
                <a:cubicBezTo>
                  <a:pt x="864" y="258"/>
                  <a:pt x="864" y="258"/>
                  <a:pt x="864" y="258"/>
                </a:cubicBezTo>
                <a:cubicBezTo>
                  <a:pt x="862" y="258"/>
                  <a:pt x="862" y="258"/>
                  <a:pt x="862" y="258"/>
                </a:cubicBezTo>
                <a:cubicBezTo>
                  <a:pt x="859" y="260"/>
                  <a:pt x="859" y="260"/>
                  <a:pt x="859" y="260"/>
                </a:cubicBezTo>
                <a:cubicBezTo>
                  <a:pt x="856" y="260"/>
                  <a:pt x="856" y="260"/>
                  <a:pt x="856" y="260"/>
                </a:cubicBezTo>
                <a:cubicBezTo>
                  <a:pt x="859" y="259"/>
                  <a:pt x="859" y="259"/>
                  <a:pt x="859" y="259"/>
                </a:cubicBezTo>
                <a:cubicBezTo>
                  <a:pt x="859" y="257"/>
                  <a:pt x="859" y="257"/>
                  <a:pt x="859" y="257"/>
                </a:cubicBezTo>
                <a:cubicBezTo>
                  <a:pt x="857" y="257"/>
                  <a:pt x="857" y="257"/>
                  <a:pt x="857" y="257"/>
                </a:cubicBezTo>
                <a:cubicBezTo>
                  <a:pt x="852" y="254"/>
                  <a:pt x="852" y="254"/>
                  <a:pt x="852" y="254"/>
                </a:cubicBezTo>
                <a:cubicBezTo>
                  <a:pt x="849" y="253"/>
                  <a:pt x="849" y="253"/>
                  <a:pt x="849" y="253"/>
                </a:cubicBezTo>
                <a:cubicBezTo>
                  <a:pt x="846" y="252"/>
                  <a:pt x="846" y="252"/>
                  <a:pt x="846" y="252"/>
                </a:cubicBezTo>
                <a:cubicBezTo>
                  <a:pt x="844" y="251"/>
                  <a:pt x="844" y="251"/>
                  <a:pt x="844" y="251"/>
                </a:cubicBezTo>
                <a:cubicBezTo>
                  <a:pt x="843" y="252"/>
                  <a:pt x="843" y="252"/>
                  <a:pt x="843" y="252"/>
                </a:cubicBezTo>
                <a:cubicBezTo>
                  <a:pt x="842" y="252"/>
                  <a:pt x="842" y="252"/>
                  <a:pt x="842" y="252"/>
                </a:cubicBezTo>
                <a:cubicBezTo>
                  <a:pt x="840" y="254"/>
                  <a:pt x="840" y="254"/>
                  <a:pt x="840" y="254"/>
                </a:cubicBezTo>
                <a:cubicBezTo>
                  <a:pt x="840" y="255"/>
                  <a:pt x="840" y="255"/>
                  <a:pt x="840" y="255"/>
                </a:cubicBezTo>
                <a:cubicBezTo>
                  <a:pt x="839" y="255"/>
                  <a:pt x="839" y="255"/>
                  <a:pt x="839" y="255"/>
                </a:cubicBezTo>
                <a:cubicBezTo>
                  <a:pt x="838" y="254"/>
                  <a:pt x="838" y="254"/>
                  <a:pt x="838" y="254"/>
                </a:cubicBezTo>
                <a:cubicBezTo>
                  <a:pt x="837" y="255"/>
                  <a:pt x="837" y="255"/>
                  <a:pt x="837" y="255"/>
                </a:cubicBezTo>
                <a:cubicBezTo>
                  <a:pt x="837" y="258"/>
                  <a:pt x="837" y="258"/>
                  <a:pt x="837" y="258"/>
                </a:cubicBezTo>
                <a:cubicBezTo>
                  <a:pt x="835" y="261"/>
                  <a:pt x="835" y="261"/>
                  <a:pt x="835" y="261"/>
                </a:cubicBezTo>
                <a:cubicBezTo>
                  <a:pt x="835" y="265"/>
                  <a:pt x="835" y="265"/>
                  <a:pt x="835" y="265"/>
                </a:cubicBezTo>
                <a:cubicBezTo>
                  <a:pt x="837" y="267"/>
                  <a:pt x="837" y="267"/>
                  <a:pt x="837" y="267"/>
                </a:cubicBezTo>
                <a:cubicBezTo>
                  <a:pt x="838" y="267"/>
                  <a:pt x="838" y="267"/>
                  <a:pt x="838" y="267"/>
                </a:cubicBezTo>
                <a:cubicBezTo>
                  <a:pt x="838" y="268"/>
                  <a:pt x="838" y="268"/>
                  <a:pt x="838" y="268"/>
                </a:cubicBezTo>
                <a:cubicBezTo>
                  <a:pt x="839" y="268"/>
                  <a:pt x="839" y="268"/>
                  <a:pt x="839" y="268"/>
                </a:cubicBezTo>
                <a:cubicBezTo>
                  <a:pt x="839" y="270"/>
                  <a:pt x="839" y="270"/>
                  <a:pt x="839" y="270"/>
                </a:cubicBezTo>
                <a:cubicBezTo>
                  <a:pt x="838" y="271"/>
                  <a:pt x="838" y="271"/>
                  <a:pt x="838" y="271"/>
                </a:cubicBezTo>
                <a:cubicBezTo>
                  <a:pt x="837" y="271"/>
                  <a:pt x="837" y="271"/>
                  <a:pt x="837" y="271"/>
                </a:cubicBezTo>
                <a:cubicBezTo>
                  <a:pt x="836" y="274"/>
                  <a:pt x="836" y="274"/>
                  <a:pt x="836" y="274"/>
                </a:cubicBezTo>
                <a:cubicBezTo>
                  <a:pt x="834" y="277"/>
                  <a:pt x="834" y="277"/>
                  <a:pt x="834" y="277"/>
                </a:cubicBezTo>
                <a:cubicBezTo>
                  <a:pt x="829" y="281"/>
                  <a:pt x="829" y="281"/>
                  <a:pt x="829" y="281"/>
                </a:cubicBezTo>
                <a:cubicBezTo>
                  <a:pt x="829" y="282"/>
                  <a:pt x="829" y="282"/>
                  <a:pt x="829" y="282"/>
                </a:cubicBezTo>
                <a:cubicBezTo>
                  <a:pt x="830" y="283"/>
                  <a:pt x="830" y="283"/>
                  <a:pt x="830" y="283"/>
                </a:cubicBezTo>
                <a:cubicBezTo>
                  <a:pt x="833" y="283"/>
                  <a:pt x="833" y="283"/>
                  <a:pt x="833" y="283"/>
                </a:cubicBezTo>
                <a:cubicBezTo>
                  <a:pt x="835" y="283"/>
                  <a:pt x="835" y="283"/>
                  <a:pt x="835" y="283"/>
                </a:cubicBezTo>
                <a:cubicBezTo>
                  <a:pt x="833" y="284"/>
                  <a:pt x="833" y="284"/>
                  <a:pt x="833" y="284"/>
                </a:cubicBezTo>
                <a:cubicBezTo>
                  <a:pt x="832" y="287"/>
                  <a:pt x="832" y="287"/>
                  <a:pt x="832" y="287"/>
                </a:cubicBezTo>
                <a:cubicBezTo>
                  <a:pt x="832" y="288"/>
                  <a:pt x="832" y="288"/>
                  <a:pt x="832" y="288"/>
                </a:cubicBezTo>
                <a:cubicBezTo>
                  <a:pt x="834" y="288"/>
                  <a:pt x="834" y="288"/>
                  <a:pt x="834" y="288"/>
                </a:cubicBezTo>
                <a:cubicBezTo>
                  <a:pt x="833" y="289"/>
                  <a:pt x="833" y="289"/>
                  <a:pt x="833" y="289"/>
                </a:cubicBezTo>
                <a:cubicBezTo>
                  <a:pt x="831" y="290"/>
                  <a:pt x="831" y="290"/>
                  <a:pt x="831" y="290"/>
                </a:cubicBezTo>
                <a:cubicBezTo>
                  <a:pt x="832" y="292"/>
                  <a:pt x="832" y="292"/>
                  <a:pt x="832" y="292"/>
                </a:cubicBezTo>
                <a:cubicBezTo>
                  <a:pt x="833" y="293"/>
                  <a:pt x="833" y="293"/>
                  <a:pt x="833" y="293"/>
                </a:cubicBezTo>
                <a:cubicBezTo>
                  <a:pt x="831" y="295"/>
                  <a:pt x="831" y="295"/>
                  <a:pt x="831" y="295"/>
                </a:cubicBezTo>
                <a:cubicBezTo>
                  <a:pt x="831" y="296"/>
                  <a:pt x="831" y="296"/>
                  <a:pt x="831" y="296"/>
                </a:cubicBezTo>
                <a:cubicBezTo>
                  <a:pt x="834" y="296"/>
                  <a:pt x="834" y="296"/>
                  <a:pt x="834" y="296"/>
                </a:cubicBezTo>
                <a:cubicBezTo>
                  <a:pt x="834" y="297"/>
                  <a:pt x="834" y="297"/>
                  <a:pt x="834" y="297"/>
                </a:cubicBezTo>
                <a:cubicBezTo>
                  <a:pt x="832" y="301"/>
                  <a:pt x="832" y="301"/>
                  <a:pt x="832" y="301"/>
                </a:cubicBezTo>
                <a:cubicBezTo>
                  <a:pt x="830" y="302"/>
                  <a:pt x="830" y="302"/>
                  <a:pt x="830" y="302"/>
                </a:cubicBezTo>
                <a:cubicBezTo>
                  <a:pt x="830" y="304"/>
                  <a:pt x="830" y="304"/>
                  <a:pt x="830" y="304"/>
                </a:cubicBezTo>
                <a:cubicBezTo>
                  <a:pt x="831" y="305"/>
                  <a:pt x="831" y="305"/>
                  <a:pt x="831" y="305"/>
                </a:cubicBezTo>
                <a:cubicBezTo>
                  <a:pt x="829" y="305"/>
                  <a:pt x="829" y="305"/>
                  <a:pt x="829" y="305"/>
                </a:cubicBezTo>
                <a:cubicBezTo>
                  <a:pt x="828" y="302"/>
                  <a:pt x="828" y="302"/>
                  <a:pt x="828" y="302"/>
                </a:cubicBezTo>
                <a:cubicBezTo>
                  <a:pt x="827" y="302"/>
                  <a:pt x="827" y="302"/>
                  <a:pt x="827" y="302"/>
                </a:cubicBezTo>
                <a:cubicBezTo>
                  <a:pt x="825" y="305"/>
                  <a:pt x="825" y="305"/>
                  <a:pt x="825" y="305"/>
                </a:cubicBezTo>
                <a:cubicBezTo>
                  <a:pt x="825" y="306"/>
                  <a:pt x="825" y="306"/>
                  <a:pt x="825" y="306"/>
                </a:cubicBezTo>
                <a:cubicBezTo>
                  <a:pt x="826" y="306"/>
                  <a:pt x="826" y="306"/>
                  <a:pt x="826" y="306"/>
                </a:cubicBezTo>
                <a:cubicBezTo>
                  <a:pt x="826" y="308"/>
                  <a:pt x="826" y="308"/>
                  <a:pt x="826" y="308"/>
                </a:cubicBezTo>
                <a:cubicBezTo>
                  <a:pt x="824" y="309"/>
                  <a:pt x="824" y="309"/>
                  <a:pt x="824" y="309"/>
                </a:cubicBezTo>
                <a:cubicBezTo>
                  <a:pt x="823" y="309"/>
                  <a:pt x="823" y="309"/>
                  <a:pt x="823" y="309"/>
                </a:cubicBezTo>
                <a:cubicBezTo>
                  <a:pt x="817" y="315"/>
                  <a:pt x="817" y="315"/>
                  <a:pt x="817" y="315"/>
                </a:cubicBezTo>
                <a:cubicBezTo>
                  <a:pt x="816" y="316"/>
                  <a:pt x="816" y="316"/>
                  <a:pt x="816" y="316"/>
                </a:cubicBezTo>
                <a:cubicBezTo>
                  <a:pt x="814" y="320"/>
                  <a:pt x="814" y="320"/>
                  <a:pt x="814" y="320"/>
                </a:cubicBezTo>
                <a:cubicBezTo>
                  <a:pt x="815" y="321"/>
                  <a:pt x="815" y="321"/>
                  <a:pt x="815" y="321"/>
                </a:cubicBezTo>
                <a:cubicBezTo>
                  <a:pt x="817" y="322"/>
                  <a:pt x="817" y="322"/>
                  <a:pt x="817" y="322"/>
                </a:cubicBezTo>
                <a:cubicBezTo>
                  <a:pt x="818" y="324"/>
                  <a:pt x="818" y="324"/>
                  <a:pt x="818" y="324"/>
                </a:cubicBezTo>
                <a:cubicBezTo>
                  <a:pt x="820" y="326"/>
                  <a:pt x="820" y="326"/>
                  <a:pt x="820" y="326"/>
                </a:cubicBezTo>
                <a:cubicBezTo>
                  <a:pt x="823" y="330"/>
                  <a:pt x="823" y="330"/>
                  <a:pt x="823" y="330"/>
                </a:cubicBezTo>
                <a:cubicBezTo>
                  <a:pt x="823" y="336"/>
                  <a:pt x="823" y="336"/>
                  <a:pt x="823" y="336"/>
                </a:cubicBezTo>
                <a:cubicBezTo>
                  <a:pt x="823" y="342"/>
                  <a:pt x="823" y="342"/>
                  <a:pt x="823" y="342"/>
                </a:cubicBezTo>
                <a:cubicBezTo>
                  <a:pt x="825" y="345"/>
                  <a:pt x="825" y="345"/>
                  <a:pt x="825" y="345"/>
                </a:cubicBezTo>
                <a:cubicBezTo>
                  <a:pt x="824" y="347"/>
                  <a:pt x="824" y="347"/>
                  <a:pt x="824" y="347"/>
                </a:cubicBezTo>
                <a:cubicBezTo>
                  <a:pt x="824" y="351"/>
                  <a:pt x="824" y="351"/>
                  <a:pt x="824" y="351"/>
                </a:cubicBezTo>
                <a:cubicBezTo>
                  <a:pt x="824" y="352"/>
                  <a:pt x="824" y="352"/>
                  <a:pt x="824" y="352"/>
                </a:cubicBezTo>
                <a:cubicBezTo>
                  <a:pt x="822" y="357"/>
                  <a:pt x="822" y="357"/>
                  <a:pt x="822" y="357"/>
                </a:cubicBezTo>
                <a:cubicBezTo>
                  <a:pt x="821" y="359"/>
                  <a:pt x="821" y="359"/>
                  <a:pt x="821" y="359"/>
                </a:cubicBezTo>
                <a:cubicBezTo>
                  <a:pt x="822" y="359"/>
                  <a:pt x="822" y="359"/>
                  <a:pt x="822" y="359"/>
                </a:cubicBezTo>
                <a:cubicBezTo>
                  <a:pt x="823" y="357"/>
                  <a:pt x="823" y="357"/>
                  <a:pt x="823" y="357"/>
                </a:cubicBezTo>
                <a:cubicBezTo>
                  <a:pt x="824" y="356"/>
                  <a:pt x="824" y="356"/>
                  <a:pt x="824" y="356"/>
                </a:cubicBezTo>
                <a:cubicBezTo>
                  <a:pt x="824" y="358"/>
                  <a:pt x="824" y="358"/>
                  <a:pt x="824" y="358"/>
                </a:cubicBezTo>
                <a:cubicBezTo>
                  <a:pt x="826" y="361"/>
                  <a:pt x="826" y="361"/>
                  <a:pt x="826" y="361"/>
                </a:cubicBezTo>
                <a:cubicBezTo>
                  <a:pt x="824" y="362"/>
                  <a:pt x="824" y="362"/>
                  <a:pt x="824" y="362"/>
                </a:cubicBezTo>
                <a:cubicBezTo>
                  <a:pt x="822" y="363"/>
                  <a:pt x="822" y="363"/>
                  <a:pt x="822" y="363"/>
                </a:cubicBezTo>
                <a:cubicBezTo>
                  <a:pt x="821" y="362"/>
                  <a:pt x="821" y="362"/>
                  <a:pt x="821" y="362"/>
                </a:cubicBezTo>
                <a:cubicBezTo>
                  <a:pt x="820" y="361"/>
                  <a:pt x="820" y="361"/>
                  <a:pt x="820" y="361"/>
                </a:cubicBezTo>
                <a:cubicBezTo>
                  <a:pt x="817" y="366"/>
                  <a:pt x="817" y="366"/>
                  <a:pt x="817" y="366"/>
                </a:cubicBezTo>
                <a:cubicBezTo>
                  <a:pt x="815" y="367"/>
                  <a:pt x="815" y="367"/>
                  <a:pt x="815" y="367"/>
                </a:cubicBezTo>
                <a:cubicBezTo>
                  <a:pt x="815" y="369"/>
                  <a:pt x="815" y="369"/>
                  <a:pt x="815" y="369"/>
                </a:cubicBezTo>
                <a:cubicBezTo>
                  <a:pt x="810" y="371"/>
                  <a:pt x="810" y="371"/>
                  <a:pt x="810" y="371"/>
                </a:cubicBezTo>
                <a:cubicBezTo>
                  <a:pt x="809" y="372"/>
                  <a:pt x="809" y="372"/>
                  <a:pt x="809" y="372"/>
                </a:cubicBezTo>
                <a:cubicBezTo>
                  <a:pt x="808" y="373"/>
                  <a:pt x="808" y="373"/>
                  <a:pt x="808" y="373"/>
                </a:cubicBezTo>
                <a:cubicBezTo>
                  <a:pt x="802" y="375"/>
                  <a:pt x="802" y="375"/>
                  <a:pt x="802" y="375"/>
                </a:cubicBezTo>
                <a:cubicBezTo>
                  <a:pt x="798" y="377"/>
                  <a:pt x="798" y="377"/>
                  <a:pt x="798" y="377"/>
                </a:cubicBezTo>
                <a:cubicBezTo>
                  <a:pt x="797" y="378"/>
                  <a:pt x="797" y="378"/>
                  <a:pt x="797" y="378"/>
                </a:cubicBezTo>
                <a:cubicBezTo>
                  <a:pt x="795" y="378"/>
                  <a:pt x="795" y="378"/>
                  <a:pt x="795" y="378"/>
                </a:cubicBezTo>
                <a:cubicBezTo>
                  <a:pt x="793" y="379"/>
                  <a:pt x="793" y="379"/>
                  <a:pt x="793" y="379"/>
                </a:cubicBezTo>
                <a:cubicBezTo>
                  <a:pt x="789" y="380"/>
                  <a:pt x="789" y="380"/>
                  <a:pt x="789" y="380"/>
                </a:cubicBezTo>
                <a:cubicBezTo>
                  <a:pt x="786" y="381"/>
                  <a:pt x="786" y="381"/>
                  <a:pt x="786" y="381"/>
                </a:cubicBezTo>
                <a:cubicBezTo>
                  <a:pt x="787" y="382"/>
                  <a:pt x="787" y="382"/>
                  <a:pt x="787" y="382"/>
                </a:cubicBezTo>
                <a:cubicBezTo>
                  <a:pt x="787" y="384"/>
                  <a:pt x="787" y="384"/>
                  <a:pt x="787" y="384"/>
                </a:cubicBezTo>
                <a:cubicBezTo>
                  <a:pt x="788" y="386"/>
                  <a:pt x="788" y="386"/>
                  <a:pt x="788" y="386"/>
                </a:cubicBezTo>
                <a:cubicBezTo>
                  <a:pt x="788" y="388"/>
                  <a:pt x="788" y="388"/>
                  <a:pt x="788" y="388"/>
                </a:cubicBezTo>
                <a:cubicBezTo>
                  <a:pt x="789" y="389"/>
                  <a:pt x="789" y="389"/>
                  <a:pt x="789" y="389"/>
                </a:cubicBezTo>
                <a:cubicBezTo>
                  <a:pt x="788" y="390"/>
                  <a:pt x="788" y="390"/>
                  <a:pt x="788" y="390"/>
                </a:cubicBezTo>
                <a:cubicBezTo>
                  <a:pt x="788" y="391"/>
                  <a:pt x="788" y="391"/>
                  <a:pt x="788" y="391"/>
                </a:cubicBezTo>
                <a:cubicBezTo>
                  <a:pt x="789" y="391"/>
                  <a:pt x="789" y="391"/>
                  <a:pt x="789" y="391"/>
                </a:cubicBezTo>
                <a:cubicBezTo>
                  <a:pt x="788" y="392"/>
                  <a:pt x="788" y="392"/>
                  <a:pt x="788" y="392"/>
                </a:cubicBezTo>
                <a:cubicBezTo>
                  <a:pt x="789" y="394"/>
                  <a:pt x="789" y="394"/>
                  <a:pt x="789" y="394"/>
                </a:cubicBezTo>
                <a:cubicBezTo>
                  <a:pt x="788" y="395"/>
                  <a:pt x="788" y="395"/>
                  <a:pt x="788" y="395"/>
                </a:cubicBezTo>
                <a:cubicBezTo>
                  <a:pt x="788" y="397"/>
                  <a:pt x="788" y="397"/>
                  <a:pt x="788" y="397"/>
                </a:cubicBezTo>
                <a:cubicBezTo>
                  <a:pt x="787" y="398"/>
                  <a:pt x="787" y="398"/>
                  <a:pt x="787" y="398"/>
                </a:cubicBezTo>
                <a:cubicBezTo>
                  <a:pt x="787" y="401"/>
                  <a:pt x="787" y="401"/>
                  <a:pt x="787" y="401"/>
                </a:cubicBezTo>
                <a:cubicBezTo>
                  <a:pt x="787" y="403"/>
                  <a:pt x="787" y="403"/>
                  <a:pt x="787" y="403"/>
                </a:cubicBezTo>
                <a:cubicBezTo>
                  <a:pt x="786" y="408"/>
                  <a:pt x="786" y="408"/>
                  <a:pt x="786" y="408"/>
                </a:cubicBezTo>
                <a:cubicBezTo>
                  <a:pt x="786" y="409"/>
                  <a:pt x="786" y="409"/>
                  <a:pt x="786" y="409"/>
                </a:cubicBezTo>
                <a:cubicBezTo>
                  <a:pt x="787" y="410"/>
                  <a:pt x="787" y="410"/>
                  <a:pt x="787" y="410"/>
                </a:cubicBezTo>
                <a:cubicBezTo>
                  <a:pt x="787" y="411"/>
                  <a:pt x="787" y="411"/>
                  <a:pt x="787" y="411"/>
                </a:cubicBezTo>
                <a:cubicBezTo>
                  <a:pt x="788" y="412"/>
                  <a:pt x="788" y="412"/>
                  <a:pt x="788" y="412"/>
                </a:cubicBezTo>
                <a:cubicBezTo>
                  <a:pt x="786" y="414"/>
                  <a:pt x="786" y="414"/>
                  <a:pt x="786" y="414"/>
                </a:cubicBezTo>
                <a:cubicBezTo>
                  <a:pt x="786" y="416"/>
                  <a:pt x="786" y="416"/>
                  <a:pt x="786" y="416"/>
                </a:cubicBezTo>
                <a:cubicBezTo>
                  <a:pt x="787" y="417"/>
                  <a:pt x="787" y="417"/>
                  <a:pt x="787" y="417"/>
                </a:cubicBezTo>
                <a:cubicBezTo>
                  <a:pt x="787" y="420"/>
                  <a:pt x="787" y="420"/>
                  <a:pt x="787" y="420"/>
                </a:cubicBezTo>
                <a:cubicBezTo>
                  <a:pt x="788" y="421"/>
                  <a:pt x="788" y="421"/>
                  <a:pt x="788" y="421"/>
                </a:cubicBezTo>
                <a:cubicBezTo>
                  <a:pt x="786" y="423"/>
                  <a:pt x="786" y="423"/>
                  <a:pt x="786" y="423"/>
                </a:cubicBezTo>
                <a:cubicBezTo>
                  <a:pt x="785" y="426"/>
                  <a:pt x="785" y="426"/>
                  <a:pt x="785" y="426"/>
                </a:cubicBezTo>
                <a:cubicBezTo>
                  <a:pt x="784" y="426"/>
                  <a:pt x="784" y="426"/>
                  <a:pt x="784" y="426"/>
                </a:cubicBezTo>
                <a:cubicBezTo>
                  <a:pt x="783" y="426"/>
                  <a:pt x="783" y="426"/>
                  <a:pt x="783" y="426"/>
                </a:cubicBezTo>
                <a:cubicBezTo>
                  <a:pt x="783" y="428"/>
                  <a:pt x="783" y="428"/>
                  <a:pt x="783" y="428"/>
                </a:cubicBezTo>
                <a:cubicBezTo>
                  <a:pt x="784" y="429"/>
                  <a:pt x="784" y="429"/>
                  <a:pt x="784" y="429"/>
                </a:cubicBezTo>
                <a:cubicBezTo>
                  <a:pt x="783" y="431"/>
                  <a:pt x="783" y="431"/>
                  <a:pt x="783" y="431"/>
                </a:cubicBezTo>
                <a:cubicBezTo>
                  <a:pt x="782" y="434"/>
                  <a:pt x="782" y="434"/>
                  <a:pt x="782" y="434"/>
                </a:cubicBezTo>
                <a:cubicBezTo>
                  <a:pt x="783" y="436"/>
                  <a:pt x="783" y="436"/>
                  <a:pt x="783" y="436"/>
                </a:cubicBezTo>
                <a:cubicBezTo>
                  <a:pt x="785" y="438"/>
                  <a:pt x="785" y="438"/>
                  <a:pt x="785" y="438"/>
                </a:cubicBezTo>
                <a:cubicBezTo>
                  <a:pt x="787" y="439"/>
                  <a:pt x="787" y="439"/>
                  <a:pt x="787" y="439"/>
                </a:cubicBezTo>
                <a:cubicBezTo>
                  <a:pt x="783" y="439"/>
                  <a:pt x="783" y="439"/>
                  <a:pt x="783" y="439"/>
                </a:cubicBezTo>
                <a:cubicBezTo>
                  <a:pt x="781" y="437"/>
                  <a:pt x="781" y="437"/>
                  <a:pt x="781" y="437"/>
                </a:cubicBezTo>
                <a:cubicBezTo>
                  <a:pt x="781" y="434"/>
                  <a:pt x="781" y="434"/>
                  <a:pt x="781" y="434"/>
                </a:cubicBezTo>
                <a:cubicBezTo>
                  <a:pt x="781" y="431"/>
                  <a:pt x="781" y="431"/>
                  <a:pt x="781" y="431"/>
                </a:cubicBezTo>
                <a:cubicBezTo>
                  <a:pt x="779" y="430"/>
                  <a:pt x="779" y="430"/>
                  <a:pt x="779" y="430"/>
                </a:cubicBezTo>
                <a:cubicBezTo>
                  <a:pt x="779" y="429"/>
                  <a:pt x="779" y="429"/>
                  <a:pt x="779" y="429"/>
                </a:cubicBezTo>
                <a:cubicBezTo>
                  <a:pt x="779" y="428"/>
                  <a:pt x="779" y="428"/>
                  <a:pt x="779" y="428"/>
                </a:cubicBezTo>
                <a:cubicBezTo>
                  <a:pt x="779" y="428"/>
                  <a:pt x="779" y="428"/>
                  <a:pt x="779" y="428"/>
                </a:cubicBezTo>
                <a:cubicBezTo>
                  <a:pt x="775" y="432"/>
                  <a:pt x="775" y="432"/>
                  <a:pt x="775" y="432"/>
                </a:cubicBezTo>
                <a:cubicBezTo>
                  <a:pt x="775" y="434"/>
                  <a:pt x="775" y="434"/>
                  <a:pt x="775" y="434"/>
                </a:cubicBezTo>
                <a:cubicBezTo>
                  <a:pt x="775" y="435"/>
                  <a:pt x="775" y="435"/>
                  <a:pt x="775" y="435"/>
                </a:cubicBezTo>
                <a:cubicBezTo>
                  <a:pt x="773" y="435"/>
                  <a:pt x="773" y="435"/>
                  <a:pt x="773" y="435"/>
                </a:cubicBezTo>
                <a:cubicBezTo>
                  <a:pt x="771" y="433"/>
                  <a:pt x="771" y="433"/>
                  <a:pt x="771" y="433"/>
                </a:cubicBezTo>
                <a:cubicBezTo>
                  <a:pt x="769" y="433"/>
                  <a:pt x="769" y="433"/>
                  <a:pt x="769" y="433"/>
                </a:cubicBezTo>
                <a:cubicBezTo>
                  <a:pt x="766" y="434"/>
                  <a:pt x="766" y="434"/>
                  <a:pt x="766" y="434"/>
                </a:cubicBezTo>
                <a:cubicBezTo>
                  <a:pt x="763" y="436"/>
                  <a:pt x="763" y="436"/>
                  <a:pt x="763" y="436"/>
                </a:cubicBezTo>
                <a:cubicBezTo>
                  <a:pt x="767" y="432"/>
                  <a:pt x="767" y="432"/>
                  <a:pt x="767" y="432"/>
                </a:cubicBezTo>
                <a:cubicBezTo>
                  <a:pt x="768" y="430"/>
                  <a:pt x="768" y="430"/>
                  <a:pt x="768" y="430"/>
                </a:cubicBezTo>
                <a:cubicBezTo>
                  <a:pt x="767" y="428"/>
                  <a:pt x="767" y="428"/>
                  <a:pt x="767" y="428"/>
                </a:cubicBezTo>
                <a:cubicBezTo>
                  <a:pt x="767" y="425"/>
                  <a:pt x="767" y="425"/>
                  <a:pt x="767" y="425"/>
                </a:cubicBezTo>
                <a:cubicBezTo>
                  <a:pt x="766" y="423"/>
                  <a:pt x="766" y="423"/>
                  <a:pt x="766" y="423"/>
                </a:cubicBezTo>
                <a:cubicBezTo>
                  <a:pt x="765" y="422"/>
                  <a:pt x="765" y="422"/>
                  <a:pt x="765" y="422"/>
                </a:cubicBezTo>
                <a:cubicBezTo>
                  <a:pt x="765" y="422"/>
                  <a:pt x="765" y="422"/>
                  <a:pt x="765" y="422"/>
                </a:cubicBezTo>
                <a:cubicBezTo>
                  <a:pt x="763" y="421"/>
                  <a:pt x="763" y="421"/>
                  <a:pt x="763" y="421"/>
                </a:cubicBezTo>
                <a:cubicBezTo>
                  <a:pt x="761" y="420"/>
                  <a:pt x="761" y="420"/>
                  <a:pt x="761" y="420"/>
                </a:cubicBezTo>
                <a:cubicBezTo>
                  <a:pt x="761" y="419"/>
                  <a:pt x="761" y="419"/>
                  <a:pt x="761" y="419"/>
                </a:cubicBezTo>
                <a:cubicBezTo>
                  <a:pt x="760" y="418"/>
                  <a:pt x="760" y="418"/>
                  <a:pt x="760" y="418"/>
                </a:cubicBezTo>
                <a:cubicBezTo>
                  <a:pt x="761" y="416"/>
                  <a:pt x="761" y="416"/>
                  <a:pt x="761" y="416"/>
                </a:cubicBezTo>
                <a:cubicBezTo>
                  <a:pt x="760" y="414"/>
                  <a:pt x="760" y="414"/>
                  <a:pt x="760" y="414"/>
                </a:cubicBezTo>
                <a:cubicBezTo>
                  <a:pt x="758" y="413"/>
                  <a:pt x="758" y="413"/>
                  <a:pt x="758" y="413"/>
                </a:cubicBezTo>
                <a:cubicBezTo>
                  <a:pt x="758" y="411"/>
                  <a:pt x="758" y="411"/>
                  <a:pt x="758" y="411"/>
                </a:cubicBezTo>
                <a:cubicBezTo>
                  <a:pt x="756" y="409"/>
                  <a:pt x="756" y="409"/>
                  <a:pt x="756" y="409"/>
                </a:cubicBezTo>
                <a:cubicBezTo>
                  <a:pt x="755" y="408"/>
                  <a:pt x="755" y="408"/>
                  <a:pt x="755" y="408"/>
                </a:cubicBezTo>
                <a:cubicBezTo>
                  <a:pt x="756" y="404"/>
                  <a:pt x="756" y="404"/>
                  <a:pt x="756" y="404"/>
                </a:cubicBezTo>
                <a:cubicBezTo>
                  <a:pt x="758" y="402"/>
                  <a:pt x="758" y="402"/>
                  <a:pt x="758" y="402"/>
                </a:cubicBezTo>
                <a:cubicBezTo>
                  <a:pt x="759" y="399"/>
                  <a:pt x="759" y="399"/>
                  <a:pt x="759" y="399"/>
                </a:cubicBezTo>
                <a:cubicBezTo>
                  <a:pt x="759" y="398"/>
                  <a:pt x="759" y="398"/>
                  <a:pt x="759" y="398"/>
                </a:cubicBezTo>
                <a:cubicBezTo>
                  <a:pt x="762" y="394"/>
                  <a:pt x="762" y="394"/>
                  <a:pt x="762" y="394"/>
                </a:cubicBezTo>
                <a:cubicBezTo>
                  <a:pt x="762" y="389"/>
                  <a:pt x="762" y="389"/>
                  <a:pt x="762" y="389"/>
                </a:cubicBezTo>
                <a:cubicBezTo>
                  <a:pt x="761" y="389"/>
                  <a:pt x="761" y="389"/>
                  <a:pt x="761" y="389"/>
                </a:cubicBezTo>
                <a:cubicBezTo>
                  <a:pt x="761" y="386"/>
                  <a:pt x="761" y="386"/>
                  <a:pt x="761" y="386"/>
                </a:cubicBezTo>
                <a:cubicBezTo>
                  <a:pt x="762" y="384"/>
                  <a:pt x="762" y="384"/>
                  <a:pt x="762" y="384"/>
                </a:cubicBezTo>
                <a:cubicBezTo>
                  <a:pt x="763" y="382"/>
                  <a:pt x="763" y="382"/>
                  <a:pt x="763" y="382"/>
                </a:cubicBezTo>
                <a:cubicBezTo>
                  <a:pt x="764" y="380"/>
                  <a:pt x="764" y="380"/>
                  <a:pt x="764" y="380"/>
                </a:cubicBezTo>
                <a:cubicBezTo>
                  <a:pt x="766" y="375"/>
                  <a:pt x="766" y="375"/>
                  <a:pt x="766" y="375"/>
                </a:cubicBezTo>
                <a:cubicBezTo>
                  <a:pt x="766" y="372"/>
                  <a:pt x="766" y="372"/>
                  <a:pt x="766" y="372"/>
                </a:cubicBezTo>
                <a:cubicBezTo>
                  <a:pt x="765" y="372"/>
                  <a:pt x="765" y="372"/>
                  <a:pt x="765" y="372"/>
                </a:cubicBezTo>
                <a:cubicBezTo>
                  <a:pt x="764" y="372"/>
                  <a:pt x="764" y="372"/>
                  <a:pt x="764" y="372"/>
                </a:cubicBezTo>
                <a:cubicBezTo>
                  <a:pt x="764" y="372"/>
                  <a:pt x="764" y="372"/>
                  <a:pt x="764" y="372"/>
                </a:cubicBezTo>
                <a:cubicBezTo>
                  <a:pt x="763" y="372"/>
                  <a:pt x="763" y="372"/>
                  <a:pt x="763" y="372"/>
                </a:cubicBezTo>
                <a:cubicBezTo>
                  <a:pt x="760" y="373"/>
                  <a:pt x="760" y="373"/>
                  <a:pt x="760" y="373"/>
                </a:cubicBezTo>
                <a:cubicBezTo>
                  <a:pt x="757" y="372"/>
                  <a:pt x="757" y="372"/>
                  <a:pt x="757" y="372"/>
                </a:cubicBezTo>
                <a:cubicBezTo>
                  <a:pt x="754" y="371"/>
                  <a:pt x="754" y="371"/>
                  <a:pt x="754" y="371"/>
                </a:cubicBezTo>
                <a:cubicBezTo>
                  <a:pt x="753" y="371"/>
                  <a:pt x="753" y="371"/>
                  <a:pt x="753" y="371"/>
                </a:cubicBezTo>
                <a:cubicBezTo>
                  <a:pt x="752" y="370"/>
                  <a:pt x="752" y="370"/>
                  <a:pt x="752" y="370"/>
                </a:cubicBezTo>
                <a:cubicBezTo>
                  <a:pt x="748" y="370"/>
                  <a:pt x="748" y="370"/>
                  <a:pt x="748" y="370"/>
                </a:cubicBezTo>
                <a:cubicBezTo>
                  <a:pt x="745" y="370"/>
                  <a:pt x="745" y="370"/>
                  <a:pt x="745" y="370"/>
                </a:cubicBezTo>
                <a:cubicBezTo>
                  <a:pt x="744" y="370"/>
                  <a:pt x="744" y="370"/>
                  <a:pt x="744" y="370"/>
                </a:cubicBezTo>
                <a:cubicBezTo>
                  <a:pt x="741" y="370"/>
                  <a:pt x="741" y="370"/>
                  <a:pt x="741" y="370"/>
                </a:cubicBezTo>
                <a:cubicBezTo>
                  <a:pt x="741" y="369"/>
                  <a:pt x="741" y="369"/>
                  <a:pt x="741" y="369"/>
                </a:cubicBezTo>
                <a:cubicBezTo>
                  <a:pt x="741" y="368"/>
                  <a:pt x="741" y="368"/>
                  <a:pt x="741" y="368"/>
                </a:cubicBezTo>
                <a:cubicBezTo>
                  <a:pt x="738" y="366"/>
                  <a:pt x="738" y="366"/>
                  <a:pt x="738" y="366"/>
                </a:cubicBezTo>
                <a:cubicBezTo>
                  <a:pt x="738" y="364"/>
                  <a:pt x="738" y="364"/>
                  <a:pt x="738" y="364"/>
                </a:cubicBezTo>
                <a:cubicBezTo>
                  <a:pt x="735" y="361"/>
                  <a:pt x="735" y="361"/>
                  <a:pt x="735" y="361"/>
                </a:cubicBezTo>
                <a:cubicBezTo>
                  <a:pt x="733" y="361"/>
                  <a:pt x="733" y="361"/>
                  <a:pt x="733" y="361"/>
                </a:cubicBezTo>
                <a:cubicBezTo>
                  <a:pt x="730" y="359"/>
                  <a:pt x="730" y="359"/>
                  <a:pt x="730" y="359"/>
                </a:cubicBezTo>
                <a:cubicBezTo>
                  <a:pt x="729" y="358"/>
                  <a:pt x="729" y="358"/>
                  <a:pt x="729" y="358"/>
                </a:cubicBezTo>
                <a:cubicBezTo>
                  <a:pt x="724" y="356"/>
                  <a:pt x="724" y="356"/>
                  <a:pt x="724" y="356"/>
                </a:cubicBezTo>
                <a:cubicBezTo>
                  <a:pt x="723" y="354"/>
                  <a:pt x="723" y="354"/>
                  <a:pt x="723" y="354"/>
                </a:cubicBezTo>
                <a:cubicBezTo>
                  <a:pt x="722" y="355"/>
                  <a:pt x="722" y="355"/>
                  <a:pt x="722" y="355"/>
                </a:cubicBezTo>
                <a:cubicBezTo>
                  <a:pt x="722" y="354"/>
                  <a:pt x="722" y="354"/>
                  <a:pt x="722" y="354"/>
                </a:cubicBezTo>
                <a:cubicBezTo>
                  <a:pt x="721" y="351"/>
                  <a:pt x="721" y="351"/>
                  <a:pt x="721" y="351"/>
                </a:cubicBezTo>
                <a:cubicBezTo>
                  <a:pt x="719" y="349"/>
                  <a:pt x="719" y="349"/>
                  <a:pt x="719" y="349"/>
                </a:cubicBezTo>
                <a:cubicBezTo>
                  <a:pt x="719" y="347"/>
                  <a:pt x="719" y="347"/>
                  <a:pt x="719" y="347"/>
                </a:cubicBezTo>
                <a:cubicBezTo>
                  <a:pt x="718" y="346"/>
                  <a:pt x="718" y="346"/>
                  <a:pt x="718" y="346"/>
                </a:cubicBezTo>
                <a:cubicBezTo>
                  <a:pt x="716" y="343"/>
                  <a:pt x="716" y="343"/>
                  <a:pt x="716" y="343"/>
                </a:cubicBezTo>
                <a:cubicBezTo>
                  <a:pt x="715" y="343"/>
                  <a:pt x="715" y="343"/>
                  <a:pt x="715" y="343"/>
                </a:cubicBezTo>
                <a:cubicBezTo>
                  <a:pt x="711" y="339"/>
                  <a:pt x="711" y="339"/>
                  <a:pt x="711" y="339"/>
                </a:cubicBezTo>
                <a:cubicBezTo>
                  <a:pt x="709" y="339"/>
                  <a:pt x="709" y="339"/>
                  <a:pt x="709" y="339"/>
                </a:cubicBezTo>
                <a:cubicBezTo>
                  <a:pt x="708" y="338"/>
                  <a:pt x="708" y="338"/>
                  <a:pt x="708" y="338"/>
                </a:cubicBezTo>
                <a:cubicBezTo>
                  <a:pt x="704" y="337"/>
                  <a:pt x="704" y="337"/>
                  <a:pt x="704" y="337"/>
                </a:cubicBezTo>
                <a:cubicBezTo>
                  <a:pt x="701" y="334"/>
                  <a:pt x="701" y="334"/>
                  <a:pt x="701" y="334"/>
                </a:cubicBezTo>
                <a:cubicBezTo>
                  <a:pt x="696" y="331"/>
                  <a:pt x="696" y="331"/>
                  <a:pt x="696" y="331"/>
                </a:cubicBezTo>
                <a:cubicBezTo>
                  <a:pt x="693" y="331"/>
                  <a:pt x="693" y="331"/>
                  <a:pt x="693" y="331"/>
                </a:cubicBezTo>
                <a:cubicBezTo>
                  <a:pt x="685" y="334"/>
                  <a:pt x="685" y="334"/>
                  <a:pt x="685" y="334"/>
                </a:cubicBezTo>
                <a:cubicBezTo>
                  <a:pt x="678" y="336"/>
                  <a:pt x="678" y="336"/>
                  <a:pt x="678" y="336"/>
                </a:cubicBezTo>
                <a:cubicBezTo>
                  <a:pt x="675" y="336"/>
                  <a:pt x="675" y="336"/>
                  <a:pt x="675" y="336"/>
                </a:cubicBezTo>
                <a:cubicBezTo>
                  <a:pt x="673" y="335"/>
                  <a:pt x="673" y="335"/>
                  <a:pt x="673" y="335"/>
                </a:cubicBezTo>
                <a:cubicBezTo>
                  <a:pt x="675" y="335"/>
                  <a:pt x="675" y="335"/>
                  <a:pt x="675" y="335"/>
                </a:cubicBezTo>
                <a:cubicBezTo>
                  <a:pt x="678" y="334"/>
                  <a:pt x="678" y="334"/>
                  <a:pt x="678" y="334"/>
                </a:cubicBezTo>
                <a:cubicBezTo>
                  <a:pt x="684" y="328"/>
                  <a:pt x="684" y="328"/>
                  <a:pt x="684" y="328"/>
                </a:cubicBezTo>
                <a:cubicBezTo>
                  <a:pt x="685" y="326"/>
                  <a:pt x="685" y="326"/>
                  <a:pt x="685" y="326"/>
                </a:cubicBezTo>
                <a:cubicBezTo>
                  <a:pt x="684" y="322"/>
                  <a:pt x="684" y="322"/>
                  <a:pt x="684" y="322"/>
                </a:cubicBezTo>
                <a:cubicBezTo>
                  <a:pt x="683" y="321"/>
                  <a:pt x="683" y="321"/>
                  <a:pt x="683" y="321"/>
                </a:cubicBezTo>
                <a:cubicBezTo>
                  <a:pt x="685" y="317"/>
                  <a:pt x="685" y="317"/>
                  <a:pt x="685" y="317"/>
                </a:cubicBezTo>
                <a:cubicBezTo>
                  <a:pt x="685" y="313"/>
                  <a:pt x="685" y="313"/>
                  <a:pt x="685" y="313"/>
                </a:cubicBezTo>
                <a:cubicBezTo>
                  <a:pt x="684" y="310"/>
                  <a:pt x="684" y="310"/>
                  <a:pt x="684" y="310"/>
                </a:cubicBezTo>
                <a:cubicBezTo>
                  <a:pt x="684" y="308"/>
                  <a:pt x="684" y="308"/>
                  <a:pt x="684" y="308"/>
                </a:cubicBezTo>
                <a:cubicBezTo>
                  <a:pt x="684" y="305"/>
                  <a:pt x="684" y="305"/>
                  <a:pt x="684" y="305"/>
                </a:cubicBezTo>
                <a:cubicBezTo>
                  <a:pt x="684" y="303"/>
                  <a:pt x="684" y="303"/>
                  <a:pt x="684" y="303"/>
                </a:cubicBezTo>
                <a:cubicBezTo>
                  <a:pt x="683" y="303"/>
                  <a:pt x="683" y="303"/>
                  <a:pt x="683" y="303"/>
                </a:cubicBezTo>
                <a:cubicBezTo>
                  <a:pt x="677" y="303"/>
                  <a:pt x="677" y="303"/>
                  <a:pt x="677" y="303"/>
                </a:cubicBezTo>
                <a:cubicBezTo>
                  <a:pt x="674" y="308"/>
                  <a:pt x="674" y="308"/>
                  <a:pt x="674" y="308"/>
                </a:cubicBezTo>
                <a:cubicBezTo>
                  <a:pt x="671" y="312"/>
                  <a:pt x="671" y="312"/>
                  <a:pt x="671" y="312"/>
                </a:cubicBezTo>
                <a:cubicBezTo>
                  <a:pt x="666" y="313"/>
                  <a:pt x="666" y="313"/>
                  <a:pt x="666" y="313"/>
                </a:cubicBezTo>
                <a:cubicBezTo>
                  <a:pt x="663" y="315"/>
                  <a:pt x="663" y="315"/>
                  <a:pt x="663" y="315"/>
                </a:cubicBezTo>
                <a:cubicBezTo>
                  <a:pt x="664" y="313"/>
                  <a:pt x="664" y="313"/>
                  <a:pt x="664" y="313"/>
                </a:cubicBezTo>
                <a:cubicBezTo>
                  <a:pt x="670" y="312"/>
                  <a:pt x="670" y="312"/>
                  <a:pt x="670" y="312"/>
                </a:cubicBezTo>
                <a:cubicBezTo>
                  <a:pt x="672" y="309"/>
                  <a:pt x="672" y="309"/>
                  <a:pt x="672" y="309"/>
                </a:cubicBezTo>
                <a:cubicBezTo>
                  <a:pt x="674" y="304"/>
                  <a:pt x="674" y="304"/>
                  <a:pt x="674" y="304"/>
                </a:cubicBezTo>
                <a:cubicBezTo>
                  <a:pt x="673" y="304"/>
                  <a:pt x="673" y="304"/>
                  <a:pt x="673" y="304"/>
                </a:cubicBezTo>
                <a:cubicBezTo>
                  <a:pt x="673" y="301"/>
                  <a:pt x="673" y="301"/>
                  <a:pt x="673" y="301"/>
                </a:cubicBezTo>
                <a:cubicBezTo>
                  <a:pt x="672" y="300"/>
                  <a:pt x="672" y="300"/>
                  <a:pt x="672" y="300"/>
                </a:cubicBezTo>
                <a:cubicBezTo>
                  <a:pt x="673" y="298"/>
                  <a:pt x="673" y="298"/>
                  <a:pt x="673" y="298"/>
                </a:cubicBezTo>
                <a:cubicBezTo>
                  <a:pt x="672" y="297"/>
                  <a:pt x="672" y="297"/>
                  <a:pt x="672" y="297"/>
                </a:cubicBezTo>
                <a:cubicBezTo>
                  <a:pt x="670" y="296"/>
                  <a:pt x="670" y="296"/>
                  <a:pt x="670" y="296"/>
                </a:cubicBezTo>
                <a:cubicBezTo>
                  <a:pt x="671" y="295"/>
                  <a:pt x="671" y="295"/>
                  <a:pt x="671" y="295"/>
                </a:cubicBezTo>
                <a:cubicBezTo>
                  <a:pt x="673" y="295"/>
                  <a:pt x="673" y="295"/>
                  <a:pt x="673" y="295"/>
                </a:cubicBezTo>
                <a:cubicBezTo>
                  <a:pt x="674" y="293"/>
                  <a:pt x="674" y="293"/>
                  <a:pt x="674" y="293"/>
                </a:cubicBezTo>
                <a:cubicBezTo>
                  <a:pt x="676" y="290"/>
                  <a:pt x="676" y="290"/>
                  <a:pt x="676" y="290"/>
                </a:cubicBezTo>
                <a:cubicBezTo>
                  <a:pt x="676" y="287"/>
                  <a:pt x="676" y="287"/>
                  <a:pt x="676" y="287"/>
                </a:cubicBezTo>
                <a:cubicBezTo>
                  <a:pt x="675" y="286"/>
                  <a:pt x="675" y="286"/>
                  <a:pt x="675" y="286"/>
                </a:cubicBezTo>
                <a:cubicBezTo>
                  <a:pt x="676" y="282"/>
                  <a:pt x="676" y="282"/>
                  <a:pt x="676" y="282"/>
                </a:cubicBezTo>
                <a:cubicBezTo>
                  <a:pt x="678" y="281"/>
                  <a:pt x="678" y="281"/>
                  <a:pt x="678" y="281"/>
                </a:cubicBezTo>
                <a:cubicBezTo>
                  <a:pt x="679" y="279"/>
                  <a:pt x="679" y="279"/>
                  <a:pt x="679" y="279"/>
                </a:cubicBezTo>
                <a:cubicBezTo>
                  <a:pt x="680" y="277"/>
                  <a:pt x="680" y="277"/>
                  <a:pt x="680" y="277"/>
                </a:cubicBezTo>
                <a:cubicBezTo>
                  <a:pt x="681" y="273"/>
                  <a:pt x="681" y="273"/>
                  <a:pt x="681" y="273"/>
                </a:cubicBezTo>
                <a:cubicBezTo>
                  <a:pt x="682" y="271"/>
                  <a:pt x="682" y="271"/>
                  <a:pt x="682" y="271"/>
                </a:cubicBezTo>
                <a:cubicBezTo>
                  <a:pt x="681" y="269"/>
                  <a:pt x="681" y="269"/>
                  <a:pt x="681" y="269"/>
                </a:cubicBezTo>
                <a:cubicBezTo>
                  <a:pt x="682" y="268"/>
                  <a:pt x="682" y="268"/>
                  <a:pt x="682" y="268"/>
                </a:cubicBezTo>
                <a:cubicBezTo>
                  <a:pt x="684" y="269"/>
                  <a:pt x="684" y="269"/>
                  <a:pt x="684" y="269"/>
                </a:cubicBezTo>
                <a:cubicBezTo>
                  <a:pt x="686" y="267"/>
                  <a:pt x="686" y="267"/>
                  <a:pt x="686" y="267"/>
                </a:cubicBezTo>
                <a:cubicBezTo>
                  <a:pt x="686" y="265"/>
                  <a:pt x="686" y="265"/>
                  <a:pt x="686" y="265"/>
                </a:cubicBezTo>
                <a:cubicBezTo>
                  <a:pt x="688" y="265"/>
                  <a:pt x="688" y="265"/>
                  <a:pt x="688" y="265"/>
                </a:cubicBezTo>
                <a:cubicBezTo>
                  <a:pt x="691" y="262"/>
                  <a:pt x="691" y="262"/>
                  <a:pt x="691" y="262"/>
                </a:cubicBezTo>
                <a:cubicBezTo>
                  <a:pt x="693" y="261"/>
                  <a:pt x="693" y="261"/>
                  <a:pt x="693" y="261"/>
                </a:cubicBezTo>
                <a:cubicBezTo>
                  <a:pt x="693" y="259"/>
                  <a:pt x="693" y="259"/>
                  <a:pt x="693" y="259"/>
                </a:cubicBezTo>
                <a:cubicBezTo>
                  <a:pt x="694" y="258"/>
                  <a:pt x="694" y="258"/>
                  <a:pt x="694" y="258"/>
                </a:cubicBezTo>
                <a:cubicBezTo>
                  <a:pt x="695" y="258"/>
                  <a:pt x="695" y="258"/>
                  <a:pt x="695" y="258"/>
                </a:cubicBezTo>
                <a:cubicBezTo>
                  <a:pt x="696" y="256"/>
                  <a:pt x="696" y="256"/>
                  <a:pt x="696" y="256"/>
                </a:cubicBezTo>
                <a:cubicBezTo>
                  <a:pt x="694" y="255"/>
                  <a:pt x="694" y="255"/>
                  <a:pt x="694" y="255"/>
                </a:cubicBezTo>
                <a:cubicBezTo>
                  <a:pt x="697" y="254"/>
                  <a:pt x="697" y="254"/>
                  <a:pt x="697" y="254"/>
                </a:cubicBezTo>
                <a:cubicBezTo>
                  <a:pt x="699" y="251"/>
                  <a:pt x="699" y="251"/>
                  <a:pt x="699" y="251"/>
                </a:cubicBezTo>
                <a:cubicBezTo>
                  <a:pt x="701" y="251"/>
                  <a:pt x="701" y="251"/>
                  <a:pt x="701" y="251"/>
                </a:cubicBezTo>
                <a:cubicBezTo>
                  <a:pt x="701" y="250"/>
                  <a:pt x="701" y="250"/>
                  <a:pt x="701" y="250"/>
                </a:cubicBezTo>
                <a:cubicBezTo>
                  <a:pt x="701" y="249"/>
                  <a:pt x="701" y="249"/>
                  <a:pt x="701" y="249"/>
                </a:cubicBezTo>
                <a:cubicBezTo>
                  <a:pt x="699" y="247"/>
                  <a:pt x="699" y="247"/>
                  <a:pt x="699" y="247"/>
                </a:cubicBezTo>
                <a:cubicBezTo>
                  <a:pt x="700" y="247"/>
                  <a:pt x="700" y="247"/>
                  <a:pt x="700" y="247"/>
                </a:cubicBezTo>
                <a:cubicBezTo>
                  <a:pt x="700" y="245"/>
                  <a:pt x="700" y="245"/>
                  <a:pt x="700" y="245"/>
                </a:cubicBezTo>
                <a:cubicBezTo>
                  <a:pt x="702" y="246"/>
                  <a:pt x="702" y="246"/>
                  <a:pt x="702" y="246"/>
                </a:cubicBezTo>
                <a:cubicBezTo>
                  <a:pt x="704" y="247"/>
                  <a:pt x="704" y="247"/>
                  <a:pt x="704" y="247"/>
                </a:cubicBezTo>
                <a:cubicBezTo>
                  <a:pt x="704" y="248"/>
                  <a:pt x="704" y="248"/>
                  <a:pt x="704" y="248"/>
                </a:cubicBezTo>
                <a:cubicBezTo>
                  <a:pt x="705" y="248"/>
                  <a:pt x="705" y="248"/>
                  <a:pt x="705" y="248"/>
                </a:cubicBezTo>
                <a:cubicBezTo>
                  <a:pt x="705" y="246"/>
                  <a:pt x="705" y="246"/>
                  <a:pt x="705" y="246"/>
                </a:cubicBezTo>
                <a:cubicBezTo>
                  <a:pt x="703" y="245"/>
                  <a:pt x="703" y="245"/>
                  <a:pt x="703" y="245"/>
                </a:cubicBezTo>
                <a:cubicBezTo>
                  <a:pt x="706" y="244"/>
                  <a:pt x="706" y="244"/>
                  <a:pt x="706" y="244"/>
                </a:cubicBezTo>
                <a:cubicBezTo>
                  <a:pt x="707" y="243"/>
                  <a:pt x="707" y="243"/>
                  <a:pt x="707" y="243"/>
                </a:cubicBezTo>
                <a:cubicBezTo>
                  <a:pt x="710" y="243"/>
                  <a:pt x="710" y="243"/>
                  <a:pt x="710" y="243"/>
                </a:cubicBezTo>
                <a:cubicBezTo>
                  <a:pt x="710" y="244"/>
                  <a:pt x="710" y="244"/>
                  <a:pt x="710" y="244"/>
                </a:cubicBezTo>
                <a:cubicBezTo>
                  <a:pt x="711" y="242"/>
                  <a:pt x="711" y="242"/>
                  <a:pt x="711" y="242"/>
                </a:cubicBezTo>
                <a:cubicBezTo>
                  <a:pt x="710" y="241"/>
                  <a:pt x="710" y="241"/>
                  <a:pt x="710" y="241"/>
                </a:cubicBezTo>
                <a:cubicBezTo>
                  <a:pt x="711" y="242"/>
                  <a:pt x="711" y="242"/>
                  <a:pt x="711" y="242"/>
                </a:cubicBezTo>
                <a:cubicBezTo>
                  <a:pt x="712" y="244"/>
                  <a:pt x="712" y="244"/>
                  <a:pt x="712" y="244"/>
                </a:cubicBezTo>
                <a:cubicBezTo>
                  <a:pt x="713" y="242"/>
                  <a:pt x="713" y="242"/>
                  <a:pt x="713" y="242"/>
                </a:cubicBezTo>
                <a:cubicBezTo>
                  <a:pt x="713" y="240"/>
                  <a:pt x="713" y="240"/>
                  <a:pt x="713" y="240"/>
                </a:cubicBezTo>
                <a:cubicBezTo>
                  <a:pt x="712" y="239"/>
                  <a:pt x="712" y="239"/>
                  <a:pt x="712" y="239"/>
                </a:cubicBezTo>
                <a:cubicBezTo>
                  <a:pt x="712" y="238"/>
                  <a:pt x="712" y="238"/>
                  <a:pt x="712" y="238"/>
                </a:cubicBezTo>
                <a:cubicBezTo>
                  <a:pt x="713" y="238"/>
                  <a:pt x="713" y="238"/>
                  <a:pt x="713" y="238"/>
                </a:cubicBezTo>
                <a:cubicBezTo>
                  <a:pt x="717" y="239"/>
                  <a:pt x="717" y="239"/>
                  <a:pt x="717" y="239"/>
                </a:cubicBezTo>
                <a:cubicBezTo>
                  <a:pt x="716" y="238"/>
                  <a:pt x="716" y="238"/>
                  <a:pt x="716" y="238"/>
                </a:cubicBezTo>
                <a:cubicBezTo>
                  <a:pt x="714" y="237"/>
                  <a:pt x="714" y="237"/>
                  <a:pt x="714" y="237"/>
                </a:cubicBezTo>
                <a:cubicBezTo>
                  <a:pt x="714" y="236"/>
                  <a:pt x="714" y="236"/>
                  <a:pt x="714" y="236"/>
                </a:cubicBezTo>
                <a:cubicBezTo>
                  <a:pt x="714" y="235"/>
                  <a:pt x="714" y="235"/>
                  <a:pt x="714" y="235"/>
                </a:cubicBezTo>
                <a:cubicBezTo>
                  <a:pt x="715" y="234"/>
                  <a:pt x="715" y="234"/>
                  <a:pt x="715" y="234"/>
                </a:cubicBezTo>
                <a:cubicBezTo>
                  <a:pt x="715" y="237"/>
                  <a:pt x="715" y="237"/>
                  <a:pt x="715" y="237"/>
                </a:cubicBezTo>
                <a:cubicBezTo>
                  <a:pt x="717" y="236"/>
                  <a:pt x="717" y="236"/>
                  <a:pt x="717" y="236"/>
                </a:cubicBezTo>
                <a:cubicBezTo>
                  <a:pt x="719" y="237"/>
                  <a:pt x="719" y="237"/>
                  <a:pt x="719" y="237"/>
                </a:cubicBezTo>
                <a:cubicBezTo>
                  <a:pt x="720" y="236"/>
                  <a:pt x="720" y="236"/>
                  <a:pt x="720" y="236"/>
                </a:cubicBezTo>
                <a:cubicBezTo>
                  <a:pt x="718" y="232"/>
                  <a:pt x="718" y="232"/>
                  <a:pt x="718" y="232"/>
                </a:cubicBezTo>
                <a:cubicBezTo>
                  <a:pt x="716" y="228"/>
                  <a:pt x="716" y="228"/>
                  <a:pt x="716" y="228"/>
                </a:cubicBezTo>
                <a:cubicBezTo>
                  <a:pt x="714" y="226"/>
                  <a:pt x="714" y="226"/>
                  <a:pt x="714" y="226"/>
                </a:cubicBezTo>
                <a:cubicBezTo>
                  <a:pt x="715" y="224"/>
                  <a:pt x="715" y="224"/>
                  <a:pt x="715" y="224"/>
                </a:cubicBezTo>
                <a:cubicBezTo>
                  <a:pt x="714" y="223"/>
                  <a:pt x="714" y="223"/>
                  <a:pt x="714" y="223"/>
                </a:cubicBezTo>
                <a:cubicBezTo>
                  <a:pt x="715" y="222"/>
                  <a:pt x="715" y="222"/>
                  <a:pt x="715" y="222"/>
                </a:cubicBezTo>
                <a:cubicBezTo>
                  <a:pt x="716" y="223"/>
                  <a:pt x="716" y="223"/>
                  <a:pt x="716" y="223"/>
                </a:cubicBezTo>
                <a:cubicBezTo>
                  <a:pt x="717" y="227"/>
                  <a:pt x="717" y="227"/>
                  <a:pt x="717" y="227"/>
                </a:cubicBezTo>
                <a:cubicBezTo>
                  <a:pt x="720" y="230"/>
                  <a:pt x="720" y="230"/>
                  <a:pt x="720" y="230"/>
                </a:cubicBezTo>
                <a:cubicBezTo>
                  <a:pt x="724" y="231"/>
                  <a:pt x="724" y="231"/>
                  <a:pt x="724" y="231"/>
                </a:cubicBezTo>
                <a:cubicBezTo>
                  <a:pt x="726" y="232"/>
                  <a:pt x="726" y="232"/>
                  <a:pt x="726" y="232"/>
                </a:cubicBezTo>
                <a:cubicBezTo>
                  <a:pt x="728" y="232"/>
                  <a:pt x="728" y="232"/>
                  <a:pt x="728" y="232"/>
                </a:cubicBezTo>
                <a:cubicBezTo>
                  <a:pt x="729" y="231"/>
                  <a:pt x="729" y="231"/>
                  <a:pt x="729" y="231"/>
                </a:cubicBezTo>
                <a:cubicBezTo>
                  <a:pt x="731" y="231"/>
                  <a:pt x="731" y="231"/>
                  <a:pt x="731" y="231"/>
                </a:cubicBezTo>
                <a:cubicBezTo>
                  <a:pt x="734" y="228"/>
                  <a:pt x="734" y="228"/>
                  <a:pt x="734" y="228"/>
                </a:cubicBezTo>
                <a:cubicBezTo>
                  <a:pt x="734" y="224"/>
                  <a:pt x="734" y="224"/>
                  <a:pt x="734" y="224"/>
                </a:cubicBezTo>
                <a:cubicBezTo>
                  <a:pt x="730" y="219"/>
                  <a:pt x="730" y="219"/>
                  <a:pt x="730" y="219"/>
                </a:cubicBezTo>
                <a:cubicBezTo>
                  <a:pt x="730" y="217"/>
                  <a:pt x="730" y="217"/>
                  <a:pt x="730" y="217"/>
                </a:cubicBezTo>
                <a:cubicBezTo>
                  <a:pt x="729" y="215"/>
                  <a:pt x="729" y="215"/>
                  <a:pt x="729" y="215"/>
                </a:cubicBezTo>
                <a:cubicBezTo>
                  <a:pt x="728" y="216"/>
                  <a:pt x="728" y="216"/>
                  <a:pt x="728" y="216"/>
                </a:cubicBezTo>
                <a:cubicBezTo>
                  <a:pt x="726" y="218"/>
                  <a:pt x="726" y="218"/>
                  <a:pt x="726" y="218"/>
                </a:cubicBezTo>
                <a:cubicBezTo>
                  <a:pt x="722" y="218"/>
                  <a:pt x="722" y="218"/>
                  <a:pt x="722" y="218"/>
                </a:cubicBezTo>
                <a:cubicBezTo>
                  <a:pt x="721" y="219"/>
                  <a:pt x="721" y="219"/>
                  <a:pt x="721" y="219"/>
                </a:cubicBezTo>
                <a:cubicBezTo>
                  <a:pt x="721" y="218"/>
                  <a:pt x="721" y="218"/>
                  <a:pt x="721" y="218"/>
                </a:cubicBezTo>
                <a:cubicBezTo>
                  <a:pt x="720" y="217"/>
                  <a:pt x="720" y="217"/>
                  <a:pt x="720" y="217"/>
                </a:cubicBezTo>
                <a:cubicBezTo>
                  <a:pt x="722" y="217"/>
                  <a:pt x="722" y="217"/>
                  <a:pt x="722" y="217"/>
                </a:cubicBezTo>
                <a:cubicBezTo>
                  <a:pt x="724" y="217"/>
                  <a:pt x="724" y="217"/>
                  <a:pt x="724" y="217"/>
                </a:cubicBezTo>
                <a:cubicBezTo>
                  <a:pt x="726" y="215"/>
                  <a:pt x="726" y="215"/>
                  <a:pt x="726" y="215"/>
                </a:cubicBezTo>
                <a:cubicBezTo>
                  <a:pt x="726" y="214"/>
                  <a:pt x="726" y="214"/>
                  <a:pt x="726" y="214"/>
                </a:cubicBezTo>
                <a:cubicBezTo>
                  <a:pt x="722" y="212"/>
                  <a:pt x="722" y="212"/>
                  <a:pt x="722" y="212"/>
                </a:cubicBezTo>
                <a:cubicBezTo>
                  <a:pt x="718" y="208"/>
                  <a:pt x="718" y="208"/>
                  <a:pt x="718" y="208"/>
                </a:cubicBezTo>
                <a:cubicBezTo>
                  <a:pt x="717" y="208"/>
                  <a:pt x="717" y="208"/>
                  <a:pt x="717" y="208"/>
                </a:cubicBezTo>
                <a:cubicBezTo>
                  <a:pt x="717" y="208"/>
                  <a:pt x="717" y="208"/>
                  <a:pt x="717" y="208"/>
                </a:cubicBezTo>
                <a:cubicBezTo>
                  <a:pt x="718" y="210"/>
                  <a:pt x="718" y="210"/>
                  <a:pt x="718" y="210"/>
                </a:cubicBezTo>
                <a:cubicBezTo>
                  <a:pt x="717" y="211"/>
                  <a:pt x="717" y="211"/>
                  <a:pt x="717" y="211"/>
                </a:cubicBezTo>
                <a:cubicBezTo>
                  <a:pt x="715" y="209"/>
                  <a:pt x="715" y="209"/>
                  <a:pt x="715" y="209"/>
                </a:cubicBezTo>
                <a:cubicBezTo>
                  <a:pt x="714" y="206"/>
                  <a:pt x="714" y="206"/>
                  <a:pt x="714" y="206"/>
                </a:cubicBezTo>
                <a:cubicBezTo>
                  <a:pt x="716" y="207"/>
                  <a:pt x="716" y="207"/>
                  <a:pt x="716" y="207"/>
                </a:cubicBezTo>
                <a:cubicBezTo>
                  <a:pt x="716" y="204"/>
                  <a:pt x="716" y="204"/>
                  <a:pt x="716" y="204"/>
                </a:cubicBezTo>
                <a:cubicBezTo>
                  <a:pt x="717" y="205"/>
                  <a:pt x="717" y="205"/>
                  <a:pt x="717" y="205"/>
                </a:cubicBezTo>
                <a:cubicBezTo>
                  <a:pt x="720" y="207"/>
                  <a:pt x="720" y="207"/>
                  <a:pt x="720" y="207"/>
                </a:cubicBezTo>
                <a:cubicBezTo>
                  <a:pt x="722" y="208"/>
                  <a:pt x="722" y="208"/>
                  <a:pt x="722" y="208"/>
                </a:cubicBezTo>
                <a:cubicBezTo>
                  <a:pt x="723" y="211"/>
                  <a:pt x="723" y="211"/>
                  <a:pt x="723" y="211"/>
                </a:cubicBezTo>
                <a:cubicBezTo>
                  <a:pt x="727" y="213"/>
                  <a:pt x="727" y="213"/>
                  <a:pt x="727" y="213"/>
                </a:cubicBezTo>
                <a:cubicBezTo>
                  <a:pt x="731" y="215"/>
                  <a:pt x="731" y="215"/>
                  <a:pt x="731" y="215"/>
                </a:cubicBezTo>
                <a:cubicBezTo>
                  <a:pt x="733" y="217"/>
                  <a:pt x="733" y="217"/>
                  <a:pt x="733" y="217"/>
                </a:cubicBezTo>
                <a:cubicBezTo>
                  <a:pt x="734" y="218"/>
                  <a:pt x="734" y="218"/>
                  <a:pt x="734" y="218"/>
                </a:cubicBezTo>
                <a:cubicBezTo>
                  <a:pt x="735" y="220"/>
                  <a:pt x="735" y="220"/>
                  <a:pt x="735" y="220"/>
                </a:cubicBezTo>
                <a:cubicBezTo>
                  <a:pt x="737" y="221"/>
                  <a:pt x="737" y="221"/>
                  <a:pt x="737" y="221"/>
                </a:cubicBezTo>
                <a:cubicBezTo>
                  <a:pt x="737" y="221"/>
                  <a:pt x="737" y="221"/>
                  <a:pt x="737" y="221"/>
                </a:cubicBezTo>
                <a:cubicBezTo>
                  <a:pt x="738" y="219"/>
                  <a:pt x="738" y="219"/>
                  <a:pt x="738" y="219"/>
                </a:cubicBezTo>
                <a:cubicBezTo>
                  <a:pt x="740" y="218"/>
                  <a:pt x="740" y="218"/>
                  <a:pt x="740" y="218"/>
                </a:cubicBezTo>
                <a:cubicBezTo>
                  <a:pt x="738" y="217"/>
                  <a:pt x="738" y="217"/>
                  <a:pt x="738" y="217"/>
                </a:cubicBezTo>
                <a:cubicBezTo>
                  <a:pt x="739" y="215"/>
                  <a:pt x="739" y="215"/>
                  <a:pt x="739" y="215"/>
                </a:cubicBezTo>
                <a:cubicBezTo>
                  <a:pt x="740" y="218"/>
                  <a:pt x="740" y="218"/>
                  <a:pt x="740" y="218"/>
                </a:cubicBezTo>
                <a:cubicBezTo>
                  <a:pt x="741" y="219"/>
                  <a:pt x="741" y="219"/>
                  <a:pt x="741" y="219"/>
                </a:cubicBezTo>
                <a:cubicBezTo>
                  <a:pt x="742" y="219"/>
                  <a:pt x="742" y="219"/>
                  <a:pt x="742" y="219"/>
                </a:cubicBezTo>
                <a:cubicBezTo>
                  <a:pt x="744" y="216"/>
                  <a:pt x="744" y="216"/>
                  <a:pt x="744" y="216"/>
                </a:cubicBezTo>
                <a:cubicBezTo>
                  <a:pt x="745" y="212"/>
                  <a:pt x="745" y="212"/>
                  <a:pt x="745" y="212"/>
                </a:cubicBezTo>
                <a:cubicBezTo>
                  <a:pt x="744" y="211"/>
                  <a:pt x="744" y="211"/>
                  <a:pt x="744" y="211"/>
                </a:cubicBezTo>
                <a:cubicBezTo>
                  <a:pt x="745" y="208"/>
                  <a:pt x="745" y="208"/>
                  <a:pt x="745" y="208"/>
                </a:cubicBezTo>
                <a:cubicBezTo>
                  <a:pt x="746" y="211"/>
                  <a:pt x="746" y="211"/>
                  <a:pt x="746" y="211"/>
                </a:cubicBezTo>
                <a:cubicBezTo>
                  <a:pt x="746" y="213"/>
                  <a:pt x="746" y="213"/>
                  <a:pt x="746" y="213"/>
                </a:cubicBezTo>
                <a:cubicBezTo>
                  <a:pt x="747" y="209"/>
                  <a:pt x="747" y="209"/>
                  <a:pt x="747" y="209"/>
                </a:cubicBezTo>
                <a:cubicBezTo>
                  <a:pt x="749" y="208"/>
                  <a:pt x="749" y="208"/>
                  <a:pt x="749" y="208"/>
                </a:cubicBezTo>
                <a:cubicBezTo>
                  <a:pt x="750" y="209"/>
                  <a:pt x="750" y="209"/>
                  <a:pt x="750" y="209"/>
                </a:cubicBezTo>
                <a:cubicBezTo>
                  <a:pt x="750" y="209"/>
                  <a:pt x="750" y="209"/>
                  <a:pt x="750" y="209"/>
                </a:cubicBezTo>
                <a:cubicBezTo>
                  <a:pt x="749" y="211"/>
                  <a:pt x="749" y="211"/>
                  <a:pt x="749" y="211"/>
                </a:cubicBezTo>
                <a:cubicBezTo>
                  <a:pt x="750" y="212"/>
                  <a:pt x="750" y="212"/>
                  <a:pt x="750" y="212"/>
                </a:cubicBezTo>
                <a:cubicBezTo>
                  <a:pt x="750" y="213"/>
                  <a:pt x="750" y="213"/>
                  <a:pt x="750" y="213"/>
                </a:cubicBezTo>
                <a:cubicBezTo>
                  <a:pt x="751" y="212"/>
                  <a:pt x="751" y="212"/>
                  <a:pt x="751" y="212"/>
                </a:cubicBezTo>
                <a:cubicBezTo>
                  <a:pt x="753" y="212"/>
                  <a:pt x="753" y="212"/>
                  <a:pt x="753" y="212"/>
                </a:cubicBezTo>
                <a:cubicBezTo>
                  <a:pt x="755" y="215"/>
                  <a:pt x="755" y="215"/>
                  <a:pt x="755" y="215"/>
                </a:cubicBezTo>
                <a:cubicBezTo>
                  <a:pt x="756" y="214"/>
                  <a:pt x="756" y="214"/>
                  <a:pt x="756" y="214"/>
                </a:cubicBezTo>
                <a:cubicBezTo>
                  <a:pt x="757" y="214"/>
                  <a:pt x="757" y="214"/>
                  <a:pt x="757" y="214"/>
                </a:cubicBezTo>
                <a:cubicBezTo>
                  <a:pt x="758" y="215"/>
                  <a:pt x="758" y="215"/>
                  <a:pt x="758" y="215"/>
                </a:cubicBezTo>
                <a:cubicBezTo>
                  <a:pt x="760" y="214"/>
                  <a:pt x="760" y="214"/>
                  <a:pt x="760" y="214"/>
                </a:cubicBezTo>
                <a:cubicBezTo>
                  <a:pt x="761" y="211"/>
                  <a:pt x="761" y="211"/>
                  <a:pt x="761" y="211"/>
                </a:cubicBezTo>
                <a:cubicBezTo>
                  <a:pt x="764" y="210"/>
                  <a:pt x="764" y="210"/>
                  <a:pt x="764" y="210"/>
                </a:cubicBezTo>
                <a:cubicBezTo>
                  <a:pt x="771" y="204"/>
                  <a:pt x="771" y="204"/>
                  <a:pt x="771" y="204"/>
                </a:cubicBezTo>
                <a:cubicBezTo>
                  <a:pt x="771" y="202"/>
                  <a:pt x="771" y="202"/>
                  <a:pt x="771" y="202"/>
                </a:cubicBezTo>
                <a:cubicBezTo>
                  <a:pt x="772" y="202"/>
                  <a:pt x="772" y="202"/>
                  <a:pt x="772" y="202"/>
                </a:cubicBezTo>
                <a:cubicBezTo>
                  <a:pt x="772" y="202"/>
                  <a:pt x="772" y="202"/>
                  <a:pt x="772" y="202"/>
                </a:cubicBezTo>
                <a:cubicBezTo>
                  <a:pt x="775" y="199"/>
                  <a:pt x="775" y="199"/>
                  <a:pt x="775" y="199"/>
                </a:cubicBezTo>
                <a:cubicBezTo>
                  <a:pt x="777" y="198"/>
                  <a:pt x="777" y="198"/>
                  <a:pt x="777" y="198"/>
                </a:cubicBezTo>
                <a:cubicBezTo>
                  <a:pt x="779" y="196"/>
                  <a:pt x="779" y="196"/>
                  <a:pt x="779" y="196"/>
                </a:cubicBezTo>
                <a:cubicBezTo>
                  <a:pt x="780" y="195"/>
                  <a:pt x="780" y="195"/>
                  <a:pt x="780" y="195"/>
                </a:cubicBezTo>
                <a:cubicBezTo>
                  <a:pt x="780" y="193"/>
                  <a:pt x="780" y="193"/>
                  <a:pt x="780" y="193"/>
                </a:cubicBezTo>
                <a:cubicBezTo>
                  <a:pt x="772" y="191"/>
                  <a:pt x="772" y="191"/>
                  <a:pt x="772" y="191"/>
                </a:cubicBezTo>
                <a:cubicBezTo>
                  <a:pt x="769" y="190"/>
                  <a:pt x="769" y="190"/>
                  <a:pt x="769" y="190"/>
                </a:cubicBezTo>
                <a:cubicBezTo>
                  <a:pt x="765" y="189"/>
                  <a:pt x="765" y="189"/>
                  <a:pt x="765" y="189"/>
                </a:cubicBezTo>
                <a:cubicBezTo>
                  <a:pt x="764" y="186"/>
                  <a:pt x="764" y="186"/>
                  <a:pt x="764" y="186"/>
                </a:cubicBezTo>
                <a:cubicBezTo>
                  <a:pt x="761" y="182"/>
                  <a:pt x="761" y="182"/>
                  <a:pt x="761" y="182"/>
                </a:cubicBezTo>
                <a:cubicBezTo>
                  <a:pt x="760" y="182"/>
                  <a:pt x="760" y="182"/>
                  <a:pt x="760" y="182"/>
                </a:cubicBezTo>
                <a:cubicBezTo>
                  <a:pt x="760" y="178"/>
                  <a:pt x="760" y="178"/>
                  <a:pt x="760" y="178"/>
                </a:cubicBezTo>
                <a:cubicBezTo>
                  <a:pt x="760" y="178"/>
                  <a:pt x="760" y="178"/>
                  <a:pt x="760" y="178"/>
                </a:cubicBezTo>
                <a:cubicBezTo>
                  <a:pt x="760" y="177"/>
                  <a:pt x="760" y="177"/>
                  <a:pt x="760" y="177"/>
                </a:cubicBezTo>
                <a:cubicBezTo>
                  <a:pt x="761" y="177"/>
                  <a:pt x="761" y="177"/>
                  <a:pt x="761" y="177"/>
                </a:cubicBezTo>
                <a:cubicBezTo>
                  <a:pt x="761" y="176"/>
                  <a:pt x="761" y="176"/>
                  <a:pt x="761" y="176"/>
                </a:cubicBezTo>
                <a:cubicBezTo>
                  <a:pt x="760" y="175"/>
                  <a:pt x="760" y="175"/>
                  <a:pt x="760" y="175"/>
                </a:cubicBezTo>
                <a:cubicBezTo>
                  <a:pt x="756" y="175"/>
                  <a:pt x="756" y="175"/>
                  <a:pt x="756" y="175"/>
                </a:cubicBezTo>
                <a:cubicBezTo>
                  <a:pt x="751" y="173"/>
                  <a:pt x="751" y="173"/>
                  <a:pt x="751" y="173"/>
                </a:cubicBezTo>
                <a:cubicBezTo>
                  <a:pt x="750" y="174"/>
                  <a:pt x="750" y="174"/>
                  <a:pt x="750" y="174"/>
                </a:cubicBezTo>
                <a:cubicBezTo>
                  <a:pt x="750" y="175"/>
                  <a:pt x="750" y="175"/>
                  <a:pt x="750" y="175"/>
                </a:cubicBezTo>
                <a:cubicBezTo>
                  <a:pt x="748" y="173"/>
                  <a:pt x="748" y="173"/>
                  <a:pt x="748" y="173"/>
                </a:cubicBezTo>
                <a:cubicBezTo>
                  <a:pt x="748" y="172"/>
                  <a:pt x="748" y="172"/>
                  <a:pt x="748" y="172"/>
                </a:cubicBezTo>
                <a:cubicBezTo>
                  <a:pt x="750" y="172"/>
                  <a:pt x="750" y="172"/>
                  <a:pt x="750" y="172"/>
                </a:cubicBezTo>
                <a:cubicBezTo>
                  <a:pt x="755" y="173"/>
                  <a:pt x="755" y="173"/>
                  <a:pt x="755" y="173"/>
                </a:cubicBezTo>
                <a:cubicBezTo>
                  <a:pt x="758" y="174"/>
                  <a:pt x="758" y="174"/>
                  <a:pt x="758" y="174"/>
                </a:cubicBezTo>
                <a:cubicBezTo>
                  <a:pt x="762" y="174"/>
                  <a:pt x="762" y="174"/>
                  <a:pt x="762" y="174"/>
                </a:cubicBezTo>
                <a:cubicBezTo>
                  <a:pt x="764" y="176"/>
                  <a:pt x="764" y="176"/>
                  <a:pt x="764" y="176"/>
                </a:cubicBezTo>
                <a:cubicBezTo>
                  <a:pt x="766" y="180"/>
                  <a:pt x="766" y="180"/>
                  <a:pt x="766" y="180"/>
                </a:cubicBezTo>
                <a:cubicBezTo>
                  <a:pt x="768" y="181"/>
                  <a:pt x="768" y="181"/>
                  <a:pt x="768" y="181"/>
                </a:cubicBezTo>
                <a:cubicBezTo>
                  <a:pt x="769" y="182"/>
                  <a:pt x="769" y="182"/>
                  <a:pt x="769" y="182"/>
                </a:cubicBezTo>
                <a:cubicBezTo>
                  <a:pt x="769" y="183"/>
                  <a:pt x="769" y="183"/>
                  <a:pt x="769" y="183"/>
                </a:cubicBezTo>
                <a:cubicBezTo>
                  <a:pt x="768" y="183"/>
                  <a:pt x="768" y="183"/>
                  <a:pt x="768" y="183"/>
                </a:cubicBezTo>
                <a:cubicBezTo>
                  <a:pt x="767" y="184"/>
                  <a:pt x="767" y="184"/>
                  <a:pt x="767" y="184"/>
                </a:cubicBezTo>
                <a:cubicBezTo>
                  <a:pt x="771" y="185"/>
                  <a:pt x="771" y="185"/>
                  <a:pt x="771" y="185"/>
                </a:cubicBezTo>
                <a:cubicBezTo>
                  <a:pt x="771" y="187"/>
                  <a:pt x="771" y="187"/>
                  <a:pt x="771" y="187"/>
                </a:cubicBezTo>
                <a:cubicBezTo>
                  <a:pt x="773" y="189"/>
                  <a:pt x="773" y="189"/>
                  <a:pt x="773" y="189"/>
                </a:cubicBezTo>
                <a:cubicBezTo>
                  <a:pt x="779" y="191"/>
                  <a:pt x="779" y="191"/>
                  <a:pt x="779" y="191"/>
                </a:cubicBezTo>
                <a:cubicBezTo>
                  <a:pt x="781" y="190"/>
                  <a:pt x="781" y="190"/>
                  <a:pt x="781" y="190"/>
                </a:cubicBezTo>
                <a:cubicBezTo>
                  <a:pt x="782" y="187"/>
                  <a:pt x="782" y="187"/>
                  <a:pt x="782" y="187"/>
                </a:cubicBezTo>
                <a:cubicBezTo>
                  <a:pt x="783" y="186"/>
                  <a:pt x="783" y="186"/>
                  <a:pt x="783" y="186"/>
                </a:cubicBezTo>
                <a:cubicBezTo>
                  <a:pt x="785" y="187"/>
                  <a:pt x="785" y="187"/>
                  <a:pt x="785" y="187"/>
                </a:cubicBezTo>
                <a:cubicBezTo>
                  <a:pt x="787" y="184"/>
                  <a:pt x="787" y="184"/>
                  <a:pt x="787" y="184"/>
                </a:cubicBezTo>
                <a:cubicBezTo>
                  <a:pt x="789" y="181"/>
                  <a:pt x="789" y="181"/>
                  <a:pt x="789" y="181"/>
                </a:cubicBezTo>
                <a:cubicBezTo>
                  <a:pt x="794" y="178"/>
                  <a:pt x="794" y="178"/>
                  <a:pt x="794" y="178"/>
                </a:cubicBezTo>
                <a:cubicBezTo>
                  <a:pt x="795" y="178"/>
                  <a:pt x="795" y="178"/>
                  <a:pt x="795" y="178"/>
                </a:cubicBezTo>
                <a:cubicBezTo>
                  <a:pt x="797" y="175"/>
                  <a:pt x="797" y="175"/>
                  <a:pt x="797" y="175"/>
                </a:cubicBezTo>
                <a:cubicBezTo>
                  <a:pt x="796" y="173"/>
                  <a:pt x="796" y="173"/>
                  <a:pt x="796" y="173"/>
                </a:cubicBezTo>
                <a:cubicBezTo>
                  <a:pt x="793" y="173"/>
                  <a:pt x="793" y="173"/>
                  <a:pt x="793" y="173"/>
                </a:cubicBezTo>
                <a:cubicBezTo>
                  <a:pt x="792" y="171"/>
                  <a:pt x="792" y="171"/>
                  <a:pt x="792" y="171"/>
                </a:cubicBezTo>
                <a:cubicBezTo>
                  <a:pt x="792" y="169"/>
                  <a:pt x="792" y="169"/>
                  <a:pt x="792" y="169"/>
                </a:cubicBezTo>
                <a:cubicBezTo>
                  <a:pt x="793" y="169"/>
                  <a:pt x="793" y="169"/>
                  <a:pt x="793" y="169"/>
                </a:cubicBezTo>
                <a:cubicBezTo>
                  <a:pt x="793" y="167"/>
                  <a:pt x="793" y="167"/>
                  <a:pt x="793" y="167"/>
                </a:cubicBezTo>
                <a:cubicBezTo>
                  <a:pt x="793" y="166"/>
                  <a:pt x="793" y="166"/>
                  <a:pt x="793" y="166"/>
                </a:cubicBezTo>
                <a:cubicBezTo>
                  <a:pt x="795" y="167"/>
                  <a:pt x="795" y="167"/>
                  <a:pt x="795" y="167"/>
                </a:cubicBezTo>
                <a:cubicBezTo>
                  <a:pt x="797" y="167"/>
                  <a:pt x="797" y="167"/>
                  <a:pt x="797" y="167"/>
                </a:cubicBezTo>
                <a:cubicBezTo>
                  <a:pt x="798" y="168"/>
                  <a:pt x="798" y="168"/>
                  <a:pt x="798" y="168"/>
                </a:cubicBezTo>
                <a:cubicBezTo>
                  <a:pt x="801" y="168"/>
                  <a:pt x="801" y="168"/>
                  <a:pt x="801" y="168"/>
                </a:cubicBezTo>
                <a:cubicBezTo>
                  <a:pt x="804" y="167"/>
                  <a:pt x="804" y="167"/>
                  <a:pt x="804" y="167"/>
                </a:cubicBezTo>
                <a:cubicBezTo>
                  <a:pt x="804" y="168"/>
                  <a:pt x="804" y="168"/>
                  <a:pt x="804" y="168"/>
                </a:cubicBezTo>
                <a:cubicBezTo>
                  <a:pt x="805" y="168"/>
                  <a:pt x="805" y="168"/>
                  <a:pt x="805" y="168"/>
                </a:cubicBezTo>
                <a:cubicBezTo>
                  <a:pt x="804" y="169"/>
                  <a:pt x="804" y="169"/>
                  <a:pt x="804" y="169"/>
                </a:cubicBezTo>
                <a:cubicBezTo>
                  <a:pt x="803" y="172"/>
                  <a:pt x="803" y="172"/>
                  <a:pt x="803" y="172"/>
                </a:cubicBezTo>
                <a:cubicBezTo>
                  <a:pt x="804" y="173"/>
                  <a:pt x="804" y="173"/>
                  <a:pt x="804" y="173"/>
                </a:cubicBezTo>
                <a:cubicBezTo>
                  <a:pt x="805" y="173"/>
                  <a:pt x="805" y="173"/>
                  <a:pt x="805" y="173"/>
                </a:cubicBezTo>
                <a:cubicBezTo>
                  <a:pt x="805" y="174"/>
                  <a:pt x="805" y="174"/>
                  <a:pt x="805" y="174"/>
                </a:cubicBezTo>
                <a:cubicBezTo>
                  <a:pt x="807" y="174"/>
                  <a:pt x="807" y="174"/>
                  <a:pt x="807" y="174"/>
                </a:cubicBezTo>
                <a:cubicBezTo>
                  <a:pt x="809" y="175"/>
                  <a:pt x="809" y="175"/>
                  <a:pt x="809" y="175"/>
                </a:cubicBezTo>
                <a:cubicBezTo>
                  <a:pt x="810" y="174"/>
                  <a:pt x="810" y="174"/>
                  <a:pt x="810" y="174"/>
                </a:cubicBezTo>
                <a:cubicBezTo>
                  <a:pt x="808" y="172"/>
                  <a:pt x="808" y="172"/>
                  <a:pt x="808" y="172"/>
                </a:cubicBezTo>
                <a:cubicBezTo>
                  <a:pt x="809" y="170"/>
                  <a:pt x="809" y="170"/>
                  <a:pt x="809" y="170"/>
                </a:cubicBezTo>
                <a:cubicBezTo>
                  <a:pt x="809" y="172"/>
                  <a:pt x="809" y="172"/>
                  <a:pt x="809" y="172"/>
                </a:cubicBezTo>
                <a:cubicBezTo>
                  <a:pt x="811" y="172"/>
                  <a:pt x="811" y="172"/>
                  <a:pt x="811" y="172"/>
                </a:cubicBezTo>
                <a:cubicBezTo>
                  <a:pt x="811" y="174"/>
                  <a:pt x="811" y="174"/>
                  <a:pt x="811" y="174"/>
                </a:cubicBezTo>
                <a:cubicBezTo>
                  <a:pt x="814" y="177"/>
                  <a:pt x="814" y="177"/>
                  <a:pt x="814" y="177"/>
                </a:cubicBezTo>
                <a:cubicBezTo>
                  <a:pt x="815" y="177"/>
                  <a:pt x="815" y="177"/>
                  <a:pt x="815" y="177"/>
                </a:cubicBezTo>
                <a:cubicBezTo>
                  <a:pt x="815" y="175"/>
                  <a:pt x="815" y="175"/>
                  <a:pt x="815" y="175"/>
                </a:cubicBezTo>
                <a:cubicBezTo>
                  <a:pt x="815" y="174"/>
                  <a:pt x="815" y="174"/>
                  <a:pt x="815" y="174"/>
                </a:cubicBezTo>
                <a:cubicBezTo>
                  <a:pt x="816" y="173"/>
                  <a:pt x="816" y="173"/>
                  <a:pt x="816" y="173"/>
                </a:cubicBezTo>
                <a:cubicBezTo>
                  <a:pt x="815" y="170"/>
                  <a:pt x="815" y="170"/>
                  <a:pt x="815" y="170"/>
                </a:cubicBezTo>
                <a:cubicBezTo>
                  <a:pt x="814" y="170"/>
                  <a:pt x="814" y="170"/>
                  <a:pt x="814" y="170"/>
                </a:cubicBezTo>
                <a:cubicBezTo>
                  <a:pt x="815" y="167"/>
                  <a:pt x="815" y="167"/>
                  <a:pt x="815" y="167"/>
                </a:cubicBezTo>
                <a:cubicBezTo>
                  <a:pt x="813" y="164"/>
                  <a:pt x="813" y="164"/>
                  <a:pt x="813" y="164"/>
                </a:cubicBezTo>
                <a:cubicBezTo>
                  <a:pt x="812" y="163"/>
                  <a:pt x="812" y="163"/>
                  <a:pt x="812" y="163"/>
                </a:cubicBezTo>
                <a:cubicBezTo>
                  <a:pt x="812" y="161"/>
                  <a:pt x="812" y="161"/>
                  <a:pt x="812" y="161"/>
                </a:cubicBezTo>
                <a:cubicBezTo>
                  <a:pt x="811" y="161"/>
                  <a:pt x="811" y="161"/>
                  <a:pt x="811" y="161"/>
                </a:cubicBezTo>
                <a:cubicBezTo>
                  <a:pt x="808" y="162"/>
                  <a:pt x="808" y="162"/>
                  <a:pt x="808" y="162"/>
                </a:cubicBezTo>
                <a:cubicBezTo>
                  <a:pt x="807" y="162"/>
                  <a:pt x="807" y="162"/>
                  <a:pt x="807" y="162"/>
                </a:cubicBezTo>
                <a:cubicBezTo>
                  <a:pt x="809" y="159"/>
                  <a:pt x="809" y="159"/>
                  <a:pt x="809" y="159"/>
                </a:cubicBezTo>
                <a:cubicBezTo>
                  <a:pt x="811" y="159"/>
                  <a:pt x="811" y="159"/>
                  <a:pt x="811" y="159"/>
                </a:cubicBezTo>
                <a:cubicBezTo>
                  <a:pt x="811" y="160"/>
                  <a:pt x="811" y="160"/>
                  <a:pt x="811" y="160"/>
                </a:cubicBezTo>
                <a:cubicBezTo>
                  <a:pt x="813" y="159"/>
                  <a:pt x="813" y="159"/>
                  <a:pt x="813" y="159"/>
                </a:cubicBezTo>
                <a:cubicBezTo>
                  <a:pt x="814" y="161"/>
                  <a:pt x="814" y="161"/>
                  <a:pt x="814" y="161"/>
                </a:cubicBezTo>
                <a:cubicBezTo>
                  <a:pt x="815" y="161"/>
                  <a:pt x="815" y="161"/>
                  <a:pt x="815" y="161"/>
                </a:cubicBezTo>
                <a:cubicBezTo>
                  <a:pt x="816" y="165"/>
                  <a:pt x="816" y="165"/>
                  <a:pt x="816" y="165"/>
                </a:cubicBezTo>
                <a:cubicBezTo>
                  <a:pt x="816" y="165"/>
                  <a:pt x="816" y="165"/>
                  <a:pt x="816" y="165"/>
                </a:cubicBezTo>
                <a:cubicBezTo>
                  <a:pt x="818" y="163"/>
                  <a:pt x="818" y="163"/>
                  <a:pt x="818" y="163"/>
                </a:cubicBezTo>
                <a:cubicBezTo>
                  <a:pt x="817" y="166"/>
                  <a:pt x="817" y="166"/>
                  <a:pt x="817" y="166"/>
                </a:cubicBezTo>
                <a:cubicBezTo>
                  <a:pt x="817" y="167"/>
                  <a:pt x="817" y="167"/>
                  <a:pt x="817" y="167"/>
                </a:cubicBezTo>
                <a:cubicBezTo>
                  <a:pt x="816" y="168"/>
                  <a:pt x="816" y="168"/>
                  <a:pt x="816" y="168"/>
                </a:cubicBezTo>
                <a:cubicBezTo>
                  <a:pt x="816" y="169"/>
                  <a:pt x="816" y="169"/>
                  <a:pt x="816" y="169"/>
                </a:cubicBezTo>
                <a:cubicBezTo>
                  <a:pt x="817" y="170"/>
                  <a:pt x="817" y="170"/>
                  <a:pt x="817" y="170"/>
                </a:cubicBezTo>
                <a:cubicBezTo>
                  <a:pt x="818" y="173"/>
                  <a:pt x="818" y="173"/>
                  <a:pt x="818" y="173"/>
                </a:cubicBezTo>
                <a:cubicBezTo>
                  <a:pt x="817" y="174"/>
                  <a:pt x="817" y="174"/>
                  <a:pt x="817" y="174"/>
                </a:cubicBezTo>
                <a:cubicBezTo>
                  <a:pt x="818" y="175"/>
                  <a:pt x="818" y="175"/>
                  <a:pt x="818" y="175"/>
                </a:cubicBezTo>
                <a:cubicBezTo>
                  <a:pt x="823" y="174"/>
                  <a:pt x="823" y="174"/>
                  <a:pt x="823" y="174"/>
                </a:cubicBezTo>
                <a:cubicBezTo>
                  <a:pt x="824" y="172"/>
                  <a:pt x="824" y="172"/>
                  <a:pt x="824" y="172"/>
                </a:cubicBezTo>
                <a:cubicBezTo>
                  <a:pt x="825" y="172"/>
                  <a:pt x="825" y="172"/>
                  <a:pt x="825" y="172"/>
                </a:cubicBezTo>
                <a:cubicBezTo>
                  <a:pt x="827" y="172"/>
                  <a:pt x="827" y="172"/>
                  <a:pt x="827" y="172"/>
                </a:cubicBezTo>
                <a:cubicBezTo>
                  <a:pt x="829" y="169"/>
                  <a:pt x="829" y="169"/>
                  <a:pt x="829" y="169"/>
                </a:cubicBezTo>
                <a:cubicBezTo>
                  <a:pt x="831" y="169"/>
                  <a:pt x="831" y="169"/>
                  <a:pt x="831" y="169"/>
                </a:cubicBezTo>
                <a:cubicBezTo>
                  <a:pt x="832" y="168"/>
                  <a:pt x="832" y="168"/>
                  <a:pt x="832" y="168"/>
                </a:cubicBezTo>
                <a:cubicBezTo>
                  <a:pt x="834" y="166"/>
                  <a:pt x="834" y="166"/>
                  <a:pt x="834" y="166"/>
                </a:cubicBezTo>
                <a:cubicBezTo>
                  <a:pt x="834" y="164"/>
                  <a:pt x="834" y="164"/>
                  <a:pt x="834" y="164"/>
                </a:cubicBezTo>
                <a:cubicBezTo>
                  <a:pt x="836" y="163"/>
                  <a:pt x="836" y="163"/>
                  <a:pt x="836" y="163"/>
                </a:cubicBezTo>
                <a:cubicBezTo>
                  <a:pt x="839" y="163"/>
                  <a:pt x="839" y="163"/>
                  <a:pt x="839" y="163"/>
                </a:cubicBezTo>
                <a:cubicBezTo>
                  <a:pt x="841" y="164"/>
                  <a:pt x="841" y="164"/>
                  <a:pt x="841" y="164"/>
                </a:cubicBezTo>
                <a:cubicBezTo>
                  <a:pt x="842" y="162"/>
                  <a:pt x="842" y="162"/>
                  <a:pt x="842" y="162"/>
                </a:cubicBezTo>
                <a:cubicBezTo>
                  <a:pt x="841" y="161"/>
                  <a:pt x="841" y="161"/>
                  <a:pt x="841" y="161"/>
                </a:cubicBezTo>
                <a:cubicBezTo>
                  <a:pt x="844" y="158"/>
                  <a:pt x="844" y="158"/>
                  <a:pt x="844" y="158"/>
                </a:cubicBezTo>
                <a:cubicBezTo>
                  <a:pt x="844" y="157"/>
                  <a:pt x="844" y="157"/>
                  <a:pt x="844" y="157"/>
                </a:cubicBezTo>
                <a:cubicBezTo>
                  <a:pt x="845" y="156"/>
                  <a:pt x="845" y="156"/>
                  <a:pt x="845" y="156"/>
                </a:cubicBezTo>
                <a:cubicBezTo>
                  <a:pt x="845" y="154"/>
                  <a:pt x="845" y="154"/>
                  <a:pt x="845" y="154"/>
                </a:cubicBezTo>
                <a:cubicBezTo>
                  <a:pt x="843" y="149"/>
                  <a:pt x="843" y="149"/>
                  <a:pt x="843" y="149"/>
                </a:cubicBezTo>
                <a:cubicBezTo>
                  <a:pt x="843" y="148"/>
                  <a:pt x="843" y="148"/>
                  <a:pt x="843" y="148"/>
                </a:cubicBezTo>
                <a:cubicBezTo>
                  <a:pt x="841" y="146"/>
                  <a:pt x="841" y="146"/>
                  <a:pt x="841" y="146"/>
                </a:cubicBezTo>
                <a:cubicBezTo>
                  <a:pt x="841" y="144"/>
                  <a:pt x="841" y="144"/>
                  <a:pt x="841" y="144"/>
                </a:cubicBezTo>
                <a:cubicBezTo>
                  <a:pt x="841" y="142"/>
                  <a:pt x="841" y="142"/>
                  <a:pt x="841" y="142"/>
                </a:cubicBezTo>
                <a:cubicBezTo>
                  <a:pt x="844" y="141"/>
                  <a:pt x="844" y="141"/>
                  <a:pt x="844" y="141"/>
                </a:cubicBezTo>
                <a:cubicBezTo>
                  <a:pt x="844" y="140"/>
                  <a:pt x="844" y="140"/>
                  <a:pt x="844" y="140"/>
                </a:cubicBezTo>
                <a:cubicBezTo>
                  <a:pt x="844" y="140"/>
                  <a:pt x="844" y="140"/>
                  <a:pt x="844" y="140"/>
                </a:cubicBezTo>
                <a:cubicBezTo>
                  <a:pt x="842" y="141"/>
                  <a:pt x="842" y="141"/>
                  <a:pt x="842" y="141"/>
                </a:cubicBezTo>
                <a:cubicBezTo>
                  <a:pt x="842" y="141"/>
                  <a:pt x="842" y="141"/>
                  <a:pt x="842" y="141"/>
                </a:cubicBezTo>
                <a:cubicBezTo>
                  <a:pt x="842" y="140"/>
                  <a:pt x="842" y="140"/>
                  <a:pt x="842" y="140"/>
                </a:cubicBezTo>
                <a:cubicBezTo>
                  <a:pt x="843" y="138"/>
                  <a:pt x="843" y="138"/>
                  <a:pt x="843" y="138"/>
                </a:cubicBezTo>
                <a:cubicBezTo>
                  <a:pt x="841" y="138"/>
                  <a:pt x="841" y="138"/>
                  <a:pt x="841" y="138"/>
                </a:cubicBezTo>
                <a:cubicBezTo>
                  <a:pt x="842" y="137"/>
                  <a:pt x="842" y="137"/>
                  <a:pt x="842" y="137"/>
                </a:cubicBezTo>
                <a:cubicBezTo>
                  <a:pt x="843" y="135"/>
                  <a:pt x="843" y="135"/>
                  <a:pt x="843" y="135"/>
                </a:cubicBezTo>
                <a:cubicBezTo>
                  <a:pt x="842" y="134"/>
                  <a:pt x="842" y="134"/>
                  <a:pt x="842" y="134"/>
                </a:cubicBezTo>
                <a:cubicBezTo>
                  <a:pt x="840" y="134"/>
                  <a:pt x="840" y="134"/>
                  <a:pt x="840" y="134"/>
                </a:cubicBezTo>
                <a:cubicBezTo>
                  <a:pt x="841" y="133"/>
                  <a:pt x="841" y="133"/>
                  <a:pt x="841" y="133"/>
                </a:cubicBezTo>
                <a:cubicBezTo>
                  <a:pt x="841" y="132"/>
                  <a:pt x="841" y="132"/>
                  <a:pt x="841" y="132"/>
                </a:cubicBezTo>
                <a:cubicBezTo>
                  <a:pt x="842" y="131"/>
                  <a:pt x="842" y="131"/>
                  <a:pt x="842" y="131"/>
                </a:cubicBezTo>
                <a:cubicBezTo>
                  <a:pt x="843" y="133"/>
                  <a:pt x="843" y="133"/>
                  <a:pt x="843" y="133"/>
                </a:cubicBezTo>
                <a:cubicBezTo>
                  <a:pt x="845" y="133"/>
                  <a:pt x="845" y="133"/>
                  <a:pt x="845" y="133"/>
                </a:cubicBezTo>
                <a:cubicBezTo>
                  <a:pt x="846" y="134"/>
                  <a:pt x="846" y="134"/>
                  <a:pt x="846" y="134"/>
                </a:cubicBezTo>
                <a:cubicBezTo>
                  <a:pt x="848" y="135"/>
                  <a:pt x="848" y="135"/>
                  <a:pt x="848" y="135"/>
                </a:cubicBezTo>
                <a:cubicBezTo>
                  <a:pt x="849" y="134"/>
                  <a:pt x="849" y="134"/>
                  <a:pt x="849" y="134"/>
                </a:cubicBezTo>
                <a:cubicBezTo>
                  <a:pt x="850" y="134"/>
                  <a:pt x="850" y="134"/>
                  <a:pt x="850" y="134"/>
                </a:cubicBezTo>
                <a:cubicBezTo>
                  <a:pt x="853" y="133"/>
                  <a:pt x="853" y="133"/>
                  <a:pt x="853" y="133"/>
                </a:cubicBezTo>
                <a:cubicBezTo>
                  <a:pt x="855" y="131"/>
                  <a:pt x="855" y="131"/>
                  <a:pt x="855" y="131"/>
                </a:cubicBezTo>
                <a:cubicBezTo>
                  <a:pt x="855" y="131"/>
                  <a:pt x="855" y="131"/>
                  <a:pt x="855" y="131"/>
                </a:cubicBezTo>
                <a:cubicBezTo>
                  <a:pt x="856" y="129"/>
                  <a:pt x="856" y="129"/>
                  <a:pt x="856" y="129"/>
                </a:cubicBezTo>
                <a:cubicBezTo>
                  <a:pt x="855" y="128"/>
                  <a:pt x="855" y="128"/>
                  <a:pt x="855" y="128"/>
                </a:cubicBezTo>
                <a:cubicBezTo>
                  <a:pt x="854" y="128"/>
                  <a:pt x="854" y="128"/>
                  <a:pt x="854" y="128"/>
                </a:cubicBezTo>
                <a:cubicBezTo>
                  <a:pt x="854" y="127"/>
                  <a:pt x="854" y="127"/>
                  <a:pt x="854" y="127"/>
                </a:cubicBezTo>
                <a:cubicBezTo>
                  <a:pt x="853" y="126"/>
                  <a:pt x="853" y="126"/>
                  <a:pt x="853" y="126"/>
                </a:cubicBezTo>
                <a:cubicBezTo>
                  <a:pt x="851" y="126"/>
                  <a:pt x="851" y="126"/>
                  <a:pt x="851" y="126"/>
                </a:cubicBezTo>
                <a:cubicBezTo>
                  <a:pt x="852" y="125"/>
                  <a:pt x="852" y="125"/>
                  <a:pt x="852" y="125"/>
                </a:cubicBezTo>
                <a:cubicBezTo>
                  <a:pt x="854" y="125"/>
                  <a:pt x="854" y="125"/>
                  <a:pt x="854" y="125"/>
                </a:cubicBezTo>
                <a:cubicBezTo>
                  <a:pt x="857" y="123"/>
                  <a:pt x="857" y="123"/>
                  <a:pt x="857" y="123"/>
                </a:cubicBezTo>
                <a:cubicBezTo>
                  <a:pt x="858" y="121"/>
                  <a:pt x="858" y="121"/>
                  <a:pt x="858" y="121"/>
                </a:cubicBezTo>
                <a:cubicBezTo>
                  <a:pt x="858" y="120"/>
                  <a:pt x="858" y="120"/>
                  <a:pt x="858" y="120"/>
                </a:cubicBezTo>
                <a:cubicBezTo>
                  <a:pt x="857" y="119"/>
                  <a:pt x="857" y="119"/>
                  <a:pt x="857" y="119"/>
                </a:cubicBezTo>
                <a:cubicBezTo>
                  <a:pt x="856" y="118"/>
                  <a:pt x="856" y="118"/>
                  <a:pt x="856" y="118"/>
                </a:cubicBezTo>
                <a:cubicBezTo>
                  <a:pt x="853" y="117"/>
                  <a:pt x="853" y="117"/>
                  <a:pt x="853" y="117"/>
                </a:cubicBezTo>
                <a:cubicBezTo>
                  <a:pt x="851" y="118"/>
                  <a:pt x="851" y="118"/>
                  <a:pt x="851" y="118"/>
                </a:cubicBezTo>
                <a:cubicBezTo>
                  <a:pt x="850" y="117"/>
                  <a:pt x="850" y="117"/>
                  <a:pt x="850" y="117"/>
                </a:cubicBezTo>
                <a:cubicBezTo>
                  <a:pt x="852" y="117"/>
                  <a:pt x="852" y="117"/>
                  <a:pt x="852" y="117"/>
                </a:cubicBezTo>
                <a:cubicBezTo>
                  <a:pt x="852" y="115"/>
                  <a:pt x="852" y="115"/>
                  <a:pt x="852" y="115"/>
                </a:cubicBezTo>
                <a:cubicBezTo>
                  <a:pt x="848" y="112"/>
                  <a:pt x="848" y="112"/>
                  <a:pt x="848" y="112"/>
                </a:cubicBezTo>
                <a:cubicBezTo>
                  <a:pt x="847" y="111"/>
                  <a:pt x="847" y="111"/>
                  <a:pt x="847" y="111"/>
                </a:cubicBezTo>
                <a:cubicBezTo>
                  <a:pt x="849" y="111"/>
                  <a:pt x="849" y="111"/>
                  <a:pt x="849" y="111"/>
                </a:cubicBezTo>
                <a:cubicBezTo>
                  <a:pt x="850" y="112"/>
                  <a:pt x="850" y="112"/>
                  <a:pt x="850" y="112"/>
                </a:cubicBezTo>
                <a:cubicBezTo>
                  <a:pt x="851" y="112"/>
                  <a:pt x="851" y="112"/>
                  <a:pt x="851" y="112"/>
                </a:cubicBezTo>
                <a:cubicBezTo>
                  <a:pt x="850" y="110"/>
                  <a:pt x="850" y="110"/>
                  <a:pt x="850" y="110"/>
                </a:cubicBezTo>
                <a:cubicBezTo>
                  <a:pt x="851" y="110"/>
                  <a:pt x="851" y="110"/>
                  <a:pt x="851" y="110"/>
                </a:cubicBezTo>
                <a:cubicBezTo>
                  <a:pt x="851" y="109"/>
                  <a:pt x="851" y="109"/>
                  <a:pt x="851" y="109"/>
                </a:cubicBezTo>
                <a:cubicBezTo>
                  <a:pt x="849" y="108"/>
                  <a:pt x="849" y="108"/>
                  <a:pt x="849" y="108"/>
                </a:cubicBezTo>
                <a:cubicBezTo>
                  <a:pt x="847" y="106"/>
                  <a:pt x="847" y="106"/>
                  <a:pt x="847" y="106"/>
                </a:cubicBezTo>
                <a:cubicBezTo>
                  <a:pt x="845" y="107"/>
                  <a:pt x="845" y="107"/>
                  <a:pt x="845" y="107"/>
                </a:cubicBezTo>
                <a:cubicBezTo>
                  <a:pt x="841" y="105"/>
                  <a:pt x="841" y="105"/>
                  <a:pt x="841" y="105"/>
                </a:cubicBezTo>
                <a:cubicBezTo>
                  <a:pt x="840" y="104"/>
                  <a:pt x="840" y="104"/>
                  <a:pt x="840" y="104"/>
                </a:cubicBezTo>
                <a:cubicBezTo>
                  <a:pt x="840" y="103"/>
                  <a:pt x="840" y="103"/>
                  <a:pt x="840" y="103"/>
                </a:cubicBezTo>
                <a:cubicBezTo>
                  <a:pt x="837" y="101"/>
                  <a:pt x="837" y="101"/>
                  <a:pt x="837" y="101"/>
                </a:cubicBezTo>
                <a:cubicBezTo>
                  <a:pt x="834" y="101"/>
                  <a:pt x="834" y="101"/>
                  <a:pt x="834" y="101"/>
                </a:cubicBezTo>
                <a:cubicBezTo>
                  <a:pt x="833" y="102"/>
                  <a:pt x="833" y="102"/>
                  <a:pt x="833" y="102"/>
                </a:cubicBezTo>
                <a:cubicBezTo>
                  <a:pt x="831" y="102"/>
                  <a:pt x="831" y="102"/>
                  <a:pt x="831" y="102"/>
                </a:cubicBezTo>
                <a:cubicBezTo>
                  <a:pt x="831" y="100"/>
                  <a:pt x="831" y="100"/>
                  <a:pt x="831" y="100"/>
                </a:cubicBezTo>
                <a:cubicBezTo>
                  <a:pt x="828" y="100"/>
                  <a:pt x="828" y="100"/>
                  <a:pt x="828" y="100"/>
                </a:cubicBezTo>
                <a:cubicBezTo>
                  <a:pt x="829" y="101"/>
                  <a:pt x="829" y="101"/>
                  <a:pt x="829" y="101"/>
                </a:cubicBezTo>
                <a:cubicBezTo>
                  <a:pt x="831" y="102"/>
                  <a:pt x="831" y="102"/>
                  <a:pt x="831" y="102"/>
                </a:cubicBezTo>
                <a:cubicBezTo>
                  <a:pt x="830" y="104"/>
                  <a:pt x="830" y="104"/>
                  <a:pt x="830" y="104"/>
                </a:cubicBezTo>
                <a:cubicBezTo>
                  <a:pt x="828" y="104"/>
                  <a:pt x="828" y="104"/>
                  <a:pt x="828" y="104"/>
                </a:cubicBezTo>
                <a:cubicBezTo>
                  <a:pt x="828" y="104"/>
                  <a:pt x="828" y="104"/>
                  <a:pt x="828" y="104"/>
                </a:cubicBezTo>
                <a:cubicBezTo>
                  <a:pt x="829" y="105"/>
                  <a:pt x="829" y="105"/>
                  <a:pt x="829" y="105"/>
                </a:cubicBezTo>
                <a:cubicBezTo>
                  <a:pt x="827" y="106"/>
                  <a:pt x="827" y="106"/>
                  <a:pt x="827" y="106"/>
                </a:cubicBezTo>
                <a:cubicBezTo>
                  <a:pt x="827" y="108"/>
                  <a:pt x="827" y="108"/>
                  <a:pt x="827" y="108"/>
                </a:cubicBezTo>
                <a:cubicBezTo>
                  <a:pt x="828" y="109"/>
                  <a:pt x="828" y="109"/>
                  <a:pt x="828" y="109"/>
                </a:cubicBezTo>
                <a:cubicBezTo>
                  <a:pt x="827" y="109"/>
                  <a:pt x="827" y="109"/>
                  <a:pt x="827" y="109"/>
                </a:cubicBezTo>
                <a:cubicBezTo>
                  <a:pt x="826" y="111"/>
                  <a:pt x="826" y="111"/>
                  <a:pt x="826" y="111"/>
                </a:cubicBezTo>
                <a:cubicBezTo>
                  <a:pt x="825" y="113"/>
                  <a:pt x="825" y="113"/>
                  <a:pt x="825" y="113"/>
                </a:cubicBezTo>
                <a:cubicBezTo>
                  <a:pt x="825" y="116"/>
                  <a:pt x="825" y="116"/>
                  <a:pt x="825" y="116"/>
                </a:cubicBezTo>
                <a:cubicBezTo>
                  <a:pt x="826" y="116"/>
                  <a:pt x="826" y="116"/>
                  <a:pt x="826" y="116"/>
                </a:cubicBezTo>
                <a:cubicBezTo>
                  <a:pt x="827" y="117"/>
                  <a:pt x="827" y="117"/>
                  <a:pt x="827" y="117"/>
                </a:cubicBezTo>
                <a:cubicBezTo>
                  <a:pt x="828" y="118"/>
                  <a:pt x="828" y="118"/>
                  <a:pt x="828" y="118"/>
                </a:cubicBezTo>
                <a:cubicBezTo>
                  <a:pt x="829" y="119"/>
                  <a:pt x="829" y="119"/>
                  <a:pt x="829" y="119"/>
                </a:cubicBezTo>
                <a:cubicBezTo>
                  <a:pt x="828" y="120"/>
                  <a:pt x="828" y="120"/>
                  <a:pt x="828" y="120"/>
                </a:cubicBezTo>
                <a:cubicBezTo>
                  <a:pt x="827" y="120"/>
                  <a:pt x="827" y="120"/>
                  <a:pt x="827" y="120"/>
                </a:cubicBezTo>
                <a:cubicBezTo>
                  <a:pt x="826" y="121"/>
                  <a:pt x="826" y="121"/>
                  <a:pt x="826" y="121"/>
                </a:cubicBezTo>
                <a:cubicBezTo>
                  <a:pt x="825" y="120"/>
                  <a:pt x="825" y="120"/>
                  <a:pt x="825" y="120"/>
                </a:cubicBezTo>
                <a:cubicBezTo>
                  <a:pt x="823" y="120"/>
                  <a:pt x="823" y="120"/>
                  <a:pt x="823" y="120"/>
                </a:cubicBezTo>
                <a:cubicBezTo>
                  <a:pt x="822" y="121"/>
                  <a:pt x="822" y="121"/>
                  <a:pt x="822" y="121"/>
                </a:cubicBezTo>
                <a:cubicBezTo>
                  <a:pt x="824" y="123"/>
                  <a:pt x="824" y="123"/>
                  <a:pt x="824" y="123"/>
                </a:cubicBezTo>
                <a:cubicBezTo>
                  <a:pt x="825" y="123"/>
                  <a:pt x="825" y="123"/>
                  <a:pt x="825" y="123"/>
                </a:cubicBezTo>
                <a:cubicBezTo>
                  <a:pt x="825" y="124"/>
                  <a:pt x="825" y="124"/>
                  <a:pt x="825" y="124"/>
                </a:cubicBezTo>
                <a:cubicBezTo>
                  <a:pt x="823" y="124"/>
                  <a:pt x="823" y="124"/>
                  <a:pt x="823" y="124"/>
                </a:cubicBezTo>
                <a:cubicBezTo>
                  <a:pt x="822" y="124"/>
                  <a:pt x="822" y="124"/>
                  <a:pt x="822" y="124"/>
                </a:cubicBezTo>
                <a:cubicBezTo>
                  <a:pt x="820" y="125"/>
                  <a:pt x="820" y="125"/>
                  <a:pt x="820" y="125"/>
                </a:cubicBezTo>
                <a:cubicBezTo>
                  <a:pt x="819" y="123"/>
                  <a:pt x="819" y="123"/>
                  <a:pt x="819" y="123"/>
                </a:cubicBezTo>
                <a:cubicBezTo>
                  <a:pt x="817" y="124"/>
                  <a:pt x="817" y="124"/>
                  <a:pt x="817" y="124"/>
                </a:cubicBezTo>
                <a:cubicBezTo>
                  <a:pt x="815" y="128"/>
                  <a:pt x="815" y="128"/>
                  <a:pt x="815" y="128"/>
                </a:cubicBezTo>
                <a:cubicBezTo>
                  <a:pt x="814" y="132"/>
                  <a:pt x="814" y="132"/>
                  <a:pt x="814" y="132"/>
                </a:cubicBezTo>
                <a:cubicBezTo>
                  <a:pt x="811" y="136"/>
                  <a:pt x="811" y="136"/>
                  <a:pt x="811" y="136"/>
                </a:cubicBezTo>
                <a:cubicBezTo>
                  <a:pt x="808" y="139"/>
                  <a:pt x="808" y="139"/>
                  <a:pt x="808" y="139"/>
                </a:cubicBezTo>
                <a:cubicBezTo>
                  <a:pt x="806" y="140"/>
                  <a:pt x="806" y="140"/>
                  <a:pt x="806" y="140"/>
                </a:cubicBezTo>
                <a:cubicBezTo>
                  <a:pt x="806" y="140"/>
                  <a:pt x="806" y="140"/>
                  <a:pt x="806" y="140"/>
                </a:cubicBezTo>
                <a:cubicBezTo>
                  <a:pt x="804" y="143"/>
                  <a:pt x="804" y="143"/>
                  <a:pt x="804" y="143"/>
                </a:cubicBezTo>
                <a:cubicBezTo>
                  <a:pt x="802" y="144"/>
                  <a:pt x="802" y="144"/>
                  <a:pt x="802" y="144"/>
                </a:cubicBezTo>
                <a:cubicBezTo>
                  <a:pt x="802" y="147"/>
                  <a:pt x="802" y="147"/>
                  <a:pt x="802" y="147"/>
                </a:cubicBezTo>
                <a:cubicBezTo>
                  <a:pt x="800" y="149"/>
                  <a:pt x="800" y="149"/>
                  <a:pt x="800" y="149"/>
                </a:cubicBezTo>
                <a:cubicBezTo>
                  <a:pt x="800" y="151"/>
                  <a:pt x="800" y="151"/>
                  <a:pt x="800" y="151"/>
                </a:cubicBezTo>
                <a:cubicBezTo>
                  <a:pt x="799" y="151"/>
                  <a:pt x="799" y="151"/>
                  <a:pt x="799" y="151"/>
                </a:cubicBezTo>
                <a:cubicBezTo>
                  <a:pt x="798" y="149"/>
                  <a:pt x="798" y="149"/>
                  <a:pt x="798" y="149"/>
                </a:cubicBezTo>
                <a:cubicBezTo>
                  <a:pt x="797" y="149"/>
                  <a:pt x="797" y="149"/>
                  <a:pt x="797" y="149"/>
                </a:cubicBezTo>
                <a:cubicBezTo>
                  <a:pt x="795" y="150"/>
                  <a:pt x="795" y="150"/>
                  <a:pt x="795" y="150"/>
                </a:cubicBezTo>
                <a:cubicBezTo>
                  <a:pt x="796" y="151"/>
                  <a:pt x="796" y="151"/>
                  <a:pt x="796" y="151"/>
                </a:cubicBezTo>
                <a:cubicBezTo>
                  <a:pt x="796" y="153"/>
                  <a:pt x="796" y="153"/>
                  <a:pt x="796" y="153"/>
                </a:cubicBezTo>
                <a:cubicBezTo>
                  <a:pt x="795" y="153"/>
                  <a:pt x="795" y="153"/>
                  <a:pt x="795" y="153"/>
                </a:cubicBezTo>
                <a:cubicBezTo>
                  <a:pt x="793" y="152"/>
                  <a:pt x="793" y="152"/>
                  <a:pt x="793" y="152"/>
                </a:cubicBezTo>
                <a:cubicBezTo>
                  <a:pt x="794" y="150"/>
                  <a:pt x="794" y="150"/>
                  <a:pt x="794" y="150"/>
                </a:cubicBezTo>
                <a:cubicBezTo>
                  <a:pt x="792" y="147"/>
                  <a:pt x="792" y="147"/>
                  <a:pt x="792" y="147"/>
                </a:cubicBezTo>
                <a:cubicBezTo>
                  <a:pt x="791" y="140"/>
                  <a:pt x="791" y="140"/>
                  <a:pt x="791" y="140"/>
                </a:cubicBezTo>
                <a:cubicBezTo>
                  <a:pt x="791" y="137"/>
                  <a:pt x="791" y="137"/>
                  <a:pt x="791" y="137"/>
                </a:cubicBezTo>
                <a:cubicBezTo>
                  <a:pt x="790" y="135"/>
                  <a:pt x="790" y="135"/>
                  <a:pt x="790" y="135"/>
                </a:cubicBezTo>
                <a:cubicBezTo>
                  <a:pt x="791" y="133"/>
                  <a:pt x="791" y="133"/>
                  <a:pt x="791" y="133"/>
                </a:cubicBezTo>
                <a:cubicBezTo>
                  <a:pt x="792" y="131"/>
                  <a:pt x="792" y="131"/>
                  <a:pt x="792" y="131"/>
                </a:cubicBezTo>
                <a:cubicBezTo>
                  <a:pt x="792" y="129"/>
                  <a:pt x="792" y="129"/>
                  <a:pt x="792" y="129"/>
                </a:cubicBezTo>
                <a:cubicBezTo>
                  <a:pt x="793" y="127"/>
                  <a:pt x="793" y="127"/>
                  <a:pt x="793" y="127"/>
                </a:cubicBezTo>
                <a:cubicBezTo>
                  <a:pt x="794" y="126"/>
                  <a:pt x="794" y="126"/>
                  <a:pt x="794" y="126"/>
                </a:cubicBezTo>
                <a:cubicBezTo>
                  <a:pt x="795" y="127"/>
                  <a:pt x="795" y="127"/>
                  <a:pt x="795" y="127"/>
                </a:cubicBezTo>
                <a:cubicBezTo>
                  <a:pt x="797" y="127"/>
                  <a:pt x="797" y="127"/>
                  <a:pt x="797" y="127"/>
                </a:cubicBezTo>
                <a:cubicBezTo>
                  <a:pt x="798" y="124"/>
                  <a:pt x="798" y="124"/>
                  <a:pt x="798" y="124"/>
                </a:cubicBezTo>
                <a:cubicBezTo>
                  <a:pt x="797" y="120"/>
                  <a:pt x="797" y="120"/>
                  <a:pt x="797" y="120"/>
                </a:cubicBezTo>
                <a:cubicBezTo>
                  <a:pt x="798" y="119"/>
                  <a:pt x="798" y="119"/>
                  <a:pt x="798" y="119"/>
                </a:cubicBezTo>
                <a:cubicBezTo>
                  <a:pt x="798" y="116"/>
                  <a:pt x="798" y="116"/>
                  <a:pt x="798" y="116"/>
                </a:cubicBezTo>
                <a:cubicBezTo>
                  <a:pt x="796" y="114"/>
                  <a:pt x="796" y="114"/>
                  <a:pt x="796" y="114"/>
                </a:cubicBezTo>
                <a:cubicBezTo>
                  <a:pt x="796" y="111"/>
                  <a:pt x="796" y="111"/>
                  <a:pt x="796" y="111"/>
                </a:cubicBezTo>
                <a:cubicBezTo>
                  <a:pt x="794" y="108"/>
                  <a:pt x="794" y="108"/>
                  <a:pt x="794" y="108"/>
                </a:cubicBezTo>
                <a:cubicBezTo>
                  <a:pt x="794" y="106"/>
                  <a:pt x="794" y="106"/>
                  <a:pt x="794" y="106"/>
                </a:cubicBezTo>
                <a:cubicBezTo>
                  <a:pt x="793" y="105"/>
                  <a:pt x="793" y="105"/>
                  <a:pt x="793" y="105"/>
                </a:cubicBezTo>
                <a:cubicBezTo>
                  <a:pt x="792" y="105"/>
                  <a:pt x="792" y="105"/>
                  <a:pt x="792" y="105"/>
                </a:cubicBezTo>
                <a:cubicBezTo>
                  <a:pt x="791" y="107"/>
                  <a:pt x="791" y="107"/>
                  <a:pt x="791" y="107"/>
                </a:cubicBezTo>
                <a:cubicBezTo>
                  <a:pt x="789" y="111"/>
                  <a:pt x="789" y="111"/>
                  <a:pt x="789" y="111"/>
                </a:cubicBezTo>
                <a:cubicBezTo>
                  <a:pt x="786" y="113"/>
                  <a:pt x="786" y="113"/>
                  <a:pt x="786" y="113"/>
                </a:cubicBezTo>
                <a:cubicBezTo>
                  <a:pt x="786" y="115"/>
                  <a:pt x="786" y="115"/>
                  <a:pt x="786" y="115"/>
                </a:cubicBezTo>
                <a:cubicBezTo>
                  <a:pt x="786" y="119"/>
                  <a:pt x="786" y="119"/>
                  <a:pt x="786" y="119"/>
                </a:cubicBezTo>
                <a:cubicBezTo>
                  <a:pt x="785" y="120"/>
                  <a:pt x="785" y="120"/>
                  <a:pt x="785" y="120"/>
                </a:cubicBezTo>
                <a:cubicBezTo>
                  <a:pt x="784" y="119"/>
                  <a:pt x="784" y="119"/>
                  <a:pt x="784" y="119"/>
                </a:cubicBezTo>
                <a:cubicBezTo>
                  <a:pt x="783" y="120"/>
                  <a:pt x="783" y="120"/>
                  <a:pt x="783" y="120"/>
                </a:cubicBezTo>
                <a:cubicBezTo>
                  <a:pt x="783" y="121"/>
                  <a:pt x="783" y="121"/>
                  <a:pt x="783" y="121"/>
                </a:cubicBezTo>
                <a:cubicBezTo>
                  <a:pt x="783" y="121"/>
                  <a:pt x="783" y="121"/>
                  <a:pt x="783" y="121"/>
                </a:cubicBezTo>
                <a:cubicBezTo>
                  <a:pt x="780" y="123"/>
                  <a:pt x="780" y="123"/>
                  <a:pt x="780" y="123"/>
                </a:cubicBezTo>
                <a:cubicBezTo>
                  <a:pt x="779" y="124"/>
                  <a:pt x="779" y="124"/>
                  <a:pt x="779" y="124"/>
                </a:cubicBezTo>
                <a:cubicBezTo>
                  <a:pt x="778" y="126"/>
                  <a:pt x="778" y="126"/>
                  <a:pt x="778" y="126"/>
                </a:cubicBezTo>
                <a:cubicBezTo>
                  <a:pt x="777" y="126"/>
                  <a:pt x="777" y="126"/>
                  <a:pt x="777" y="126"/>
                </a:cubicBezTo>
                <a:cubicBezTo>
                  <a:pt x="776" y="125"/>
                  <a:pt x="776" y="125"/>
                  <a:pt x="776" y="125"/>
                </a:cubicBezTo>
                <a:cubicBezTo>
                  <a:pt x="778" y="124"/>
                  <a:pt x="778" y="124"/>
                  <a:pt x="778" y="124"/>
                </a:cubicBezTo>
                <a:cubicBezTo>
                  <a:pt x="777" y="122"/>
                  <a:pt x="777" y="122"/>
                  <a:pt x="777" y="122"/>
                </a:cubicBezTo>
                <a:cubicBezTo>
                  <a:pt x="777" y="121"/>
                  <a:pt x="777" y="121"/>
                  <a:pt x="777" y="121"/>
                </a:cubicBezTo>
                <a:cubicBezTo>
                  <a:pt x="779" y="118"/>
                  <a:pt x="779" y="118"/>
                  <a:pt x="779" y="118"/>
                </a:cubicBezTo>
                <a:cubicBezTo>
                  <a:pt x="779" y="116"/>
                  <a:pt x="779" y="116"/>
                  <a:pt x="779" y="116"/>
                </a:cubicBezTo>
                <a:cubicBezTo>
                  <a:pt x="779" y="114"/>
                  <a:pt x="779" y="114"/>
                  <a:pt x="779" y="114"/>
                </a:cubicBezTo>
                <a:cubicBezTo>
                  <a:pt x="781" y="114"/>
                  <a:pt x="781" y="114"/>
                  <a:pt x="781" y="114"/>
                </a:cubicBezTo>
                <a:cubicBezTo>
                  <a:pt x="781" y="112"/>
                  <a:pt x="781" y="112"/>
                  <a:pt x="781" y="112"/>
                </a:cubicBezTo>
                <a:cubicBezTo>
                  <a:pt x="781" y="111"/>
                  <a:pt x="781" y="111"/>
                  <a:pt x="781" y="111"/>
                </a:cubicBezTo>
                <a:cubicBezTo>
                  <a:pt x="781" y="109"/>
                  <a:pt x="781" y="109"/>
                  <a:pt x="781" y="109"/>
                </a:cubicBezTo>
                <a:cubicBezTo>
                  <a:pt x="779" y="106"/>
                  <a:pt x="779" y="106"/>
                  <a:pt x="779" y="106"/>
                </a:cubicBezTo>
                <a:cubicBezTo>
                  <a:pt x="779" y="104"/>
                  <a:pt x="779" y="104"/>
                  <a:pt x="779" y="104"/>
                </a:cubicBezTo>
                <a:cubicBezTo>
                  <a:pt x="778" y="102"/>
                  <a:pt x="778" y="102"/>
                  <a:pt x="778" y="102"/>
                </a:cubicBezTo>
                <a:cubicBezTo>
                  <a:pt x="778" y="101"/>
                  <a:pt x="778" y="101"/>
                  <a:pt x="778" y="101"/>
                </a:cubicBezTo>
                <a:cubicBezTo>
                  <a:pt x="779" y="102"/>
                  <a:pt x="779" y="102"/>
                  <a:pt x="779" y="102"/>
                </a:cubicBezTo>
                <a:cubicBezTo>
                  <a:pt x="780" y="102"/>
                  <a:pt x="780" y="102"/>
                  <a:pt x="780" y="102"/>
                </a:cubicBezTo>
                <a:cubicBezTo>
                  <a:pt x="780" y="104"/>
                  <a:pt x="780" y="104"/>
                  <a:pt x="780" y="104"/>
                </a:cubicBezTo>
                <a:cubicBezTo>
                  <a:pt x="781" y="104"/>
                  <a:pt x="781" y="104"/>
                  <a:pt x="781" y="104"/>
                </a:cubicBezTo>
                <a:cubicBezTo>
                  <a:pt x="783" y="101"/>
                  <a:pt x="783" y="101"/>
                  <a:pt x="783" y="101"/>
                </a:cubicBezTo>
                <a:cubicBezTo>
                  <a:pt x="785" y="101"/>
                  <a:pt x="785" y="101"/>
                  <a:pt x="785" y="101"/>
                </a:cubicBezTo>
                <a:cubicBezTo>
                  <a:pt x="786" y="100"/>
                  <a:pt x="786" y="100"/>
                  <a:pt x="786" y="100"/>
                </a:cubicBezTo>
                <a:cubicBezTo>
                  <a:pt x="785" y="99"/>
                  <a:pt x="785" y="99"/>
                  <a:pt x="785" y="99"/>
                </a:cubicBezTo>
                <a:cubicBezTo>
                  <a:pt x="783" y="100"/>
                  <a:pt x="783" y="100"/>
                  <a:pt x="783" y="100"/>
                </a:cubicBezTo>
                <a:cubicBezTo>
                  <a:pt x="782" y="99"/>
                  <a:pt x="782" y="99"/>
                  <a:pt x="782" y="99"/>
                </a:cubicBezTo>
                <a:cubicBezTo>
                  <a:pt x="780" y="98"/>
                  <a:pt x="780" y="98"/>
                  <a:pt x="780" y="98"/>
                </a:cubicBezTo>
                <a:cubicBezTo>
                  <a:pt x="780" y="98"/>
                  <a:pt x="780" y="98"/>
                  <a:pt x="780" y="98"/>
                </a:cubicBezTo>
                <a:cubicBezTo>
                  <a:pt x="781" y="97"/>
                  <a:pt x="781" y="97"/>
                  <a:pt x="781" y="97"/>
                </a:cubicBezTo>
                <a:cubicBezTo>
                  <a:pt x="780" y="96"/>
                  <a:pt x="780" y="96"/>
                  <a:pt x="780" y="96"/>
                </a:cubicBezTo>
                <a:cubicBezTo>
                  <a:pt x="779" y="96"/>
                  <a:pt x="779" y="96"/>
                  <a:pt x="779" y="96"/>
                </a:cubicBezTo>
                <a:cubicBezTo>
                  <a:pt x="778" y="98"/>
                  <a:pt x="778" y="98"/>
                  <a:pt x="778" y="98"/>
                </a:cubicBezTo>
                <a:cubicBezTo>
                  <a:pt x="776" y="99"/>
                  <a:pt x="776" y="99"/>
                  <a:pt x="776" y="99"/>
                </a:cubicBezTo>
                <a:cubicBezTo>
                  <a:pt x="774" y="97"/>
                  <a:pt x="774" y="97"/>
                  <a:pt x="774" y="97"/>
                </a:cubicBezTo>
                <a:cubicBezTo>
                  <a:pt x="774" y="95"/>
                  <a:pt x="774" y="95"/>
                  <a:pt x="774" y="95"/>
                </a:cubicBezTo>
                <a:cubicBezTo>
                  <a:pt x="772" y="95"/>
                  <a:pt x="772" y="95"/>
                  <a:pt x="772" y="95"/>
                </a:cubicBezTo>
                <a:cubicBezTo>
                  <a:pt x="770" y="95"/>
                  <a:pt x="770" y="95"/>
                  <a:pt x="770" y="95"/>
                </a:cubicBezTo>
                <a:cubicBezTo>
                  <a:pt x="769" y="94"/>
                  <a:pt x="769" y="94"/>
                  <a:pt x="769" y="94"/>
                </a:cubicBezTo>
                <a:cubicBezTo>
                  <a:pt x="770" y="92"/>
                  <a:pt x="770" y="92"/>
                  <a:pt x="770" y="92"/>
                </a:cubicBezTo>
                <a:cubicBezTo>
                  <a:pt x="771" y="92"/>
                  <a:pt x="771" y="92"/>
                  <a:pt x="771" y="92"/>
                </a:cubicBezTo>
                <a:cubicBezTo>
                  <a:pt x="771" y="90"/>
                  <a:pt x="771" y="90"/>
                  <a:pt x="771" y="90"/>
                </a:cubicBezTo>
                <a:cubicBezTo>
                  <a:pt x="773" y="90"/>
                  <a:pt x="773" y="90"/>
                  <a:pt x="773" y="90"/>
                </a:cubicBezTo>
                <a:cubicBezTo>
                  <a:pt x="778" y="86"/>
                  <a:pt x="778" y="86"/>
                  <a:pt x="778" y="86"/>
                </a:cubicBezTo>
                <a:cubicBezTo>
                  <a:pt x="779" y="85"/>
                  <a:pt x="779" y="85"/>
                  <a:pt x="779" y="85"/>
                </a:cubicBezTo>
                <a:cubicBezTo>
                  <a:pt x="777" y="84"/>
                  <a:pt x="777" y="84"/>
                  <a:pt x="777" y="84"/>
                </a:cubicBezTo>
                <a:cubicBezTo>
                  <a:pt x="775" y="85"/>
                  <a:pt x="775" y="85"/>
                  <a:pt x="775" y="85"/>
                </a:cubicBezTo>
                <a:cubicBezTo>
                  <a:pt x="775" y="84"/>
                  <a:pt x="775" y="84"/>
                  <a:pt x="775" y="84"/>
                </a:cubicBezTo>
                <a:cubicBezTo>
                  <a:pt x="776" y="83"/>
                  <a:pt x="776" y="83"/>
                  <a:pt x="776" y="83"/>
                </a:cubicBezTo>
                <a:cubicBezTo>
                  <a:pt x="777" y="81"/>
                  <a:pt x="777" y="81"/>
                  <a:pt x="777" y="81"/>
                </a:cubicBezTo>
                <a:cubicBezTo>
                  <a:pt x="780" y="80"/>
                  <a:pt x="780" y="80"/>
                  <a:pt x="780" y="80"/>
                </a:cubicBezTo>
                <a:cubicBezTo>
                  <a:pt x="779" y="82"/>
                  <a:pt x="779" y="82"/>
                  <a:pt x="779" y="82"/>
                </a:cubicBezTo>
                <a:cubicBezTo>
                  <a:pt x="780" y="84"/>
                  <a:pt x="780" y="84"/>
                  <a:pt x="780" y="84"/>
                </a:cubicBezTo>
                <a:cubicBezTo>
                  <a:pt x="782" y="84"/>
                  <a:pt x="782" y="84"/>
                  <a:pt x="782" y="84"/>
                </a:cubicBezTo>
                <a:cubicBezTo>
                  <a:pt x="783" y="84"/>
                  <a:pt x="783" y="84"/>
                  <a:pt x="783" y="84"/>
                </a:cubicBezTo>
                <a:cubicBezTo>
                  <a:pt x="785" y="83"/>
                  <a:pt x="785" y="83"/>
                  <a:pt x="785" y="83"/>
                </a:cubicBezTo>
                <a:cubicBezTo>
                  <a:pt x="785" y="81"/>
                  <a:pt x="785" y="81"/>
                  <a:pt x="785" y="81"/>
                </a:cubicBezTo>
                <a:cubicBezTo>
                  <a:pt x="783" y="80"/>
                  <a:pt x="783" y="80"/>
                  <a:pt x="783" y="80"/>
                </a:cubicBezTo>
                <a:cubicBezTo>
                  <a:pt x="782" y="79"/>
                  <a:pt x="782" y="79"/>
                  <a:pt x="782" y="79"/>
                </a:cubicBezTo>
                <a:cubicBezTo>
                  <a:pt x="782" y="78"/>
                  <a:pt x="782" y="78"/>
                  <a:pt x="782" y="78"/>
                </a:cubicBezTo>
                <a:cubicBezTo>
                  <a:pt x="783" y="76"/>
                  <a:pt x="783" y="76"/>
                  <a:pt x="783" y="76"/>
                </a:cubicBezTo>
                <a:cubicBezTo>
                  <a:pt x="782" y="74"/>
                  <a:pt x="782" y="74"/>
                  <a:pt x="782" y="74"/>
                </a:cubicBezTo>
                <a:cubicBezTo>
                  <a:pt x="783" y="74"/>
                  <a:pt x="783" y="74"/>
                  <a:pt x="783" y="74"/>
                </a:cubicBezTo>
                <a:cubicBezTo>
                  <a:pt x="783" y="72"/>
                  <a:pt x="783" y="72"/>
                  <a:pt x="783" y="72"/>
                </a:cubicBezTo>
                <a:cubicBezTo>
                  <a:pt x="781" y="70"/>
                  <a:pt x="781" y="70"/>
                  <a:pt x="781" y="70"/>
                </a:cubicBezTo>
                <a:cubicBezTo>
                  <a:pt x="781" y="68"/>
                  <a:pt x="781" y="68"/>
                  <a:pt x="781" y="68"/>
                </a:cubicBezTo>
                <a:cubicBezTo>
                  <a:pt x="780" y="66"/>
                  <a:pt x="780" y="66"/>
                  <a:pt x="780" y="66"/>
                </a:cubicBezTo>
                <a:cubicBezTo>
                  <a:pt x="781" y="65"/>
                  <a:pt x="781" y="65"/>
                  <a:pt x="781" y="65"/>
                </a:cubicBezTo>
                <a:cubicBezTo>
                  <a:pt x="782" y="63"/>
                  <a:pt x="782" y="63"/>
                  <a:pt x="782" y="63"/>
                </a:cubicBezTo>
                <a:cubicBezTo>
                  <a:pt x="783" y="60"/>
                  <a:pt x="783" y="60"/>
                  <a:pt x="783" y="60"/>
                </a:cubicBezTo>
                <a:cubicBezTo>
                  <a:pt x="783" y="59"/>
                  <a:pt x="783" y="59"/>
                  <a:pt x="783" y="59"/>
                </a:cubicBezTo>
                <a:cubicBezTo>
                  <a:pt x="785" y="57"/>
                  <a:pt x="785" y="57"/>
                  <a:pt x="785" y="57"/>
                </a:cubicBezTo>
                <a:cubicBezTo>
                  <a:pt x="785" y="56"/>
                  <a:pt x="785" y="56"/>
                  <a:pt x="785" y="56"/>
                </a:cubicBezTo>
                <a:cubicBezTo>
                  <a:pt x="783" y="55"/>
                  <a:pt x="783" y="55"/>
                  <a:pt x="783" y="55"/>
                </a:cubicBezTo>
                <a:cubicBezTo>
                  <a:pt x="784" y="51"/>
                  <a:pt x="784" y="51"/>
                  <a:pt x="784" y="51"/>
                </a:cubicBezTo>
                <a:cubicBezTo>
                  <a:pt x="783" y="50"/>
                  <a:pt x="783" y="50"/>
                  <a:pt x="783" y="50"/>
                </a:cubicBezTo>
                <a:cubicBezTo>
                  <a:pt x="781" y="48"/>
                  <a:pt x="781" y="48"/>
                  <a:pt x="781" y="48"/>
                </a:cubicBezTo>
                <a:cubicBezTo>
                  <a:pt x="782" y="47"/>
                  <a:pt x="782" y="47"/>
                  <a:pt x="782" y="47"/>
                </a:cubicBezTo>
                <a:cubicBezTo>
                  <a:pt x="781" y="45"/>
                  <a:pt x="781" y="45"/>
                  <a:pt x="781" y="45"/>
                </a:cubicBezTo>
                <a:cubicBezTo>
                  <a:pt x="782" y="44"/>
                  <a:pt x="782" y="44"/>
                  <a:pt x="782" y="44"/>
                </a:cubicBezTo>
                <a:cubicBezTo>
                  <a:pt x="783" y="42"/>
                  <a:pt x="783" y="42"/>
                  <a:pt x="783" y="42"/>
                </a:cubicBezTo>
                <a:cubicBezTo>
                  <a:pt x="782" y="41"/>
                  <a:pt x="782" y="41"/>
                  <a:pt x="782" y="41"/>
                </a:cubicBezTo>
                <a:cubicBezTo>
                  <a:pt x="780" y="40"/>
                  <a:pt x="780" y="40"/>
                  <a:pt x="780" y="40"/>
                </a:cubicBezTo>
                <a:cubicBezTo>
                  <a:pt x="779" y="39"/>
                  <a:pt x="779" y="39"/>
                  <a:pt x="779" y="39"/>
                </a:cubicBezTo>
                <a:cubicBezTo>
                  <a:pt x="779" y="38"/>
                  <a:pt x="779" y="38"/>
                  <a:pt x="779" y="38"/>
                </a:cubicBezTo>
                <a:cubicBezTo>
                  <a:pt x="779" y="37"/>
                  <a:pt x="779" y="37"/>
                  <a:pt x="779" y="37"/>
                </a:cubicBezTo>
                <a:cubicBezTo>
                  <a:pt x="776" y="36"/>
                  <a:pt x="776" y="36"/>
                  <a:pt x="776" y="36"/>
                </a:cubicBezTo>
                <a:cubicBezTo>
                  <a:pt x="773" y="35"/>
                  <a:pt x="773" y="35"/>
                  <a:pt x="773" y="35"/>
                </a:cubicBezTo>
                <a:cubicBezTo>
                  <a:pt x="772" y="36"/>
                  <a:pt x="772" y="36"/>
                  <a:pt x="772" y="36"/>
                </a:cubicBezTo>
                <a:cubicBezTo>
                  <a:pt x="772" y="37"/>
                  <a:pt x="772" y="37"/>
                  <a:pt x="772" y="37"/>
                </a:cubicBezTo>
                <a:cubicBezTo>
                  <a:pt x="769" y="39"/>
                  <a:pt x="769" y="39"/>
                  <a:pt x="769" y="39"/>
                </a:cubicBezTo>
                <a:cubicBezTo>
                  <a:pt x="768" y="40"/>
                  <a:pt x="768" y="40"/>
                  <a:pt x="768" y="40"/>
                </a:cubicBezTo>
                <a:cubicBezTo>
                  <a:pt x="766" y="40"/>
                  <a:pt x="766" y="40"/>
                  <a:pt x="766" y="40"/>
                </a:cubicBezTo>
                <a:cubicBezTo>
                  <a:pt x="764" y="42"/>
                  <a:pt x="764" y="42"/>
                  <a:pt x="764" y="42"/>
                </a:cubicBezTo>
                <a:cubicBezTo>
                  <a:pt x="765" y="44"/>
                  <a:pt x="765" y="44"/>
                  <a:pt x="765" y="44"/>
                </a:cubicBezTo>
                <a:cubicBezTo>
                  <a:pt x="767" y="45"/>
                  <a:pt x="767" y="45"/>
                  <a:pt x="767" y="45"/>
                </a:cubicBezTo>
                <a:cubicBezTo>
                  <a:pt x="769" y="45"/>
                  <a:pt x="769" y="45"/>
                  <a:pt x="769" y="45"/>
                </a:cubicBezTo>
                <a:cubicBezTo>
                  <a:pt x="769" y="46"/>
                  <a:pt x="769" y="46"/>
                  <a:pt x="769" y="46"/>
                </a:cubicBezTo>
                <a:cubicBezTo>
                  <a:pt x="766" y="49"/>
                  <a:pt x="766" y="49"/>
                  <a:pt x="766" y="49"/>
                </a:cubicBezTo>
                <a:cubicBezTo>
                  <a:pt x="766" y="50"/>
                  <a:pt x="766" y="50"/>
                  <a:pt x="766" y="50"/>
                </a:cubicBezTo>
                <a:cubicBezTo>
                  <a:pt x="764" y="52"/>
                  <a:pt x="764" y="52"/>
                  <a:pt x="764" y="52"/>
                </a:cubicBezTo>
                <a:cubicBezTo>
                  <a:pt x="764" y="50"/>
                  <a:pt x="764" y="50"/>
                  <a:pt x="764" y="50"/>
                </a:cubicBezTo>
                <a:cubicBezTo>
                  <a:pt x="763" y="49"/>
                  <a:pt x="763" y="49"/>
                  <a:pt x="763" y="49"/>
                </a:cubicBezTo>
                <a:cubicBezTo>
                  <a:pt x="764" y="47"/>
                  <a:pt x="764" y="47"/>
                  <a:pt x="764" y="47"/>
                </a:cubicBezTo>
                <a:cubicBezTo>
                  <a:pt x="763" y="46"/>
                  <a:pt x="763" y="46"/>
                  <a:pt x="763" y="46"/>
                </a:cubicBezTo>
                <a:cubicBezTo>
                  <a:pt x="760" y="47"/>
                  <a:pt x="760" y="47"/>
                  <a:pt x="760" y="47"/>
                </a:cubicBezTo>
                <a:cubicBezTo>
                  <a:pt x="759" y="49"/>
                  <a:pt x="759" y="49"/>
                  <a:pt x="759" y="49"/>
                </a:cubicBezTo>
                <a:cubicBezTo>
                  <a:pt x="757" y="49"/>
                  <a:pt x="757" y="49"/>
                  <a:pt x="757" y="49"/>
                </a:cubicBezTo>
                <a:cubicBezTo>
                  <a:pt x="756" y="52"/>
                  <a:pt x="756" y="52"/>
                  <a:pt x="756" y="52"/>
                </a:cubicBezTo>
                <a:cubicBezTo>
                  <a:pt x="755" y="52"/>
                  <a:pt x="755" y="52"/>
                  <a:pt x="755" y="52"/>
                </a:cubicBezTo>
                <a:cubicBezTo>
                  <a:pt x="753" y="56"/>
                  <a:pt x="753" y="56"/>
                  <a:pt x="753" y="56"/>
                </a:cubicBezTo>
                <a:cubicBezTo>
                  <a:pt x="751" y="59"/>
                  <a:pt x="751" y="59"/>
                  <a:pt x="751" y="59"/>
                </a:cubicBezTo>
                <a:cubicBezTo>
                  <a:pt x="750" y="61"/>
                  <a:pt x="750" y="61"/>
                  <a:pt x="750" y="61"/>
                </a:cubicBezTo>
                <a:cubicBezTo>
                  <a:pt x="751" y="63"/>
                  <a:pt x="751" y="63"/>
                  <a:pt x="751" y="63"/>
                </a:cubicBezTo>
                <a:cubicBezTo>
                  <a:pt x="751" y="64"/>
                  <a:pt x="751" y="64"/>
                  <a:pt x="751" y="64"/>
                </a:cubicBezTo>
                <a:cubicBezTo>
                  <a:pt x="752" y="65"/>
                  <a:pt x="752" y="65"/>
                  <a:pt x="752" y="65"/>
                </a:cubicBezTo>
                <a:cubicBezTo>
                  <a:pt x="754" y="63"/>
                  <a:pt x="754" y="63"/>
                  <a:pt x="754" y="63"/>
                </a:cubicBezTo>
                <a:cubicBezTo>
                  <a:pt x="755" y="63"/>
                  <a:pt x="755" y="63"/>
                  <a:pt x="755" y="63"/>
                </a:cubicBezTo>
                <a:cubicBezTo>
                  <a:pt x="755" y="65"/>
                  <a:pt x="755" y="65"/>
                  <a:pt x="755" y="65"/>
                </a:cubicBezTo>
                <a:cubicBezTo>
                  <a:pt x="753" y="66"/>
                  <a:pt x="753" y="66"/>
                  <a:pt x="753" y="66"/>
                </a:cubicBezTo>
                <a:cubicBezTo>
                  <a:pt x="753" y="67"/>
                  <a:pt x="753" y="67"/>
                  <a:pt x="753" y="67"/>
                </a:cubicBezTo>
                <a:cubicBezTo>
                  <a:pt x="751" y="67"/>
                  <a:pt x="751" y="67"/>
                  <a:pt x="751" y="67"/>
                </a:cubicBezTo>
                <a:cubicBezTo>
                  <a:pt x="749" y="67"/>
                  <a:pt x="749" y="67"/>
                  <a:pt x="749" y="67"/>
                </a:cubicBezTo>
                <a:cubicBezTo>
                  <a:pt x="746" y="70"/>
                  <a:pt x="746" y="70"/>
                  <a:pt x="746" y="70"/>
                </a:cubicBezTo>
                <a:cubicBezTo>
                  <a:pt x="744" y="72"/>
                  <a:pt x="744" y="72"/>
                  <a:pt x="744" y="72"/>
                </a:cubicBezTo>
                <a:cubicBezTo>
                  <a:pt x="744" y="77"/>
                  <a:pt x="744" y="77"/>
                  <a:pt x="744" y="77"/>
                </a:cubicBezTo>
                <a:cubicBezTo>
                  <a:pt x="745" y="79"/>
                  <a:pt x="745" y="79"/>
                  <a:pt x="745" y="79"/>
                </a:cubicBezTo>
                <a:cubicBezTo>
                  <a:pt x="745" y="80"/>
                  <a:pt x="745" y="80"/>
                  <a:pt x="745" y="80"/>
                </a:cubicBezTo>
                <a:cubicBezTo>
                  <a:pt x="744" y="82"/>
                  <a:pt x="744" y="82"/>
                  <a:pt x="744" y="82"/>
                </a:cubicBezTo>
                <a:cubicBezTo>
                  <a:pt x="745" y="83"/>
                  <a:pt x="745" y="83"/>
                  <a:pt x="745" y="83"/>
                </a:cubicBezTo>
                <a:cubicBezTo>
                  <a:pt x="745" y="85"/>
                  <a:pt x="745" y="85"/>
                  <a:pt x="745" y="85"/>
                </a:cubicBezTo>
                <a:cubicBezTo>
                  <a:pt x="747" y="84"/>
                  <a:pt x="747" y="84"/>
                  <a:pt x="747" y="84"/>
                </a:cubicBezTo>
                <a:cubicBezTo>
                  <a:pt x="748" y="85"/>
                  <a:pt x="748" y="85"/>
                  <a:pt x="748" y="85"/>
                </a:cubicBezTo>
                <a:cubicBezTo>
                  <a:pt x="748" y="87"/>
                  <a:pt x="748" y="87"/>
                  <a:pt x="748" y="87"/>
                </a:cubicBezTo>
                <a:cubicBezTo>
                  <a:pt x="750" y="88"/>
                  <a:pt x="750" y="88"/>
                  <a:pt x="750" y="88"/>
                </a:cubicBezTo>
                <a:cubicBezTo>
                  <a:pt x="751" y="90"/>
                  <a:pt x="751" y="90"/>
                  <a:pt x="751" y="90"/>
                </a:cubicBezTo>
                <a:cubicBezTo>
                  <a:pt x="752" y="90"/>
                  <a:pt x="752" y="90"/>
                  <a:pt x="752" y="90"/>
                </a:cubicBezTo>
                <a:cubicBezTo>
                  <a:pt x="753" y="88"/>
                  <a:pt x="753" y="88"/>
                  <a:pt x="753" y="88"/>
                </a:cubicBezTo>
                <a:cubicBezTo>
                  <a:pt x="753" y="90"/>
                  <a:pt x="753" y="90"/>
                  <a:pt x="753" y="90"/>
                </a:cubicBezTo>
                <a:cubicBezTo>
                  <a:pt x="754" y="93"/>
                  <a:pt x="754" y="93"/>
                  <a:pt x="754" y="93"/>
                </a:cubicBezTo>
                <a:cubicBezTo>
                  <a:pt x="757" y="94"/>
                  <a:pt x="757" y="94"/>
                  <a:pt x="757" y="94"/>
                </a:cubicBezTo>
                <a:cubicBezTo>
                  <a:pt x="758" y="95"/>
                  <a:pt x="758" y="95"/>
                  <a:pt x="758" y="95"/>
                </a:cubicBezTo>
                <a:cubicBezTo>
                  <a:pt x="760" y="95"/>
                  <a:pt x="760" y="95"/>
                  <a:pt x="760" y="95"/>
                </a:cubicBezTo>
                <a:cubicBezTo>
                  <a:pt x="762" y="95"/>
                  <a:pt x="762" y="95"/>
                  <a:pt x="762" y="95"/>
                </a:cubicBezTo>
                <a:cubicBezTo>
                  <a:pt x="762" y="97"/>
                  <a:pt x="762" y="97"/>
                  <a:pt x="762" y="97"/>
                </a:cubicBezTo>
                <a:cubicBezTo>
                  <a:pt x="760" y="100"/>
                  <a:pt x="760" y="100"/>
                  <a:pt x="760" y="100"/>
                </a:cubicBezTo>
                <a:cubicBezTo>
                  <a:pt x="758" y="101"/>
                  <a:pt x="758" y="101"/>
                  <a:pt x="758" y="101"/>
                </a:cubicBezTo>
                <a:cubicBezTo>
                  <a:pt x="757" y="101"/>
                  <a:pt x="757" y="101"/>
                  <a:pt x="757" y="101"/>
                </a:cubicBezTo>
                <a:cubicBezTo>
                  <a:pt x="758" y="99"/>
                  <a:pt x="758" y="99"/>
                  <a:pt x="758" y="99"/>
                </a:cubicBezTo>
                <a:cubicBezTo>
                  <a:pt x="759" y="98"/>
                  <a:pt x="759" y="98"/>
                  <a:pt x="759" y="98"/>
                </a:cubicBezTo>
                <a:cubicBezTo>
                  <a:pt x="757" y="97"/>
                  <a:pt x="757" y="97"/>
                  <a:pt x="757" y="97"/>
                </a:cubicBezTo>
                <a:cubicBezTo>
                  <a:pt x="755" y="98"/>
                  <a:pt x="755" y="98"/>
                  <a:pt x="755" y="98"/>
                </a:cubicBezTo>
                <a:cubicBezTo>
                  <a:pt x="753" y="100"/>
                  <a:pt x="753" y="100"/>
                  <a:pt x="753" y="100"/>
                </a:cubicBezTo>
                <a:cubicBezTo>
                  <a:pt x="754" y="101"/>
                  <a:pt x="754" y="101"/>
                  <a:pt x="754" y="101"/>
                </a:cubicBezTo>
                <a:cubicBezTo>
                  <a:pt x="754" y="102"/>
                  <a:pt x="754" y="102"/>
                  <a:pt x="754" y="102"/>
                </a:cubicBezTo>
                <a:cubicBezTo>
                  <a:pt x="751" y="103"/>
                  <a:pt x="751" y="103"/>
                  <a:pt x="751" y="103"/>
                </a:cubicBezTo>
                <a:cubicBezTo>
                  <a:pt x="750" y="105"/>
                  <a:pt x="750" y="105"/>
                  <a:pt x="750" y="105"/>
                </a:cubicBezTo>
                <a:cubicBezTo>
                  <a:pt x="749" y="105"/>
                  <a:pt x="749" y="105"/>
                  <a:pt x="749" y="105"/>
                </a:cubicBezTo>
                <a:cubicBezTo>
                  <a:pt x="748" y="107"/>
                  <a:pt x="748" y="107"/>
                  <a:pt x="748" y="107"/>
                </a:cubicBezTo>
                <a:cubicBezTo>
                  <a:pt x="748" y="108"/>
                  <a:pt x="748" y="108"/>
                  <a:pt x="748" y="108"/>
                </a:cubicBezTo>
                <a:cubicBezTo>
                  <a:pt x="749" y="108"/>
                  <a:pt x="749" y="108"/>
                  <a:pt x="749" y="108"/>
                </a:cubicBezTo>
                <a:cubicBezTo>
                  <a:pt x="750" y="109"/>
                  <a:pt x="750" y="109"/>
                  <a:pt x="750" y="109"/>
                </a:cubicBezTo>
                <a:cubicBezTo>
                  <a:pt x="752" y="109"/>
                  <a:pt x="752" y="109"/>
                  <a:pt x="752" y="109"/>
                </a:cubicBezTo>
                <a:cubicBezTo>
                  <a:pt x="753" y="107"/>
                  <a:pt x="753" y="107"/>
                  <a:pt x="753" y="107"/>
                </a:cubicBezTo>
                <a:cubicBezTo>
                  <a:pt x="753" y="106"/>
                  <a:pt x="753" y="106"/>
                  <a:pt x="753" y="106"/>
                </a:cubicBezTo>
                <a:cubicBezTo>
                  <a:pt x="755" y="106"/>
                  <a:pt x="755" y="106"/>
                  <a:pt x="755" y="106"/>
                </a:cubicBezTo>
                <a:cubicBezTo>
                  <a:pt x="756" y="105"/>
                  <a:pt x="756" y="105"/>
                  <a:pt x="756" y="105"/>
                </a:cubicBezTo>
                <a:cubicBezTo>
                  <a:pt x="756" y="106"/>
                  <a:pt x="756" y="106"/>
                  <a:pt x="756" y="106"/>
                </a:cubicBezTo>
                <a:cubicBezTo>
                  <a:pt x="756" y="108"/>
                  <a:pt x="756" y="108"/>
                  <a:pt x="756" y="108"/>
                </a:cubicBezTo>
                <a:cubicBezTo>
                  <a:pt x="755" y="110"/>
                  <a:pt x="755" y="110"/>
                  <a:pt x="755" y="110"/>
                </a:cubicBezTo>
                <a:cubicBezTo>
                  <a:pt x="754" y="113"/>
                  <a:pt x="754" y="113"/>
                  <a:pt x="754" y="113"/>
                </a:cubicBezTo>
                <a:cubicBezTo>
                  <a:pt x="754" y="114"/>
                  <a:pt x="754" y="114"/>
                  <a:pt x="754" y="114"/>
                </a:cubicBezTo>
                <a:cubicBezTo>
                  <a:pt x="753" y="116"/>
                  <a:pt x="753" y="116"/>
                  <a:pt x="753" y="116"/>
                </a:cubicBezTo>
                <a:cubicBezTo>
                  <a:pt x="750" y="116"/>
                  <a:pt x="750" y="116"/>
                  <a:pt x="750" y="116"/>
                </a:cubicBezTo>
                <a:cubicBezTo>
                  <a:pt x="748" y="118"/>
                  <a:pt x="748" y="118"/>
                  <a:pt x="748" y="118"/>
                </a:cubicBezTo>
                <a:cubicBezTo>
                  <a:pt x="747" y="118"/>
                  <a:pt x="747" y="118"/>
                  <a:pt x="747" y="118"/>
                </a:cubicBezTo>
                <a:cubicBezTo>
                  <a:pt x="747" y="119"/>
                  <a:pt x="747" y="119"/>
                  <a:pt x="747" y="119"/>
                </a:cubicBezTo>
                <a:cubicBezTo>
                  <a:pt x="746" y="121"/>
                  <a:pt x="746" y="121"/>
                  <a:pt x="746" y="121"/>
                </a:cubicBezTo>
                <a:cubicBezTo>
                  <a:pt x="742" y="123"/>
                  <a:pt x="742" y="123"/>
                  <a:pt x="742" y="123"/>
                </a:cubicBezTo>
                <a:cubicBezTo>
                  <a:pt x="740" y="125"/>
                  <a:pt x="740" y="125"/>
                  <a:pt x="740" y="125"/>
                </a:cubicBezTo>
                <a:cubicBezTo>
                  <a:pt x="739" y="125"/>
                  <a:pt x="739" y="125"/>
                  <a:pt x="739" y="125"/>
                </a:cubicBezTo>
                <a:cubicBezTo>
                  <a:pt x="738" y="124"/>
                  <a:pt x="738" y="124"/>
                  <a:pt x="738" y="124"/>
                </a:cubicBezTo>
                <a:cubicBezTo>
                  <a:pt x="737" y="124"/>
                  <a:pt x="737" y="124"/>
                  <a:pt x="737" y="124"/>
                </a:cubicBezTo>
                <a:cubicBezTo>
                  <a:pt x="737" y="123"/>
                  <a:pt x="737" y="123"/>
                  <a:pt x="737" y="123"/>
                </a:cubicBezTo>
                <a:cubicBezTo>
                  <a:pt x="736" y="124"/>
                  <a:pt x="736" y="124"/>
                  <a:pt x="736" y="124"/>
                </a:cubicBezTo>
                <a:cubicBezTo>
                  <a:pt x="734" y="125"/>
                  <a:pt x="734" y="125"/>
                  <a:pt x="734" y="125"/>
                </a:cubicBezTo>
                <a:cubicBezTo>
                  <a:pt x="735" y="124"/>
                  <a:pt x="735" y="124"/>
                  <a:pt x="735" y="124"/>
                </a:cubicBezTo>
                <a:cubicBezTo>
                  <a:pt x="734" y="123"/>
                  <a:pt x="734" y="123"/>
                  <a:pt x="734" y="123"/>
                </a:cubicBezTo>
                <a:cubicBezTo>
                  <a:pt x="732" y="125"/>
                  <a:pt x="732" y="125"/>
                  <a:pt x="732" y="125"/>
                </a:cubicBezTo>
                <a:cubicBezTo>
                  <a:pt x="732" y="127"/>
                  <a:pt x="732" y="127"/>
                  <a:pt x="732" y="127"/>
                </a:cubicBezTo>
                <a:cubicBezTo>
                  <a:pt x="730" y="130"/>
                  <a:pt x="730" y="130"/>
                  <a:pt x="730" y="130"/>
                </a:cubicBezTo>
                <a:cubicBezTo>
                  <a:pt x="729" y="131"/>
                  <a:pt x="729" y="131"/>
                  <a:pt x="729" y="131"/>
                </a:cubicBezTo>
                <a:cubicBezTo>
                  <a:pt x="730" y="132"/>
                  <a:pt x="730" y="132"/>
                  <a:pt x="730" y="132"/>
                </a:cubicBezTo>
                <a:cubicBezTo>
                  <a:pt x="730" y="133"/>
                  <a:pt x="730" y="133"/>
                  <a:pt x="730" y="133"/>
                </a:cubicBezTo>
                <a:cubicBezTo>
                  <a:pt x="729" y="136"/>
                  <a:pt x="729" y="136"/>
                  <a:pt x="729" y="136"/>
                </a:cubicBezTo>
                <a:cubicBezTo>
                  <a:pt x="729" y="138"/>
                  <a:pt x="729" y="138"/>
                  <a:pt x="729" y="138"/>
                </a:cubicBezTo>
                <a:cubicBezTo>
                  <a:pt x="730" y="139"/>
                  <a:pt x="730" y="139"/>
                  <a:pt x="730" y="139"/>
                </a:cubicBezTo>
                <a:cubicBezTo>
                  <a:pt x="729" y="140"/>
                  <a:pt x="729" y="140"/>
                  <a:pt x="729" y="140"/>
                </a:cubicBezTo>
                <a:cubicBezTo>
                  <a:pt x="728" y="142"/>
                  <a:pt x="728" y="142"/>
                  <a:pt x="728" y="142"/>
                </a:cubicBezTo>
                <a:cubicBezTo>
                  <a:pt x="728" y="142"/>
                  <a:pt x="728" y="142"/>
                  <a:pt x="728" y="142"/>
                </a:cubicBezTo>
                <a:cubicBezTo>
                  <a:pt x="730" y="142"/>
                  <a:pt x="730" y="142"/>
                  <a:pt x="730" y="142"/>
                </a:cubicBezTo>
                <a:cubicBezTo>
                  <a:pt x="731" y="140"/>
                  <a:pt x="731" y="140"/>
                  <a:pt x="731" y="140"/>
                </a:cubicBezTo>
                <a:cubicBezTo>
                  <a:pt x="733" y="141"/>
                  <a:pt x="733" y="141"/>
                  <a:pt x="733" y="141"/>
                </a:cubicBezTo>
                <a:cubicBezTo>
                  <a:pt x="734" y="139"/>
                  <a:pt x="734" y="139"/>
                  <a:pt x="734" y="139"/>
                </a:cubicBezTo>
                <a:cubicBezTo>
                  <a:pt x="733" y="141"/>
                  <a:pt x="733" y="141"/>
                  <a:pt x="733" y="141"/>
                </a:cubicBezTo>
                <a:cubicBezTo>
                  <a:pt x="731" y="141"/>
                  <a:pt x="731" y="141"/>
                  <a:pt x="731" y="141"/>
                </a:cubicBezTo>
                <a:cubicBezTo>
                  <a:pt x="729" y="143"/>
                  <a:pt x="729" y="143"/>
                  <a:pt x="729" y="143"/>
                </a:cubicBezTo>
                <a:cubicBezTo>
                  <a:pt x="726" y="144"/>
                  <a:pt x="726" y="144"/>
                  <a:pt x="726" y="144"/>
                </a:cubicBezTo>
                <a:cubicBezTo>
                  <a:pt x="726" y="146"/>
                  <a:pt x="726" y="146"/>
                  <a:pt x="726" y="146"/>
                </a:cubicBezTo>
                <a:cubicBezTo>
                  <a:pt x="725" y="147"/>
                  <a:pt x="725" y="147"/>
                  <a:pt x="725" y="147"/>
                </a:cubicBezTo>
                <a:cubicBezTo>
                  <a:pt x="723" y="146"/>
                  <a:pt x="723" y="146"/>
                  <a:pt x="723" y="146"/>
                </a:cubicBezTo>
                <a:cubicBezTo>
                  <a:pt x="721" y="146"/>
                  <a:pt x="721" y="146"/>
                  <a:pt x="721" y="146"/>
                </a:cubicBezTo>
                <a:cubicBezTo>
                  <a:pt x="720" y="145"/>
                  <a:pt x="720" y="145"/>
                  <a:pt x="720" y="145"/>
                </a:cubicBezTo>
                <a:cubicBezTo>
                  <a:pt x="719" y="146"/>
                  <a:pt x="719" y="146"/>
                  <a:pt x="719" y="146"/>
                </a:cubicBezTo>
                <a:cubicBezTo>
                  <a:pt x="719" y="149"/>
                  <a:pt x="719" y="149"/>
                  <a:pt x="719" y="149"/>
                </a:cubicBezTo>
                <a:cubicBezTo>
                  <a:pt x="717" y="153"/>
                  <a:pt x="717" y="153"/>
                  <a:pt x="717" y="153"/>
                </a:cubicBezTo>
                <a:cubicBezTo>
                  <a:pt x="718" y="149"/>
                  <a:pt x="718" y="149"/>
                  <a:pt x="718" y="149"/>
                </a:cubicBezTo>
                <a:cubicBezTo>
                  <a:pt x="717" y="146"/>
                  <a:pt x="717" y="146"/>
                  <a:pt x="717" y="146"/>
                </a:cubicBezTo>
                <a:cubicBezTo>
                  <a:pt x="716" y="144"/>
                  <a:pt x="716" y="144"/>
                  <a:pt x="716" y="144"/>
                </a:cubicBezTo>
                <a:cubicBezTo>
                  <a:pt x="717" y="141"/>
                  <a:pt x="717" y="141"/>
                  <a:pt x="717" y="141"/>
                </a:cubicBezTo>
                <a:cubicBezTo>
                  <a:pt x="717" y="141"/>
                  <a:pt x="717" y="141"/>
                  <a:pt x="717" y="141"/>
                </a:cubicBezTo>
                <a:cubicBezTo>
                  <a:pt x="718" y="144"/>
                  <a:pt x="718" y="144"/>
                  <a:pt x="718" y="144"/>
                </a:cubicBezTo>
                <a:cubicBezTo>
                  <a:pt x="721" y="143"/>
                  <a:pt x="721" y="143"/>
                  <a:pt x="721" y="143"/>
                </a:cubicBezTo>
                <a:cubicBezTo>
                  <a:pt x="722" y="145"/>
                  <a:pt x="722" y="145"/>
                  <a:pt x="722" y="145"/>
                </a:cubicBezTo>
                <a:cubicBezTo>
                  <a:pt x="724" y="146"/>
                  <a:pt x="724" y="146"/>
                  <a:pt x="724" y="146"/>
                </a:cubicBezTo>
                <a:cubicBezTo>
                  <a:pt x="725" y="144"/>
                  <a:pt x="725" y="144"/>
                  <a:pt x="725" y="144"/>
                </a:cubicBezTo>
                <a:cubicBezTo>
                  <a:pt x="725" y="143"/>
                  <a:pt x="725" y="143"/>
                  <a:pt x="725" y="143"/>
                </a:cubicBezTo>
                <a:cubicBezTo>
                  <a:pt x="726" y="140"/>
                  <a:pt x="726" y="140"/>
                  <a:pt x="726" y="140"/>
                </a:cubicBezTo>
                <a:cubicBezTo>
                  <a:pt x="725" y="141"/>
                  <a:pt x="725" y="141"/>
                  <a:pt x="725" y="141"/>
                </a:cubicBezTo>
                <a:cubicBezTo>
                  <a:pt x="723" y="141"/>
                  <a:pt x="723" y="141"/>
                  <a:pt x="723" y="141"/>
                </a:cubicBezTo>
                <a:cubicBezTo>
                  <a:pt x="725" y="139"/>
                  <a:pt x="725" y="139"/>
                  <a:pt x="725" y="139"/>
                </a:cubicBezTo>
                <a:cubicBezTo>
                  <a:pt x="726" y="137"/>
                  <a:pt x="726" y="137"/>
                  <a:pt x="726" y="137"/>
                </a:cubicBezTo>
                <a:cubicBezTo>
                  <a:pt x="725" y="137"/>
                  <a:pt x="725" y="137"/>
                  <a:pt x="725" y="137"/>
                </a:cubicBezTo>
                <a:cubicBezTo>
                  <a:pt x="723" y="139"/>
                  <a:pt x="723" y="139"/>
                  <a:pt x="723" y="139"/>
                </a:cubicBezTo>
                <a:cubicBezTo>
                  <a:pt x="721" y="139"/>
                  <a:pt x="721" y="139"/>
                  <a:pt x="721" y="139"/>
                </a:cubicBezTo>
                <a:cubicBezTo>
                  <a:pt x="721" y="138"/>
                  <a:pt x="721" y="138"/>
                  <a:pt x="721" y="138"/>
                </a:cubicBezTo>
                <a:cubicBezTo>
                  <a:pt x="723" y="137"/>
                  <a:pt x="723" y="137"/>
                  <a:pt x="723" y="137"/>
                </a:cubicBezTo>
                <a:cubicBezTo>
                  <a:pt x="723" y="135"/>
                  <a:pt x="723" y="135"/>
                  <a:pt x="723" y="135"/>
                </a:cubicBezTo>
                <a:cubicBezTo>
                  <a:pt x="722" y="135"/>
                  <a:pt x="722" y="135"/>
                  <a:pt x="722" y="135"/>
                </a:cubicBezTo>
                <a:cubicBezTo>
                  <a:pt x="720" y="136"/>
                  <a:pt x="720" y="136"/>
                  <a:pt x="720" y="136"/>
                </a:cubicBezTo>
                <a:cubicBezTo>
                  <a:pt x="720" y="135"/>
                  <a:pt x="720" y="135"/>
                  <a:pt x="720" y="135"/>
                </a:cubicBezTo>
                <a:cubicBezTo>
                  <a:pt x="721" y="131"/>
                  <a:pt x="721" y="131"/>
                  <a:pt x="721" y="131"/>
                </a:cubicBezTo>
                <a:cubicBezTo>
                  <a:pt x="722" y="129"/>
                  <a:pt x="722" y="129"/>
                  <a:pt x="722" y="129"/>
                </a:cubicBezTo>
                <a:cubicBezTo>
                  <a:pt x="722" y="131"/>
                  <a:pt x="722" y="131"/>
                  <a:pt x="722" y="131"/>
                </a:cubicBezTo>
                <a:cubicBezTo>
                  <a:pt x="723" y="130"/>
                  <a:pt x="723" y="130"/>
                  <a:pt x="723" y="130"/>
                </a:cubicBezTo>
                <a:cubicBezTo>
                  <a:pt x="723" y="129"/>
                  <a:pt x="723" y="129"/>
                  <a:pt x="723" y="129"/>
                </a:cubicBezTo>
                <a:cubicBezTo>
                  <a:pt x="726" y="126"/>
                  <a:pt x="726" y="126"/>
                  <a:pt x="726" y="126"/>
                </a:cubicBezTo>
                <a:cubicBezTo>
                  <a:pt x="726" y="125"/>
                  <a:pt x="726" y="125"/>
                  <a:pt x="726" y="125"/>
                </a:cubicBezTo>
                <a:cubicBezTo>
                  <a:pt x="729" y="123"/>
                  <a:pt x="729" y="123"/>
                  <a:pt x="729" y="123"/>
                </a:cubicBezTo>
                <a:cubicBezTo>
                  <a:pt x="730" y="121"/>
                  <a:pt x="730" y="121"/>
                  <a:pt x="730" y="121"/>
                </a:cubicBezTo>
                <a:cubicBezTo>
                  <a:pt x="731" y="119"/>
                  <a:pt x="731" y="119"/>
                  <a:pt x="731" y="119"/>
                </a:cubicBezTo>
                <a:cubicBezTo>
                  <a:pt x="732" y="119"/>
                  <a:pt x="732" y="119"/>
                  <a:pt x="732" y="119"/>
                </a:cubicBezTo>
                <a:cubicBezTo>
                  <a:pt x="732" y="118"/>
                  <a:pt x="732" y="118"/>
                  <a:pt x="732" y="118"/>
                </a:cubicBezTo>
                <a:cubicBezTo>
                  <a:pt x="730" y="118"/>
                  <a:pt x="730" y="118"/>
                  <a:pt x="730" y="118"/>
                </a:cubicBezTo>
                <a:cubicBezTo>
                  <a:pt x="728" y="119"/>
                  <a:pt x="728" y="119"/>
                  <a:pt x="728" y="119"/>
                </a:cubicBezTo>
                <a:cubicBezTo>
                  <a:pt x="727" y="121"/>
                  <a:pt x="727" y="121"/>
                  <a:pt x="727" y="121"/>
                </a:cubicBezTo>
                <a:cubicBezTo>
                  <a:pt x="724" y="122"/>
                  <a:pt x="724" y="122"/>
                  <a:pt x="724" y="122"/>
                </a:cubicBezTo>
                <a:cubicBezTo>
                  <a:pt x="723" y="122"/>
                  <a:pt x="723" y="122"/>
                  <a:pt x="723" y="122"/>
                </a:cubicBezTo>
                <a:cubicBezTo>
                  <a:pt x="723" y="121"/>
                  <a:pt x="723" y="121"/>
                  <a:pt x="723" y="121"/>
                </a:cubicBezTo>
                <a:cubicBezTo>
                  <a:pt x="726" y="120"/>
                  <a:pt x="726" y="120"/>
                  <a:pt x="726" y="120"/>
                </a:cubicBezTo>
                <a:cubicBezTo>
                  <a:pt x="726" y="118"/>
                  <a:pt x="726" y="118"/>
                  <a:pt x="726" y="118"/>
                </a:cubicBezTo>
                <a:cubicBezTo>
                  <a:pt x="725" y="118"/>
                  <a:pt x="725" y="118"/>
                  <a:pt x="725" y="118"/>
                </a:cubicBezTo>
                <a:cubicBezTo>
                  <a:pt x="723" y="118"/>
                  <a:pt x="723" y="118"/>
                  <a:pt x="723" y="118"/>
                </a:cubicBezTo>
                <a:cubicBezTo>
                  <a:pt x="722" y="117"/>
                  <a:pt x="722" y="117"/>
                  <a:pt x="722" y="117"/>
                </a:cubicBezTo>
                <a:cubicBezTo>
                  <a:pt x="723" y="115"/>
                  <a:pt x="723" y="115"/>
                  <a:pt x="723" y="115"/>
                </a:cubicBezTo>
                <a:cubicBezTo>
                  <a:pt x="723" y="113"/>
                  <a:pt x="723" y="113"/>
                  <a:pt x="723" y="113"/>
                </a:cubicBezTo>
                <a:cubicBezTo>
                  <a:pt x="721" y="112"/>
                  <a:pt x="721" y="112"/>
                  <a:pt x="721" y="112"/>
                </a:cubicBezTo>
                <a:cubicBezTo>
                  <a:pt x="720" y="112"/>
                  <a:pt x="720" y="112"/>
                  <a:pt x="720" y="112"/>
                </a:cubicBezTo>
                <a:cubicBezTo>
                  <a:pt x="720" y="113"/>
                  <a:pt x="720" y="113"/>
                  <a:pt x="720" y="113"/>
                </a:cubicBezTo>
                <a:cubicBezTo>
                  <a:pt x="720" y="112"/>
                  <a:pt x="720" y="112"/>
                  <a:pt x="720" y="112"/>
                </a:cubicBezTo>
                <a:cubicBezTo>
                  <a:pt x="721" y="111"/>
                  <a:pt x="721" y="111"/>
                  <a:pt x="721" y="111"/>
                </a:cubicBezTo>
                <a:cubicBezTo>
                  <a:pt x="720" y="109"/>
                  <a:pt x="720" y="109"/>
                  <a:pt x="720" y="109"/>
                </a:cubicBezTo>
                <a:cubicBezTo>
                  <a:pt x="718" y="109"/>
                  <a:pt x="718" y="109"/>
                  <a:pt x="718" y="109"/>
                </a:cubicBezTo>
                <a:cubicBezTo>
                  <a:pt x="717" y="111"/>
                  <a:pt x="717" y="111"/>
                  <a:pt x="717" y="111"/>
                </a:cubicBezTo>
                <a:cubicBezTo>
                  <a:pt x="715" y="113"/>
                  <a:pt x="715" y="113"/>
                  <a:pt x="715" y="113"/>
                </a:cubicBezTo>
                <a:cubicBezTo>
                  <a:pt x="715" y="113"/>
                  <a:pt x="715" y="113"/>
                  <a:pt x="715" y="113"/>
                </a:cubicBezTo>
                <a:cubicBezTo>
                  <a:pt x="714" y="113"/>
                  <a:pt x="714" y="113"/>
                  <a:pt x="714" y="113"/>
                </a:cubicBezTo>
                <a:cubicBezTo>
                  <a:pt x="714" y="112"/>
                  <a:pt x="714" y="112"/>
                  <a:pt x="714" y="112"/>
                </a:cubicBezTo>
                <a:cubicBezTo>
                  <a:pt x="713" y="110"/>
                  <a:pt x="713" y="110"/>
                  <a:pt x="713" y="110"/>
                </a:cubicBezTo>
                <a:cubicBezTo>
                  <a:pt x="711" y="110"/>
                  <a:pt x="711" y="110"/>
                  <a:pt x="711" y="110"/>
                </a:cubicBezTo>
                <a:cubicBezTo>
                  <a:pt x="711" y="111"/>
                  <a:pt x="711" y="111"/>
                  <a:pt x="711" y="111"/>
                </a:cubicBezTo>
                <a:cubicBezTo>
                  <a:pt x="712" y="112"/>
                  <a:pt x="712" y="112"/>
                  <a:pt x="712" y="112"/>
                </a:cubicBezTo>
                <a:cubicBezTo>
                  <a:pt x="711" y="113"/>
                  <a:pt x="711" y="113"/>
                  <a:pt x="711" y="113"/>
                </a:cubicBezTo>
                <a:cubicBezTo>
                  <a:pt x="712" y="115"/>
                  <a:pt x="712" y="115"/>
                  <a:pt x="712" y="115"/>
                </a:cubicBezTo>
                <a:cubicBezTo>
                  <a:pt x="712" y="116"/>
                  <a:pt x="712" y="116"/>
                  <a:pt x="712" y="116"/>
                </a:cubicBezTo>
                <a:cubicBezTo>
                  <a:pt x="711" y="117"/>
                  <a:pt x="711" y="117"/>
                  <a:pt x="711" y="117"/>
                </a:cubicBezTo>
                <a:cubicBezTo>
                  <a:pt x="710" y="116"/>
                  <a:pt x="710" y="116"/>
                  <a:pt x="710" y="116"/>
                </a:cubicBezTo>
                <a:cubicBezTo>
                  <a:pt x="710" y="115"/>
                  <a:pt x="710" y="115"/>
                  <a:pt x="710" y="115"/>
                </a:cubicBezTo>
                <a:cubicBezTo>
                  <a:pt x="709" y="115"/>
                  <a:pt x="709" y="115"/>
                  <a:pt x="709" y="115"/>
                </a:cubicBezTo>
                <a:cubicBezTo>
                  <a:pt x="708" y="116"/>
                  <a:pt x="708" y="116"/>
                  <a:pt x="708" y="116"/>
                </a:cubicBezTo>
                <a:cubicBezTo>
                  <a:pt x="709" y="120"/>
                  <a:pt x="709" y="120"/>
                  <a:pt x="709" y="120"/>
                </a:cubicBezTo>
                <a:cubicBezTo>
                  <a:pt x="710" y="123"/>
                  <a:pt x="710" y="123"/>
                  <a:pt x="710" y="123"/>
                </a:cubicBezTo>
                <a:cubicBezTo>
                  <a:pt x="713" y="124"/>
                  <a:pt x="713" y="124"/>
                  <a:pt x="713" y="124"/>
                </a:cubicBezTo>
                <a:cubicBezTo>
                  <a:pt x="714" y="126"/>
                  <a:pt x="714" y="126"/>
                  <a:pt x="714" y="126"/>
                </a:cubicBezTo>
                <a:cubicBezTo>
                  <a:pt x="714" y="130"/>
                  <a:pt x="714" y="130"/>
                  <a:pt x="714" y="130"/>
                </a:cubicBezTo>
                <a:cubicBezTo>
                  <a:pt x="713" y="128"/>
                  <a:pt x="713" y="128"/>
                  <a:pt x="713" y="128"/>
                </a:cubicBezTo>
                <a:cubicBezTo>
                  <a:pt x="712" y="127"/>
                  <a:pt x="712" y="127"/>
                  <a:pt x="712" y="127"/>
                </a:cubicBezTo>
                <a:cubicBezTo>
                  <a:pt x="709" y="123"/>
                  <a:pt x="709" y="123"/>
                  <a:pt x="709" y="123"/>
                </a:cubicBezTo>
                <a:cubicBezTo>
                  <a:pt x="708" y="121"/>
                  <a:pt x="708" y="121"/>
                  <a:pt x="708" y="121"/>
                </a:cubicBezTo>
                <a:cubicBezTo>
                  <a:pt x="707" y="117"/>
                  <a:pt x="707" y="117"/>
                  <a:pt x="707" y="117"/>
                </a:cubicBezTo>
                <a:cubicBezTo>
                  <a:pt x="706" y="117"/>
                  <a:pt x="706" y="117"/>
                  <a:pt x="706" y="117"/>
                </a:cubicBezTo>
                <a:cubicBezTo>
                  <a:pt x="705" y="118"/>
                  <a:pt x="705" y="118"/>
                  <a:pt x="705" y="118"/>
                </a:cubicBezTo>
                <a:cubicBezTo>
                  <a:pt x="706" y="121"/>
                  <a:pt x="706" y="121"/>
                  <a:pt x="706" y="121"/>
                </a:cubicBezTo>
                <a:cubicBezTo>
                  <a:pt x="708" y="123"/>
                  <a:pt x="708" y="123"/>
                  <a:pt x="708" y="123"/>
                </a:cubicBezTo>
                <a:cubicBezTo>
                  <a:pt x="708" y="125"/>
                  <a:pt x="708" y="125"/>
                  <a:pt x="708" y="125"/>
                </a:cubicBezTo>
                <a:cubicBezTo>
                  <a:pt x="707" y="125"/>
                  <a:pt x="707" y="125"/>
                  <a:pt x="707" y="125"/>
                </a:cubicBezTo>
                <a:cubicBezTo>
                  <a:pt x="706" y="124"/>
                  <a:pt x="706" y="124"/>
                  <a:pt x="706" y="124"/>
                </a:cubicBezTo>
                <a:cubicBezTo>
                  <a:pt x="702" y="124"/>
                  <a:pt x="702" y="124"/>
                  <a:pt x="702" y="124"/>
                </a:cubicBezTo>
                <a:cubicBezTo>
                  <a:pt x="701" y="125"/>
                  <a:pt x="701" y="125"/>
                  <a:pt x="701" y="125"/>
                </a:cubicBezTo>
                <a:cubicBezTo>
                  <a:pt x="700" y="124"/>
                  <a:pt x="700" y="124"/>
                  <a:pt x="700" y="124"/>
                </a:cubicBezTo>
                <a:cubicBezTo>
                  <a:pt x="698" y="123"/>
                  <a:pt x="698" y="123"/>
                  <a:pt x="698" y="123"/>
                </a:cubicBezTo>
                <a:cubicBezTo>
                  <a:pt x="695" y="121"/>
                  <a:pt x="695" y="121"/>
                  <a:pt x="695" y="121"/>
                </a:cubicBezTo>
                <a:cubicBezTo>
                  <a:pt x="691" y="121"/>
                  <a:pt x="691" y="121"/>
                  <a:pt x="691" y="121"/>
                </a:cubicBezTo>
                <a:cubicBezTo>
                  <a:pt x="690" y="120"/>
                  <a:pt x="690" y="120"/>
                  <a:pt x="690" y="120"/>
                </a:cubicBezTo>
                <a:cubicBezTo>
                  <a:pt x="690" y="120"/>
                  <a:pt x="690" y="120"/>
                  <a:pt x="690" y="120"/>
                </a:cubicBezTo>
                <a:cubicBezTo>
                  <a:pt x="687" y="121"/>
                  <a:pt x="687" y="121"/>
                  <a:pt x="687" y="121"/>
                </a:cubicBezTo>
                <a:cubicBezTo>
                  <a:pt x="686" y="123"/>
                  <a:pt x="686" y="123"/>
                  <a:pt x="686" y="123"/>
                </a:cubicBezTo>
                <a:cubicBezTo>
                  <a:pt x="682" y="123"/>
                  <a:pt x="682" y="123"/>
                  <a:pt x="682" y="123"/>
                </a:cubicBezTo>
                <a:cubicBezTo>
                  <a:pt x="680" y="124"/>
                  <a:pt x="680" y="124"/>
                  <a:pt x="680" y="124"/>
                </a:cubicBezTo>
                <a:cubicBezTo>
                  <a:pt x="678" y="122"/>
                  <a:pt x="678" y="122"/>
                  <a:pt x="678" y="122"/>
                </a:cubicBezTo>
                <a:cubicBezTo>
                  <a:pt x="678" y="122"/>
                  <a:pt x="678" y="122"/>
                  <a:pt x="678" y="122"/>
                </a:cubicBezTo>
                <a:cubicBezTo>
                  <a:pt x="677" y="120"/>
                  <a:pt x="677" y="120"/>
                  <a:pt x="677" y="120"/>
                </a:cubicBezTo>
                <a:cubicBezTo>
                  <a:pt x="677" y="119"/>
                  <a:pt x="677" y="119"/>
                  <a:pt x="677" y="119"/>
                </a:cubicBezTo>
                <a:cubicBezTo>
                  <a:pt x="674" y="121"/>
                  <a:pt x="674" y="121"/>
                  <a:pt x="674" y="121"/>
                </a:cubicBezTo>
                <a:cubicBezTo>
                  <a:pt x="674" y="120"/>
                  <a:pt x="674" y="120"/>
                  <a:pt x="674" y="120"/>
                </a:cubicBezTo>
                <a:cubicBezTo>
                  <a:pt x="672" y="117"/>
                  <a:pt x="672" y="117"/>
                  <a:pt x="672" y="117"/>
                </a:cubicBezTo>
                <a:cubicBezTo>
                  <a:pt x="671" y="116"/>
                  <a:pt x="671" y="116"/>
                  <a:pt x="671" y="116"/>
                </a:cubicBezTo>
                <a:cubicBezTo>
                  <a:pt x="670" y="115"/>
                  <a:pt x="670" y="115"/>
                  <a:pt x="670" y="115"/>
                </a:cubicBezTo>
                <a:cubicBezTo>
                  <a:pt x="670" y="114"/>
                  <a:pt x="670" y="114"/>
                  <a:pt x="670" y="114"/>
                </a:cubicBezTo>
                <a:cubicBezTo>
                  <a:pt x="671" y="113"/>
                  <a:pt x="671" y="113"/>
                  <a:pt x="671" y="113"/>
                </a:cubicBezTo>
                <a:cubicBezTo>
                  <a:pt x="670" y="112"/>
                  <a:pt x="670" y="112"/>
                  <a:pt x="670" y="112"/>
                </a:cubicBezTo>
                <a:cubicBezTo>
                  <a:pt x="669" y="112"/>
                  <a:pt x="669" y="112"/>
                  <a:pt x="669" y="112"/>
                </a:cubicBezTo>
                <a:cubicBezTo>
                  <a:pt x="668" y="112"/>
                  <a:pt x="668" y="112"/>
                  <a:pt x="668" y="112"/>
                </a:cubicBezTo>
                <a:cubicBezTo>
                  <a:pt x="669" y="110"/>
                  <a:pt x="669" y="110"/>
                  <a:pt x="669" y="110"/>
                </a:cubicBezTo>
                <a:cubicBezTo>
                  <a:pt x="668" y="110"/>
                  <a:pt x="668" y="110"/>
                  <a:pt x="668" y="110"/>
                </a:cubicBezTo>
                <a:cubicBezTo>
                  <a:pt x="666" y="111"/>
                  <a:pt x="666" y="111"/>
                  <a:pt x="666" y="111"/>
                </a:cubicBezTo>
                <a:cubicBezTo>
                  <a:pt x="664" y="111"/>
                  <a:pt x="664" y="111"/>
                  <a:pt x="664" y="111"/>
                </a:cubicBezTo>
                <a:cubicBezTo>
                  <a:pt x="663" y="109"/>
                  <a:pt x="663" y="109"/>
                  <a:pt x="663" y="109"/>
                </a:cubicBezTo>
                <a:cubicBezTo>
                  <a:pt x="662" y="109"/>
                  <a:pt x="662" y="109"/>
                  <a:pt x="662" y="109"/>
                </a:cubicBezTo>
                <a:cubicBezTo>
                  <a:pt x="661" y="109"/>
                  <a:pt x="661" y="109"/>
                  <a:pt x="661" y="109"/>
                </a:cubicBezTo>
                <a:cubicBezTo>
                  <a:pt x="660" y="108"/>
                  <a:pt x="660" y="108"/>
                  <a:pt x="660" y="108"/>
                </a:cubicBezTo>
                <a:cubicBezTo>
                  <a:pt x="658" y="108"/>
                  <a:pt x="658" y="108"/>
                  <a:pt x="658" y="108"/>
                </a:cubicBezTo>
                <a:cubicBezTo>
                  <a:pt x="658" y="107"/>
                  <a:pt x="658" y="107"/>
                  <a:pt x="658" y="107"/>
                </a:cubicBezTo>
                <a:cubicBezTo>
                  <a:pt x="659" y="105"/>
                  <a:pt x="659" y="105"/>
                  <a:pt x="659" y="105"/>
                </a:cubicBezTo>
                <a:cubicBezTo>
                  <a:pt x="660" y="104"/>
                  <a:pt x="660" y="104"/>
                  <a:pt x="660" y="104"/>
                </a:cubicBezTo>
                <a:cubicBezTo>
                  <a:pt x="660" y="103"/>
                  <a:pt x="660" y="103"/>
                  <a:pt x="660" y="103"/>
                </a:cubicBezTo>
                <a:cubicBezTo>
                  <a:pt x="659" y="102"/>
                  <a:pt x="659" y="102"/>
                  <a:pt x="659" y="102"/>
                </a:cubicBezTo>
                <a:cubicBezTo>
                  <a:pt x="657" y="102"/>
                  <a:pt x="657" y="102"/>
                  <a:pt x="657" y="102"/>
                </a:cubicBezTo>
                <a:cubicBezTo>
                  <a:pt x="657" y="98"/>
                  <a:pt x="657" y="98"/>
                  <a:pt x="657" y="98"/>
                </a:cubicBezTo>
                <a:cubicBezTo>
                  <a:pt x="656" y="98"/>
                  <a:pt x="656" y="98"/>
                  <a:pt x="656" y="98"/>
                </a:cubicBezTo>
                <a:cubicBezTo>
                  <a:pt x="656" y="97"/>
                  <a:pt x="656" y="97"/>
                  <a:pt x="656" y="97"/>
                </a:cubicBezTo>
                <a:cubicBezTo>
                  <a:pt x="658" y="96"/>
                  <a:pt x="658" y="96"/>
                  <a:pt x="658" y="96"/>
                </a:cubicBezTo>
                <a:cubicBezTo>
                  <a:pt x="658" y="95"/>
                  <a:pt x="658" y="95"/>
                  <a:pt x="658" y="95"/>
                </a:cubicBezTo>
                <a:cubicBezTo>
                  <a:pt x="657" y="95"/>
                  <a:pt x="657" y="95"/>
                  <a:pt x="657" y="95"/>
                </a:cubicBezTo>
                <a:cubicBezTo>
                  <a:pt x="657" y="93"/>
                  <a:pt x="657" y="93"/>
                  <a:pt x="657" y="93"/>
                </a:cubicBezTo>
                <a:cubicBezTo>
                  <a:pt x="658" y="89"/>
                  <a:pt x="658" y="89"/>
                  <a:pt x="658" y="89"/>
                </a:cubicBezTo>
                <a:cubicBezTo>
                  <a:pt x="657" y="88"/>
                  <a:pt x="657" y="88"/>
                  <a:pt x="657" y="88"/>
                </a:cubicBezTo>
                <a:cubicBezTo>
                  <a:pt x="656" y="88"/>
                  <a:pt x="656" y="88"/>
                  <a:pt x="656" y="88"/>
                </a:cubicBezTo>
                <a:cubicBezTo>
                  <a:pt x="655" y="86"/>
                  <a:pt x="655" y="86"/>
                  <a:pt x="655" y="86"/>
                </a:cubicBezTo>
                <a:cubicBezTo>
                  <a:pt x="654" y="85"/>
                  <a:pt x="654" y="85"/>
                  <a:pt x="654" y="85"/>
                </a:cubicBezTo>
                <a:cubicBezTo>
                  <a:pt x="651" y="86"/>
                  <a:pt x="651" y="86"/>
                  <a:pt x="651" y="86"/>
                </a:cubicBezTo>
                <a:cubicBezTo>
                  <a:pt x="650" y="86"/>
                  <a:pt x="650" y="86"/>
                  <a:pt x="650" y="86"/>
                </a:cubicBezTo>
                <a:cubicBezTo>
                  <a:pt x="645" y="87"/>
                  <a:pt x="645" y="87"/>
                  <a:pt x="645" y="87"/>
                </a:cubicBezTo>
                <a:cubicBezTo>
                  <a:pt x="638" y="88"/>
                  <a:pt x="638" y="88"/>
                  <a:pt x="638" y="88"/>
                </a:cubicBezTo>
                <a:cubicBezTo>
                  <a:pt x="635" y="87"/>
                  <a:pt x="635" y="87"/>
                  <a:pt x="635" y="87"/>
                </a:cubicBezTo>
                <a:cubicBezTo>
                  <a:pt x="634" y="87"/>
                  <a:pt x="634" y="87"/>
                  <a:pt x="634" y="87"/>
                </a:cubicBezTo>
                <a:cubicBezTo>
                  <a:pt x="631" y="91"/>
                  <a:pt x="631" y="91"/>
                  <a:pt x="631" y="91"/>
                </a:cubicBezTo>
                <a:cubicBezTo>
                  <a:pt x="629" y="92"/>
                  <a:pt x="629" y="92"/>
                  <a:pt x="629" y="92"/>
                </a:cubicBezTo>
                <a:cubicBezTo>
                  <a:pt x="628" y="93"/>
                  <a:pt x="628" y="93"/>
                  <a:pt x="628" y="93"/>
                </a:cubicBezTo>
                <a:cubicBezTo>
                  <a:pt x="630" y="94"/>
                  <a:pt x="630" y="94"/>
                  <a:pt x="630" y="94"/>
                </a:cubicBezTo>
                <a:cubicBezTo>
                  <a:pt x="631" y="93"/>
                  <a:pt x="631" y="93"/>
                  <a:pt x="631" y="93"/>
                </a:cubicBezTo>
                <a:cubicBezTo>
                  <a:pt x="632" y="93"/>
                  <a:pt x="632" y="93"/>
                  <a:pt x="632" y="93"/>
                </a:cubicBezTo>
                <a:cubicBezTo>
                  <a:pt x="631" y="95"/>
                  <a:pt x="631" y="95"/>
                  <a:pt x="631" y="95"/>
                </a:cubicBezTo>
                <a:cubicBezTo>
                  <a:pt x="630" y="96"/>
                  <a:pt x="630" y="96"/>
                  <a:pt x="630" y="96"/>
                </a:cubicBezTo>
                <a:cubicBezTo>
                  <a:pt x="630" y="97"/>
                  <a:pt x="630" y="97"/>
                  <a:pt x="630" y="97"/>
                </a:cubicBezTo>
                <a:cubicBezTo>
                  <a:pt x="633" y="98"/>
                  <a:pt x="633" y="98"/>
                  <a:pt x="633" y="98"/>
                </a:cubicBezTo>
                <a:cubicBezTo>
                  <a:pt x="634" y="99"/>
                  <a:pt x="634" y="99"/>
                  <a:pt x="634" y="99"/>
                </a:cubicBezTo>
                <a:cubicBezTo>
                  <a:pt x="636" y="98"/>
                  <a:pt x="636" y="98"/>
                  <a:pt x="636" y="98"/>
                </a:cubicBezTo>
                <a:cubicBezTo>
                  <a:pt x="636" y="97"/>
                  <a:pt x="636" y="97"/>
                  <a:pt x="636" y="97"/>
                </a:cubicBezTo>
                <a:cubicBezTo>
                  <a:pt x="634" y="95"/>
                  <a:pt x="634" y="95"/>
                  <a:pt x="634" y="95"/>
                </a:cubicBezTo>
                <a:cubicBezTo>
                  <a:pt x="635" y="94"/>
                  <a:pt x="635" y="94"/>
                  <a:pt x="635" y="94"/>
                </a:cubicBezTo>
                <a:cubicBezTo>
                  <a:pt x="636" y="94"/>
                  <a:pt x="636" y="94"/>
                  <a:pt x="636" y="94"/>
                </a:cubicBezTo>
                <a:cubicBezTo>
                  <a:pt x="636" y="95"/>
                  <a:pt x="636" y="95"/>
                  <a:pt x="636" y="95"/>
                </a:cubicBezTo>
                <a:cubicBezTo>
                  <a:pt x="638" y="95"/>
                  <a:pt x="638" y="95"/>
                  <a:pt x="638" y="95"/>
                </a:cubicBezTo>
                <a:cubicBezTo>
                  <a:pt x="640" y="96"/>
                  <a:pt x="640" y="96"/>
                  <a:pt x="640" y="96"/>
                </a:cubicBezTo>
                <a:cubicBezTo>
                  <a:pt x="641" y="96"/>
                  <a:pt x="641" y="96"/>
                  <a:pt x="641" y="96"/>
                </a:cubicBezTo>
                <a:cubicBezTo>
                  <a:pt x="641" y="94"/>
                  <a:pt x="641" y="94"/>
                  <a:pt x="641" y="94"/>
                </a:cubicBezTo>
                <a:cubicBezTo>
                  <a:pt x="643" y="93"/>
                  <a:pt x="643" y="93"/>
                  <a:pt x="643" y="93"/>
                </a:cubicBezTo>
                <a:cubicBezTo>
                  <a:pt x="642" y="94"/>
                  <a:pt x="642" y="94"/>
                  <a:pt x="642" y="94"/>
                </a:cubicBezTo>
                <a:cubicBezTo>
                  <a:pt x="644" y="96"/>
                  <a:pt x="644" y="96"/>
                  <a:pt x="644" y="96"/>
                </a:cubicBezTo>
                <a:cubicBezTo>
                  <a:pt x="645" y="95"/>
                  <a:pt x="645" y="95"/>
                  <a:pt x="645" y="95"/>
                </a:cubicBezTo>
                <a:cubicBezTo>
                  <a:pt x="645" y="94"/>
                  <a:pt x="645" y="94"/>
                  <a:pt x="645" y="94"/>
                </a:cubicBezTo>
                <a:cubicBezTo>
                  <a:pt x="646" y="94"/>
                  <a:pt x="646" y="94"/>
                  <a:pt x="646" y="94"/>
                </a:cubicBezTo>
                <a:cubicBezTo>
                  <a:pt x="647" y="93"/>
                  <a:pt x="647" y="93"/>
                  <a:pt x="647" y="93"/>
                </a:cubicBezTo>
                <a:cubicBezTo>
                  <a:pt x="648" y="93"/>
                  <a:pt x="648" y="93"/>
                  <a:pt x="648" y="93"/>
                </a:cubicBezTo>
                <a:cubicBezTo>
                  <a:pt x="652" y="91"/>
                  <a:pt x="652" y="91"/>
                  <a:pt x="652" y="91"/>
                </a:cubicBezTo>
                <a:cubicBezTo>
                  <a:pt x="654" y="91"/>
                  <a:pt x="654" y="91"/>
                  <a:pt x="654" y="91"/>
                </a:cubicBezTo>
                <a:cubicBezTo>
                  <a:pt x="654" y="92"/>
                  <a:pt x="654" y="92"/>
                  <a:pt x="654" y="92"/>
                </a:cubicBezTo>
                <a:cubicBezTo>
                  <a:pt x="656" y="92"/>
                  <a:pt x="656" y="92"/>
                  <a:pt x="656" y="92"/>
                </a:cubicBezTo>
                <a:cubicBezTo>
                  <a:pt x="654" y="93"/>
                  <a:pt x="654" y="93"/>
                  <a:pt x="654" y="93"/>
                </a:cubicBezTo>
                <a:cubicBezTo>
                  <a:pt x="655" y="95"/>
                  <a:pt x="655" y="95"/>
                  <a:pt x="655" y="95"/>
                </a:cubicBezTo>
                <a:cubicBezTo>
                  <a:pt x="653" y="97"/>
                  <a:pt x="653" y="97"/>
                  <a:pt x="653" y="97"/>
                </a:cubicBezTo>
                <a:cubicBezTo>
                  <a:pt x="652" y="96"/>
                  <a:pt x="652" y="96"/>
                  <a:pt x="652" y="96"/>
                </a:cubicBezTo>
                <a:cubicBezTo>
                  <a:pt x="651" y="97"/>
                  <a:pt x="651" y="97"/>
                  <a:pt x="651" y="97"/>
                </a:cubicBezTo>
                <a:cubicBezTo>
                  <a:pt x="649" y="97"/>
                  <a:pt x="649" y="97"/>
                  <a:pt x="649" y="97"/>
                </a:cubicBezTo>
                <a:cubicBezTo>
                  <a:pt x="648" y="96"/>
                  <a:pt x="648" y="96"/>
                  <a:pt x="648" y="96"/>
                </a:cubicBezTo>
                <a:cubicBezTo>
                  <a:pt x="647" y="96"/>
                  <a:pt x="647" y="96"/>
                  <a:pt x="647" y="96"/>
                </a:cubicBezTo>
                <a:cubicBezTo>
                  <a:pt x="645" y="99"/>
                  <a:pt x="645" y="99"/>
                  <a:pt x="645" y="99"/>
                </a:cubicBezTo>
                <a:cubicBezTo>
                  <a:pt x="646" y="102"/>
                  <a:pt x="646" y="102"/>
                  <a:pt x="646" y="102"/>
                </a:cubicBezTo>
                <a:cubicBezTo>
                  <a:pt x="646" y="104"/>
                  <a:pt x="646" y="104"/>
                  <a:pt x="646" y="104"/>
                </a:cubicBezTo>
                <a:cubicBezTo>
                  <a:pt x="645" y="102"/>
                  <a:pt x="645" y="102"/>
                  <a:pt x="645" y="102"/>
                </a:cubicBezTo>
                <a:cubicBezTo>
                  <a:pt x="644" y="101"/>
                  <a:pt x="644" y="101"/>
                  <a:pt x="644" y="101"/>
                </a:cubicBezTo>
                <a:cubicBezTo>
                  <a:pt x="644" y="100"/>
                  <a:pt x="644" y="100"/>
                  <a:pt x="644" y="100"/>
                </a:cubicBezTo>
                <a:cubicBezTo>
                  <a:pt x="642" y="100"/>
                  <a:pt x="642" y="100"/>
                  <a:pt x="642" y="100"/>
                </a:cubicBezTo>
                <a:cubicBezTo>
                  <a:pt x="641" y="102"/>
                  <a:pt x="641" y="102"/>
                  <a:pt x="641" y="102"/>
                </a:cubicBezTo>
                <a:cubicBezTo>
                  <a:pt x="639" y="102"/>
                  <a:pt x="639" y="102"/>
                  <a:pt x="639" y="102"/>
                </a:cubicBezTo>
                <a:cubicBezTo>
                  <a:pt x="638" y="103"/>
                  <a:pt x="638" y="103"/>
                  <a:pt x="638" y="103"/>
                </a:cubicBezTo>
                <a:cubicBezTo>
                  <a:pt x="638" y="101"/>
                  <a:pt x="638" y="101"/>
                  <a:pt x="638" y="101"/>
                </a:cubicBezTo>
                <a:cubicBezTo>
                  <a:pt x="637" y="101"/>
                  <a:pt x="637" y="101"/>
                  <a:pt x="637" y="101"/>
                </a:cubicBezTo>
                <a:cubicBezTo>
                  <a:pt x="636" y="103"/>
                  <a:pt x="636" y="103"/>
                  <a:pt x="636" y="103"/>
                </a:cubicBezTo>
                <a:cubicBezTo>
                  <a:pt x="634" y="104"/>
                  <a:pt x="634" y="104"/>
                  <a:pt x="634" y="104"/>
                </a:cubicBezTo>
                <a:cubicBezTo>
                  <a:pt x="634" y="103"/>
                  <a:pt x="634" y="103"/>
                  <a:pt x="634" y="103"/>
                </a:cubicBezTo>
                <a:cubicBezTo>
                  <a:pt x="632" y="103"/>
                  <a:pt x="632" y="103"/>
                  <a:pt x="632" y="103"/>
                </a:cubicBezTo>
                <a:cubicBezTo>
                  <a:pt x="631" y="104"/>
                  <a:pt x="631" y="104"/>
                  <a:pt x="631" y="104"/>
                </a:cubicBezTo>
                <a:cubicBezTo>
                  <a:pt x="631" y="105"/>
                  <a:pt x="631" y="105"/>
                  <a:pt x="631" y="105"/>
                </a:cubicBezTo>
                <a:cubicBezTo>
                  <a:pt x="628" y="105"/>
                  <a:pt x="628" y="105"/>
                  <a:pt x="628" y="105"/>
                </a:cubicBezTo>
                <a:cubicBezTo>
                  <a:pt x="627" y="106"/>
                  <a:pt x="627" y="106"/>
                  <a:pt x="627" y="106"/>
                </a:cubicBezTo>
                <a:cubicBezTo>
                  <a:pt x="627" y="108"/>
                  <a:pt x="627" y="108"/>
                  <a:pt x="627" y="108"/>
                </a:cubicBezTo>
                <a:cubicBezTo>
                  <a:pt x="627" y="109"/>
                  <a:pt x="627" y="109"/>
                  <a:pt x="627" y="109"/>
                </a:cubicBezTo>
                <a:cubicBezTo>
                  <a:pt x="626" y="114"/>
                  <a:pt x="626" y="114"/>
                  <a:pt x="626" y="114"/>
                </a:cubicBezTo>
                <a:cubicBezTo>
                  <a:pt x="625" y="118"/>
                  <a:pt x="625" y="118"/>
                  <a:pt x="625" y="118"/>
                </a:cubicBezTo>
                <a:cubicBezTo>
                  <a:pt x="625" y="120"/>
                  <a:pt x="625" y="120"/>
                  <a:pt x="625" y="120"/>
                </a:cubicBezTo>
                <a:cubicBezTo>
                  <a:pt x="626" y="121"/>
                  <a:pt x="626" y="121"/>
                  <a:pt x="626" y="121"/>
                </a:cubicBezTo>
                <a:cubicBezTo>
                  <a:pt x="626" y="122"/>
                  <a:pt x="626" y="122"/>
                  <a:pt x="626" y="122"/>
                </a:cubicBezTo>
                <a:cubicBezTo>
                  <a:pt x="624" y="123"/>
                  <a:pt x="624" y="123"/>
                  <a:pt x="624" y="123"/>
                </a:cubicBezTo>
                <a:cubicBezTo>
                  <a:pt x="624" y="124"/>
                  <a:pt x="624" y="124"/>
                  <a:pt x="624" y="124"/>
                </a:cubicBezTo>
                <a:cubicBezTo>
                  <a:pt x="625" y="126"/>
                  <a:pt x="625" y="126"/>
                  <a:pt x="625" y="126"/>
                </a:cubicBezTo>
                <a:cubicBezTo>
                  <a:pt x="625" y="128"/>
                  <a:pt x="625" y="128"/>
                  <a:pt x="625" y="128"/>
                </a:cubicBezTo>
                <a:cubicBezTo>
                  <a:pt x="624" y="129"/>
                  <a:pt x="624" y="129"/>
                  <a:pt x="624" y="129"/>
                </a:cubicBezTo>
                <a:cubicBezTo>
                  <a:pt x="624" y="128"/>
                  <a:pt x="624" y="128"/>
                  <a:pt x="624" y="128"/>
                </a:cubicBezTo>
                <a:cubicBezTo>
                  <a:pt x="623" y="129"/>
                  <a:pt x="623" y="129"/>
                  <a:pt x="623" y="129"/>
                </a:cubicBezTo>
                <a:cubicBezTo>
                  <a:pt x="622" y="128"/>
                  <a:pt x="622" y="128"/>
                  <a:pt x="622" y="128"/>
                </a:cubicBezTo>
                <a:cubicBezTo>
                  <a:pt x="622" y="127"/>
                  <a:pt x="622" y="127"/>
                  <a:pt x="622" y="127"/>
                </a:cubicBezTo>
                <a:cubicBezTo>
                  <a:pt x="623" y="126"/>
                  <a:pt x="623" y="126"/>
                  <a:pt x="623" y="126"/>
                </a:cubicBezTo>
                <a:cubicBezTo>
                  <a:pt x="623" y="124"/>
                  <a:pt x="623" y="124"/>
                  <a:pt x="623" y="124"/>
                </a:cubicBezTo>
                <a:cubicBezTo>
                  <a:pt x="621" y="124"/>
                  <a:pt x="621" y="124"/>
                  <a:pt x="621" y="124"/>
                </a:cubicBezTo>
                <a:cubicBezTo>
                  <a:pt x="619" y="129"/>
                  <a:pt x="619" y="129"/>
                  <a:pt x="619" y="129"/>
                </a:cubicBezTo>
                <a:cubicBezTo>
                  <a:pt x="619" y="133"/>
                  <a:pt x="619" y="133"/>
                  <a:pt x="619" y="133"/>
                </a:cubicBezTo>
                <a:cubicBezTo>
                  <a:pt x="620" y="138"/>
                  <a:pt x="620" y="138"/>
                  <a:pt x="620" y="138"/>
                </a:cubicBezTo>
                <a:cubicBezTo>
                  <a:pt x="620" y="144"/>
                  <a:pt x="620" y="144"/>
                  <a:pt x="620" y="144"/>
                </a:cubicBezTo>
                <a:cubicBezTo>
                  <a:pt x="619" y="138"/>
                  <a:pt x="619" y="138"/>
                  <a:pt x="619" y="138"/>
                </a:cubicBezTo>
                <a:cubicBezTo>
                  <a:pt x="618" y="135"/>
                  <a:pt x="618" y="135"/>
                  <a:pt x="618" y="135"/>
                </a:cubicBezTo>
                <a:cubicBezTo>
                  <a:pt x="617" y="134"/>
                  <a:pt x="617" y="134"/>
                  <a:pt x="617" y="134"/>
                </a:cubicBezTo>
                <a:cubicBezTo>
                  <a:pt x="618" y="132"/>
                  <a:pt x="618" y="132"/>
                  <a:pt x="618" y="132"/>
                </a:cubicBezTo>
                <a:cubicBezTo>
                  <a:pt x="618" y="131"/>
                  <a:pt x="618" y="131"/>
                  <a:pt x="618" y="131"/>
                </a:cubicBezTo>
                <a:cubicBezTo>
                  <a:pt x="616" y="130"/>
                  <a:pt x="616" y="130"/>
                  <a:pt x="616" y="130"/>
                </a:cubicBezTo>
                <a:cubicBezTo>
                  <a:pt x="617" y="127"/>
                  <a:pt x="617" y="127"/>
                  <a:pt x="617" y="127"/>
                </a:cubicBezTo>
                <a:cubicBezTo>
                  <a:pt x="617" y="124"/>
                  <a:pt x="617" y="124"/>
                  <a:pt x="617" y="124"/>
                </a:cubicBezTo>
                <a:cubicBezTo>
                  <a:pt x="615" y="121"/>
                  <a:pt x="615" y="121"/>
                  <a:pt x="615" y="121"/>
                </a:cubicBezTo>
                <a:cubicBezTo>
                  <a:pt x="615" y="118"/>
                  <a:pt x="615" y="118"/>
                  <a:pt x="615" y="118"/>
                </a:cubicBezTo>
                <a:cubicBezTo>
                  <a:pt x="617" y="116"/>
                  <a:pt x="617" y="116"/>
                  <a:pt x="617" y="116"/>
                </a:cubicBezTo>
                <a:cubicBezTo>
                  <a:pt x="618" y="112"/>
                  <a:pt x="618" y="112"/>
                  <a:pt x="618" y="112"/>
                </a:cubicBezTo>
                <a:cubicBezTo>
                  <a:pt x="618" y="110"/>
                  <a:pt x="618" y="110"/>
                  <a:pt x="618" y="110"/>
                </a:cubicBezTo>
                <a:cubicBezTo>
                  <a:pt x="618" y="110"/>
                  <a:pt x="618" y="110"/>
                  <a:pt x="618" y="110"/>
                </a:cubicBezTo>
                <a:cubicBezTo>
                  <a:pt x="617" y="111"/>
                  <a:pt x="617" y="111"/>
                  <a:pt x="617" y="111"/>
                </a:cubicBezTo>
                <a:cubicBezTo>
                  <a:pt x="617" y="113"/>
                  <a:pt x="617" y="113"/>
                  <a:pt x="617" y="113"/>
                </a:cubicBezTo>
                <a:cubicBezTo>
                  <a:pt x="615" y="115"/>
                  <a:pt x="615" y="115"/>
                  <a:pt x="615" y="115"/>
                </a:cubicBezTo>
                <a:cubicBezTo>
                  <a:pt x="615" y="114"/>
                  <a:pt x="615" y="114"/>
                  <a:pt x="615" y="114"/>
                </a:cubicBezTo>
                <a:cubicBezTo>
                  <a:pt x="614" y="112"/>
                  <a:pt x="614" y="112"/>
                  <a:pt x="614" y="112"/>
                </a:cubicBezTo>
                <a:cubicBezTo>
                  <a:pt x="616" y="109"/>
                  <a:pt x="616" y="109"/>
                  <a:pt x="616" y="109"/>
                </a:cubicBezTo>
                <a:cubicBezTo>
                  <a:pt x="616" y="107"/>
                  <a:pt x="616" y="107"/>
                  <a:pt x="616" y="107"/>
                </a:cubicBezTo>
                <a:cubicBezTo>
                  <a:pt x="615" y="106"/>
                  <a:pt x="615" y="106"/>
                  <a:pt x="615" y="106"/>
                </a:cubicBezTo>
                <a:cubicBezTo>
                  <a:pt x="614" y="107"/>
                  <a:pt x="614" y="107"/>
                  <a:pt x="614" y="107"/>
                </a:cubicBezTo>
                <a:cubicBezTo>
                  <a:pt x="613" y="107"/>
                  <a:pt x="613" y="107"/>
                  <a:pt x="613" y="107"/>
                </a:cubicBezTo>
                <a:cubicBezTo>
                  <a:pt x="612" y="106"/>
                  <a:pt x="612" y="106"/>
                  <a:pt x="612" y="106"/>
                </a:cubicBezTo>
                <a:cubicBezTo>
                  <a:pt x="613" y="104"/>
                  <a:pt x="613" y="104"/>
                  <a:pt x="613" y="104"/>
                </a:cubicBezTo>
                <a:cubicBezTo>
                  <a:pt x="613" y="102"/>
                  <a:pt x="613" y="102"/>
                  <a:pt x="613" y="102"/>
                </a:cubicBezTo>
                <a:cubicBezTo>
                  <a:pt x="612" y="102"/>
                  <a:pt x="612" y="102"/>
                  <a:pt x="612" y="102"/>
                </a:cubicBezTo>
                <a:cubicBezTo>
                  <a:pt x="612" y="101"/>
                  <a:pt x="612" y="101"/>
                  <a:pt x="612" y="101"/>
                </a:cubicBezTo>
                <a:cubicBezTo>
                  <a:pt x="612" y="100"/>
                  <a:pt x="612" y="100"/>
                  <a:pt x="612" y="100"/>
                </a:cubicBezTo>
                <a:cubicBezTo>
                  <a:pt x="612" y="99"/>
                  <a:pt x="612" y="99"/>
                  <a:pt x="612" y="99"/>
                </a:cubicBezTo>
                <a:cubicBezTo>
                  <a:pt x="610" y="99"/>
                  <a:pt x="610" y="99"/>
                  <a:pt x="610" y="99"/>
                </a:cubicBezTo>
                <a:cubicBezTo>
                  <a:pt x="605" y="101"/>
                  <a:pt x="605" y="101"/>
                  <a:pt x="605" y="101"/>
                </a:cubicBezTo>
                <a:cubicBezTo>
                  <a:pt x="602" y="103"/>
                  <a:pt x="602" y="103"/>
                  <a:pt x="602" y="103"/>
                </a:cubicBezTo>
                <a:cubicBezTo>
                  <a:pt x="601" y="102"/>
                  <a:pt x="601" y="102"/>
                  <a:pt x="601" y="102"/>
                </a:cubicBezTo>
                <a:cubicBezTo>
                  <a:pt x="601" y="101"/>
                  <a:pt x="601" y="101"/>
                  <a:pt x="601" y="101"/>
                </a:cubicBezTo>
                <a:cubicBezTo>
                  <a:pt x="600" y="101"/>
                  <a:pt x="600" y="101"/>
                  <a:pt x="600" y="101"/>
                </a:cubicBezTo>
                <a:cubicBezTo>
                  <a:pt x="598" y="103"/>
                  <a:pt x="598" y="103"/>
                  <a:pt x="598" y="103"/>
                </a:cubicBezTo>
                <a:cubicBezTo>
                  <a:pt x="597" y="103"/>
                  <a:pt x="597" y="103"/>
                  <a:pt x="597" y="103"/>
                </a:cubicBezTo>
                <a:cubicBezTo>
                  <a:pt x="596" y="102"/>
                  <a:pt x="596" y="102"/>
                  <a:pt x="596" y="102"/>
                </a:cubicBezTo>
                <a:cubicBezTo>
                  <a:pt x="593" y="104"/>
                  <a:pt x="593" y="104"/>
                  <a:pt x="593" y="104"/>
                </a:cubicBezTo>
                <a:cubicBezTo>
                  <a:pt x="593" y="102"/>
                  <a:pt x="593" y="102"/>
                  <a:pt x="593" y="102"/>
                </a:cubicBezTo>
                <a:cubicBezTo>
                  <a:pt x="592" y="101"/>
                  <a:pt x="592" y="101"/>
                  <a:pt x="592" y="101"/>
                </a:cubicBezTo>
                <a:cubicBezTo>
                  <a:pt x="591" y="102"/>
                  <a:pt x="591" y="102"/>
                  <a:pt x="591" y="102"/>
                </a:cubicBezTo>
                <a:cubicBezTo>
                  <a:pt x="591" y="103"/>
                  <a:pt x="591" y="103"/>
                  <a:pt x="591" y="103"/>
                </a:cubicBezTo>
                <a:cubicBezTo>
                  <a:pt x="588" y="103"/>
                  <a:pt x="588" y="103"/>
                  <a:pt x="588" y="103"/>
                </a:cubicBezTo>
                <a:cubicBezTo>
                  <a:pt x="584" y="101"/>
                  <a:pt x="584" y="101"/>
                  <a:pt x="584" y="101"/>
                </a:cubicBezTo>
                <a:cubicBezTo>
                  <a:pt x="580" y="100"/>
                  <a:pt x="580" y="100"/>
                  <a:pt x="580" y="100"/>
                </a:cubicBezTo>
                <a:cubicBezTo>
                  <a:pt x="577" y="99"/>
                  <a:pt x="577" y="99"/>
                  <a:pt x="577" y="99"/>
                </a:cubicBezTo>
                <a:cubicBezTo>
                  <a:pt x="575" y="99"/>
                  <a:pt x="575" y="99"/>
                  <a:pt x="575" y="99"/>
                </a:cubicBezTo>
                <a:cubicBezTo>
                  <a:pt x="574" y="97"/>
                  <a:pt x="574" y="97"/>
                  <a:pt x="574" y="97"/>
                </a:cubicBezTo>
                <a:cubicBezTo>
                  <a:pt x="572" y="95"/>
                  <a:pt x="572" y="95"/>
                  <a:pt x="572" y="95"/>
                </a:cubicBezTo>
                <a:cubicBezTo>
                  <a:pt x="571" y="96"/>
                  <a:pt x="571" y="96"/>
                  <a:pt x="571" y="96"/>
                </a:cubicBezTo>
                <a:cubicBezTo>
                  <a:pt x="569" y="94"/>
                  <a:pt x="569" y="94"/>
                  <a:pt x="569" y="94"/>
                </a:cubicBezTo>
                <a:cubicBezTo>
                  <a:pt x="569" y="92"/>
                  <a:pt x="569" y="92"/>
                  <a:pt x="569" y="92"/>
                </a:cubicBezTo>
                <a:cubicBezTo>
                  <a:pt x="567" y="91"/>
                  <a:pt x="567" y="91"/>
                  <a:pt x="567" y="91"/>
                </a:cubicBezTo>
                <a:cubicBezTo>
                  <a:pt x="566" y="90"/>
                  <a:pt x="566" y="90"/>
                  <a:pt x="566" y="90"/>
                </a:cubicBezTo>
                <a:cubicBezTo>
                  <a:pt x="568" y="89"/>
                  <a:pt x="568" y="89"/>
                  <a:pt x="568" y="89"/>
                </a:cubicBezTo>
                <a:cubicBezTo>
                  <a:pt x="570" y="90"/>
                  <a:pt x="570" y="90"/>
                  <a:pt x="570" y="90"/>
                </a:cubicBezTo>
                <a:cubicBezTo>
                  <a:pt x="570" y="88"/>
                  <a:pt x="570" y="88"/>
                  <a:pt x="570" y="88"/>
                </a:cubicBezTo>
                <a:cubicBezTo>
                  <a:pt x="572" y="86"/>
                  <a:pt x="572" y="86"/>
                  <a:pt x="572" y="86"/>
                </a:cubicBezTo>
                <a:cubicBezTo>
                  <a:pt x="571" y="85"/>
                  <a:pt x="571" y="85"/>
                  <a:pt x="571" y="85"/>
                </a:cubicBezTo>
                <a:cubicBezTo>
                  <a:pt x="573" y="85"/>
                  <a:pt x="573" y="85"/>
                  <a:pt x="573" y="85"/>
                </a:cubicBezTo>
                <a:cubicBezTo>
                  <a:pt x="575" y="86"/>
                  <a:pt x="575" y="86"/>
                  <a:pt x="575" y="86"/>
                </a:cubicBezTo>
                <a:cubicBezTo>
                  <a:pt x="576" y="85"/>
                  <a:pt x="576" y="85"/>
                  <a:pt x="576" y="85"/>
                </a:cubicBezTo>
                <a:cubicBezTo>
                  <a:pt x="576" y="85"/>
                  <a:pt x="576" y="85"/>
                  <a:pt x="576" y="85"/>
                </a:cubicBezTo>
                <a:cubicBezTo>
                  <a:pt x="579" y="85"/>
                  <a:pt x="579" y="85"/>
                  <a:pt x="579" y="85"/>
                </a:cubicBezTo>
                <a:cubicBezTo>
                  <a:pt x="583" y="86"/>
                  <a:pt x="583" y="86"/>
                  <a:pt x="583" y="86"/>
                </a:cubicBezTo>
                <a:cubicBezTo>
                  <a:pt x="585" y="84"/>
                  <a:pt x="585" y="84"/>
                  <a:pt x="585" y="84"/>
                </a:cubicBezTo>
                <a:cubicBezTo>
                  <a:pt x="585" y="82"/>
                  <a:pt x="585" y="82"/>
                  <a:pt x="585" y="82"/>
                </a:cubicBezTo>
                <a:cubicBezTo>
                  <a:pt x="586" y="80"/>
                  <a:pt x="586" y="80"/>
                  <a:pt x="586" y="80"/>
                </a:cubicBezTo>
                <a:cubicBezTo>
                  <a:pt x="585" y="78"/>
                  <a:pt x="585" y="78"/>
                  <a:pt x="585" y="78"/>
                </a:cubicBezTo>
                <a:cubicBezTo>
                  <a:pt x="585" y="75"/>
                  <a:pt x="585" y="75"/>
                  <a:pt x="585" y="75"/>
                </a:cubicBezTo>
                <a:cubicBezTo>
                  <a:pt x="584" y="74"/>
                  <a:pt x="584" y="74"/>
                  <a:pt x="584" y="74"/>
                </a:cubicBezTo>
                <a:cubicBezTo>
                  <a:pt x="583" y="71"/>
                  <a:pt x="583" y="71"/>
                  <a:pt x="583" y="71"/>
                </a:cubicBezTo>
                <a:cubicBezTo>
                  <a:pt x="582" y="70"/>
                  <a:pt x="582" y="70"/>
                  <a:pt x="582" y="70"/>
                </a:cubicBezTo>
                <a:cubicBezTo>
                  <a:pt x="581" y="69"/>
                  <a:pt x="581" y="69"/>
                  <a:pt x="581" y="69"/>
                </a:cubicBezTo>
                <a:cubicBezTo>
                  <a:pt x="578" y="66"/>
                  <a:pt x="578" y="66"/>
                  <a:pt x="578" y="66"/>
                </a:cubicBezTo>
                <a:cubicBezTo>
                  <a:pt x="578" y="67"/>
                  <a:pt x="578" y="67"/>
                  <a:pt x="578" y="67"/>
                </a:cubicBezTo>
                <a:cubicBezTo>
                  <a:pt x="577" y="68"/>
                  <a:pt x="577" y="68"/>
                  <a:pt x="577" y="68"/>
                </a:cubicBezTo>
                <a:cubicBezTo>
                  <a:pt x="576" y="68"/>
                  <a:pt x="576" y="68"/>
                  <a:pt x="576" y="68"/>
                </a:cubicBezTo>
                <a:cubicBezTo>
                  <a:pt x="575" y="67"/>
                  <a:pt x="575" y="67"/>
                  <a:pt x="575" y="67"/>
                </a:cubicBezTo>
                <a:cubicBezTo>
                  <a:pt x="573" y="65"/>
                  <a:pt x="573" y="65"/>
                  <a:pt x="573" y="65"/>
                </a:cubicBezTo>
                <a:cubicBezTo>
                  <a:pt x="573" y="66"/>
                  <a:pt x="573" y="66"/>
                  <a:pt x="573" y="66"/>
                </a:cubicBezTo>
                <a:cubicBezTo>
                  <a:pt x="574" y="68"/>
                  <a:pt x="574" y="68"/>
                  <a:pt x="574" y="68"/>
                </a:cubicBezTo>
                <a:cubicBezTo>
                  <a:pt x="574" y="69"/>
                  <a:pt x="574" y="69"/>
                  <a:pt x="574" y="69"/>
                </a:cubicBezTo>
                <a:cubicBezTo>
                  <a:pt x="575" y="70"/>
                  <a:pt x="575" y="70"/>
                  <a:pt x="575" y="70"/>
                </a:cubicBezTo>
                <a:cubicBezTo>
                  <a:pt x="574" y="72"/>
                  <a:pt x="574" y="72"/>
                  <a:pt x="574" y="72"/>
                </a:cubicBezTo>
                <a:cubicBezTo>
                  <a:pt x="573" y="70"/>
                  <a:pt x="573" y="70"/>
                  <a:pt x="573" y="70"/>
                </a:cubicBezTo>
                <a:cubicBezTo>
                  <a:pt x="573" y="68"/>
                  <a:pt x="573" y="68"/>
                  <a:pt x="573" y="68"/>
                </a:cubicBezTo>
                <a:cubicBezTo>
                  <a:pt x="571" y="68"/>
                  <a:pt x="571" y="68"/>
                  <a:pt x="571" y="68"/>
                </a:cubicBezTo>
                <a:cubicBezTo>
                  <a:pt x="568" y="66"/>
                  <a:pt x="568" y="66"/>
                  <a:pt x="568" y="66"/>
                </a:cubicBezTo>
                <a:cubicBezTo>
                  <a:pt x="567" y="65"/>
                  <a:pt x="567" y="65"/>
                  <a:pt x="567" y="65"/>
                </a:cubicBezTo>
                <a:cubicBezTo>
                  <a:pt x="566" y="66"/>
                  <a:pt x="566" y="66"/>
                  <a:pt x="566" y="66"/>
                </a:cubicBezTo>
                <a:cubicBezTo>
                  <a:pt x="565" y="65"/>
                  <a:pt x="565" y="65"/>
                  <a:pt x="565" y="65"/>
                </a:cubicBezTo>
                <a:cubicBezTo>
                  <a:pt x="564" y="63"/>
                  <a:pt x="564" y="63"/>
                  <a:pt x="564" y="63"/>
                </a:cubicBezTo>
                <a:cubicBezTo>
                  <a:pt x="562" y="62"/>
                  <a:pt x="562" y="62"/>
                  <a:pt x="562" y="62"/>
                </a:cubicBezTo>
                <a:cubicBezTo>
                  <a:pt x="561" y="62"/>
                  <a:pt x="561" y="62"/>
                  <a:pt x="561" y="62"/>
                </a:cubicBezTo>
                <a:cubicBezTo>
                  <a:pt x="558" y="59"/>
                  <a:pt x="558" y="59"/>
                  <a:pt x="558" y="59"/>
                </a:cubicBezTo>
                <a:cubicBezTo>
                  <a:pt x="556" y="57"/>
                  <a:pt x="556" y="57"/>
                  <a:pt x="556" y="57"/>
                </a:cubicBezTo>
                <a:cubicBezTo>
                  <a:pt x="555" y="55"/>
                  <a:pt x="555" y="55"/>
                  <a:pt x="555" y="55"/>
                </a:cubicBezTo>
                <a:cubicBezTo>
                  <a:pt x="547" y="50"/>
                  <a:pt x="547" y="50"/>
                  <a:pt x="547" y="50"/>
                </a:cubicBezTo>
                <a:cubicBezTo>
                  <a:pt x="544" y="47"/>
                  <a:pt x="544" y="47"/>
                  <a:pt x="544" y="47"/>
                </a:cubicBezTo>
                <a:cubicBezTo>
                  <a:pt x="544" y="44"/>
                  <a:pt x="544" y="44"/>
                  <a:pt x="544" y="44"/>
                </a:cubicBezTo>
                <a:cubicBezTo>
                  <a:pt x="543" y="39"/>
                  <a:pt x="543" y="39"/>
                  <a:pt x="543" y="39"/>
                </a:cubicBezTo>
                <a:cubicBezTo>
                  <a:pt x="543" y="38"/>
                  <a:pt x="543" y="38"/>
                  <a:pt x="543" y="38"/>
                </a:cubicBezTo>
                <a:cubicBezTo>
                  <a:pt x="541" y="38"/>
                  <a:pt x="541" y="38"/>
                  <a:pt x="541" y="38"/>
                </a:cubicBezTo>
                <a:cubicBezTo>
                  <a:pt x="538" y="36"/>
                  <a:pt x="538" y="36"/>
                  <a:pt x="538" y="36"/>
                </a:cubicBezTo>
                <a:cubicBezTo>
                  <a:pt x="537" y="35"/>
                  <a:pt x="537" y="35"/>
                  <a:pt x="537" y="35"/>
                </a:cubicBezTo>
                <a:cubicBezTo>
                  <a:pt x="535" y="34"/>
                  <a:pt x="535" y="34"/>
                  <a:pt x="535" y="34"/>
                </a:cubicBezTo>
                <a:cubicBezTo>
                  <a:pt x="533" y="34"/>
                  <a:pt x="533" y="34"/>
                  <a:pt x="533" y="34"/>
                </a:cubicBezTo>
                <a:cubicBezTo>
                  <a:pt x="532" y="33"/>
                  <a:pt x="532" y="33"/>
                  <a:pt x="532" y="33"/>
                </a:cubicBezTo>
                <a:cubicBezTo>
                  <a:pt x="530" y="33"/>
                  <a:pt x="530" y="33"/>
                  <a:pt x="530" y="33"/>
                </a:cubicBezTo>
                <a:cubicBezTo>
                  <a:pt x="527" y="36"/>
                  <a:pt x="527" y="36"/>
                  <a:pt x="527" y="36"/>
                </a:cubicBezTo>
                <a:cubicBezTo>
                  <a:pt x="525" y="39"/>
                  <a:pt x="525" y="39"/>
                  <a:pt x="525" y="39"/>
                </a:cubicBezTo>
                <a:cubicBezTo>
                  <a:pt x="523" y="40"/>
                  <a:pt x="523" y="40"/>
                  <a:pt x="523" y="40"/>
                </a:cubicBezTo>
                <a:cubicBezTo>
                  <a:pt x="521" y="41"/>
                  <a:pt x="521" y="41"/>
                  <a:pt x="521" y="41"/>
                </a:cubicBezTo>
                <a:cubicBezTo>
                  <a:pt x="519" y="42"/>
                  <a:pt x="519" y="42"/>
                  <a:pt x="519" y="42"/>
                </a:cubicBezTo>
                <a:cubicBezTo>
                  <a:pt x="518" y="40"/>
                  <a:pt x="518" y="40"/>
                  <a:pt x="518" y="40"/>
                </a:cubicBezTo>
                <a:cubicBezTo>
                  <a:pt x="515" y="40"/>
                  <a:pt x="515" y="40"/>
                  <a:pt x="515" y="40"/>
                </a:cubicBezTo>
                <a:cubicBezTo>
                  <a:pt x="514" y="39"/>
                  <a:pt x="514" y="39"/>
                  <a:pt x="514" y="39"/>
                </a:cubicBezTo>
                <a:cubicBezTo>
                  <a:pt x="515" y="37"/>
                  <a:pt x="515" y="37"/>
                  <a:pt x="515" y="37"/>
                </a:cubicBezTo>
                <a:cubicBezTo>
                  <a:pt x="516" y="36"/>
                  <a:pt x="516" y="36"/>
                  <a:pt x="516" y="36"/>
                </a:cubicBezTo>
                <a:cubicBezTo>
                  <a:pt x="517" y="36"/>
                  <a:pt x="517" y="36"/>
                  <a:pt x="517" y="36"/>
                </a:cubicBezTo>
                <a:cubicBezTo>
                  <a:pt x="519" y="34"/>
                  <a:pt x="519" y="34"/>
                  <a:pt x="519" y="34"/>
                </a:cubicBezTo>
                <a:cubicBezTo>
                  <a:pt x="520" y="34"/>
                  <a:pt x="520" y="34"/>
                  <a:pt x="520" y="34"/>
                </a:cubicBezTo>
                <a:cubicBezTo>
                  <a:pt x="521" y="33"/>
                  <a:pt x="521" y="33"/>
                  <a:pt x="521" y="33"/>
                </a:cubicBezTo>
                <a:cubicBezTo>
                  <a:pt x="520" y="32"/>
                  <a:pt x="520" y="32"/>
                  <a:pt x="520" y="32"/>
                </a:cubicBezTo>
                <a:cubicBezTo>
                  <a:pt x="519" y="32"/>
                  <a:pt x="519" y="32"/>
                  <a:pt x="519" y="32"/>
                </a:cubicBezTo>
                <a:cubicBezTo>
                  <a:pt x="518" y="31"/>
                  <a:pt x="518" y="31"/>
                  <a:pt x="518" y="31"/>
                </a:cubicBezTo>
                <a:cubicBezTo>
                  <a:pt x="518" y="30"/>
                  <a:pt x="518" y="30"/>
                  <a:pt x="518" y="30"/>
                </a:cubicBezTo>
                <a:cubicBezTo>
                  <a:pt x="520" y="28"/>
                  <a:pt x="520" y="28"/>
                  <a:pt x="520" y="28"/>
                </a:cubicBezTo>
                <a:cubicBezTo>
                  <a:pt x="520" y="27"/>
                  <a:pt x="520" y="27"/>
                  <a:pt x="520" y="27"/>
                </a:cubicBezTo>
                <a:cubicBezTo>
                  <a:pt x="522" y="26"/>
                  <a:pt x="522" y="26"/>
                  <a:pt x="522" y="26"/>
                </a:cubicBezTo>
                <a:cubicBezTo>
                  <a:pt x="522" y="24"/>
                  <a:pt x="522" y="24"/>
                  <a:pt x="522" y="24"/>
                </a:cubicBezTo>
                <a:cubicBezTo>
                  <a:pt x="522" y="22"/>
                  <a:pt x="522" y="22"/>
                  <a:pt x="522" y="22"/>
                </a:cubicBezTo>
                <a:cubicBezTo>
                  <a:pt x="519" y="22"/>
                  <a:pt x="519" y="22"/>
                  <a:pt x="519" y="22"/>
                </a:cubicBezTo>
                <a:cubicBezTo>
                  <a:pt x="519" y="24"/>
                  <a:pt x="519" y="24"/>
                  <a:pt x="519" y="24"/>
                </a:cubicBezTo>
                <a:cubicBezTo>
                  <a:pt x="516" y="26"/>
                  <a:pt x="516" y="26"/>
                  <a:pt x="516" y="26"/>
                </a:cubicBezTo>
                <a:cubicBezTo>
                  <a:pt x="514" y="26"/>
                  <a:pt x="514" y="26"/>
                  <a:pt x="514" y="26"/>
                </a:cubicBezTo>
                <a:cubicBezTo>
                  <a:pt x="516" y="30"/>
                  <a:pt x="516" y="30"/>
                  <a:pt x="516" y="30"/>
                </a:cubicBezTo>
                <a:cubicBezTo>
                  <a:pt x="514" y="31"/>
                  <a:pt x="514" y="31"/>
                  <a:pt x="514" y="31"/>
                </a:cubicBezTo>
                <a:cubicBezTo>
                  <a:pt x="514" y="30"/>
                  <a:pt x="514" y="30"/>
                  <a:pt x="514" y="30"/>
                </a:cubicBezTo>
                <a:cubicBezTo>
                  <a:pt x="511" y="29"/>
                  <a:pt x="511" y="29"/>
                  <a:pt x="511" y="29"/>
                </a:cubicBezTo>
                <a:cubicBezTo>
                  <a:pt x="509" y="31"/>
                  <a:pt x="509" y="31"/>
                  <a:pt x="509" y="31"/>
                </a:cubicBezTo>
                <a:cubicBezTo>
                  <a:pt x="510" y="32"/>
                  <a:pt x="510" y="32"/>
                  <a:pt x="510" y="32"/>
                </a:cubicBezTo>
                <a:cubicBezTo>
                  <a:pt x="510" y="34"/>
                  <a:pt x="510" y="34"/>
                  <a:pt x="510" y="34"/>
                </a:cubicBezTo>
                <a:cubicBezTo>
                  <a:pt x="508" y="33"/>
                  <a:pt x="508" y="33"/>
                  <a:pt x="508" y="33"/>
                </a:cubicBezTo>
                <a:cubicBezTo>
                  <a:pt x="506" y="34"/>
                  <a:pt x="506" y="34"/>
                  <a:pt x="506" y="34"/>
                </a:cubicBezTo>
                <a:cubicBezTo>
                  <a:pt x="506" y="36"/>
                  <a:pt x="506" y="36"/>
                  <a:pt x="506" y="36"/>
                </a:cubicBezTo>
                <a:cubicBezTo>
                  <a:pt x="508" y="36"/>
                  <a:pt x="508" y="36"/>
                  <a:pt x="508" y="36"/>
                </a:cubicBezTo>
                <a:cubicBezTo>
                  <a:pt x="509" y="37"/>
                  <a:pt x="509" y="37"/>
                  <a:pt x="509" y="37"/>
                </a:cubicBezTo>
                <a:cubicBezTo>
                  <a:pt x="506" y="39"/>
                  <a:pt x="506" y="39"/>
                  <a:pt x="506" y="39"/>
                </a:cubicBezTo>
                <a:cubicBezTo>
                  <a:pt x="505" y="36"/>
                  <a:pt x="505" y="36"/>
                  <a:pt x="505" y="36"/>
                </a:cubicBezTo>
                <a:cubicBezTo>
                  <a:pt x="503" y="35"/>
                  <a:pt x="503" y="35"/>
                  <a:pt x="503" y="35"/>
                </a:cubicBezTo>
                <a:cubicBezTo>
                  <a:pt x="502" y="33"/>
                  <a:pt x="502" y="33"/>
                  <a:pt x="502" y="33"/>
                </a:cubicBezTo>
                <a:cubicBezTo>
                  <a:pt x="502" y="24"/>
                  <a:pt x="502" y="24"/>
                  <a:pt x="502" y="24"/>
                </a:cubicBezTo>
                <a:cubicBezTo>
                  <a:pt x="504" y="20"/>
                  <a:pt x="504" y="20"/>
                  <a:pt x="504" y="20"/>
                </a:cubicBezTo>
                <a:cubicBezTo>
                  <a:pt x="503" y="14"/>
                  <a:pt x="503" y="14"/>
                  <a:pt x="503" y="14"/>
                </a:cubicBezTo>
                <a:cubicBezTo>
                  <a:pt x="505" y="12"/>
                  <a:pt x="505" y="12"/>
                  <a:pt x="505" y="12"/>
                </a:cubicBezTo>
                <a:cubicBezTo>
                  <a:pt x="504" y="4"/>
                  <a:pt x="504" y="4"/>
                  <a:pt x="504" y="4"/>
                </a:cubicBezTo>
                <a:cubicBezTo>
                  <a:pt x="504" y="1"/>
                  <a:pt x="504" y="1"/>
                  <a:pt x="504" y="1"/>
                </a:cubicBezTo>
                <a:cubicBezTo>
                  <a:pt x="501" y="2"/>
                  <a:pt x="501" y="2"/>
                  <a:pt x="501" y="2"/>
                </a:cubicBezTo>
                <a:cubicBezTo>
                  <a:pt x="499" y="5"/>
                  <a:pt x="499" y="5"/>
                  <a:pt x="499" y="5"/>
                </a:cubicBezTo>
                <a:cubicBezTo>
                  <a:pt x="501" y="6"/>
                  <a:pt x="501" y="6"/>
                  <a:pt x="501" y="6"/>
                </a:cubicBezTo>
                <a:cubicBezTo>
                  <a:pt x="499" y="7"/>
                  <a:pt x="499" y="7"/>
                  <a:pt x="499" y="7"/>
                </a:cubicBezTo>
                <a:cubicBezTo>
                  <a:pt x="500" y="10"/>
                  <a:pt x="500" y="10"/>
                  <a:pt x="500" y="10"/>
                </a:cubicBezTo>
                <a:cubicBezTo>
                  <a:pt x="500" y="13"/>
                  <a:pt x="500" y="13"/>
                  <a:pt x="500" y="13"/>
                </a:cubicBezTo>
                <a:cubicBezTo>
                  <a:pt x="498" y="12"/>
                  <a:pt x="498" y="12"/>
                  <a:pt x="498" y="12"/>
                </a:cubicBezTo>
                <a:cubicBezTo>
                  <a:pt x="497" y="11"/>
                  <a:pt x="497" y="11"/>
                  <a:pt x="497" y="11"/>
                </a:cubicBezTo>
                <a:cubicBezTo>
                  <a:pt x="496" y="12"/>
                  <a:pt x="496" y="12"/>
                  <a:pt x="496" y="12"/>
                </a:cubicBezTo>
                <a:cubicBezTo>
                  <a:pt x="496" y="14"/>
                  <a:pt x="496" y="14"/>
                  <a:pt x="496" y="14"/>
                </a:cubicBezTo>
                <a:cubicBezTo>
                  <a:pt x="495" y="13"/>
                  <a:pt x="495" y="13"/>
                  <a:pt x="495" y="13"/>
                </a:cubicBezTo>
                <a:cubicBezTo>
                  <a:pt x="493" y="14"/>
                  <a:pt x="493" y="14"/>
                  <a:pt x="493" y="14"/>
                </a:cubicBezTo>
                <a:cubicBezTo>
                  <a:pt x="493" y="16"/>
                  <a:pt x="493" y="16"/>
                  <a:pt x="493" y="16"/>
                </a:cubicBezTo>
                <a:cubicBezTo>
                  <a:pt x="492" y="16"/>
                  <a:pt x="492" y="16"/>
                  <a:pt x="492" y="16"/>
                </a:cubicBezTo>
                <a:cubicBezTo>
                  <a:pt x="487" y="18"/>
                  <a:pt x="487" y="18"/>
                  <a:pt x="487" y="18"/>
                </a:cubicBezTo>
                <a:cubicBezTo>
                  <a:pt x="485" y="21"/>
                  <a:pt x="485" y="21"/>
                  <a:pt x="485" y="21"/>
                </a:cubicBezTo>
                <a:cubicBezTo>
                  <a:pt x="483" y="19"/>
                  <a:pt x="483" y="19"/>
                  <a:pt x="483" y="19"/>
                </a:cubicBezTo>
                <a:cubicBezTo>
                  <a:pt x="483" y="18"/>
                  <a:pt x="483" y="18"/>
                  <a:pt x="483" y="18"/>
                </a:cubicBezTo>
                <a:cubicBezTo>
                  <a:pt x="486" y="17"/>
                  <a:pt x="486" y="17"/>
                  <a:pt x="486" y="17"/>
                </a:cubicBezTo>
                <a:cubicBezTo>
                  <a:pt x="486" y="15"/>
                  <a:pt x="486" y="15"/>
                  <a:pt x="486" y="15"/>
                </a:cubicBezTo>
                <a:cubicBezTo>
                  <a:pt x="485" y="15"/>
                  <a:pt x="485" y="15"/>
                  <a:pt x="485" y="15"/>
                </a:cubicBezTo>
                <a:cubicBezTo>
                  <a:pt x="483" y="16"/>
                  <a:pt x="483" y="16"/>
                  <a:pt x="483" y="16"/>
                </a:cubicBezTo>
                <a:cubicBezTo>
                  <a:pt x="479" y="16"/>
                  <a:pt x="479" y="16"/>
                  <a:pt x="479" y="16"/>
                </a:cubicBezTo>
                <a:cubicBezTo>
                  <a:pt x="477" y="18"/>
                  <a:pt x="477" y="18"/>
                  <a:pt x="477" y="18"/>
                </a:cubicBezTo>
                <a:cubicBezTo>
                  <a:pt x="474" y="18"/>
                  <a:pt x="474" y="18"/>
                  <a:pt x="474" y="18"/>
                </a:cubicBezTo>
                <a:cubicBezTo>
                  <a:pt x="468" y="22"/>
                  <a:pt x="468" y="22"/>
                  <a:pt x="468" y="22"/>
                </a:cubicBezTo>
                <a:cubicBezTo>
                  <a:pt x="465" y="23"/>
                  <a:pt x="465" y="23"/>
                  <a:pt x="465" y="23"/>
                </a:cubicBezTo>
                <a:cubicBezTo>
                  <a:pt x="463" y="26"/>
                  <a:pt x="463" y="26"/>
                  <a:pt x="463" y="26"/>
                </a:cubicBezTo>
                <a:cubicBezTo>
                  <a:pt x="462" y="25"/>
                  <a:pt x="462" y="25"/>
                  <a:pt x="462" y="25"/>
                </a:cubicBezTo>
                <a:cubicBezTo>
                  <a:pt x="465" y="21"/>
                  <a:pt x="465" y="21"/>
                  <a:pt x="465" y="21"/>
                </a:cubicBezTo>
                <a:cubicBezTo>
                  <a:pt x="464" y="20"/>
                  <a:pt x="464" y="20"/>
                  <a:pt x="464" y="20"/>
                </a:cubicBezTo>
                <a:cubicBezTo>
                  <a:pt x="461" y="22"/>
                  <a:pt x="461" y="22"/>
                  <a:pt x="461" y="22"/>
                </a:cubicBezTo>
                <a:cubicBezTo>
                  <a:pt x="461" y="21"/>
                  <a:pt x="461" y="21"/>
                  <a:pt x="461" y="21"/>
                </a:cubicBezTo>
                <a:cubicBezTo>
                  <a:pt x="459" y="22"/>
                  <a:pt x="459" y="22"/>
                  <a:pt x="459" y="22"/>
                </a:cubicBezTo>
                <a:cubicBezTo>
                  <a:pt x="458" y="23"/>
                  <a:pt x="458" y="23"/>
                  <a:pt x="458" y="23"/>
                </a:cubicBezTo>
                <a:cubicBezTo>
                  <a:pt x="457" y="21"/>
                  <a:pt x="457" y="21"/>
                  <a:pt x="457" y="21"/>
                </a:cubicBezTo>
                <a:cubicBezTo>
                  <a:pt x="455" y="22"/>
                  <a:pt x="455" y="22"/>
                  <a:pt x="455" y="22"/>
                </a:cubicBezTo>
                <a:cubicBezTo>
                  <a:pt x="455" y="23"/>
                  <a:pt x="455" y="23"/>
                  <a:pt x="455" y="23"/>
                </a:cubicBezTo>
                <a:cubicBezTo>
                  <a:pt x="449" y="27"/>
                  <a:pt x="449" y="27"/>
                  <a:pt x="449" y="27"/>
                </a:cubicBezTo>
                <a:cubicBezTo>
                  <a:pt x="447" y="27"/>
                  <a:pt x="447" y="27"/>
                  <a:pt x="447" y="27"/>
                </a:cubicBezTo>
                <a:cubicBezTo>
                  <a:pt x="444" y="27"/>
                  <a:pt x="444" y="27"/>
                  <a:pt x="444" y="27"/>
                </a:cubicBezTo>
                <a:cubicBezTo>
                  <a:pt x="442" y="30"/>
                  <a:pt x="442" y="30"/>
                  <a:pt x="442" y="30"/>
                </a:cubicBezTo>
                <a:cubicBezTo>
                  <a:pt x="442" y="32"/>
                  <a:pt x="442" y="32"/>
                  <a:pt x="442" y="32"/>
                </a:cubicBezTo>
                <a:cubicBezTo>
                  <a:pt x="440" y="31"/>
                  <a:pt x="440" y="31"/>
                  <a:pt x="440" y="31"/>
                </a:cubicBezTo>
                <a:cubicBezTo>
                  <a:pt x="439" y="32"/>
                  <a:pt x="439" y="32"/>
                  <a:pt x="439" y="32"/>
                </a:cubicBezTo>
                <a:cubicBezTo>
                  <a:pt x="438" y="31"/>
                  <a:pt x="438" y="31"/>
                  <a:pt x="438" y="31"/>
                </a:cubicBezTo>
                <a:cubicBezTo>
                  <a:pt x="437" y="32"/>
                  <a:pt x="437" y="32"/>
                  <a:pt x="437" y="32"/>
                </a:cubicBezTo>
                <a:cubicBezTo>
                  <a:pt x="439" y="34"/>
                  <a:pt x="439" y="34"/>
                  <a:pt x="439" y="34"/>
                </a:cubicBezTo>
                <a:cubicBezTo>
                  <a:pt x="437" y="33"/>
                  <a:pt x="437" y="33"/>
                  <a:pt x="437" y="33"/>
                </a:cubicBezTo>
                <a:cubicBezTo>
                  <a:pt x="436" y="31"/>
                  <a:pt x="436" y="31"/>
                  <a:pt x="436" y="31"/>
                </a:cubicBezTo>
                <a:cubicBezTo>
                  <a:pt x="437" y="29"/>
                  <a:pt x="437" y="29"/>
                  <a:pt x="437" y="29"/>
                </a:cubicBezTo>
                <a:cubicBezTo>
                  <a:pt x="438" y="29"/>
                  <a:pt x="438" y="29"/>
                  <a:pt x="438" y="29"/>
                </a:cubicBezTo>
                <a:cubicBezTo>
                  <a:pt x="439" y="27"/>
                  <a:pt x="439" y="27"/>
                  <a:pt x="439" y="27"/>
                </a:cubicBezTo>
                <a:cubicBezTo>
                  <a:pt x="441" y="26"/>
                  <a:pt x="441" y="26"/>
                  <a:pt x="441" y="26"/>
                </a:cubicBezTo>
                <a:cubicBezTo>
                  <a:pt x="442" y="27"/>
                  <a:pt x="442" y="27"/>
                  <a:pt x="442" y="27"/>
                </a:cubicBezTo>
                <a:cubicBezTo>
                  <a:pt x="444" y="26"/>
                  <a:pt x="444" y="26"/>
                  <a:pt x="444" y="26"/>
                </a:cubicBezTo>
                <a:cubicBezTo>
                  <a:pt x="444" y="25"/>
                  <a:pt x="444" y="25"/>
                  <a:pt x="444" y="25"/>
                </a:cubicBezTo>
                <a:cubicBezTo>
                  <a:pt x="446" y="23"/>
                  <a:pt x="446" y="23"/>
                  <a:pt x="446" y="23"/>
                </a:cubicBezTo>
                <a:cubicBezTo>
                  <a:pt x="447" y="24"/>
                  <a:pt x="447" y="24"/>
                  <a:pt x="447" y="24"/>
                </a:cubicBezTo>
                <a:cubicBezTo>
                  <a:pt x="451" y="22"/>
                  <a:pt x="451" y="22"/>
                  <a:pt x="451" y="22"/>
                </a:cubicBezTo>
                <a:cubicBezTo>
                  <a:pt x="453" y="19"/>
                  <a:pt x="453" y="19"/>
                  <a:pt x="453" y="19"/>
                </a:cubicBezTo>
                <a:cubicBezTo>
                  <a:pt x="455" y="19"/>
                  <a:pt x="455" y="19"/>
                  <a:pt x="455" y="19"/>
                </a:cubicBezTo>
                <a:cubicBezTo>
                  <a:pt x="459" y="19"/>
                  <a:pt x="459" y="19"/>
                  <a:pt x="459" y="19"/>
                </a:cubicBezTo>
                <a:cubicBezTo>
                  <a:pt x="459" y="18"/>
                  <a:pt x="459" y="18"/>
                  <a:pt x="459" y="18"/>
                </a:cubicBezTo>
                <a:cubicBezTo>
                  <a:pt x="462" y="18"/>
                  <a:pt x="462" y="18"/>
                  <a:pt x="462" y="18"/>
                </a:cubicBezTo>
                <a:cubicBezTo>
                  <a:pt x="465" y="17"/>
                  <a:pt x="465" y="17"/>
                  <a:pt x="465" y="17"/>
                </a:cubicBezTo>
                <a:cubicBezTo>
                  <a:pt x="466" y="18"/>
                  <a:pt x="466" y="18"/>
                  <a:pt x="466" y="18"/>
                </a:cubicBezTo>
                <a:cubicBezTo>
                  <a:pt x="467" y="18"/>
                  <a:pt x="467" y="18"/>
                  <a:pt x="467" y="18"/>
                </a:cubicBezTo>
                <a:cubicBezTo>
                  <a:pt x="469" y="17"/>
                  <a:pt x="469" y="17"/>
                  <a:pt x="469" y="17"/>
                </a:cubicBezTo>
                <a:cubicBezTo>
                  <a:pt x="470" y="17"/>
                  <a:pt x="470" y="17"/>
                  <a:pt x="470" y="17"/>
                </a:cubicBezTo>
                <a:cubicBezTo>
                  <a:pt x="473" y="17"/>
                  <a:pt x="473" y="17"/>
                  <a:pt x="473" y="17"/>
                </a:cubicBezTo>
                <a:cubicBezTo>
                  <a:pt x="474" y="15"/>
                  <a:pt x="474" y="15"/>
                  <a:pt x="474" y="15"/>
                </a:cubicBezTo>
                <a:cubicBezTo>
                  <a:pt x="478" y="14"/>
                  <a:pt x="478" y="14"/>
                  <a:pt x="478" y="14"/>
                </a:cubicBezTo>
                <a:cubicBezTo>
                  <a:pt x="482" y="12"/>
                  <a:pt x="482" y="12"/>
                  <a:pt x="482" y="12"/>
                </a:cubicBezTo>
                <a:cubicBezTo>
                  <a:pt x="483" y="11"/>
                  <a:pt x="483" y="11"/>
                  <a:pt x="483" y="11"/>
                </a:cubicBezTo>
                <a:cubicBezTo>
                  <a:pt x="484" y="11"/>
                  <a:pt x="484" y="11"/>
                  <a:pt x="484" y="11"/>
                </a:cubicBezTo>
                <a:cubicBezTo>
                  <a:pt x="485" y="10"/>
                  <a:pt x="485" y="10"/>
                  <a:pt x="485" y="10"/>
                </a:cubicBezTo>
                <a:cubicBezTo>
                  <a:pt x="484" y="9"/>
                  <a:pt x="484" y="9"/>
                  <a:pt x="484" y="9"/>
                </a:cubicBezTo>
                <a:cubicBezTo>
                  <a:pt x="484" y="7"/>
                  <a:pt x="484" y="7"/>
                  <a:pt x="484" y="7"/>
                </a:cubicBezTo>
                <a:cubicBezTo>
                  <a:pt x="482" y="6"/>
                  <a:pt x="482" y="6"/>
                  <a:pt x="482" y="6"/>
                </a:cubicBezTo>
                <a:cubicBezTo>
                  <a:pt x="482" y="7"/>
                  <a:pt x="482" y="7"/>
                  <a:pt x="482" y="7"/>
                </a:cubicBezTo>
                <a:cubicBezTo>
                  <a:pt x="482" y="8"/>
                  <a:pt x="482" y="8"/>
                  <a:pt x="482" y="8"/>
                </a:cubicBezTo>
                <a:cubicBezTo>
                  <a:pt x="480" y="9"/>
                  <a:pt x="480" y="9"/>
                  <a:pt x="480" y="9"/>
                </a:cubicBezTo>
                <a:cubicBezTo>
                  <a:pt x="479" y="8"/>
                  <a:pt x="479" y="8"/>
                  <a:pt x="479" y="8"/>
                </a:cubicBezTo>
                <a:cubicBezTo>
                  <a:pt x="478" y="8"/>
                  <a:pt x="478" y="8"/>
                  <a:pt x="478" y="8"/>
                </a:cubicBezTo>
                <a:cubicBezTo>
                  <a:pt x="478" y="7"/>
                  <a:pt x="478" y="7"/>
                  <a:pt x="478" y="7"/>
                </a:cubicBezTo>
                <a:cubicBezTo>
                  <a:pt x="476" y="7"/>
                  <a:pt x="476" y="7"/>
                  <a:pt x="476" y="7"/>
                </a:cubicBezTo>
                <a:cubicBezTo>
                  <a:pt x="472" y="8"/>
                  <a:pt x="472" y="8"/>
                  <a:pt x="472" y="8"/>
                </a:cubicBezTo>
                <a:cubicBezTo>
                  <a:pt x="472" y="10"/>
                  <a:pt x="472" y="10"/>
                  <a:pt x="472" y="10"/>
                </a:cubicBezTo>
                <a:cubicBezTo>
                  <a:pt x="470" y="11"/>
                  <a:pt x="470" y="11"/>
                  <a:pt x="470" y="11"/>
                </a:cubicBezTo>
                <a:cubicBezTo>
                  <a:pt x="469" y="9"/>
                  <a:pt x="469" y="9"/>
                  <a:pt x="469" y="9"/>
                </a:cubicBezTo>
                <a:cubicBezTo>
                  <a:pt x="468" y="10"/>
                  <a:pt x="468" y="10"/>
                  <a:pt x="468" y="10"/>
                </a:cubicBezTo>
                <a:cubicBezTo>
                  <a:pt x="466" y="11"/>
                  <a:pt x="466" y="11"/>
                  <a:pt x="466" y="11"/>
                </a:cubicBezTo>
                <a:cubicBezTo>
                  <a:pt x="462" y="12"/>
                  <a:pt x="462" y="12"/>
                  <a:pt x="462" y="12"/>
                </a:cubicBezTo>
                <a:cubicBezTo>
                  <a:pt x="456" y="13"/>
                  <a:pt x="456" y="13"/>
                  <a:pt x="456" y="13"/>
                </a:cubicBezTo>
                <a:cubicBezTo>
                  <a:pt x="455" y="12"/>
                  <a:pt x="455" y="12"/>
                  <a:pt x="455" y="12"/>
                </a:cubicBezTo>
                <a:cubicBezTo>
                  <a:pt x="454" y="12"/>
                  <a:pt x="454" y="12"/>
                  <a:pt x="454" y="12"/>
                </a:cubicBezTo>
                <a:cubicBezTo>
                  <a:pt x="454" y="12"/>
                  <a:pt x="454" y="12"/>
                  <a:pt x="454" y="12"/>
                </a:cubicBezTo>
                <a:cubicBezTo>
                  <a:pt x="453" y="13"/>
                  <a:pt x="453" y="13"/>
                  <a:pt x="453" y="13"/>
                </a:cubicBezTo>
                <a:cubicBezTo>
                  <a:pt x="451" y="13"/>
                  <a:pt x="451" y="13"/>
                  <a:pt x="451" y="13"/>
                </a:cubicBezTo>
                <a:cubicBezTo>
                  <a:pt x="450" y="13"/>
                  <a:pt x="450" y="13"/>
                  <a:pt x="450" y="13"/>
                </a:cubicBezTo>
                <a:cubicBezTo>
                  <a:pt x="449" y="15"/>
                  <a:pt x="449" y="15"/>
                  <a:pt x="449" y="15"/>
                </a:cubicBezTo>
                <a:cubicBezTo>
                  <a:pt x="446" y="18"/>
                  <a:pt x="446" y="18"/>
                  <a:pt x="446" y="18"/>
                </a:cubicBezTo>
                <a:cubicBezTo>
                  <a:pt x="445" y="17"/>
                  <a:pt x="445" y="17"/>
                  <a:pt x="445" y="17"/>
                </a:cubicBezTo>
                <a:cubicBezTo>
                  <a:pt x="443" y="17"/>
                  <a:pt x="443" y="17"/>
                  <a:pt x="443" y="17"/>
                </a:cubicBezTo>
                <a:cubicBezTo>
                  <a:pt x="443" y="17"/>
                  <a:pt x="443" y="17"/>
                  <a:pt x="443" y="17"/>
                </a:cubicBezTo>
                <a:cubicBezTo>
                  <a:pt x="440" y="17"/>
                  <a:pt x="440" y="17"/>
                  <a:pt x="440" y="17"/>
                </a:cubicBezTo>
                <a:cubicBezTo>
                  <a:pt x="439" y="18"/>
                  <a:pt x="439" y="18"/>
                  <a:pt x="439" y="18"/>
                </a:cubicBezTo>
                <a:cubicBezTo>
                  <a:pt x="438" y="18"/>
                  <a:pt x="438" y="18"/>
                  <a:pt x="438" y="18"/>
                </a:cubicBezTo>
                <a:cubicBezTo>
                  <a:pt x="437" y="19"/>
                  <a:pt x="437" y="19"/>
                  <a:pt x="437" y="19"/>
                </a:cubicBezTo>
                <a:cubicBezTo>
                  <a:pt x="435" y="20"/>
                  <a:pt x="435" y="20"/>
                  <a:pt x="435" y="20"/>
                </a:cubicBezTo>
                <a:cubicBezTo>
                  <a:pt x="433" y="21"/>
                  <a:pt x="433" y="21"/>
                  <a:pt x="433" y="21"/>
                </a:cubicBezTo>
                <a:cubicBezTo>
                  <a:pt x="431" y="23"/>
                  <a:pt x="431" y="23"/>
                  <a:pt x="431" y="23"/>
                </a:cubicBezTo>
                <a:cubicBezTo>
                  <a:pt x="427" y="24"/>
                  <a:pt x="427" y="24"/>
                  <a:pt x="427" y="24"/>
                </a:cubicBezTo>
                <a:cubicBezTo>
                  <a:pt x="426" y="26"/>
                  <a:pt x="426" y="26"/>
                  <a:pt x="426" y="26"/>
                </a:cubicBezTo>
                <a:cubicBezTo>
                  <a:pt x="426" y="29"/>
                  <a:pt x="426" y="29"/>
                  <a:pt x="426" y="29"/>
                </a:cubicBezTo>
                <a:cubicBezTo>
                  <a:pt x="426" y="35"/>
                  <a:pt x="426" y="35"/>
                  <a:pt x="426" y="35"/>
                </a:cubicBezTo>
                <a:cubicBezTo>
                  <a:pt x="426" y="37"/>
                  <a:pt x="426" y="37"/>
                  <a:pt x="426" y="37"/>
                </a:cubicBezTo>
                <a:cubicBezTo>
                  <a:pt x="425" y="37"/>
                  <a:pt x="425" y="37"/>
                  <a:pt x="425" y="37"/>
                </a:cubicBezTo>
                <a:cubicBezTo>
                  <a:pt x="423" y="38"/>
                  <a:pt x="423" y="38"/>
                  <a:pt x="423" y="38"/>
                </a:cubicBezTo>
                <a:cubicBezTo>
                  <a:pt x="419" y="41"/>
                  <a:pt x="419" y="41"/>
                  <a:pt x="419" y="41"/>
                </a:cubicBezTo>
                <a:cubicBezTo>
                  <a:pt x="420" y="40"/>
                  <a:pt x="420" y="40"/>
                  <a:pt x="420" y="40"/>
                </a:cubicBezTo>
                <a:cubicBezTo>
                  <a:pt x="422" y="37"/>
                  <a:pt x="422" y="37"/>
                  <a:pt x="422" y="37"/>
                </a:cubicBezTo>
                <a:cubicBezTo>
                  <a:pt x="423" y="36"/>
                  <a:pt x="423" y="36"/>
                  <a:pt x="423" y="36"/>
                </a:cubicBezTo>
                <a:cubicBezTo>
                  <a:pt x="422" y="35"/>
                  <a:pt x="422" y="35"/>
                  <a:pt x="422" y="35"/>
                </a:cubicBezTo>
                <a:cubicBezTo>
                  <a:pt x="422" y="34"/>
                  <a:pt x="422" y="34"/>
                  <a:pt x="422" y="34"/>
                </a:cubicBezTo>
                <a:cubicBezTo>
                  <a:pt x="419" y="31"/>
                  <a:pt x="419" y="31"/>
                  <a:pt x="419" y="31"/>
                </a:cubicBezTo>
                <a:cubicBezTo>
                  <a:pt x="418" y="31"/>
                  <a:pt x="418" y="31"/>
                  <a:pt x="418" y="31"/>
                </a:cubicBezTo>
                <a:cubicBezTo>
                  <a:pt x="417" y="29"/>
                  <a:pt x="417" y="29"/>
                  <a:pt x="417" y="29"/>
                </a:cubicBezTo>
                <a:cubicBezTo>
                  <a:pt x="416" y="29"/>
                  <a:pt x="416" y="29"/>
                  <a:pt x="416" y="29"/>
                </a:cubicBezTo>
                <a:cubicBezTo>
                  <a:pt x="416" y="26"/>
                  <a:pt x="416" y="26"/>
                  <a:pt x="416" y="26"/>
                </a:cubicBezTo>
                <a:cubicBezTo>
                  <a:pt x="413" y="23"/>
                  <a:pt x="413" y="23"/>
                  <a:pt x="413" y="23"/>
                </a:cubicBezTo>
                <a:cubicBezTo>
                  <a:pt x="413" y="23"/>
                  <a:pt x="413" y="23"/>
                  <a:pt x="413" y="23"/>
                </a:cubicBezTo>
                <a:cubicBezTo>
                  <a:pt x="412" y="22"/>
                  <a:pt x="412" y="22"/>
                  <a:pt x="412" y="22"/>
                </a:cubicBezTo>
                <a:cubicBezTo>
                  <a:pt x="411" y="21"/>
                  <a:pt x="411" y="21"/>
                  <a:pt x="411" y="21"/>
                </a:cubicBezTo>
                <a:cubicBezTo>
                  <a:pt x="410" y="20"/>
                  <a:pt x="410" y="20"/>
                  <a:pt x="410" y="20"/>
                </a:cubicBezTo>
                <a:cubicBezTo>
                  <a:pt x="409" y="21"/>
                  <a:pt x="409" y="21"/>
                  <a:pt x="409" y="21"/>
                </a:cubicBezTo>
                <a:cubicBezTo>
                  <a:pt x="408" y="19"/>
                  <a:pt x="408" y="19"/>
                  <a:pt x="408" y="19"/>
                </a:cubicBezTo>
                <a:cubicBezTo>
                  <a:pt x="404" y="16"/>
                  <a:pt x="404" y="16"/>
                  <a:pt x="404" y="16"/>
                </a:cubicBezTo>
                <a:cubicBezTo>
                  <a:pt x="403" y="13"/>
                  <a:pt x="403" y="13"/>
                  <a:pt x="403" y="13"/>
                </a:cubicBezTo>
                <a:cubicBezTo>
                  <a:pt x="403" y="10"/>
                  <a:pt x="403" y="10"/>
                  <a:pt x="403" y="10"/>
                </a:cubicBezTo>
                <a:cubicBezTo>
                  <a:pt x="403" y="9"/>
                  <a:pt x="403" y="9"/>
                  <a:pt x="403" y="9"/>
                </a:cubicBezTo>
                <a:cubicBezTo>
                  <a:pt x="402" y="10"/>
                  <a:pt x="402" y="10"/>
                  <a:pt x="402" y="10"/>
                </a:cubicBezTo>
                <a:cubicBezTo>
                  <a:pt x="401" y="10"/>
                  <a:pt x="401" y="10"/>
                  <a:pt x="401" y="10"/>
                </a:cubicBezTo>
                <a:cubicBezTo>
                  <a:pt x="400" y="8"/>
                  <a:pt x="400" y="8"/>
                  <a:pt x="400" y="8"/>
                </a:cubicBezTo>
                <a:cubicBezTo>
                  <a:pt x="401" y="5"/>
                  <a:pt x="401" y="5"/>
                  <a:pt x="401" y="5"/>
                </a:cubicBezTo>
                <a:cubicBezTo>
                  <a:pt x="401" y="5"/>
                  <a:pt x="401" y="5"/>
                  <a:pt x="401" y="5"/>
                </a:cubicBezTo>
                <a:cubicBezTo>
                  <a:pt x="401" y="3"/>
                  <a:pt x="401" y="3"/>
                  <a:pt x="401" y="3"/>
                </a:cubicBezTo>
                <a:cubicBezTo>
                  <a:pt x="399" y="1"/>
                  <a:pt x="399" y="1"/>
                  <a:pt x="399" y="1"/>
                </a:cubicBezTo>
                <a:cubicBezTo>
                  <a:pt x="399" y="0"/>
                  <a:pt x="399" y="0"/>
                  <a:pt x="399" y="0"/>
                </a:cubicBezTo>
                <a:cubicBezTo>
                  <a:pt x="172" y="0"/>
                  <a:pt x="172" y="0"/>
                  <a:pt x="172" y="0"/>
                </a:cubicBezTo>
                <a:cubicBezTo>
                  <a:pt x="171" y="2"/>
                  <a:pt x="171" y="2"/>
                  <a:pt x="171" y="2"/>
                </a:cubicBezTo>
                <a:cubicBezTo>
                  <a:pt x="176" y="5"/>
                  <a:pt x="176" y="5"/>
                  <a:pt x="176" y="5"/>
                </a:cubicBezTo>
                <a:cubicBezTo>
                  <a:pt x="175" y="6"/>
                  <a:pt x="175" y="6"/>
                  <a:pt x="175" y="6"/>
                </a:cubicBezTo>
                <a:cubicBezTo>
                  <a:pt x="173" y="6"/>
                  <a:pt x="173" y="6"/>
                  <a:pt x="173" y="6"/>
                </a:cubicBezTo>
                <a:cubicBezTo>
                  <a:pt x="173" y="7"/>
                  <a:pt x="173" y="7"/>
                  <a:pt x="173" y="7"/>
                </a:cubicBezTo>
                <a:cubicBezTo>
                  <a:pt x="172" y="13"/>
                  <a:pt x="172" y="13"/>
                  <a:pt x="172" y="13"/>
                </a:cubicBezTo>
                <a:cubicBezTo>
                  <a:pt x="172" y="15"/>
                  <a:pt x="172" y="15"/>
                  <a:pt x="172" y="15"/>
                </a:cubicBezTo>
                <a:cubicBezTo>
                  <a:pt x="174" y="16"/>
                  <a:pt x="174" y="16"/>
                  <a:pt x="174" y="16"/>
                </a:cubicBezTo>
                <a:cubicBezTo>
                  <a:pt x="175" y="15"/>
                  <a:pt x="175" y="15"/>
                  <a:pt x="175" y="15"/>
                </a:cubicBezTo>
                <a:cubicBezTo>
                  <a:pt x="177" y="14"/>
                  <a:pt x="177" y="14"/>
                  <a:pt x="177" y="14"/>
                </a:cubicBezTo>
                <a:cubicBezTo>
                  <a:pt x="179" y="15"/>
                  <a:pt x="179" y="15"/>
                  <a:pt x="179" y="15"/>
                </a:cubicBezTo>
                <a:cubicBezTo>
                  <a:pt x="180" y="16"/>
                  <a:pt x="180" y="16"/>
                  <a:pt x="180" y="16"/>
                </a:cubicBezTo>
                <a:cubicBezTo>
                  <a:pt x="182" y="15"/>
                  <a:pt x="182" y="15"/>
                  <a:pt x="182" y="15"/>
                </a:cubicBezTo>
                <a:cubicBezTo>
                  <a:pt x="185" y="16"/>
                  <a:pt x="185" y="16"/>
                  <a:pt x="185" y="16"/>
                </a:cubicBezTo>
                <a:cubicBezTo>
                  <a:pt x="188" y="18"/>
                  <a:pt x="188" y="18"/>
                  <a:pt x="188" y="18"/>
                </a:cubicBezTo>
                <a:cubicBezTo>
                  <a:pt x="185" y="19"/>
                  <a:pt x="185" y="19"/>
                  <a:pt x="185" y="19"/>
                </a:cubicBezTo>
                <a:cubicBezTo>
                  <a:pt x="186" y="21"/>
                  <a:pt x="186" y="21"/>
                  <a:pt x="186" y="21"/>
                </a:cubicBezTo>
                <a:cubicBezTo>
                  <a:pt x="185" y="23"/>
                  <a:pt x="185" y="23"/>
                  <a:pt x="185" y="23"/>
                </a:cubicBezTo>
                <a:cubicBezTo>
                  <a:pt x="182" y="24"/>
                  <a:pt x="182" y="24"/>
                  <a:pt x="182" y="24"/>
                </a:cubicBezTo>
                <a:cubicBezTo>
                  <a:pt x="182" y="22"/>
                  <a:pt x="182" y="22"/>
                  <a:pt x="182" y="22"/>
                </a:cubicBezTo>
                <a:cubicBezTo>
                  <a:pt x="180" y="21"/>
                  <a:pt x="180" y="21"/>
                  <a:pt x="180" y="21"/>
                </a:cubicBezTo>
                <a:cubicBezTo>
                  <a:pt x="179" y="22"/>
                  <a:pt x="179" y="22"/>
                  <a:pt x="179" y="22"/>
                </a:cubicBezTo>
                <a:cubicBezTo>
                  <a:pt x="176" y="22"/>
                  <a:pt x="176" y="22"/>
                  <a:pt x="176" y="22"/>
                </a:cubicBezTo>
                <a:cubicBezTo>
                  <a:pt x="175" y="20"/>
                  <a:pt x="175" y="20"/>
                  <a:pt x="175" y="20"/>
                </a:cubicBezTo>
                <a:cubicBezTo>
                  <a:pt x="174" y="18"/>
                  <a:pt x="174" y="18"/>
                  <a:pt x="174" y="18"/>
                </a:cubicBezTo>
                <a:cubicBezTo>
                  <a:pt x="173" y="17"/>
                  <a:pt x="173" y="17"/>
                  <a:pt x="173" y="17"/>
                </a:cubicBezTo>
                <a:cubicBezTo>
                  <a:pt x="172" y="17"/>
                  <a:pt x="172" y="17"/>
                  <a:pt x="172" y="17"/>
                </a:cubicBezTo>
                <a:cubicBezTo>
                  <a:pt x="169" y="15"/>
                  <a:pt x="169" y="15"/>
                  <a:pt x="169" y="15"/>
                </a:cubicBezTo>
                <a:cubicBezTo>
                  <a:pt x="170" y="12"/>
                  <a:pt x="170" y="12"/>
                  <a:pt x="170" y="12"/>
                </a:cubicBezTo>
                <a:cubicBezTo>
                  <a:pt x="172" y="6"/>
                  <a:pt x="172" y="6"/>
                  <a:pt x="172" y="6"/>
                </a:cubicBezTo>
                <a:cubicBezTo>
                  <a:pt x="171" y="4"/>
                  <a:pt x="171" y="4"/>
                  <a:pt x="171" y="4"/>
                </a:cubicBezTo>
                <a:cubicBezTo>
                  <a:pt x="171" y="4"/>
                  <a:pt x="171" y="4"/>
                  <a:pt x="171" y="4"/>
                </a:cubicBezTo>
                <a:cubicBezTo>
                  <a:pt x="169" y="6"/>
                  <a:pt x="169" y="6"/>
                  <a:pt x="169" y="6"/>
                </a:cubicBezTo>
                <a:cubicBezTo>
                  <a:pt x="169" y="12"/>
                  <a:pt x="169" y="12"/>
                  <a:pt x="169" y="12"/>
                </a:cubicBezTo>
                <a:cubicBezTo>
                  <a:pt x="168" y="16"/>
                  <a:pt x="168" y="16"/>
                  <a:pt x="168" y="16"/>
                </a:cubicBezTo>
                <a:cubicBezTo>
                  <a:pt x="166" y="18"/>
                  <a:pt x="166" y="18"/>
                  <a:pt x="166" y="18"/>
                </a:cubicBezTo>
                <a:cubicBezTo>
                  <a:pt x="166" y="19"/>
                  <a:pt x="166" y="19"/>
                  <a:pt x="166" y="19"/>
                </a:cubicBezTo>
                <a:cubicBezTo>
                  <a:pt x="167" y="17"/>
                  <a:pt x="167" y="17"/>
                  <a:pt x="167" y="17"/>
                </a:cubicBezTo>
                <a:cubicBezTo>
                  <a:pt x="169" y="17"/>
                  <a:pt x="169" y="17"/>
                  <a:pt x="169" y="17"/>
                </a:cubicBezTo>
                <a:cubicBezTo>
                  <a:pt x="170" y="18"/>
                  <a:pt x="170" y="18"/>
                  <a:pt x="170" y="18"/>
                </a:cubicBezTo>
                <a:cubicBezTo>
                  <a:pt x="172" y="18"/>
                  <a:pt x="172" y="18"/>
                  <a:pt x="172" y="18"/>
                </a:cubicBezTo>
                <a:cubicBezTo>
                  <a:pt x="173" y="21"/>
                  <a:pt x="173" y="21"/>
                  <a:pt x="173" y="21"/>
                </a:cubicBezTo>
                <a:cubicBezTo>
                  <a:pt x="173" y="24"/>
                  <a:pt x="173" y="24"/>
                  <a:pt x="173" y="24"/>
                </a:cubicBezTo>
                <a:cubicBezTo>
                  <a:pt x="171" y="26"/>
                  <a:pt x="171" y="26"/>
                  <a:pt x="171" y="26"/>
                </a:cubicBezTo>
                <a:cubicBezTo>
                  <a:pt x="168" y="28"/>
                  <a:pt x="168" y="28"/>
                  <a:pt x="168" y="28"/>
                </a:cubicBezTo>
                <a:cubicBezTo>
                  <a:pt x="171" y="24"/>
                  <a:pt x="171" y="24"/>
                  <a:pt x="171" y="24"/>
                </a:cubicBezTo>
                <a:cubicBezTo>
                  <a:pt x="170" y="23"/>
                  <a:pt x="170" y="23"/>
                  <a:pt x="170" y="23"/>
                </a:cubicBezTo>
                <a:cubicBezTo>
                  <a:pt x="169" y="22"/>
                  <a:pt x="169" y="22"/>
                  <a:pt x="169" y="22"/>
                </a:cubicBezTo>
                <a:cubicBezTo>
                  <a:pt x="168" y="22"/>
                  <a:pt x="168" y="22"/>
                  <a:pt x="168" y="22"/>
                </a:cubicBezTo>
                <a:cubicBezTo>
                  <a:pt x="167" y="23"/>
                  <a:pt x="167" y="23"/>
                  <a:pt x="167" y="23"/>
                </a:cubicBezTo>
                <a:cubicBezTo>
                  <a:pt x="164" y="25"/>
                  <a:pt x="164" y="25"/>
                  <a:pt x="164" y="25"/>
                </a:cubicBezTo>
                <a:cubicBezTo>
                  <a:pt x="164" y="27"/>
                  <a:pt x="164" y="27"/>
                  <a:pt x="164" y="27"/>
                </a:cubicBezTo>
                <a:cubicBezTo>
                  <a:pt x="162" y="28"/>
                  <a:pt x="162" y="28"/>
                  <a:pt x="162" y="28"/>
                </a:cubicBezTo>
                <a:cubicBezTo>
                  <a:pt x="160" y="28"/>
                  <a:pt x="160" y="28"/>
                  <a:pt x="160" y="28"/>
                </a:cubicBezTo>
                <a:cubicBezTo>
                  <a:pt x="160" y="26"/>
                  <a:pt x="160" y="26"/>
                  <a:pt x="160" y="26"/>
                </a:cubicBezTo>
                <a:cubicBezTo>
                  <a:pt x="159" y="26"/>
                  <a:pt x="159" y="26"/>
                  <a:pt x="159" y="26"/>
                </a:cubicBezTo>
                <a:cubicBezTo>
                  <a:pt x="156" y="26"/>
                  <a:pt x="156" y="26"/>
                  <a:pt x="156" y="26"/>
                </a:cubicBezTo>
                <a:cubicBezTo>
                  <a:pt x="155" y="26"/>
                  <a:pt x="155" y="26"/>
                  <a:pt x="155" y="26"/>
                </a:cubicBezTo>
                <a:cubicBezTo>
                  <a:pt x="155" y="23"/>
                  <a:pt x="155" y="23"/>
                  <a:pt x="155" y="23"/>
                </a:cubicBezTo>
                <a:cubicBezTo>
                  <a:pt x="153" y="23"/>
                  <a:pt x="153" y="23"/>
                  <a:pt x="153" y="23"/>
                </a:cubicBezTo>
                <a:cubicBezTo>
                  <a:pt x="152" y="24"/>
                  <a:pt x="152" y="24"/>
                  <a:pt x="152" y="24"/>
                </a:cubicBezTo>
                <a:cubicBezTo>
                  <a:pt x="150" y="23"/>
                  <a:pt x="150" y="23"/>
                  <a:pt x="150" y="23"/>
                </a:cubicBezTo>
                <a:cubicBezTo>
                  <a:pt x="150" y="22"/>
                  <a:pt x="150" y="22"/>
                  <a:pt x="150" y="22"/>
                </a:cubicBezTo>
                <a:cubicBezTo>
                  <a:pt x="149" y="21"/>
                  <a:pt x="149" y="21"/>
                  <a:pt x="149" y="21"/>
                </a:cubicBezTo>
                <a:cubicBezTo>
                  <a:pt x="147" y="22"/>
                  <a:pt x="147" y="22"/>
                  <a:pt x="147" y="22"/>
                </a:cubicBezTo>
                <a:cubicBezTo>
                  <a:pt x="147" y="22"/>
                  <a:pt x="147" y="22"/>
                  <a:pt x="147" y="22"/>
                </a:cubicBezTo>
                <a:cubicBezTo>
                  <a:pt x="146" y="19"/>
                  <a:pt x="146" y="19"/>
                  <a:pt x="146" y="19"/>
                </a:cubicBezTo>
                <a:cubicBezTo>
                  <a:pt x="146" y="18"/>
                  <a:pt x="146" y="18"/>
                  <a:pt x="146" y="18"/>
                </a:cubicBezTo>
                <a:cubicBezTo>
                  <a:pt x="146" y="17"/>
                  <a:pt x="146" y="17"/>
                  <a:pt x="146" y="17"/>
                </a:cubicBezTo>
                <a:cubicBezTo>
                  <a:pt x="148" y="16"/>
                  <a:pt x="148" y="16"/>
                  <a:pt x="148" y="16"/>
                </a:cubicBezTo>
                <a:cubicBezTo>
                  <a:pt x="150" y="13"/>
                  <a:pt x="150" y="13"/>
                  <a:pt x="150" y="13"/>
                </a:cubicBezTo>
                <a:cubicBezTo>
                  <a:pt x="151" y="13"/>
                  <a:pt x="151" y="13"/>
                  <a:pt x="151" y="13"/>
                </a:cubicBezTo>
                <a:cubicBezTo>
                  <a:pt x="152" y="11"/>
                  <a:pt x="152" y="11"/>
                  <a:pt x="152" y="11"/>
                </a:cubicBezTo>
                <a:cubicBezTo>
                  <a:pt x="152" y="10"/>
                  <a:pt x="152" y="10"/>
                  <a:pt x="152" y="10"/>
                </a:cubicBezTo>
                <a:cubicBezTo>
                  <a:pt x="149" y="7"/>
                  <a:pt x="149" y="7"/>
                  <a:pt x="149" y="7"/>
                </a:cubicBezTo>
                <a:cubicBezTo>
                  <a:pt x="148" y="7"/>
                  <a:pt x="148" y="7"/>
                  <a:pt x="148" y="7"/>
                </a:cubicBezTo>
                <a:cubicBezTo>
                  <a:pt x="146" y="6"/>
                  <a:pt x="146" y="6"/>
                  <a:pt x="146" y="6"/>
                </a:cubicBezTo>
                <a:cubicBezTo>
                  <a:pt x="143" y="8"/>
                  <a:pt x="143" y="8"/>
                  <a:pt x="143" y="8"/>
                </a:cubicBezTo>
                <a:cubicBezTo>
                  <a:pt x="141" y="8"/>
                  <a:pt x="141" y="8"/>
                  <a:pt x="141" y="8"/>
                </a:cubicBezTo>
                <a:cubicBezTo>
                  <a:pt x="139" y="7"/>
                  <a:pt x="139" y="7"/>
                  <a:pt x="139" y="7"/>
                </a:cubicBezTo>
                <a:cubicBezTo>
                  <a:pt x="137" y="7"/>
                  <a:pt x="137" y="7"/>
                  <a:pt x="137" y="7"/>
                </a:cubicBezTo>
                <a:cubicBezTo>
                  <a:pt x="131" y="10"/>
                  <a:pt x="131" y="10"/>
                  <a:pt x="131" y="10"/>
                </a:cubicBezTo>
                <a:cubicBezTo>
                  <a:pt x="131" y="11"/>
                  <a:pt x="131" y="11"/>
                  <a:pt x="131" y="11"/>
                </a:cubicBezTo>
                <a:cubicBezTo>
                  <a:pt x="132" y="12"/>
                  <a:pt x="132" y="12"/>
                  <a:pt x="132" y="12"/>
                </a:cubicBezTo>
                <a:cubicBezTo>
                  <a:pt x="134" y="14"/>
                  <a:pt x="134" y="14"/>
                  <a:pt x="134" y="14"/>
                </a:cubicBezTo>
                <a:cubicBezTo>
                  <a:pt x="134" y="14"/>
                  <a:pt x="134" y="14"/>
                  <a:pt x="134" y="14"/>
                </a:cubicBezTo>
                <a:cubicBezTo>
                  <a:pt x="132" y="14"/>
                  <a:pt x="132" y="14"/>
                  <a:pt x="132" y="14"/>
                </a:cubicBezTo>
                <a:cubicBezTo>
                  <a:pt x="130" y="14"/>
                  <a:pt x="130" y="14"/>
                  <a:pt x="130" y="14"/>
                </a:cubicBezTo>
                <a:cubicBezTo>
                  <a:pt x="129" y="13"/>
                  <a:pt x="129" y="13"/>
                  <a:pt x="129" y="13"/>
                </a:cubicBezTo>
                <a:cubicBezTo>
                  <a:pt x="128" y="12"/>
                  <a:pt x="128" y="12"/>
                  <a:pt x="128" y="12"/>
                </a:cubicBezTo>
                <a:cubicBezTo>
                  <a:pt x="124" y="12"/>
                  <a:pt x="124" y="12"/>
                  <a:pt x="124" y="12"/>
                </a:cubicBezTo>
                <a:cubicBezTo>
                  <a:pt x="120" y="12"/>
                  <a:pt x="120" y="12"/>
                  <a:pt x="120" y="12"/>
                </a:cubicBezTo>
                <a:cubicBezTo>
                  <a:pt x="119" y="14"/>
                  <a:pt x="119" y="14"/>
                  <a:pt x="119" y="14"/>
                </a:cubicBezTo>
                <a:cubicBezTo>
                  <a:pt x="119" y="15"/>
                  <a:pt x="119" y="15"/>
                  <a:pt x="119" y="15"/>
                </a:cubicBezTo>
                <a:cubicBezTo>
                  <a:pt x="117" y="15"/>
                  <a:pt x="117" y="15"/>
                  <a:pt x="117" y="15"/>
                </a:cubicBezTo>
                <a:cubicBezTo>
                  <a:pt x="116" y="14"/>
                  <a:pt x="116" y="14"/>
                  <a:pt x="116" y="14"/>
                </a:cubicBezTo>
                <a:cubicBezTo>
                  <a:pt x="115" y="14"/>
                  <a:pt x="115" y="14"/>
                  <a:pt x="115" y="14"/>
                </a:cubicBezTo>
                <a:cubicBezTo>
                  <a:pt x="112" y="16"/>
                  <a:pt x="112" y="16"/>
                  <a:pt x="112" y="16"/>
                </a:cubicBezTo>
                <a:cubicBezTo>
                  <a:pt x="112" y="17"/>
                  <a:pt x="112" y="17"/>
                  <a:pt x="112" y="17"/>
                </a:cubicBezTo>
                <a:cubicBezTo>
                  <a:pt x="110" y="17"/>
                  <a:pt x="110" y="17"/>
                  <a:pt x="110" y="17"/>
                </a:cubicBezTo>
                <a:cubicBezTo>
                  <a:pt x="107" y="19"/>
                  <a:pt x="107" y="19"/>
                  <a:pt x="107" y="19"/>
                </a:cubicBezTo>
                <a:cubicBezTo>
                  <a:pt x="105" y="20"/>
                  <a:pt x="105" y="20"/>
                  <a:pt x="105" y="20"/>
                </a:cubicBezTo>
                <a:cubicBezTo>
                  <a:pt x="104" y="20"/>
                  <a:pt x="104" y="20"/>
                  <a:pt x="104" y="20"/>
                </a:cubicBezTo>
                <a:cubicBezTo>
                  <a:pt x="104" y="20"/>
                  <a:pt x="104" y="20"/>
                  <a:pt x="104" y="20"/>
                </a:cubicBezTo>
                <a:cubicBezTo>
                  <a:pt x="105" y="18"/>
                  <a:pt x="105" y="18"/>
                  <a:pt x="105" y="18"/>
                </a:cubicBezTo>
                <a:cubicBezTo>
                  <a:pt x="103" y="19"/>
                  <a:pt x="103" y="19"/>
                  <a:pt x="103" y="19"/>
                </a:cubicBezTo>
                <a:cubicBezTo>
                  <a:pt x="102" y="21"/>
                  <a:pt x="102" y="21"/>
                  <a:pt x="102" y="21"/>
                </a:cubicBezTo>
                <a:cubicBezTo>
                  <a:pt x="102" y="22"/>
                  <a:pt x="102" y="22"/>
                  <a:pt x="102" y="22"/>
                </a:cubicBezTo>
                <a:cubicBezTo>
                  <a:pt x="104" y="26"/>
                  <a:pt x="104" y="26"/>
                  <a:pt x="104" y="26"/>
                </a:cubicBezTo>
                <a:cubicBezTo>
                  <a:pt x="107" y="30"/>
                  <a:pt x="107" y="30"/>
                  <a:pt x="107" y="30"/>
                </a:cubicBezTo>
                <a:cubicBezTo>
                  <a:pt x="110" y="30"/>
                  <a:pt x="110" y="30"/>
                  <a:pt x="110" y="30"/>
                </a:cubicBezTo>
                <a:cubicBezTo>
                  <a:pt x="112" y="33"/>
                  <a:pt x="112" y="33"/>
                  <a:pt x="112" y="33"/>
                </a:cubicBezTo>
                <a:cubicBezTo>
                  <a:pt x="114" y="35"/>
                  <a:pt x="114" y="35"/>
                  <a:pt x="114" y="35"/>
                </a:cubicBezTo>
                <a:cubicBezTo>
                  <a:pt x="115" y="37"/>
                  <a:pt x="115" y="37"/>
                  <a:pt x="115" y="37"/>
                </a:cubicBezTo>
                <a:cubicBezTo>
                  <a:pt x="117" y="37"/>
                  <a:pt x="117" y="37"/>
                  <a:pt x="117" y="37"/>
                </a:cubicBezTo>
                <a:cubicBezTo>
                  <a:pt x="119" y="39"/>
                  <a:pt x="119" y="39"/>
                  <a:pt x="119" y="39"/>
                </a:cubicBezTo>
                <a:cubicBezTo>
                  <a:pt x="119" y="39"/>
                  <a:pt x="119" y="39"/>
                  <a:pt x="119" y="39"/>
                </a:cubicBezTo>
                <a:cubicBezTo>
                  <a:pt x="115" y="39"/>
                  <a:pt x="115" y="39"/>
                  <a:pt x="115" y="39"/>
                </a:cubicBezTo>
                <a:cubicBezTo>
                  <a:pt x="115" y="37"/>
                  <a:pt x="115" y="37"/>
                  <a:pt x="115" y="37"/>
                </a:cubicBezTo>
                <a:cubicBezTo>
                  <a:pt x="112" y="36"/>
                  <a:pt x="112" y="36"/>
                  <a:pt x="112" y="36"/>
                </a:cubicBezTo>
                <a:cubicBezTo>
                  <a:pt x="111" y="35"/>
                  <a:pt x="111" y="35"/>
                  <a:pt x="111" y="35"/>
                </a:cubicBezTo>
                <a:cubicBezTo>
                  <a:pt x="110" y="35"/>
                  <a:pt x="110" y="35"/>
                  <a:pt x="110" y="35"/>
                </a:cubicBezTo>
                <a:cubicBezTo>
                  <a:pt x="108" y="37"/>
                  <a:pt x="108" y="37"/>
                  <a:pt x="108" y="37"/>
                </a:cubicBezTo>
                <a:cubicBezTo>
                  <a:pt x="107" y="37"/>
                  <a:pt x="107" y="37"/>
                  <a:pt x="107" y="37"/>
                </a:cubicBezTo>
                <a:cubicBezTo>
                  <a:pt x="105" y="35"/>
                  <a:pt x="105" y="35"/>
                  <a:pt x="105" y="35"/>
                </a:cubicBezTo>
                <a:cubicBezTo>
                  <a:pt x="107" y="33"/>
                  <a:pt x="107" y="33"/>
                  <a:pt x="107" y="33"/>
                </a:cubicBezTo>
                <a:cubicBezTo>
                  <a:pt x="107" y="32"/>
                  <a:pt x="107" y="32"/>
                  <a:pt x="107" y="32"/>
                </a:cubicBezTo>
                <a:cubicBezTo>
                  <a:pt x="105" y="33"/>
                  <a:pt x="105" y="33"/>
                  <a:pt x="105" y="33"/>
                </a:cubicBezTo>
                <a:cubicBezTo>
                  <a:pt x="104" y="35"/>
                  <a:pt x="104" y="35"/>
                  <a:pt x="104" y="35"/>
                </a:cubicBezTo>
                <a:cubicBezTo>
                  <a:pt x="104" y="39"/>
                  <a:pt x="104" y="39"/>
                  <a:pt x="104" y="39"/>
                </a:cubicBezTo>
                <a:cubicBezTo>
                  <a:pt x="105" y="39"/>
                  <a:pt x="105" y="39"/>
                  <a:pt x="105" y="39"/>
                </a:cubicBezTo>
                <a:cubicBezTo>
                  <a:pt x="105" y="41"/>
                  <a:pt x="105" y="41"/>
                  <a:pt x="105" y="41"/>
                </a:cubicBezTo>
                <a:cubicBezTo>
                  <a:pt x="103" y="43"/>
                  <a:pt x="103" y="43"/>
                  <a:pt x="103" y="43"/>
                </a:cubicBezTo>
                <a:cubicBezTo>
                  <a:pt x="101" y="46"/>
                  <a:pt x="101" y="46"/>
                  <a:pt x="101" y="46"/>
                </a:cubicBezTo>
                <a:cubicBezTo>
                  <a:pt x="101" y="48"/>
                  <a:pt x="101" y="48"/>
                  <a:pt x="101" y="48"/>
                </a:cubicBezTo>
                <a:cubicBezTo>
                  <a:pt x="101" y="51"/>
                  <a:pt x="101" y="51"/>
                  <a:pt x="101" y="51"/>
                </a:cubicBezTo>
                <a:cubicBezTo>
                  <a:pt x="104" y="55"/>
                  <a:pt x="104" y="55"/>
                  <a:pt x="104" y="55"/>
                </a:cubicBezTo>
                <a:cubicBezTo>
                  <a:pt x="108" y="56"/>
                  <a:pt x="108" y="56"/>
                  <a:pt x="108" y="56"/>
                </a:cubicBezTo>
                <a:cubicBezTo>
                  <a:pt x="110" y="59"/>
                  <a:pt x="110" y="59"/>
                  <a:pt x="110" y="59"/>
                </a:cubicBezTo>
                <a:cubicBezTo>
                  <a:pt x="111" y="59"/>
                  <a:pt x="111" y="59"/>
                  <a:pt x="111" y="59"/>
                </a:cubicBezTo>
                <a:cubicBezTo>
                  <a:pt x="114" y="57"/>
                  <a:pt x="114" y="57"/>
                  <a:pt x="114" y="57"/>
                </a:cubicBezTo>
                <a:cubicBezTo>
                  <a:pt x="117" y="56"/>
                  <a:pt x="117" y="56"/>
                  <a:pt x="117" y="56"/>
                </a:cubicBezTo>
                <a:cubicBezTo>
                  <a:pt x="119" y="57"/>
                  <a:pt x="119" y="57"/>
                  <a:pt x="119" y="57"/>
                </a:cubicBezTo>
                <a:cubicBezTo>
                  <a:pt x="124" y="58"/>
                  <a:pt x="124" y="58"/>
                  <a:pt x="124" y="58"/>
                </a:cubicBezTo>
                <a:cubicBezTo>
                  <a:pt x="125" y="59"/>
                  <a:pt x="125" y="59"/>
                  <a:pt x="125" y="59"/>
                </a:cubicBezTo>
                <a:cubicBezTo>
                  <a:pt x="126" y="61"/>
                  <a:pt x="126" y="61"/>
                  <a:pt x="126" y="61"/>
                </a:cubicBezTo>
                <a:cubicBezTo>
                  <a:pt x="127" y="62"/>
                  <a:pt x="127" y="62"/>
                  <a:pt x="127" y="62"/>
                </a:cubicBezTo>
                <a:cubicBezTo>
                  <a:pt x="128" y="61"/>
                  <a:pt x="128" y="61"/>
                  <a:pt x="128" y="61"/>
                </a:cubicBezTo>
                <a:cubicBezTo>
                  <a:pt x="128" y="58"/>
                  <a:pt x="128" y="58"/>
                  <a:pt x="128" y="58"/>
                </a:cubicBezTo>
                <a:cubicBezTo>
                  <a:pt x="128" y="57"/>
                  <a:pt x="128" y="57"/>
                  <a:pt x="128" y="57"/>
                </a:cubicBezTo>
                <a:cubicBezTo>
                  <a:pt x="131" y="58"/>
                  <a:pt x="131" y="58"/>
                  <a:pt x="131" y="58"/>
                </a:cubicBezTo>
                <a:cubicBezTo>
                  <a:pt x="130" y="59"/>
                  <a:pt x="130" y="59"/>
                  <a:pt x="130" y="59"/>
                </a:cubicBezTo>
                <a:cubicBezTo>
                  <a:pt x="128" y="62"/>
                  <a:pt x="128" y="62"/>
                  <a:pt x="128" y="62"/>
                </a:cubicBezTo>
                <a:cubicBezTo>
                  <a:pt x="128" y="64"/>
                  <a:pt x="128" y="64"/>
                  <a:pt x="128" y="64"/>
                </a:cubicBezTo>
                <a:cubicBezTo>
                  <a:pt x="129" y="64"/>
                  <a:pt x="129" y="64"/>
                  <a:pt x="129" y="64"/>
                </a:cubicBezTo>
                <a:cubicBezTo>
                  <a:pt x="132" y="61"/>
                  <a:pt x="132" y="61"/>
                  <a:pt x="132" y="61"/>
                </a:cubicBezTo>
                <a:cubicBezTo>
                  <a:pt x="133" y="60"/>
                  <a:pt x="133" y="60"/>
                  <a:pt x="133" y="60"/>
                </a:cubicBezTo>
                <a:cubicBezTo>
                  <a:pt x="136" y="60"/>
                  <a:pt x="136" y="60"/>
                  <a:pt x="136" y="60"/>
                </a:cubicBezTo>
                <a:cubicBezTo>
                  <a:pt x="140" y="57"/>
                  <a:pt x="140" y="57"/>
                  <a:pt x="140" y="57"/>
                </a:cubicBezTo>
                <a:cubicBezTo>
                  <a:pt x="143" y="57"/>
                  <a:pt x="143" y="57"/>
                  <a:pt x="143" y="57"/>
                </a:cubicBezTo>
                <a:cubicBezTo>
                  <a:pt x="145" y="55"/>
                  <a:pt x="145" y="55"/>
                  <a:pt x="145" y="55"/>
                </a:cubicBezTo>
                <a:cubicBezTo>
                  <a:pt x="145" y="55"/>
                  <a:pt x="145" y="55"/>
                  <a:pt x="145" y="55"/>
                </a:cubicBezTo>
                <a:cubicBezTo>
                  <a:pt x="146" y="56"/>
                  <a:pt x="146" y="56"/>
                  <a:pt x="146" y="56"/>
                </a:cubicBezTo>
                <a:cubicBezTo>
                  <a:pt x="147" y="56"/>
                  <a:pt x="147" y="56"/>
                  <a:pt x="147" y="56"/>
                </a:cubicBezTo>
                <a:cubicBezTo>
                  <a:pt x="150" y="54"/>
                  <a:pt x="150" y="54"/>
                  <a:pt x="150" y="54"/>
                </a:cubicBezTo>
                <a:cubicBezTo>
                  <a:pt x="153" y="54"/>
                  <a:pt x="153" y="54"/>
                  <a:pt x="153" y="54"/>
                </a:cubicBezTo>
                <a:cubicBezTo>
                  <a:pt x="154" y="53"/>
                  <a:pt x="154" y="53"/>
                  <a:pt x="154" y="53"/>
                </a:cubicBezTo>
                <a:cubicBezTo>
                  <a:pt x="153" y="55"/>
                  <a:pt x="153" y="55"/>
                  <a:pt x="153" y="55"/>
                </a:cubicBezTo>
                <a:cubicBezTo>
                  <a:pt x="151" y="56"/>
                  <a:pt x="151" y="56"/>
                  <a:pt x="151" y="56"/>
                </a:cubicBezTo>
                <a:cubicBezTo>
                  <a:pt x="151" y="57"/>
                  <a:pt x="151" y="57"/>
                  <a:pt x="151" y="57"/>
                </a:cubicBezTo>
                <a:cubicBezTo>
                  <a:pt x="152" y="58"/>
                  <a:pt x="152" y="58"/>
                  <a:pt x="152" y="58"/>
                </a:cubicBezTo>
                <a:cubicBezTo>
                  <a:pt x="150" y="61"/>
                  <a:pt x="150" y="61"/>
                  <a:pt x="150" y="61"/>
                </a:cubicBezTo>
                <a:cubicBezTo>
                  <a:pt x="147" y="62"/>
                  <a:pt x="147" y="62"/>
                  <a:pt x="147" y="62"/>
                </a:cubicBezTo>
                <a:cubicBezTo>
                  <a:pt x="146" y="61"/>
                  <a:pt x="146" y="61"/>
                  <a:pt x="146" y="61"/>
                </a:cubicBezTo>
                <a:cubicBezTo>
                  <a:pt x="145" y="60"/>
                  <a:pt x="145" y="60"/>
                  <a:pt x="145" y="60"/>
                </a:cubicBezTo>
                <a:cubicBezTo>
                  <a:pt x="142" y="63"/>
                  <a:pt x="142" y="63"/>
                  <a:pt x="142" y="63"/>
                </a:cubicBezTo>
                <a:cubicBezTo>
                  <a:pt x="142" y="63"/>
                  <a:pt x="142" y="63"/>
                  <a:pt x="142" y="63"/>
                </a:cubicBezTo>
                <a:cubicBezTo>
                  <a:pt x="145" y="63"/>
                  <a:pt x="145" y="63"/>
                  <a:pt x="145" y="63"/>
                </a:cubicBezTo>
                <a:cubicBezTo>
                  <a:pt x="146" y="65"/>
                  <a:pt x="146" y="65"/>
                  <a:pt x="146" y="65"/>
                </a:cubicBezTo>
                <a:cubicBezTo>
                  <a:pt x="146" y="68"/>
                  <a:pt x="146" y="68"/>
                  <a:pt x="146" y="68"/>
                </a:cubicBezTo>
                <a:cubicBezTo>
                  <a:pt x="142" y="71"/>
                  <a:pt x="142" y="71"/>
                  <a:pt x="142" y="71"/>
                </a:cubicBezTo>
                <a:cubicBezTo>
                  <a:pt x="142" y="73"/>
                  <a:pt x="142" y="73"/>
                  <a:pt x="142" y="73"/>
                </a:cubicBezTo>
                <a:cubicBezTo>
                  <a:pt x="141" y="75"/>
                  <a:pt x="141" y="75"/>
                  <a:pt x="141" y="75"/>
                </a:cubicBezTo>
                <a:cubicBezTo>
                  <a:pt x="140" y="76"/>
                  <a:pt x="140" y="76"/>
                  <a:pt x="140" y="76"/>
                </a:cubicBezTo>
                <a:cubicBezTo>
                  <a:pt x="141" y="77"/>
                  <a:pt x="141" y="77"/>
                  <a:pt x="141" y="77"/>
                </a:cubicBezTo>
                <a:cubicBezTo>
                  <a:pt x="141" y="79"/>
                  <a:pt x="141" y="79"/>
                  <a:pt x="141" y="79"/>
                </a:cubicBezTo>
                <a:cubicBezTo>
                  <a:pt x="141" y="81"/>
                  <a:pt x="141" y="81"/>
                  <a:pt x="141" y="81"/>
                </a:cubicBezTo>
                <a:cubicBezTo>
                  <a:pt x="139" y="83"/>
                  <a:pt x="139" y="83"/>
                  <a:pt x="139" y="83"/>
                </a:cubicBezTo>
                <a:cubicBezTo>
                  <a:pt x="137" y="84"/>
                  <a:pt x="137" y="84"/>
                  <a:pt x="137" y="84"/>
                </a:cubicBezTo>
                <a:cubicBezTo>
                  <a:pt x="135" y="84"/>
                  <a:pt x="135" y="84"/>
                  <a:pt x="135" y="84"/>
                </a:cubicBezTo>
                <a:cubicBezTo>
                  <a:pt x="134" y="85"/>
                  <a:pt x="134" y="85"/>
                  <a:pt x="134" y="85"/>
                </a:cubicBezTo>
                <a:cubicBezTo>
                  <a:pt x="132" y="87"/>
                  <a:pt x="132" y="87"/>
                  <a:pt x="132" y="87"/>
                </a:cubicBezTo>
                <a:cubicBezTo>
                  <a:pt x="130" y="87"/>
                  <a:pt x="130" y="87"/>
                  <a:pt x="130" y="87"/>
                </a:cubicBezTo>
                <a:cubicBezTo>
                  <a:pt x="128" y="87"/>
                  <a:pt x="128" y="87"/>
                  <a:pt x="128" y="87"/>
                </a:cubicBezTo>
                <a:cubicBezTo>
                  <a:pt x="125" y="85"/>
                  <a:pt x="125" y="85"/>
                  <a:pt x="125" y="85"/>
                </a:cubicBezTo>
                <a:cubicBezTo>
                  <a:pt x="124" y="86"/>
                  <a:pt x="124" y="86"/>
                  <a:pt x="124" y="86"/>
                </a:cubicBezTo>
                <a:cubicBezTo>
                  <a:pt x="123" y="85"/>
                  <a:pt x="123" y="85"/>
                  <a:pt x="123" y="85"/>
                </a:cubicBezTo>
                <a:cubicBezTo>
                  <a:pt x="122" y="83"/>
                  <a:pt x="122" y="83"/>
                  <a:pt x="122" y="83"/>
                </a:cubicBezTo>
                <a:cubicBezTo>
                  <a:pt x="121" y="83"/>
                  <a:pt x="121" y="83"/>
                  <a:pt x="121" y="83"/>
                </a:cubicBezTo>
                <a:cubicBezTo>
                  <a:pt x="119" y="86"/>
                  <a:pt x="119" y="86"/>
                  <a:pt x="119" y="86"/>
                </a:cubicBezTo>
                <a:cubicBezTo>
                  <a:pt x="117" y="87"/>
                  <a:pt x="117" y="87"/>
                  <a:pt x="117" y="87"/>
                </a:cubicBezTo>
                <a:cubicBezTo>
                  <a:pt x="115" y="89"/>
                  <a:pt x="115" y="89"/>
                  <a:pt x="115" y="89"/>
                </a:cubicBezTo>
                <a:cubicBezTo>
                  <a:pt x="111" y="91"/>
                  <a:pt x="111" y="91"/>
                  <a:pt x="111" y="91"/>
                </a:cubicBezTo>
                <a:cubicBezTo>
                  <a:pt x="110" y="92"/>
                  <a:pt x="110" y="92"/>
                  <a:pt x="110" y="92"/>
                </a:cubicBezTo>
                <a:cubicBezTo>
                  <a:pt x="108" y="92"/>
                  <a:pt x="108" y="92"/>
                  <a:pt x="108" y="92"/>
                </a:cubicBezTo>
                <a:cubicBezTo>
                  <a:pt x="106" y="91"/>
                  <a:pt x="106" y="91"/>
                  <a:pt x="106" y="91"/>
                </a:cubicBezTo>
                <a:cubicBezTo>
                  <a:pt x="103" y="91"/>
                  <a:pt x="103" y="91"/>
                  <a:pt x="103" y="91"/>
                </a:cubicBezTo>
                <a:cubicBezTo>
                  <a:pt x="101" y="93"/>
                  <a:pt x="101" y="93"/>
                  <a:pt x="101" y="93"/>
                </a:cubicBezTo>
                <a:cubicBezTo>
                  <a:pt x="99" y="93"/>
                  <a:pt x="99" y="93"/>
                  <a:pt x="99" y="93"/>
                </a:cubicBezTo>
                <a:cubicBezTo>
                  <a:pt x="97" y="94"/>
                  <a:pt x="97" y="94"/>
                  <a:pt x="97" y="94"/>
                </a:cubicBezTo>
                <a:cubicBezTo>
                  <a:pt x="97" y="97"/>
                  <a:pt x="97" y="97"/>
                  <a:pt x="97" y="97"/>
                </a:cubicBezTo>
                <a:cubicBezTo>
                  <a:pt x="96" y="100"/>
                  <a:pt x="96" y="100"/>
                  <a:pt x="96" y="100"/>
                </a:cubicBezTo>
                <a:cubicBezTo>
                  <a:pt x="94" y="102"/>
                  <a:pt x="94" y="102"/>
                  <a:pt x="94" y="102"/>
                </a:cubicBezTo>
                <a:cubicBezTo>
                  <a:pt x="94" y="101"/>
                  <a:pt x="94" y="101"/>
                  <a:pt x="94" y="101"/>
                </a:cubicBezTo>
                <a:cubicBezTo>
                  <a:pt x="92" y="98"/>
                  <a:pt x="92" y="98"/>
                  <a:pt x="92" y="98"/>
                </a:cubicBezTo>
                <a:cubicBezTo>
                  <a:pt x="89" y="98"/>
                  <a:pt x="89" y="98"/>
                  <a:pt x="89" y="98"/>
                </a:cubicBezTo>
                <a:cubicBezTo>
                  <a:pt x="88" y="99"/>
                  <a:pt x="88" y="99"/>
                  <a:pt x="88" y="99"/>
                </a:cubicBezTo>
                <a:cubicBezTo>
                  <a:pt x="88" y="100"/>
                  <a:pt x="88" y="100"/>
                  <a:pt x="88" y="100"/>
                </a:cubicBezTo>
                <a:cubicBezTo>
                  <a:pt x="89" y="101"/>
                  <a:pt x="89" y="101"/>
                  <a:pt x="89" y="101"/>
                </a:cubicBezTo>
                <a:cubicBezTo>
                  <a:pt x="88" y="103"/>
                  <a:pt x="88" y="103"/>
                  <a:pt x="88" y="103"/>
                </a:cubicBezTo>
                <a:cubicBezTo>
                  <a:pt x="87" y="103"/>
                  <a:pt x="87" y="103"/>
                  <a:pt x="87" y="103"/>
                </a:cubicBezTo>
                <a:cubicBezTo>
                  <a:pt x="87" y="101"/>
                  <a:pt x="87" y="101"/>
                  <a:pt x="87" y="101"/>
                </a:cubicBezTo>
                <a:cubicBezTo>
                  <a:pt x="85" y="99"/>
                  <a:pt x="85" y="99"/>
                  <a:pt x="85" y="99"/>
                </a:cubicBezTo>
                <a:cubicBezTo>
                  <a:pt x="84" y="99"/>
                  <a:pt x="84" y="99"/>
                  <a:pt x="84" y="99"/>
                </a:cubicBezTo>
                <a:cubicBezTo>
                  <a:pt x="81" y="102"/>
                  <a:pt x="81" y="102"/>
                  <a:pt x="81" y="102"/>
                </a:cubicBezTo>
                <a:cubicBezTo>
                  <a:pt x="80" y="104"/>
                  <a:pt x="80" y="104"/>
                  <a:pt x="80" y="104"/>
                </a:cubicBezTo>
                <a:cubicBezTo>
                  <a:pt x="79" y="105"/>
                  <a:pt x="79" y="105"/>
                  <a:pt x="79" y="105"/>
                </a:cubicBezTo>
                <a:cubicBezTo>
                  <a:pt x="78" y="105"/>
                  <a:pt x="78" y="105"/>
                  <a:pt x="78" y="105"/>
                </a:cubicBezTo>
                <a:cubicBezTo>
                  <a:pt x="73" y="109"/>
                  <a:pt x="73" y="109"/>
                  <a:pt x="73" y="109"/>
                </a:cubicBezTo>
                <a:cubicBezTo>
                  <a:pt x="72" y="112"/>
                  <a:pt x="72" y="112"/>
                  <a:pt x="72" y="112"/>
                </a:cubicBezTo>
                <a:cubicBezTo>
                  <a:pt x="71" y="113"/>
                  <a:pt x="71" y="113"/>
                  <a:pt x="71" y="113"/>
                </a:cubicBezTo>
                <a:cubicBezTo>
                  <a:pt x="69" y="113"/>
                  <a:pt x="69" y="113"/>
                  <a:pt x="69" y="113"/>
                </a:cubicBezTo>
                <a:cubicBezTo>
                  <a:pt x="67" y="113"/>
                  <a:pt x="67" y="113"/>
                  <a:pt x="67" y="113"/>
                </a:cubicBezTo>
                <a:cubicBezTo>
                  <a:pt x="67" y="113"/>
                  <a:pt x="67" y="113"/>
                  <a:pt x="67" y="113"/>
                </a:cubicBezTo>
                <a:cubicBezTo>
                  <a:pt x="69" y="115"/>
                  <a:pt x="69" y="115"/>
                  <a:pt x="69" y="115"/>
                </a:cubicBezTo>
                <a:cubicBezTo>
                  <a:pt x="68" y="117"/>
                  <a:pt x="68" y="117"/>
                  <a:pt x="68" y="117"/>
                </a:cubicBezTo>
                <a:cubicBezTo>
                  <a:pt x="67" y="117"/>
                  <a:pt x="67" y="117"/>
                  <a:pt x="67" y="117"/>
                </a:cubicBezTo>
                <a:cubicBezTo>
                  <a:pt x="66" y="115"/>
                  <a:pt x="66" y="115"/>
                  <a:pt x="66" y="115"/>
                </a:cubicBezTo>
                <a:cubicBezTo>
                  <a:pt x="65" y="115"/>
                  <a:pt x="65" y="115"/>
                  <a:pt x="65" y="115"/>
                </a:cubicBezTo>
                <a:cubicBezTo>
                  <a:pt x="64" y="117"/>
                  <a:pt x="64" y="117"/>
                  <a:pt x="64" y="117"/>
                </a:cubicBezTo>
                <a:cubicBezTo>
                  <a:pt x="62" y="120"/>
                  <a:pt x="62" y="120"/>
                  <a:pt x="62" y="120"/>
                </a:cubicBezTo>
                <a:cubicBezTo>
                  <a:pt x="62" y="121"/>
                  <a:pt x="62" y="121"/>
                  <a:pt x="62" y="121"/>
                </a:cubicBezTo>
                <a:cubicBezTo>
                  <a:pt x="64" y="124"/>
                  <a:pt x="64" y="124"/>
                  <a:pt x="64" y="124"/>
                </a:cubicBezTo>
                <a:cubicBezTo>
                  <a:pt x="64" y="126"/>
                  <a:pt x="64" y="126"/>
                  <a:pt x="64" y="126"/>
                </a:cubicBezTo>
                <a:cubicBezTo>
                  <a:pt x="64" y="128"/>
                  <a:pt x="64" y="128"/>
                  <a:pt x="64" y="128"/>
                </a:cubicBezTo>
                <a:cubicBezTo>
                  <a:pt x="63" y="130"/>
                  <a:pt x="63" y="130"/>
                  <a:pt x="63" y="130"/>
                </a:cubicBezTo>
                <a:cubicBezTo>
                  <a:pt x="63" y="132"/>
                  <a:pt x="63" y="132"/>
                  <a:pt x="63" y="132"/>
                </a:cubicBezTo>
                <a:cubicBezTo>
                  <a:pt x="64" y="131"/>
                  <a:pt x="64" y="131"/>
                  <a:pt x="64" y="131"/>
                </a:cubicBezTo>
                <a:cubicBezTo>
                  <a:pt x="65" y="130"/>
                  <a:pt x="65" y="130"/>
                  <a:pt x="65" y="130"/>
                </a:cubicBezTo>
                <a:cubicBezTo>
                  <a:pt x="66" y="131"/>
                  <a:pt x="66" y="131"/>
                  <a:pt x="66" y="131"/>
                </a:cubicBezTo>
                <a:cubicBezTo>
                  <a:pt x="66" y="134"/>
                  <a:pt x="66" y="134"/>
                  <a:pt x="66" y="134"/>
                </a:cubicBezTo>
                <a:cubicBezTo>
                  <a:pt x="65" y="134"/>
                  <a:pt x="65" y="134"/>
                  <a:pt x="65" y="134"/>
                </a:cubicBezTo>
                <a:cubicBezTo>
                  <a:pt x="65" y="135"/>
                  <a:pt x="65" y="135"/>
                  <a:pt x="65" y="135"/>
                </a:cubicBezTo>
                <a:cubicBezTo>
                  <a:pt x="65" y="136"/>
                  <a:pt x="65" y="136"/>
                  <a:pt x="65" y="136"/>
                </a:cubicBezTo>
                <a:cubicBezTo>
                  <a:pt x="66" y="136"/>
                  <a:pt x="66" y="136"/>
                  <a:pt x="66" y="136"/>
                </a:cubicBezTo>
                <a:cubicBezTo>
                  <a:pt x="67" y="135"/>
                  <a:pt x="67" y="135"/>
                  <a:pt x="67" y="135"/>
                </a:cubicBezTo>
                <a:cubicBezTo>
                  <a:pt x="69" y="135"/>
                  <a:pt x="69" y="135"/>
                  <a:pt x="69" y="135"/>
                </a:cubicBezTo>
                <a:cubicBezTo>
                  <a:pt x="69" y="136"/>
                  <a:pt x="69" y="136"/>
                  <a:pt x="69" y="136"/>
                </a:cubicBezTo>
                <a:cubicBezTo>
                  <a:pt x="69" y="137"/>
                  <a:pt x="69" y="137"/>
                  <a:pt x="69" y="137"/>
                </a:cubicBezTo>
                <a:cubicBezTo>
                  <a:pt x="72" y="137"/>
                  <a:pt x="72" y="137"/>
                  <a:pt x="72" y="137"/>
                </a:cubicBezTo>
                <a:cubicBezTo>
                  <a:pt x="73" y="138"/>
                  <a:pt x="73" y="138"/>
                  <a:pt x="73" y="138"/>
                </a:cubicBezTo>
                <a:cubicBezTo>
                  <a:pt x="75" y="138"/>
                  <a:pt x="75" y="138"/>
                  <a:pt x="75" y="138"/>
                </a:cubicBezTo>
                <a:cubicBezTo>
                  <a:pt x="77" y="136"/>
                  <a:pt x="77" y="136"/>
                  <a:pt x="77" y="136"/>
                </a:cubicBezTo>
                <a:cubicBezTo>
                  <a:pt x="78" y="133"/>
                  <a:pt x="78" y="133"/>
                  <a:pt x="78" y="133"/>
                </a:cubicBezTo>
                <a:cubicBezTo>
                  <a:pt x="79" y="131"/>
                  <a:pt x="79" y="131"/>
                  <a:pt x="79" y="131"/>
                </a:cubicBezTo>
                <a:cubicBezTo>
                  <a:pt x="83" y="131"/>
                  <a:pt x="83" y="131"/>
                  <a:pt x="83" y="131"/>
                </a:cubicBezTo>
                <a:cubicBezTo>
                  <a:pt x="84" y="130"/>
                  <a:pt x="84" y="130"/>
                  <a:pt x="84" y="130"/>
                </a:cubicBezTo>
                <a:cubicBezTo>
                  <a:pt x="82" y="132"/>
                  <a:pt x="82" y="132"/>
                  <a:pt x="82" y="132"/>
                </a:cubicBezTo>
                <a:cubicBezTo>
                  <a:pt x="81" y="132"/>
                  <a:pt x="81" y="132"/>
                  <a:pt x="81" y="132"/>
                </a:cubicBezTo>
                <a:cubicBezTo>
                  <a:pt x="78" y="136"/>
                  <a:pt x="78" y="136"/>
                  <a:pt x="78" y="136"/>
                </a:cubicBezTo>
                <a:cubicBezTo>
                  <a:pt x="77" y="138"/>
                  <a:pt x="77" y="138"/>
                  <a:pt x="77" y="138"/>
                </a:cubicBezTo>
                <a:cubicBezTo>
                  <a:pt x="76" y="139"/>
                  <a:pt x="76" y="139"/>
                  <a:pt x="76" y="139"/>
                </a:cubicBezTo>
                <a:cubicBezTo>
                  <a:pt x="78" y="141"/>
                  <a:pt x="78" y="141"/>
                  <a:pt x="78" y="141"/>
                </a:cubicBezTo>
                <a:cubicBezTo>
                  <a:pt x="78" y="142"/>
                  <a:pt x="78" y="142"/>
                  <a:pt x="78" y="142"/>
                </a:cubicBezTo>
                <a:cubicBezTo>
                  <a:pt x="75" y="143"/>
                  <a:pt x="75" y="143"/>
                  <a:pt x="75" y="143"/>
                </a:cubicBezTo>
                <a:cubicBezTo>
                  <a:pt x="74" y="142"/>
                  <a:pt x="74" y="142"/>
                  <a:pt x="74" y="142"/>
                </a:cubicBezTo>
                <a:cubicBezTo>
                  <a:pt x="74" y="141"/>
                  <a:pt x="74" y="141"/>
                  <a:pt x="74" y="141"/>
                </a:cubicBezTo>
                <a:cubicBezTo>
                  <a:pt x="74" y="140"/>
                  <a:pt x="74" y="140"/>
                  <a:pt x="74" y="140"/>
                </a:cubicBezTo>
                <a:cubicBezTo>
                  <a:pt x="72" y="140"/>
                  <a:pt x="72" y="140"/>
                  <a:pt x="72" y="140"/>
                </a:cubicBezTo>
                <a:cubicBezTo>
                  <a:pt x="71" y="138"/>
                  <a:pt x="71" y="138"/>
                  <a:pt x="71" y="138"/>
                </a:cubicBezTo>
                <a:cubicBezTo>
                  <a:pt x="68" y="138"/>
                  <a:pt x="68" y="138"/>
                  <a:pt x="68" y="138"/>
                </a:cubicBezTo>
                <a:cubicBezTo>
                  <a:pt x="67" y="137"/>
                  <a:pt x="67" y="137"/>
                  <a:pt x="67" y="137"/>
                </a:cubicBezTo>
                <a:cubicBezTo>
                  <a:pt x="65" y="138"/>
                  <a:pt x="65" y="138"/>
                  <a:pt x="65" y="138"/>
                </a:cubicBezTo>
                <a:cubicBezTo>
                  <a:pt x="64" y="138"/>
                  <a:pt x="64" y="138"/>
                  <a:pt x="64" y="138"/>
                </a:cubicBezTo>
                <a:cubicBezTo>
                  <a:pt x="63" y="140"/>
                  <a:pt x="63" y="140"/>
                  <a:pt x="63" y="140"/>
                </a:cubicBezTo>
                <a:cubicBezTo>
                  <a:pt x="62" y="141"/>
                  <a:pt x="62" y="141"/>
                  <a:pt x="62" y="141"/>
                </a:cubicBezTo>
                <a:cubicBezTo>
                  <a:pt x="60" y="140"/>
                  <a:pt x="60" y="140"/>
                  <a:pt x="60" y="140"/>
                </a:cubicBezTo>
                <a:cubicBezTo>
                  <a:pt x="59" y="142"/>
                  <a:pt x="59" y="142"/>
                  <a:pt x="59" y="142"/>
                </a:cubicBezTo>
                <a:cubicBezTo>
                  <a:pt x="60" y="143"/>
                  <a:pt x="60" y="143"/>
                  <a:pt x="60" y="143"/>
                </a:cubicBezTo>
                <a:cubicBezTo>
                  <a:pt x="61" y="144"/>
                  <a:pt x="61" y="144"/>
                  <a:pt x="61" y="144"/>
                </a:cubicBezTo>
                <a:cubicBezTo>
                  <a:pt x="60" y="145"/>
                  <a:pt x="60" y="145"/>
                  <a:pt x="60" y="145"/>
                </a:cubicBezTo>
                <a:cubicBezTo>
                  <a:pt x="60" y="148"/>
                  <a:pt x="60" y="148"/>
                  <a:pt x="60" y="148"/>
                </a:cubicBezTo>
                <a:cubicBezTo>
                  <a:pt x="60" y="150"/>
                  <a:pt x="60" y="150"/>
                  <a:pt x="60" y="150"/>
                </a:cubicBezTo>
                <a:cubicBezTo>
                  <a:pt x="62" y="150"/>
                  <a:pt x="62" y="150"/>
                  <a:pt x="62" y="150"/>
                </a:cubicBezTo>
                <a:cubicBezTo>
                  <a:pt x="62" y="153"/>
                  <a:pt x="62" y="153"/>
                  <a:pt x="62" y="153"/>
                </a:cubicBezTo>
                <a:cubicBezTo>
                  <a:pt x="62" y="154"/>
                  <a:pt x="62" y="154"/>
                  <a:pt x="62" y="154"/>
                </a:cubicBezTo>
                <a:cubicBezTo>
                  <a:pt x="62" y="156"/>
                  <a:pt x="62" y="156"/>
                  <a:pt x="62" y="156"/>
                </a:cubicBezTo>
                <a:cubicBezTo>
                  <a:pt x="64" y="157"/>
                  <a:pt x="64" y="157"/>
                  <a:pt x="64" y="157"/>
                </a:cubicBezTo>
                <a:cubicBezTo>
                  <a:pt x="64" y="158"/>
                  <a:pt x="64" y="158"/>
                  <a:pt x="64" y="158"/>
                </a:cubicBezTo>
                <a:cubicBezTo>
                  <a:pt x="62" y="158"/>
                  <a:pt x="62" y="158"/>
                  <a:pt x="62" y="158"/>
                </a:cubicBezTo>
                <a:cubicBezTo>
                  <a:pt x="61" y="160"/>
                  <a:pt x="61" y="160"/>
                  <a:pt x="61" y="160"/>
                </a:cubicBezTo>
                <a:cubicBezTo>
                  <a:pt x="68" y="163"/>
                  <a:pt x="68" y="163"/>
                  <a:pt x="68" y="163"/>
                </a:cubicBezTo>
                <a:cubicBezTo>
                  <a:pt x="70" y="163"/>
                  <a:pt x="70" y="163"/>
                  <a:pt x="70" y="163"/>
                </a:cubicBezTo>
                <a:cubicBezTo>
                  <a:pt x="73" y="161"/>
                  <a:pt x="73" y="161"/>
                  <a:pt x="73" y="161"/>
                </a:cubicBezTo>
                <a:cubicBezTo>
                  <a:pt x="75" y="161"/>
                  <a:pt x="75" y="161"/>
                  <a:pt x="75" y="161"/>
                </a:cubicBezTo>
                <a:cubicBezTo>
                  <a:pt x="76" y="161"/>
                  <a:pt x="76" y="161"/>
                  <a:pt x="76" y="161"/>
                </a:cubicBezTo>
                <a:cubicBezTo>
                  <a:pt x="77" y="161"/>
                  <a:pt x="77" y="161"/>
                  <a:pt x="77" y="161"/>
                </a:cubicBezTo>
                <a:cubicBezTo>
                  <a:pt x="80" y="158"/>
                  <a:pt x="80" y="158"/>
                  <a:pt x="80" y="158"/>
                </a:cubicBezTo>
                <a:cubicBezTo>
                  <a:pt x="80" y="156"/>
                  <a:pt x="80" y="156"/>
                  <a:pt x="80" y="156"/>
                </a:cubicBezTo>
                <a:cubicBezTo>
                  <a:pt x="79" y="154"/>
                  <a:pt x="79" y="154"/>
                  <a:pt x="79" y="154"/>
                </a:cubicBezTo>
                <a:cubicBezTo>
                  <a:pt x="79" y="154"/>
                  <a:pt x="79" y="154"/>
                  <a:pt x="79" y="154"/>
                </a:cubicBezTo>
                <a:cubicBezTo>
                  <a:pt x="82" y="152"/>
                  <a:pt x="82" y="152"/>
                  <a:pt x="82" y="152"/>
                </a:cubicBezTo>
                <a:cubicBezTo>
                  <a:pt x="85" y="150"/>
                  <a:pt x="85" y="150"/>
                  <a:pt x="85" y="150"/>
                </a:cubicBezTo>
                <a:cubicBezTo>
                  <a:pt x="89" y="147"/>
                  <a:pt x="89" y="147"/>
                  <a:pt x="89" y="147"/>
                </a:cubicBezTo>
                <a:cubicBezTo>
                  <a:pt x="91" y="147"/>
                  <a:pt x="91" y="147"/>
                  <a:pt x="91" y="147"/>
                </a:cubicBezTo>
                <a:cubicBezTo>
                  <a:pt x="89" y="148"/>
                  <a:pt x="89" y="148"/>
                  <a:pt x="89" y="148"/>
                </a:cubicBezTo>
                <a:cubicBezTo>
                  <a:pt x="85" y="152"/>
                  <a:pt x="85" y="152"/>
                  <a:pt x="85" y="152"/>
                </a:cubicBezTo>
                <a:cubicBezTo>
                  <a:pt x="82" y="153"/>
                  <a:pt x="82" y="153"/>
                  <a:pt x="82" y="153"/>
                </a:cubicBezTo>
                <a:cubicBezTo>
                  <a:pt x="82" y="154"/>
                  <a:pt x="82" y="154"/>
                  <a:pt x="82" y="154"/>
                </a:cubicBezTo>
                <a:cubicBezTo>
                  <a:pt x="84" y="156"/>
                  <a:pt x="84" y="156"/>
                  <a:pt x="84" y="156"/>
                </a:cubicBezTo>
                <a:cubicBezTo>
                  <a:pt x="84" y="157"/>
                  <a:pt x="84" y="157"/>
                  <a:pt x="84" y="157"/>
                </a:cubicBezTo>
                <a:cubicBezTo>
                  <a:pt x="82" y="160"/>
                  <a:pt x="82" y="160"/>
                  <a:pt x="82" y="160"/>
                </a:cubicBezTo>
                <a:cubicBezTo>
                  <a:pt x="80" y="161"/>
                  <a:pt x="80" y="161"/>
                  <a:pt x="80" y="161"/>
                </a:cubicBezTo>
                <a:cubicBezTo>
                  <a:pt x="80" y="163"/>
                  <a:pt x="80" y="163"/>
                  <a:pt x="80" y="163"/>
                </a:cubicBezTo>
                <a:cubicBezTo>
                  <a:pt x="80" y="166"/>
                  <a:pt x="80" y="166"/>
                  <a:pt x="80" y="166"/>
                </a:cubicBezTo>
                <a:cubicBezTo>
                  <a:pt x="79" y="168"/>
                  <a:pt x="79" y="168"/>
                  <a:pt x="79" y="168"/>
                </a:cubicBezTo>
                <a:cubicBezTo>
                  <a:pt x="80" y="169"/>
                  <a:pt x="80" y="169"/>
                  <a:pt x="80" y="169"/>
                </a:cubicBezTo>
                <a:cubicBezTo>
                  <a:pt x="79" y="171"/>
                  <a:pt x="79" y="171"/>
                  <a:pt x="79" y="171"/>
                </a:cubicBezTo>
                <a:cubicBezTo>
                  <a:pt x="80" y="173"/>
                  <a:pt x="80" y="173"/>
                  <a:pt x="80" y="173"/>
                </a:cubicBezTo>
                <a:cubicBezTo>
                  <a:pt x="77" y="174"/>
                  <a:pt x="77" y="174"/>
                  <a:pt x="77" y="174"/>
                </a:cubicBezTo>
                <a:cubicBezTo>
                  <a:pt x="76" y="175"/>
                  <a:pt x="76" y="175"/>
                  <a:pt x="76" y="175"/>
                </a:cubicBezTo>
                <a:cubicBezTo>
                  <a:pt x="75" y="176"/>
                  <a:pt x="75" y="176"/>
                  <a:pt x="75" y="176"/>
                </a:cubicBezTo>
                <a:cubicBezTo>
                  <a:pt x="74" y="176"/>
                  <a:pt x="74" y="176"/>
                  <a:pt x="74" y="176"/>
                </a:cubicBezTo>
                <a:cubicBezTo>
                  <a:pt x="74" y="177"/>
                  <a:pt x="74" y="177"/>
                  <a:pt x="74" y="177"/>
                </a:cubicBezTo>
                <a:cubicBezTo>
                  <a:pt x="74" y="179"/>
                  <a:pt x="74" y="179"/>
                  <a:pt x="74" y="179"/>
                </a:cubicBezTo>
                <a:cubicBezTo>
                  <a:pt x="74" y="181"/>
                  <a:pt x="74" y="181"/>
                  <a:pt x="74" y="181"/>
                </a:cubicBezTo>
                <a:cubicBezTo>
                  <a:pt x="75" y="181"/>
                  <a:pt x="75" y="181"/>
                  <a:pt x="75" y="181"/>
                </a:cubicBezTo>
                <a:cubicBezTo>
                  <a:pt x="77" y="180"/>
                  <a:pt x="77" y="180"/>
                  <a:pt x="77" y="180"/>
                </a:cubicBezTo>
                <a:cubicBezTo>
                  <a:pt x="78" y="180"/>
                  <a:pt x="78" y="180"/>
                  <a:pt x="78" y="180"/>
                </a:cubicBezTo>
                <a:cubicBezTo>
                  <a:pt x="79" y="182"/>
                  <a:pt x="79" y="182"/>
                  <a:pt x="79" y="182"/>
                </a:cubicBezTo>
                <a:cubicBezTo>
                  <a:pt x="78" y="183"/>
                  <a:pt x="78" y="183"/>
                  <a:pt x="78" y="183"/>
                </a:cubicBezTo>
                <a:cubicBezTo>
                  <a:pt x="75" y="183"/>
                  <a:pt x="75" y="183"/>
                  <a:pt x="75" y="183"/>
                </a:cubicBezTo>
                <a:cubicBezTo>
                  <a:pt x="75" y="184"/>
                  <a:pt x="75" y="184"/>
                  <a:pt x="75" y="184"/>
                </a:cubicBezTo>
                <a:cubicBezTo>
                  <a:pt x="75" y="185"/>
                  <a:pt x="75" y="185"/>
                  <a:pt x="75" y="185"/>
                </a:cubicBezTo>
                <a:cubicBezTo>
                  <a:pt x="75" y="186"/>
                  <a:pt x="75" y="186"/>
                  <a:pt x="75" y="186"/>
                </a:cubicBezTo>
                <a:cubicBezTo>
                  <a:pt x="75" y="187"/>
                  <a:pt x="75" y="187"/>
                  <a:pt x="75" y="187"/>
                </a:cubicBezTo>
                <a:cubicBezTo>
                  <a:pt x="74" y="188"/>
                  <a:pt x="74" y="188"/>
                  <a:pt x="74" y="188"/>
                </a:cubicBezTo>
                <a:cubicBezTo>
                  <a:pt x="73" y="188"/>
                  <a:pt x="73" y="188"/>
                  <a:pt x="73" y="188"/>
                </a:cubicBezTo>
                <a:cubicBezTo>
                  <a:pt x="71" y="189"/>
                  <a:pt x="71" y="189"/>
                  <a:pt x="71" y="189"/>
                </a:cubicBezTo>
                <a:cubicBezTo>
                  <a:pt x="69" y="189"/>
                  <a:pt x="69" y="189"/>
                  <a:pt x="69" y="189"/>
                </a:cubicBezTo>
                <a:cubicBezTo>
                  <a:pt x="69" y="189"/>
                  <a:pt x="69" y="189"/>
                  <a:pt x="69" y="189"/>
                </a:cubicBezTo>
                <a:cubicBezTo>
                  <a:pt x="70" y="190"/>
                  <a:pt x="70" y="190"/>
                  <a:pt x="70" y="190"/>
                </a:cubicBezTo>
                <a:cubicBezTo>
                  <a:pt x="72" y="191"/>
                  <a:pt x="72" y="191"/>
                  <a:pt x="72" y="191"/>
                </a:cubicBezTo>
                <a:cubicBezTo>
                  <a:pt x="73" y="192"/>
                  <a:pt x="73" y="192"/>
                  <a:pt x="73" y="192"/>
                </a:cubicBezTo>
                <a:cubicBezTo>
                  <a:pt x="75" y="190"/>
                  <a:pt x="75" y="190"/>
                  <a:pt x="75" y="190"/>
                </a:cubicBezTo>
                <a:cubicBezTo>
                  <a:pt x="79" y="187"/>
                  <a:pt x="79" y="187"/>
                  <a:pt x="79" y="187"/>
                </a:cubicBezTo>
                <a:cubicBezTo>
                  <a:pt x="80" y="187"/>
                  <a:pt x="80" y="187"/>
                  <a:pt x="80" y="187"/>
                </a:cubicBezTo>
                <a:cubicBezTo>
                  <a:pt x="82" y="187"/>
                  <a:pt x="82" y="187"/>
                  <a:pt x="82" y="187"/>
                </a:cubicBezTo>
                <a:cubicBezTo>
                  <a:pt x="83" y="186"/>
                  <a:pt x="83" y="186"/>
                  <a:pt x="83" y="186"/>
                </a:cubicBezTo>
                <a:cubicBezTo>
                  <a:pt x="86" y="185"/>
                  <a:pt x="86" y="185"/>
                  <a:pt x="86" y="185"/>
                </a:cubicBezTo>
                <a:cubicBezTo>
                  <a:pt x="86" y="186"/>
                  <a:pt x="86" y="186"/>
                  <a:pt x="86" y="186"/>
                </a:cubicBezTo>
                <a:cubicBezTo>
                  <a:pt x="85" y="187"/>
                  <a:pt x="85" y="187"/>
                  <a:pt x="85" y="187"/>
                </a:cubicBezTo>
                <a:cubicBezTo>
                  <a:pt x="85" y="188"/>
                  <a:pt x="85" y="188"/>
                  <a:pt x="85" y="188"/>
                </a:cubicBezTo>
                <a:cubicBezTo>
                  <a:pt x="86" y="188"/>
                  <a:pt x="86" y="188"/>
                  <a:pt x="86" y="188"/>
                </a:cubicBezTo>
                <a:cubicBezTo>
                  <a:pt x="86" y="190"/>
                  <a:pt x="86" y="190"/>
                  <a:pt x="86" y="190"/>
                </a:cubicBezTo>
                <a:cubicBezTo>
                  <a:pt x="86" y="191"/>
                  <a:pt x="86" y="191"/>
                  <a:pt x="86" y="191"/>
                </a:cubicBezTo>
                <a:cubicBezTo>
                  <a:pt x="88" y="192"/>
                  <a:pt x="88" y="192"/>
                  <a:pt x="88" y="192"/>
                </a:cubicBezTo>
                <a:cubicBezTo>
                  <a:pt x="89" y="191"/>
                  <a:pt x="89" y="191"/>
                  <a:pt x="89" y="191"/>
                </a:cubicBezTo>
                <a:cubicBezTo>
                  <a:pt x="90" y="189"/>
                  <a:pt x="90" y="189"/>
                  <a:pt x="90" y="189"/>
                </a:cubicBezTo>
                <a:cubicBezTo>
                  <a:pt x="91" y="190"/>
                  <a:pt x="91" y="190"/>
                  <a:pt x="91" y="190"/>
                </a:cubicBezTo>
                <a:cubicBezTo>
                  <a:pt x="90" y="191"/>
                  <a:pt x="90" y="191"/>
                  <a:pt x="90" y="191"/>
                </a:cubicBezTo>
                <a:cubicBezTo>
                  <a:pt x="92" y="194"/>
                  <a:pt x="92" y="194"/>
                  <a:pt x="92" y="194"/>
                </a:cubicBezTo>
                <a:cubicBezTo>
                  <a:pt x="92" y="197"/>
                  <a:pt x="92" y="197"/>
                  <a:pt x="92" y="197"/>
                </a:cubicBezTo>
                <a:cubicBezTo>
                  <a:pt x="92" y="199"/>
                  <a:pt x="92" y="199"/>
                  <a:pt x="92" y="199"/>
                </a:cubicBezTo>
                <a:cubicBezTo>
                  <a:pt x="93" y="201"/>
                  <a:pt x="93" y="201"/>
                  <a:pt x="93" y="201"/>
                </a:cubicBezTo>
                <a:cubicBezTo>
                  <a:pt x="94" y="201"/>
                  <a:pt x="94" y="201"/>
                  <a:pt x="94" y="201"/>
                </a:cubicBezTo>
                <a:cubicBezTo>
                  <a:pt x="95" y="199"/>
                  <a:pt x="95" y="199"/>
                  <a:pt x="95" y="199"/>
                </a:cubicBezTo>
                <a:cubicBezTo>
                  <a:pt x="95" y="197"/>
                  <a:pt x="95" y="197"/>
                  <a:pt x="95" y="197"/>
                </a:cubicBezTo>
                <a:cubicBezTo>
                  <a:pt x="96" y="194"/>
                  <a:pt x="96" y="194"/>
                  <a:pt x="96" y="194"/>
                </a:cubicBezTo>
                <a:cubicBezTo>
                  <a:pt x="97" y="192"/>
                  <a:pt x="97" y="192"/>
                  <a:pt x="97" y="192"/>
                </a:cubicBezTo>
                <a:cubicBezTo>
                  <a:pt x="99" y="190"/>
                  <a:pt x="99" y="190"/>
                  <a:pt x="99" y="190"/>
                </a:cubicBezTo>
                <a:cubicBezTo>
                  <a:pt x="100" y="190"/>
                  <a:pt x="100" y="190"/>
                  <a:pt x="100" y="190"/>
                </a:cubicBezTo>
                <a:cubicBezTo>
                  <a:pt x="102" y="189"/>
                  <a:pt x="102" y="189"/>
                  <a:pt x="102" y="189"/>
                </a:cubicBezTo>
                <a:cubicBezTo>
                  <a:pt x="105" y="189"/>
                  <a:pt x="105" y="189"/>
                  <a:pt x="105" y="189"/>
                </a:cubicBezTo>
                <a:cubicBezTo>
                  <a:pt x="102" y="190"/>
                  <a:pt x="102" y="190"/>
                  <a:pt x="102" y="190"/>
                </a:cubicBezTo>
                <a:cubicBezTo>
                  <a:pt x="99" y="193"/>
                  <a:pt x="99" y="193"/>
                  <a:pt x="99" y="193"/>
                </a:cubicBezTo>
                <a:cubicBezTo>
                  <a:pt x="99" y="194"/>
                  <a:pt x="99" y="194"/>
                  <a:pt x="99" y="194"/>
                </a:cubicBezTo>
                <a:cubicBezTo>
                  <a:pt x="102" y="197"/>
                  <a:pt x="102" y="197"/>
                  <a:pt x="102" y="197"/>
                </a:cubicBezTo>
                <a:cubicBezTo>
                  <a:pt x="103" y="197"/>
                  <a:pt x="103" y="197"/>
                  <a:pt x="103" y="197"/>
                </a:cubicBezTo>
                <a:cubicBezTo>
                  <a:pt x="106" y="196"/>
                  <a:pt x="106" y="196"/>
                  <a:pt x="106" y="196"/>
                </a:cubicBezTo>
                <a:cubicBezTo>
                  <a:pt x="110" y="195"/>
                  <a:pt x="110" y="195"/>
                  <a:pt x="110" y="195"/>
                </a:cubicBezTo>
                <a:cubicBezTo>
                  <a:pt x="112" y="194"/>
                  <a:pt x="112" y="194"/>
                  <a:pt x="112" y="194"/>
                </a:cubicBezTo>
                <a:cubicBezTo>
                  <a:pt x="113" y="194"/>
                  <a:pt x="113" y="194"/>
                  <a:pt x="113" y="194"/>
                </a:cubicBezTo>
                <a:cubicBezTo>
                  <a:pt x="116" y="192"/>
                  <a:pt x="116" y="192"/>
                  <a:pt x="116" y="192"/>
                </a:cubicBezTo>
                <a:cubicBezTo>
                  <a:pt x="118" y="192"/>
                  <a:pt x="118" y="192"/>
                  <a:pt x="118" y="192"/>
                </a:cubicBezTo>
                <a:cubicBezTo>
                  <a:pt x="116" y="193"/>
                  <a:pt x="116" y="193"/>
                  <a:pt x="116" y="193"/>
                </a:cubicBezTo>
                <a:cubicBezTo>
                  <a:pt x="114" y="195"/>
                  <a:pt x="114" y="195"/>
                  <a:pt x="114" y="195"/>
                </a:cubicBezTo>
                <a:cubicBezTo>
                  <a:pt x="114" y="196"/>
                  <a:pt x="114" y="196"/>
                  <a:pt x="114" y="196"/>
                </a:cubicBezTo>
                <a:cubicBezTo>
                  <a:pt x="113" y="198"/>
                  <a:pt x="113" y="198"/>
                  <a:pt x="113" y="198"/>
                </a:cubicBezTo>
                <a:cubicBezTo>
                  <a:pt x="107" y="201"/>
                  <a:pt x="107" y="201"/>
                  <a:pt x="107" y="201"/>
                </a:cubicBezTo>
                <a:cubicBezTo>
                  <a:pt x="105" y="203"/>
                  <a:pt x="105" y="203"/>
                  <a:pt x="105" y="203"/>
                </a:cubicBezTo>
                <a:cubicBezTo>
                  <a:pt x="103" y="206"/>
                  <a:pt x="103" y="206"/>
                  <a:pt x="103" y="206"/>
                </a:cubicBezTo>
                <a:cubicBezTo>
                  <a:pt x="103" y="208"/>
                  <a:pt x="103" y="208"/>
                  <a:pt x="103" y="208"/>
                </a:cubicBezTo>
                <a:cubicBezTo>
                  <a:pt x="103" y="209"/>
                  <a:pt x="103" y="209"/>
                  <a:pt x="103" y="209"/>
                </a:cubicBezTo>
                <a:cubicBezTo>
                  <a:pt x="105" y="211"/>
                  <a:pt x="105" y="211"/>
                  <a:pt x="105" y="211"/>
                </a:cubicBezTo>
                <a:cubicBezTo>
                  <a:pt x="102" y="210"/>
                  <a:pt x="102" y="210"/>
                  <a:pt x="102" y="210"/>
                </a:cubicBezTo>
                <a:cubicBezTo>
                  <a:pt x="101" y="211"/>
                  <a:pt x="101" y="211"/>
                  <a:pt x="101" y="211"/>
                </a:cubicBezTo>
                <a:cubicBezTo>
                  <a:pt x="99" y="213"/>
                  <a:pt x="99" y="213"/>
                  <a:pt x="99" y="213"/>
                </a:cubicBezTo>
                <a:cubicBezTo>
                  <a:pt x="98" y="215"/>
                  <a:pt x="98" y="215"/>
                  <a:pt x="98" y="215"/>
                </a:cubicBezTo>
                <a:cubicBezTo>
                  <a:pt x="96" y="218"/>
                  <a:pt x="96" y="218"/>
                  <a:pt x="96" y="218"/>
                </a:cubicBezTo>
                <a:cubicBezTo>
                  <a:pt x="94" y="220"/>
                  <a:pt x="94" y="220"/>
                  <a:pt x="94" y="220"/>
                </a:cubicBezTo>
                <a:cubicBezTo>
                  <a:pt x="95" y="221"/>
                  <a:pt x="95" y="221"/>
                  <a:pt x="95" y="221"/>
                </a:cubicBezTo>
                <a:cubicBezTo>
                  <a:pt x="96" y="222"/>
                  <a:pt x="96" y="222"/>
                  <a:pt x="96" y="222"/>
                </a:cubicBezTo>
                <a:cubicBezTo>
                  <a:pt x="95" y="224"/>
                  <a:pt x="95" y="224"/>
                  <a:pt x="95" y="224"/>
                </a:cubicBezTo>
                <a:cubicBezTo>
                  <a:pt x="94" y="223"/>
                  <a:pt x="94" y="223"/>
                  <a:pt x="94" y="223"/>
                </a:cubicBezTo>
                <a:cubicBezTo>
                  <a:pt x="94" y="222"/>
                  <a:pt x="94" y="222"/>
                  <a:pt x="94" y="222"/>
                </a:cubicBezTo>
                <a:cubicBezTo>
                  <a:pt x="92" y="222"/>
                  <a:pt x="92" y="222"/>
                  <a:pt x="92" y="222"/>
                </a:cubicBezTo>
                <a:cubicBezTo>
                  <a:pt x="91" y="224"/>
                  <a:pt x="91" y="224"/>
                  <a:pt x="91" y="224"/>
                </a:cubicBezTo>
                <a:cubicBezTo>
                  <a:pt x="88" y="225"/>
                  <a:pt x="88" y="225"/>
                  <a:pt x="88" y="225"/>
                </a:cubicBezTo>
                <a:cubicBezTo>
                  <a:pt x="89" y="226"/>
                  <a:pt x="89" y="226"/>
                  <a:pt x="89" y="226"/>
                </a:cubicBezTo>
                <a:cubicBezTo>
                  <a:pt x="88" y="228"/>
                  <a:pt x="88" y="228"/>
                  <a:pt x="88" y="228"/>
                </a:cubicBezTo>
                <a:cubicBezTo>
                  <a:pt x="87" y="227"/>
                  <a:pt x="87" y="227"/>
                  <a:pt x="87" y="227"/>
                </a:cubicBezTo>
                <a:cubicBezTo>
                  <a:pt x="86" y="226"/>
                  <a:pt x="86" y="226"/>
                  <a:pt x="86" y="226"/>
                </a:cubicBezTo>
                <a:cubicBezTo>
                  <a:pt x="85" y="227"/>
                  <a:pt x="85" y="227"/>
                  <a:pt x="85" y="227"/>
                </a:cubicBezTo>
                <a:cubicBezTo>
                  <a:pt x="81" y="231"/>
                  <a:pt x="81" y="231"/>
                  <a:pt x="81" y="231"/>
                </a:cubicBezTo>
                <a:cubicBezTo>
                  <a:pt x="79" y="233"/>
                  <a:pt x="79" y="233"/>
                  <a:pt x="79" y="233"/>
                </a:cubicBezTo>
                <a:cubicBezTo>
                  <a:pt x="80" y="234"/>
                  <a:pt x="80" y="234"/>
                  <a:pt x="80" y="234"/>
                </a:cubicBezTo>
                <a:cubicBezTo>
                  <a:pt x="79" y="235"/>
                  <a:pt x="79" y="235"/>
                  <a:pt x="79" y="235"/>
                </a:cubicBezTo>
                <a:cubicBezTo>
                  <a:pt x="77" y="234"/>
                  <a:pt x="77" y="234"/>
                  <a:pt x="77" y="234"/>
                </a:cubicBezTo>
                <a:cubicBezTo>
                  <a:pt x="77" y="232"/>
                  <a:pt x="77" y="232"/>
                  <a:pt x="77" y="232"/>
                </a:cubicBezTo>
                <a:cubicBezTo>
                  <a:pt x="74" y="233"/>
                  <a:pt x="74" y="233"/>
                  <a:pt x="74" y="233"/>
                </a:cubicBezTo>
                <a:cubicBezTo>
                  <a:pt x="72" y="235"/>
                  <a:pt x="72" y="235"/>
                  <a:pt x="72" y="235"/>
                </a:cubicBezTo>
                <a:cubicBezTo>
                  <a:pt x="70" y="236"/>
                  <a:pt x="70" y="236"/>
                  <a:pt x="70" y="236"/>
                </a:cubicBezTo>
                <a:cubicBezTo>
                  <a:pt x="70" y="237"/>
                  <a:pt x="70" y="237"/>
                  <a:pt x="70" y="237"/>
                </a:cubicBezTo>
                <a:cubicBezTo>
                  <a:pt x="68" y="238"/>
                  <a:pt x="68" y="238"/>
                  <a:pt x="68" y="238"/>
                </a:cubicBezTo>
                <a:cubicBezTo>
                  <a:pt x="66" y="238"/>
                  <a:pt x="66" y="238"/>
                  <a:pt x="66" y="238"/>
                </a:cubicBezTo>
                <a:cubicBezTo>
                  <a:pt x="63" y="241"/>
                  <a:pt x="63" y="241"/>
                  <a:pt x="63" y="241"/>
                </a:cubicBezTo>
                <a:cubicBezTo>
                  <a:pt x="58" y="242"/>
                  <a:pt x="58" y="242"/>
                  <a:pt x="58" y="242"/>
                </a:cubicBezTo>
                <a:cubicBezTo>
                  <a:pt x="55" y="245"/>
                  <a:pt x="55" y="245"/>
                  <a:pt x="55" y="245"/>
                </a:cubicBezTo>
                <a:cubicBezTo>
                  <a:pt x="54" y="248"/>
                  <a:pt x="54" y="248"/>
                  <a:pt x="54" y="248"/>
                </a:cubicBezTo>
                <a:cubicBezTo>
                  <a:pt x="54" y="249"/>
                  <a:pt x="54" y="249"/>
                  <a:pt x="54" y="249"/>
                </a:cubicBezTo>
                <a:cubicBezTo>
                  <a:pt x="54" y="250"/>
                  <a:pt x="54" y="250"/>
                  <a:pt x="54" y="250"/>
                </a:cubicBezTo>
                <a:cubicBezTo>
                  <a:pt x="54" y="252"/>
                  <a:pt x="54" y="252"/>
                  <a:pt x="54" y="252"/>
                </a:cubicBezTo>
                <a:cubicBezTo>
                  <a:pt x="54" y="252"/>
                  <a:pt x="54" y="252"/>
                  <a:pt x="54" y="252"/>
                </a:cubicBezTo>
                <a:cubicBezTo>
                  <a:pt x="52" y="250"/>
                  <a:pt x="52" y="250"/>
                  <a:pt x="52" y="250"/>
                </a:cubicBezTo>
                <a:cubicBezTo>
                  <a:pt x="51" y="250"/>
                  <a:pt x="51" y="250"/>
                  <a:pt x="51" y="250"/>
                </a:cubicBezTo>
                <a:cubicBezTo>
                  <a:pt x="51" y="251"/>
                  <a:pt x="51" y="251"/>
                  <a:pt x="51" y="251"/>
                </a:cubicBezTo>
                <a:cubicBezTo>
                  <a:pt x="51" y="253"/>
                  <a:pt x="51" y="253"/>
                  <a:pt x="51" y="253"/>
                </a:cubicBezTo>
                <a:cubicBezTo>
                  <a:pt x="50" y="253"/>
                  <a:pt x="50" y="253"/>
                  <a:pt x="50" y="253"/>
                </a:cubicBezTo>
                <a:cubicBezTo>
                  <a:pt x="49" y="252"/>
                  <a:pt x="49" y="252"/>
                  <a:pt x="49" y="252"/>
                </a:cubicBezTo>
                <a:cubicBezTo>
                  <a:pt x="49" y="250"/>
                  <a:pt x="49" y="250"/>
                  <a:pt x="49" y="250"/>
                </a:cubicBezTo>
                <a:cubicBezTo>
                  <a:pt x="50" y="249"/>
                  <a:pt x="50" y="249"/>
                  <a:pt x="50" y="249"/>
                </a:cubicBezTo>
                <a:cubicBezTo>
                  <a:pt x="49" y="248"/>
                  <a:pt x="49" y="248"/>
                  <a:pt x="49" y="248"/>
                </a:cubicBezTo>
                <a:cubicBezTo>
                  <a:pt x="47" y="248"/>
                  <a:pt x="47" y="248"/>
                  <a:pt x="47" y="248"/>
                </a:cubicBezTo>
                <a:cubicBezTo>
                  <a:pt x="46" y="248"/>
                  <a:pt x="46" y="248"/>
                  <a:pt x="46" y="248"/>
                </a:cubicBezTo>
                <a:cubicBezTo>
                  <a:pt x="44" y="248"/>
                  <a:pt x="44" y="248"/>
                  <a:pt x="44" y="248"/>
                </a:cubicBezTo>
                <a:cubicBezTo>
                  <a:pt x="41" y="249"/>
                  <a:pt x="41" y="249"/>
                  <a:pt x="41" y="249"/>
                </a:cubicBezTo>
                <a:cubicBezTo>
                  <a:pt x="39" y="250"/>
                  <a:pt x="39" y="250"/>
                  <a:pt x="39" y="250"/>
                </a:cubicBezTo>
                <a:cubicBezTo>
                  <a:pt x="38" y="251"/>
                  <a:pt x="38" y="251"/>
                  <a:pt x="38" y="251"/>
                </a:cubicBezTo>
                <a:cubicBezTo>
                  <a:pt x="35" y="252"/>
                  <a:pt x="35" y="252"/>
                  <a:pt x="35" y="252"/>
                </a:cubicBezTo>
                <a:cubicBezTo>
                  <a:pt x="33" y="254"/>
                  <a:pt x="33" y="254"/>
                  <a:pt x="33" y="254"/>
                </a:cubicBezTo>
                <a:cubicBezTo>
                  <a:pt x="30" y="256"/>
                  <a:pt x="30" y="256"/>
                  <a:pt x="30" y="256"/>
                </a:cubicBezTo>
                <a:cubicBezTo>
                  <a:pt x="31" y="257"/>
                  <a:pt x="31" y="257"/>
                  <a:pt x="31" y="257"/>
                </a:cubicBezTo>
                <a:cubicBezTo>
                  <a:pt x="30" y="258"/>
                  <a:pt x="30" y="258"/>
                  <a:pt x="30" y="258"/>
                </a:cubicBezTo>
                <a:cubicBezTo>
                  <a:pt x="29" y="258"/>
                  <a:pt x="29" y="258"/>
                  <a:pt x="29" y="258"/>
                </a:cubicBezTo>
                <a:cubicBezTo>
                  <a:pt x="27" y="259"/>
                  <a:pt x="27" y="259"/>
                  <a:pt x="27" y="259"/>
                </a:cubicBezTo>
                <a:cubicBezTo>
                  <a:pt x="25" y="260"/>
                  <a:pt x="25" y="260"/>
                  <a:pt x="25" y="260"/>
                </a:cubicBezTo>
                <a:cubicBezTo>
                  <a:pt x="25" y="261"/>
                  <a:pt x="25" y="261"/>
                  <a:pt x="25" y="261"/>
                </a:cubicBezTo>
                <a:cubicBezTo>
                  <a:pt x="24" y="261"/>
                  <a:pt x="24" y="261"/>
                  <a:pt x="24" y="261"/>
                </a:cubicBezTo>
                <a:cubicBezTo>
                  <a:pt x="22" y="261"/>
                  <a:pt x="22" y="261"/>
                  <a:pt x="22" y="261"/>
                </a:cubicBezTo>
                <a:cubicBezTo>
                  <a:pt x="20" y="261"/>
                  <a:pt x="20" y="261"/>
                  <a:pt x="20" y="261"/>
                </a:cubicBezTo>
                <a:cubicBezTo>
                  <a:pt x="20" y="263"/>
                  <a:pt x="20" y="263"/>
                  <a:pt x="20" y="263"/>
                </a:cubicBezTo>
                <a:cubicBezTo>
                  <a:pt x="19" y="265"/>
                  <a:pt x="19" y="265"/>
                  <a:pt x="19" y="265"/>
                </a:cubicBezTo>
                <a:cubicBezTo>
                  <a:pt x="20" y="266"/>
                  <a:pt x="20" y="266"/>
                  <a:pt x="20" y="266"/>
                </a:cubicBezTo>
                <a:cubicBezTo>
                  <a:pt x="21" y="265"/>
                  <a:pt x="21" y="265"/>
                  <a:pt x="21" y="265"/>
                </a:cubicBezTo>
                <a:cubicBezTo>
                  <a:pt x="22" y="264"/>
                  <a:pt x="22" y="264"/>
                  <a:pt x="22" y="264"/>
                </a:cubicBezTo>
                <a:cubicBezTo>
                  <a:pt x="21" y="263"/>
                  <a:pt x="21" y="263"/>
                  <a:pt x="21" y="263"/>
                </a:cubicBezTo>
                <a:cubicBezTo>
                  <a:pt x="23" y="262"/>
                  <a:pt x="23" y="262"/>
                  <a:pt x="23" y="262"/>
                </a:cubicBezTo>
                <a:cubicBezTo>
                  <a:pt x="23" y="263"/>
                  <a:pt x="23" y="263"/>
                  <a:pt x="23" y="263"/>
                </a:cubicBezTo>
                <a:cubicBezTo>
                  <a:pt x="23" y="264"/>
                  <a:pt x="23" y="264"/>
                  <a:pt x="23" y="264"/>
                </a:cubicBezTo>
                <a:cubicBezTo>
                  <a:pt x="23" y="265"/>
                  <a:pt x="23" y="265"/>
                  <a:pt x="23" y="265"/>
                </a:cubicBezTo>
                <a:cubicBezTo>
                  <a:pt x="25" y="265"/>
                  <a:pt x="25" y="265"/>
                  <a:pt x="25" y="265"/>
                </a:cubicBezTo>
                <a:cubicBezTo>
                  <a:pt x="27" y="262"/>
                  <a:pt x="27" y="262"/>
                  <a:pt x="27" y="262"/>
                </a:cubicBezTo>
                <a:cubicBezTo>
                  <a:pt x="28" y="261"/>
                  <a:pt x="28" y="261"/>
                  <a:pt x="28" y="261"/>
                </a:cubicBezTo>
                <a:cubicBezTo>
                  <a:pt x="28" y="263"/>
                  <a:pt x="28" y="263"/>
                  <a:pt x="28" y="263"/>
                </a:cubicBezTo>
                <a:cubicBezTo>
                  <a:pt x="28" y="264"/>
                  <a:pt x="28" y="264"/>
                  <a:pt x="28" y="264"/>
                </a:cubicBezTo>
                <a:cubicBezTo>
                  <a:pt x="28" y="265"/>
                  <a:pt x="28" y="265"/>
                  <a:pt x="28" y="265"/>
                </a:cubicBezTo>
                <a:cubicBezTo>
                  <a:pt x="30" y="264"/>
                  <a:pt x="30" y="264"/>
                  <a:pt x="30" y="264"/>
                </a:cubicBezTo>
                <a:cubicBezTo>
                  <a:pt x="31" y="263"/>
                  <a:pt x="31" y="263"/>
                  <a:pt x="31" y="263"/>
                </a:cubicBezTo>
                <a:cubicBezTo>
                  <a:pt x="31" y="264"/>
                  <a:pt x="31" y="264"/>
                  <a:pt x="31" y="264"/>
                </a:cubicBezTo>
                <a:cubicBezTo>
                  <a:pt x="32" y="264"/>
                  <a:pt x="32" y="264"/>
                  <a:pt x="32" y="264"/>
                </a:cubicBezTo>
                <a:cubicBezTo>
                  <a:pt x="32" y="263"/>
                  <a:pt x="32" y="263"/>
                  <a:pt x="32" y="263"/>
                </a:cubicBezTo>
                <a:cubicBezTo>
                  <a:pt x="34" y="262"/>
                  <a:pt x="34" y="262"/>
                  <a:pt x="34" y="262"/>
                </a:cubicBezTo>
                <a:cubicBezTo>
                  <a:pt x="36" y="262"/>
                  <a:pt x="36" y="262"/>
                  <a:pt x="36" y="262"/>
                </a:cubicBezTo>
                <a:cubicBezTo>
                  <a:pt x="38" y="261"/>
                  <a:pt x="38" y="261"/>
                  <a:pt x="38" y="261"/>
                </a:cubicBezTo>
                <a:cubicBezTo>
                  <a:pt x="39" y="258"/>
                  <a:pt x="39" y="258"/>
                  <a:pt x="39" y="258"/>
                </a:cubicBezTo>
                <a:cubicBezTo>
                  <a:pt x="38" y="257"/>
                  <a:pt x="38" y="257"/>
                  <a:pt x="38" y="257"/>
                </a:cubicBezTo>
                <a:cubicBezTo>
                  <a:pt x="40" y="256"/>
                  <a:pt x="40" y="256"/>
                  <a:pt x="40" y="256"/>
                </a:cubicBezTo>
                <a:cubicBezTo>
                  <a:pt x="42" y="254"/>
                  <a:pt x="42" y="254"/>
                  <a:pt x="42" y="254"/>
                </a:cubicBezTo>
                <a:cubicBezTo>
                  <a:pt x="43" y="254"/>
                  <a:pt x="43" y="254"/>
                  <a:pt x="43" y="254"/>
                </a:cubicBezTo>
                <a:cubicBezTo>
                  <a:pt x="45" y="256"/>
                  <a:pt x="45" y="256"/>
                  <a:pt x="45" y="256"/>
                </a:cubicBezTo>
                <a:cubicBezTo>
                  <a:pt x="44" y="256"/>
                  <a:pt x="44" y="256"/>
                  <a:pt x="44" y="256"/>
                </a:cubicBezTo>
                <a:cubicBezTo>
                  <a:pt x="43" y="257"/>
                  <a:pt x="43" y="257"/>
                  <a:pt x="43" y="257"/>
                </a:cubicBezTo>
                <a:cubicBezTo>
                  <a:pt x="41" y="258"/>
                  <a:pt x="41" y="258"/>
                  <a:pt x="41" y="258"/>
                </a:cubicBezTo>
                <a:cubicBezTo>
                  <a:pt x="41" y="260"/>
                  <a:pt x="41" y="260"/>
                  <a:pt x="41" y="260"/>
                </a:cubicBezTo>
                <a:cubicBezTo>
                  <a:pt x="42" y="261"/>
                  <a:pt x="42" y="261"/>
                  <a:pt x="42" y="261"/>
                </a:cubicBezTo>
                <a:cubicBezTo>
                  <a:pt x="45" y="259"/>
                  <a:pt x="45" y="259"/>
                  <a:pt x="45" y="259"/>
                </a:cubicBezTo>
                <a:cubicBezTo>
                  <a:pt x="45" y="257"/>
                  <a:pt x="45" y="257"/>
                  <a:pt x="45" y="257"/>
                </a:cubicBezTo>
                <a:cubicBezTo>
                  <a:pt x="47" y="257"/>
                  <a:pt x="47" y="257"/>
                  <a:pt x="47" y="257"/>
                </a:cubicBezTo>
                <a:cubicBezTo>
                  <a:pt x="47" y="258"/>
                  <a:pt x="47" y="258"/>
                  <a:pt x="47" y="258"/>
                </a:cubicBezTo>
                <a:cubicBezTo>
                  <a:pt x="48" y="256"/>
                  <a:pt x="48" y="256"/>
                  <a:pt x="48" y="256"/>
                </a:cubicBezTo>
                <a:cubicBezTo>
                  <a:pt x="49" y="257"/>
                  <a:pt x="49" y="257"/>
                  <a:pt x="49" y="257"/>
                </a:cubicBezTo>
                <a:cubicBezTo>
                  <a:pt x="49" y="258"/>
                  <a:pt x="49" y="258"/>
                  <a:pt x="49" y="258"/>
                </a:cubicBezTo>
                <a:cubicBezTo>
                  <a:pt x="48" y="259"/>
                  <a:pt x="48" y="259"/>
                  <a:pt x="48" y="259"/>
                </a:cubicBezTo>
                <a:cubicBezTo>
                  <a:pt x="49" y="259"/>
                  <a:pt x="49" y="259"/>
                  <a:pt x="49" y="259"/>
                </a:cubicBezTo>
                <a:cubicBezTo>
                  <a:pt x="51" y="257"/>
                  <a:pt x="51" y="257"/>
                  <a:pt x="51" y="257"/>
                </a:cubicBezTo>
                <a:cubicBezTo>
                  <a:pt x="52" y="257"/>
                  <a:pt x="52" y="257"/>
                  <a:pt x="52" y="257"/>
                </a:cubicBezTo>
                <a:cubicBezTo>
                  <a:pt x="54" y="256"/>
                  <a:pt x="54" y="256"/>
                  <a:pt x="54" y="256"/>
                </a:cubicBezTo>
                <a:cubicBezTo>
                  <a:pt x="55" y="256"/>
                  <a:pt x="55" y="256"/>
                  <a:pt x="55" y="256"/>
                </a:cubicBezTo>
                <a:cubicBezTo>
                  <a:pt x="57" y="253"/>
                  <a:pt x="57" y="253"/>
                  <a:pt x="57" y="253"/>
                </a:cubicBezTo>
                <a:cubicBezTo>
                  <a:pt x="59" y="252"/>
                  <a:pt x="59" y="252"/>
                  <a:pt x="59" y="252"/>
                </a:cubicBezTo>
                <a:cubicBezTo>
                  <a:pt x="60" y="253"/>
                  <a:pt x="60" y="253"/>
                  <a:pt x="60" y="253"/>
                </a:cubicBezTo>
                <a:cubicBezTo>
                  <a:pt x="60" y="254"/>
                  <a:pt x="60" y="254"/>
                  <a:pt x="60" y="254"/>
                </a:cubicBezTo>
                <a:cubicBezTo>
                  <a:pt x="59" y="256"/>
                  <a:pt x="59" y="256"/>
                  <a:pt x="59" y="256"/>
                </a:cubicBezTo>
                <a:cubicBezTo>
                  <a:pt x="58" y="258"/>
                  <a:pt x="58" y="258"/>
                  <a:pt x="58" y="258"/>
                </a:cubicBezTo>
                <a:cubicBezTo>
                  <a:pt x="58" y="259"/>
                  <a:pt x="58" y="259"/>
                  <a:pt x="58" y="259"/>
                </a:cubicBezTo>
                <a:cubicBezTo>
                  <a:pt x="59" y="259"/>
                  <a:pt x="59" y="259"/>
                  <a:pt x="59" y="259"/>
                </a:cubicBezTo>
                <a:cubicBezTo>
                  <a:pt x="62" y="256"/>
                  <a:pt x="62" y="256"/>
                  <a:pt x="62" y="256"/>
                </a:cubicBezTo>
                <a:cubicBezTo>
                  <a:pt x="62" y="253"/>
                  <a:pt x="62" y="253"/>
                  <a:pt x="62" y="253"/>
                </a:cubicBezTo>
                <a:cubicBezTo>
                  <a:pt x="62" y="252"/>
                  <a:pt x="62" y="252"/>
                  <a:pt x="62" y="252"/>
                </a:cubicBezTo>
                <a:cubicBezTo>
                  <a:pt x="63" y="254"/>
                  <a:pt x="63" y="254"/>
                  <a:pt x="63" y="254"/>
                </a:cubicBezTo>
                <a:cubicBezTo>
                  <a:pt x="64" y="253"/>
                  <a:pt x="64" y="253"/>
                  <a:pt x="64" y="253"/>
                </a:cubicBezTo>
                <a:cubicBezTo>
                  <a:pt x="66" y="253"/>
                  <a:pt x="66" y="253"/>
                  <a:pt x="66" y="253"/>
                </a:cubicBezTo>
                <a:cubicBezTo>
                  <a:pt x="68" y="253"/>
                  <a:pt x="68" y="253"/>
                  <a:pt x="68" y="253"/>
                </a:cubicBezTo>
                <a:cubicBezTo>
                  <a:pt x="70" y="251"/>
                  <a:pt x="70" y="251"/>
                  <a:pt x="70" y="251"/>
                </a:cubicBezTo>
                <a:cubicBezTo>
                  <a:pt x="70" y="251"/>
                  <a:pt x="70" y="251"/>
                  <a:pt x="70" y="251"/>
                </a:cubicBezTo>
                <a:cubicBezTo>
                  <a:pt x="71" y="251"/>
                  <a:pt x="71" y="251"/>
                  <a:pt x="71" y="251"/>
                </a:cubicBezTo>
                <a:cubicBezTo>
                  <a:pt x="72" y="249"/>
                  <a:pt x="72" y="249"/>
                  <a:pt x="72" y="249"/>
                </a:cubicBezTo>
                <a:cubicBezTo>
                  <a:pt x="73" y="248"/>
                  <a:pt x="73" y="248"/>
                  <a:pt x="73" y="248"/>
                </a:cubicBezTo>
                <a:cubicBezTo>
                  <a:pt x="73" y="249"/>
                  <a:pt x="73" y="249"/>
                  <a:pt x="73" y="249"/>
                </a:cubicBezTo>
                <a:cubicBezTo>
                  <a:pt x="73" y="250"/>
                  <a:pt x="73" y="250"/>
                  <a:pt x="73" y="250"/>
                </a:cubicBezTo>
                <a:cubicBezTo>
                  <a:pt x="73" y="252"/>
                  <a:pt x="73" y="252"/>
                  <a:pt x="73" y="252"/>
                </a:cubicBezTo>
                <a:cubicBezTo>
                  <a:pt x="74" y="251"/>
                  <a:pt x="74" y="251"/>
                  <a:pt x="74" y="251"/>
                </a:cubicBezTo>
                <a:cubicBezTo>
                  <a:pt x="76" y="250"/>
                  <a:pt x="76" y="250"/>
                  <a:pt x="76" y="250"/>
                </a:cubicBezTo>
                <a:cubicBezTo>
                  <a:pt x="75" y="249"/>
                  <a:pt x="75" y="249"/>
                  <a:pt x="75" y="249"/>
                </a:cubicBezTo>
                <a:cubicBezTo>
                  <a:pt x="76" y="248"/>
                  <a:pt x="76" y="248"/>
                  <a:pt x="76" y="248"/>
                </a:cubicBezTo>
                <a:cubicBezTo>
                  <a:pt x="76" y="247"/>
                  <a:pt x="76" y="247"/>
                  <a:pt x="76" y="247"/>
                </a:cubicBezTo>
                <a:cubicBezTo>
                  <a:pt x="73" y="247"/>
                  <a:pt x="73" y="247"/>
                  <a:pt x="73" y="247"/>
                </a:cubicBezTo>
                <a:cubicBezTo>
                  <a:pt x="73" y="246"/>
                  <a:pt x="73" y="246"/>
                  <a:pt x="73" y="246"/>
                </a:cubicBezTo>
                <a:cubicBezTo>
                  <a:pt x="75" y="246"/>
                  <a:pt x="75" y="246"/>
                  <a:pt x="75" y="246"/>
                </a:cubicBezTo>
                <a:cubicBezTo>
                  <a:pt x="78" y="244"/>
                  <a:pt x="78" y="244"/>
                  <a:pt x="78" y="244"/>
                </a:cubicBezTo>
                <a:cubicBezTo>
                  <a:pt x="82" y="244"/>
                  <a:pt x="82" y="244"/>
                  <a:pt x="82" y="244"/>
                </a:cubicBezTo>
                <a:cubicBezTo>
                  <a:pt x="83" y="243"/>
                  <a:pt x="83" y="243"/>
                  <a:pt x="83" y="243"/>
                </a:cubicBezTo>
                <a:cubicBezTo>
                  <a:pt x="83" y="242"/>
                  <a:pt x="83" y="242"/>
                  <a:pt x="83" y="242"/>
                </a:cubicBezTo>
                <a:cubicBezTo>
                  <a:pt x="82" y="242"/>
                  <a:pt x="82" y="242"/>
                  <a:pt x="82" y="242"/>
                </a:cubicBezTo>
                <a:cubicBezTo>
                  <a:pt x="83" y="241"/>
                  <a:pt x="83" y="241"/>
                  <a:pt x="83" y="241"/>
                </a:cubicBezTo>
                <a:cubicBezTo>
                  <a:pt x="85" y="241"/>
                  <a:pt x="85" y="241"/>
                  <a:pt x="85" y="241"/>
                </a:cubicBezTo>
                <a:cubicBezTo>
                  <a:pt x="86" y="240"/>
                  <a:pt x="86" y="240"/>
                  <a:pt x="86" y="240"/>
                </a:cubicBezTo>
                <a:cubicBezTo>
                  <a:pt x="87" y="240"/>
                  <a:pt x="87" y="240"/>
                  <a:pt x="87" y="240"/>
                </a:cubicBezTo>
                <a:cubicBezTo>
                  <a:pt x="87" y="242"/>
                  <a:pt x="87" y="242"/>
                  <a:pt x="87" y="242"/>
                </a:cubicBezTo>
                <a:cubicBezTo>
                  <a:pt x="88" y="242"/>
                  <a:pt x="88" y="242"/>
                  <a:pt x="88" y="242"/>
                </a:cubicBezTo>
                <a:cubicBezTo>
                  <a:pt x="89" y="240"/>
                  <a:pt x="89" y="240"/>
                  <a:pt x="89" y="240"/>
                </a:cubicBezTo>
                <a:cubicBezTo>
                  <a:pt x="89" y="240"/>
                  <a:pt x="89" y="240"/>
                  <a:pt x="89" y="240"/>
                </a:cubicBezTo>
                <a:cubicBezTo>
                  <a:pt x="90" y="238"/>
                  <a:pt x="90" y="238"/>
                  <a:pt x="90" y="238"/>
                </a:cubicBezTo>
                <a:cubicBezTo>
                  <a:pt x="90" y="237"/>
                  <a:pt x="90" y="237"/>
                  <a:pt x="90" y="237"/>
                </a:cubicBezTo>
                <a:cubicBezTo>
                  <a:pt x="91" y="236"/>
                  <a:pt x="91" y="236"/>
                  <a:pt x="91" y="236"/>
                </a:cubicBezTo>
                <a:cubicBezTo>
                  <a:pt x="92" y="237"/>
                  <a:pt x="92" y="237"/>
                  <a:pt x="92" y="237"/>
                </a:cubicBezTo>
                <a:cubicBezTo>
                  <a:pt x="92" y="238"/>
                  <a:pt x="92" y="238"/>
                  <a:pt x="92" y="238"/>
                </a:cubicBezTo>
                <a:cubicBezTo>
                  <a:pt x="93" y="239"/>
                  <a:pt x="93" y="239"/>
                  <a:pt x="93" y="239"/>
                </a:cubicBezTo>
                <a:cubicBezTo>
                  <a:pt x="95" y="237"/>
                  <a:pt x="95" y="237"/>
                  <a:pt x="95" y="237"/>
                </a:cubicBezTo>
                <a:cubicBezTo>
                  <a:pt x="96" y="236"/>
                  <a:pt x="96" y="236"/>
                  <a:pt x="96" y="236"/>
                </a:cubicBezTo>
                <a:cubicBezTo>
                  <a:pt x="98" y="236"/>
                  <a:pt x="98" y="236"/>
                  <a:pt x="98" y="236"/>
                </a:cubicBezTo>
                <a:cubicBezTo>
                  <a:pt x="99" y="234"/>
                  <a:pt x="99" y="234"/>
                  <a:pt x="99" y="234"/>
                </a:cubicBezTo>
                <a:cubicBezTo>
                  <a:pt x="99" y="234"/>
                  <a:pt x="99" y="234"/>
                  <a:pt x="99" y="234"/>
                </a:cubicBezTo>
                <a:cubicBezTo>
                  <a:pt x="100" y="235"/>
                  <a:pt x="100" y="235"/>
                  <a:pt x="100" y="235"/>
                </a:cubicBezTo>
                <a:cubicBezTo>
                  <a:pt x="102" y="234"/>
                  <a:pt x="102" y="234"/>
                  <a:pt x="102" y="234"/>
                </a:cubicBezTo>
                <a:cubicBezTo>
                  <a:pt x="104" y="232"/>
                  <a:pt x="104" y="232"/>
                  <a:pt x="104" y="232"/>
                </a:cubicBezTo>
                <a:cubicBezTo>
                  <a:pt x="104" y="230"/>
                  <a:pt x="104" y="230"/>
                  <a:pt x="104" y="230"/>
                </a:cubicBezTo>
                <a:cubicBezTo>
                  <a:pt x="104" y="230"/>
                  <a:pt x="104" y="230"/>
                  <a:pt x="104" y="230"/>
                </a:cubicBezTo>
                <a:cubicBezTo>
                  <a:pt x="102" y="230"/>
                  <a:pt x="102" y="230"/>
                  <a:pt x="102" y="230"/>
                </a:cubicBezTo>
                <a:cubicBezTo>
                  <a:pt x="102" y="230"/>
                  <a:pt x="102" y="230"/>
                  <a:pt x="102" y="230"/>
                </a:cubicBezTo>
                <a:cubicBezTo>
                  <a:pt x="105" y="228"/>
                  <a:pt x="105" y="228"/>
                  <a:pt x="105" y="228"/>
                </a:cubicBezTo>
                <a:cubicBezTo>
                  <a:pt x="106" y="227"/>
                  <a:pt x="106" y="227"/>
                  <a:pt x="106" y="227"/>
                </a:cubicBezTo>
                <a:cubicBezTo>
                  <a:pt x="108" y="226"/>
                  <a:pt x="108" y="226"/>
                  <a:pt x="108" y="226"/>
                </a:cubicBezTo>
                <a:cubicBezTo>
                  <a:pt x="109" y="226"/>
                  <a:pt x="109" y="226"/>
                  <a:pt x="109" y="226"/>
                </a:cubicBezTo>
                <a:cubicBezTo>
                  <a:pt x="109" y="226"/>
                  <a:pt x="109" y="226"/>
                  <a:pt x="109" y="226"/>
                </a:cubicBezTo>
                <a:cubicBezTo>
                  <a:pt x="111" y="224"/>
                  <a:pt x="111" y="224"/>
                  <a:pt x="111" y="224"/>
                </a:cubicBezTo>
                <a:cubicBezTo>
                  <a:pt x="113" y="223"/>
                  <a:pt x="113" y="223"/>
                  <a:pt x="113" y="223"/>
                </a:cubicBezTo>
                <a:cubicBezTo>
                  <a:pt x="114" y="222"/>
                  <a:pt x="114" y="222"/>
                  <a:pt x="114" y="222"/>
                </a:cubicBezTo>
                <a:cubicBezTo>
                  <a:pt x="115" y="222"/>
                  <a:pt x="115" y="222"/>
                  <a:pt x="115" y="222"/>
                </a:cubicBezTo>
                <a:cubicBezTo>
                  <a:pt x="116" y="221"/>
                  <a:pt x="116" y="221"/>
                  <a:pt x="116" y="221"/>
                </a:cubicBezTo>
                <a:cubicBezTo>
                  <a:pt x="117" y="220"/>
                  <a:pt x="117" y="220"/>
                  <a:pt x="117" y="220"/>
                </a:cubicBezTo>
                <a:cubicBezTo>
                  <a:pt x="118" y="222"/>
                  <a:pt x="118" y="222"/>
                  <a:pt x="118" y="222"/>
                </a:cubicBezTo>
                <a:cubicBezTo>
                  <a:pt x="118" y="222"/>
                  <a:pt x="118" y="222"/>
                  <a:pt x="118" y="222"/>
                </a:cubicBezTo>
                <a:cubicBezTo>
                  <a:pt x="119" y="221"/>
                  <a:pt x="119" y="221"/>
                  <a:pt x="119" y="221"/>
                </a:cubicBezTo>
                <a:cubicBezTo>
                  <a:pt x="121" y="221"/>
                  <a:pt x="121" y="221"/>
                  <a:pt x="121" y="221"/>
                </a:cubicBezTo>
                <a:cubicBezTo>
                  <a:pt x="121" y="220"/>
                  <a:pt x="121" y="220"/>
                  <a:pt x="121" y="220"/>
                </a:cubicBezTo>
                <a:cubicBezTo>
                  <a:pt x="121" y="219"/>
                  <a:pt x="121" y="219"/>
                  <a:pt x="121" y="219"/>
                </a:cubicBezTo>
                <a:cubicBezTo>
                  <a:pt x="123" y="218"/>
                  <a:pt x="123" y="218"/>
                  <a:pt x="123" y="218"/>
                </a:cubicBezTo>
                <a:cubicBezTo>
                  <a:pt x="124" y="217"/>
                  <a:pt x="124" y="217"/>
                  <a:pt x="124" y="217"/>
                </a:cubicBezTo>
                <a:cubicBezTo>
                  <a:pt x="124" y="218"/>
                  <a:pt x="124" y="218"/>
                  <a:pt x="124" y="218"/>
                </a:cubicBezTo>
                <a:cubicBezTo>
                  <a:pt x="127" y="218"/>
                  <a:pt x="127" y="218"/>
                  <a:pt x="127" y="218"/>
                </a:cubicBezTo>
                <a:cubicBezTo>
                  <a:pt x="128" y="216"/>
                  <a:pt x="128" y="216"/>
                  <a:pt x="128" y="216"/>
                </a:cubicBezTo>
                <a:cubicBezTo>
                  <a:pt x="129" y="216"/>
                  <a:pt x="129" y="216"/>
                  <a:pt x="129" y="216"/>
                </a:cubicBezTo>
                <a:cubicBezTo>
                  <a:pt x="129" y="217"/>
                  <a:pt x="129" y="217"/>
                  <a:pt x="129" y="217"/>
                </a:cubicBezTo>
                <a:cubicBezTo>
                  <a:pt x="129" y="217"/>
                  <a:pt x="129" y="217"/>
                  <a:pt x="129" y="217"/>
                </a:cubicBezTo>
                <a:cubicBezTo>
                  <a:pt x="131" y="216"/>
                  <a:pt x="131" y="216"/>
                  <a:pt x="131" y="216"/>
                </a:cubicBezTo>
                <a:cubicBezTo>
                  <a:pt x="131" y="217"/>
                  <a:pt x="131" y="217"/>
                  <a:pt x="131" y="217"/>
                </a:cubicBezTo>
                <a:cubicBezTo>
                  <a:pt x="132" y="217"/>
                  <a:pt x="132" y="217"/>
                  <a:pt x="132" y="217"/>
                </a:cubicBezTo>
                <a:cubicBezTo>
                  <a:pt x="133" y="214"/>
                  <a:pt x="133" y="214"/>
                  <a:pt x="133" y="214"/>
                </a:cubicBezTo>
                <a:cubicBezTo>
                  <a:pt x="132" y="214"/>
                  <a:pt x="132" y="214"/>
                  <a:pt x="132" y="214"/>
                </a:cubicBezTo>
                <a:cubicBezTo>
                  <a:pt x="131" y="214"/>
                  <a:pt x="131" y="214"/>
                  <a:pt x="131" y="214"/>
                </a:cubicBezTo>
                <a:cubicBezTo>
                  <a:pt x="132" y="213"/>
                  <a:pt x="132" y="213"/>
                  <a:pt x="132" y="213"/>
                </a:cubicBezTo>
                <a:cubicBezTo>
                  <a:pt x="134" y="211"/>
                  <a:pt x="134" y="211"/>
                  <a:pt x="134" y="211"/>
                </a:cubicBezTo>
                <a:cubicBezTo>
                  <a:pt x="135" y="211"/>
                  <a:pt x="135" y="211"/>
                  <a:pt x="135" y="211"/>
                </a:cubicBezTo>
                <a:cubicBezTo>
                  <a:pt x="136" y="212"/>
                  <a:pt x="136" y="212"/>
                  <a:pt x="136" y="212"/>
                </a:cubicBezTo>
                <a:cubicBezTo>
                  <a:pt x="136" y="211"/>
                  <a:pt x="136" y="211"/>
                  <a:pt x="136" y="211"/>
                </a:cubicBezTo>
                <a:cubicBezTo>
                  <a:pt x="135" y="210"/>
                  <a:pt x="135" y="210"/>
                  <a:pt x="135" y="210"/>
                </a:cubicBezTo>
                <a:cubicBezTo>
                  <a:pt x="134" y="210"/>
                  <a:pt x="134" y="210"/>
                  <a:pt x="134" y="210"/>
                </a:cubicBezTo>
                <a:cubicBezTo>
                  <a:pt x="135" y="209"/>
                  <a:pt x="135" y="209"/>
                  <a:pt x="135" y="209"/>
                </a:cubicBezTo>
                <a:cubicBezTo>
                  <a:pt x="137" y="210"/>
                  <a:pt x="137" y="210"/>
                  <a:pt x="137" y="210"/>
                </a:cubicBezTo>
                <a:cubicBezTo>
                  <a:pt x="139" y="208"/>
                  <a:pt x="139" y="208"/>
                  <a:pt x="139" y="208"/>
                </a:cubicBezTo>
                <a:cubicBezTo>
                  <a:pt x="141" y="208"/>
                  <a:pt x="141" y="208"/>
                  <a:pt x="141" y="208"/>
                </a:cubicBezTo>
                <a:cubicBezTo>
                  <a:pt x="143" y="206"/>
                  <a:pt x="143" y="206"/>
                  <a:pt x="143" y="206"/>
                </a:cubicBezTo>
                <a:cubicBezTo>
                  <a:pt x="145" y="206"/>
                  <a:pt x="145" y="206"/>
                  <a:pt x="145" y="206"/>
                </a:cubicBezTo>
                <a:cubicBezTo>
                  <a:pt x="147" y="203"/>
                  <a:pt x="147" y="203"/>
                  <a:pt x="147" y="203"/>
                </a:cubicBezTo>
                <a:cubicBezTo>
                  <a:pt x="147" y="200"/>
                  <a:pt x="147" y="200"/>
                  <a:pt x="147" y="200"/>
                </a:cubicBezTo>
                <a:cubicBezTo>
                  <a:pt x="146" y="200"/>
                  <a:pt x="146" y="200"/>
                  <a:pt x="146" y="200"/>
                </a:cubicBezTo>
                <a:cubicBezTo>
                  <a:pt x="146" y="200"/>
                  <a:pt x="146" y="200"/>
                  <a:pt x="146" y="200"/>
                </a:cubicBezTo>
                <a:cubicBezTo>
                  <a:pt x="145" y="197"/>
                  <a:pt x="145" y="197"/>
                  <a:pt x="145" y="197"/>
                </a:cubicBezTo>
                <a:cubicBezTo>
                  <a:pt x="144" y="197"/>
                  <a:pt x="144" y="197"/>
                  <a:pt x="144" y="197"/>
                </a:cubicBezTo>
                <a:cubicBezTo>
                  <a:pt x="141" y="197"/>
                  <a:pt x="141" y="197"/>
                  <a:pt x="141" y="197"/>
                </a:cubicBezTo>
                <a:cubicBezTo>
                  <a:pt x="142" y="195"/>
                  <a:pt x="142" y="195"/>
                  <a:pt x="142" y="195"/>
                </a:cubicBezTo>
                <a:cubicBezTo>
                  <a:pt x="142" y="193"/>
                  <a:pt x="142" y="193"/>
                  <a:pt x="142" y="193"/>
                </a:cubicBezTo>
                <a:cubicBezTo>
                  <a:pt x="144" y="192"/>
                  <a:pt x="144" y="192"/>
                  <a:pt x="144" y="192"/>
                </a:cubicBezTo>
                <a:cubicBezTo>
                  <a:pt x="145" y="191"/>
                  <a:pt x="145" y="191"/>
                  <a:pt x="145" y="191"/>
                </a:cubicBezTo>
                <a:cubicBezTo>
                  <a:pt x="146" y="191"/>
                  <a:pt x="146" y="191"/>
                  <a:pt x="146" y="191"/>
                </a:cubicBezTo>
                <a:cubicBezTo>
                  <a:pt x="147" y="189"/>
                  <a:pt x="147" y="189"/>
                  <a:pt x="147" y="189"/>
                </a:cubicBezTo>
                <a:cubicBezTo>
                  <a:pt x="146" y="189"/>
                  <a:pt x="146" y="189"/>
                  <a:pt x="146" y="189"/>
                </a:cubicBezTo>
                <a:cubicBezTo>
                  <a:pt x="147" y="188"/>
                  <a:pt x="147" y="188"/>
                  <a:pt x="147" y="188"/>
                </a:cubicBezTo>
                <a:cubicBezTo>
                  <a:pt x="149" y="189"/>
                  <a:pt x="149" y="189"/>
                  <a:pt x="149" y="189"/>
                </a:cubicBezTo>
                <a:cubicBezTo>
                  <a:pt x="152" y="187"/>
                  <a:pt x="152" y="187"/>
                  <a:pt x="152" y="187"/>
                </a:cubicBezTo>
                <a:cubicBezTo>
                  <a:pt x="154" y="189"/>
                  <a:pt x="154" y="189"/>
                  <a:pt x="154" y="189"/>
                </a:cubicBezTo>
                <a:cubicBezTo>
                  <a:pt x="156" y="187"/>
                  <a:pt x="156" y="187"/>
                  <a:pt x="156" y="187"/>
                </a:cubicBezTo>
                <a:cubicBezTo>
                  <a:pt x="156" y="189"/>
                  <a:pt x="156" y="189"/>
                  <a:pt x="156" y="189"/>
                </a:cubicBezTo>
                <a:cubicBezTo>
                  <a:pt x="157" y="190"/>
                  <a:pt x="157" y="190"/>
                  <a:pt x="157" y="190"/>
                </a:cubicBezTo>
                <a:cubicBezTo>
                  <a:pt x="158" y="190"/>
                  <a:pt x="158" y="190"/>
                  <a:pt x="158" y="190"/>
                </a:cubicBezTo>
                <a:cubicBezTo>
                  <a:pt x="160" y="187"/>
                  <a:pt x="160" y="187"/>
                  <a:pt x="160" y="187"/>
                </a:cubicBezTo>
                <a:cubicBezTo>
                  <a:pt x="159" y="186"/>
                  <a:pt x="159" y="186"/>
                  <a:pt x="159" y="186"/>
                </a:cubicBezTo>
                <a:cubicBezTo>
                  <a:pt x="158" y="186"/>
                  <a:pt x="158" y="186"/>
                  <a:pt x="158" y="186"/>
                </a:cubicBezTo>
                <a:cubicBezTo>
                  <a:pt x="158" y="185"/>
                  <a:pt x="158" y="185"/>
                  <a:pt x="158" y="185"/>
                </a:cubicBezTo>
                <a:cubicBezTo>
                  <a:pt x="159" y="185"/>
                  <a:pt x="159" y="185"/>
                  <a:pt x="159" y="185"/>
                </a:cubicBezTo>
                <a:cubicBezTo>
                  <a:pt x="161" y="185"/>
                  <a:pt x="161" y="185"/>
                  <a:pt x="161" y="185"/>
                </a:cubicBezTo>
                <a:cubicBezTo>
                  <a:pt x="164" y="184"/>
                  <a:pt x="164" y="184"/>
                  <a:pt x="164" y="184"/>
                </a:cubicBezTo>
                <a:cubicBezTo>
                  <a:pt x="165" y="182"/>
                  <a:pt x="165" y="182"/>
                  <a:pt x="165" y="182"/>
                </a:cubicBezTo>
                <a:cubicBezTo>
                  <a:pt x="164" y="179"/>
                  <a:pt x="164" y="179"/>
                  <a:pt x="164" y="179"/>
                </a:cubicBezTo>
                <a:cubicBezTo>
                  <a:pt x="161" y="177"/>
                  <a:pt x="161" y="177"/>
                  <a:pt x="161" y="177"/>
                </a:cubicBezTo>
                <a:cubicBezTo>
                  <a:pt x="160" y="178"/>
                  <a:pt x="160" y="178"/>
                  <a:pt x="160" y="178"/>
                </a:cubicBezTo>
                <a:cubicBezTo>
                  <a:pt x="159" y="178"/>
                  <a:pt x="159" y="178"/>
                  <a:pt x="159" y="178"/>
                </a:cubicBezTo>
                <a:cubicBezTo>
                  <a:pt x="159" y="178"/>
                  <a:pt x="159" y="178"/>
                  <a:pt x="159" y="178"/>
                </a:cubicBezTo>
                <a:cubicBezTo>
                  <a:pt x="160" y="177"/>
                  <a:pt x="160" y="177"/>
                  <a:pt x="160" y="177"/>
                </a:cubicBezTo>
                <a:cubicBezTo>
                  <a:pt x="163" y="177"/>
                  <a:pt x="163" y="177"/>
                  <a:pt x="163" y="177"/>
                </a:cubicBezTo>
                <a:cubicBezTo>
                  <a:pt x="164" y="178"/>
                  <a:pt x="164" y="178"/>
                  <a:pt x="164" y="178"/>
                </a:cubicBezTo>
                <a:cubicBezTo>
                  <a:pt x="167" y="178"/>
                  <a:pt x="167" y="178"/>
                  <a:pt x="167" y="178"/>
                </a:cubicBezTo>
                <a:cubicBezTo>
                  <a:pt x="169" y="176"/>
                  <a:pt x="169" y="176"/>
                  <a:pt x="169" y="176"/>
                </a:cubicBezTo>
                <a:cubicBezTo>
                  <a:pt x="169" y="175"/>
                  <a:pt x="169" y="175"/>
                  <a:pt x="169" y="175"/>
                </a:cubicBezTo>
                <a:cubicBezTo>
                  <a:pt x="174" y="172"/>
                  <a:pt x="174" y="172"/>
                  <a:pt x="174" y="172"/>
                </a:cubicBezTo>
                <a:cubicBezTo>
                  <a:pt x="176" y="170"/>
                  <a:pt x="176" y="170"/>
                  <a:pt x="176" y="170"/>
                </a:cubicBezTo>
                <a:cubicBezTo>
                  <a:pt x="178" y="170"/>
                  <a:pt x="178" y="170"/>
                  <a:pt x="178" y="170"/>
                </a:cubicBezTo>
                <a:cubicBezTo>
                  <a:pt x="179" y="169"/>
                  <a:pt x="179" y="169"/>
                  <a:pt x="179" y="169"/>
                </a:cubicBezTo>
                <a:cubicBezTo>
                  <a:pt x="179" y="168"/>
                  <a:pt x="179" y="168"/>
                  <a:pt x="179" y="168"/>
                </a:cubicBezTo>
                <a:cubicBezTo>
                  <a:pt x="183" y="165"/>
                  <a:pt x="183" y="165"/>
                  <a:pt x="183" y="165"/>
                </a:cubicBezTo>
                <a:cubicBezTo>
                  <a:pt x="187" y="164"/>
                  <a:pt x="187" y="164"/>
                  <a:pt x="187" y="164"/>
                </a:cubicBezTo>
                <a:cubicBezTo>
                  <a:pt x="191" y="161"/>
                  <a:pt x="191" y="161"/>
                  <a:pt x="191" y="161"/>
                </a:cubicBezTo>
                <a:cubicBezTo>
                  <a:pt x="194" y="160"/>
                  <a:pt x="194" y="160"/>
                  <a:pt x="194" y="160"/>
                </a:cubicBezTo>
                <a:cubicBezTo>
                  <a:pt x="198" y="156"/>
                  <a:pt x="198" y="156"/>
                  <a:pt x="198" y="156"/>
                </a:cubicBezTo>
                <a:cubicBezTo>
                  <a:pt x="196" y="159"/>
                  <a:pt x="196" y="159"/>
                  <a:pt x="196" y="159"/>
                </a:cubicBezTo>
                <a:cubicBezTo>
                  <a:pt x="197" y="161"/>
                  <a:pt x="197" y="161"/>
                  <a:pt x="197" y="161"/>
                </a:cubicBezTo>
                <a:cubicBezTo>
                  <a:pt x="198" y="162"/>
                  <a:pt x="198" y="162"/>
                  <a:pt x="198" y="162"/>
                </a:cubicBezTo>
                <a:cubicBezTo>
                  <a:pt x="199" y="162"/>
                  <a:pt x="199" y="162"/>
                  <a:pt x="199" y="162"/>
                </a:cubicBezTo>
                <a:cubicBezTo>
                  <a:pt x="200" y="163"/>
                  <a:pt x="200" y="163"/>
                  <a:pt x="200" y="163"/>
                </a:cubicBezTo>
                <a:cubicBezTo>
                  <a:pt x="202" y="160"/>
                  <a:pt x="202" y="160"/>
                  <a:pt x="202" y="160"/>
                </a:cubicBezTo>
                <a:cubicBezTo>
                  <a:pt x="204" y="159"/>
                  <a:pt x="204" y="159"/>
                  <a:pt x="204" y="159"/>
                </a:cubicBezTo>
                <a:cubicBezTo>
                  <a:pt x="208" y="158"/>
                  <a:pt x="208" y="158"/>
                  <a:pt x="208" y="158"/>
                </a:cubicBezTo>
                <a:cubicBezTo>
                  <a:pt x="210" y="156"/>
                  <a:pt x="210" y="156"/>
                  <a:pt x="210" y="156"/>
                </a:cubicBezTo>
                <a:cubicBezTo>
                  <a:pt x="209" y="159"/>
                  <a:pt x="209" y="159"/>
                  <a:pt x="209" y="159"/>
                </a:cubicBezTo>
                <a:cubicBezTo>
                  <a:pt x="206" y="160"/>
                  <a:pt x="206" y="160"/>
                  <a:pt x="206" y="160"/>
                </a:cubicBezTo>
                <a:cubicBezTo>
                  <a:pt x="203" y="161"/>
                  <a:pt x="203" y="161"/>
                  <a:pt x="203" y="161"/>
                </a:cubicBezTo>
                <a:cubicBezTo>
                  <a:pt x="199" y="165"/>
                  <a:pt x="199" y="165"/>
                  <a:pt x="199" y="165"/>
                </a:cubicBezTo>
                <a:cubicBezTo>
                  <a:pt x="199" y="167"/>
                  <a:pt x="199" y="167"/>
                  <a:pt x="199" y="167"/>
                </a:cubicBezTo>
                <a:cubicBezTo>
                  <a:pt x="201" y="170"/>
                  <a:pt x="201" y="170"/>
                  <a:pt x="201" y="170"/>
                </a:cubicBezTo>
                <a:cubicBezTo>
                  <a:pt x="201" y="172"/>
                  <a:pt x="201" y="172"/>
                  <a:pt x="201" y="172"/>
                </a:cubicBezTo>
                <a:cubicBezTo>
                  <a:pt x="199" y="171"/>
                  <a:pt x="199" y="171"/>
                  <a:pt x="199" y="171"/>
                </a:cubicBezTo>
                <a:cubicBezTo>
                  <a:pt x="198" y="171"/>
                  <a:pt x="198" y="171"/>
                  <a:pt x="198" y="171"/>
                </a:cubicBezTo>
                <a:cubicBezTo>
                  <a:pt x="197" y="171"/>
                  <a:pt x="197" y="171"/>
                  <a:pt x="197" y="171"/>
                </a:cubicBezTo>
                <a:cubicBezTo>
                  <a:pt x="195" y="171"/>
                  <a:pt x="195" y="171"/>
                  <a:pt x="195" y="171"/>
                </a:cubicBezTo>
                <a:cubicBezTo>
                  <a:pt x="193" y="170"/>
                  <a:pt x="193" y="170"/>
                  <a:pt x="193" y="170"/>
                </a:cubicBezTo>
                <a:cubicBezTo>
                  <a:pt x="193" y="167"/>
                  <a:pt x="193" y="167"/>
                  <a:pt x="193" y="167"/>
                </a:cubicBezTo>
                <a:cubicBezTo>
                  <a:pt x="189" y="169"/>
                  <a:pt x="189" y="169"/>
                  <a:pt x="189" y="169"/>
                </a:cubicBezTo>
                <a:cubicBezTo>
                  <a:pt x="188" y="169"/>
                  <a:pt x="188" y="169"/>
                  <a:pt x="188" y="169"/>
                </a:cubicBezTo>
                <a:cubicBezTo>
                  <a:pt x="185" y="171"/>
                  <a:pt x="185" y="171"/>
                  <a:pt x="185" y="171"/>
                </a:cubicBezTo>
                <a:cubicBezTo>
                  <a:pt x="182" y="171"/>
                  <a:pt x="182" y="171"/>
                  <a:pt x="182" y="171"/>
                </a:cubicBezTo>
                <a:cubicBezTo>
                  <a:pt x="180" y="173"/>
                  <a:pt x="180" y="173"/>
                  <a:pt x="180" y="173"/>
                </a:cubicBezTo>
                <a:cubicBezTo>
                  <a:pt x="180" y="175"/>
                  <a:pt x="180" y="175"/>
                  <a:pt x="180" y="175"/>
                </a:cubicBezTo>
                <a:cubicBezTo>
                  <a:pt x="180" y="176"/>
                  <a:pt x="180" y="176"/>
                  <a:pt x="180" y="176"/>
                </a:cubicBezTo>
                <a:cubicBezTo>
                  <a:pt x="179" y="179"/>
                  <a:pt x="179" y="179"/>
                  <a:pt x="179" y="179"/>
                </a:cubicBezTo>
                <a:cubicBezTo>
                  <a:pt x="177" y="180"/>
                  <a:pt x="177" y="180"/>
                  <a:pt x="177" y="180"/>
                </a:cubicBezTo>
                <a:cubicBezTo>
                  <a:pt x="176" y="183"/>
                  <a:pt x="176" y="183"/>
                  <a:pt x="176" y="183"/>
                </a:cubicBezTo>
                <a:cubicBezTo>
                  <a:pt x="170" y="188"/>
                  <a:pt x="170" y="188"/>
                  <a:pt x="170" y="188"/>
                </a:cubicBezTo>
                <a:cubicBezTo>
                  <a:pt x="168" y="190"/>
                  <a:pt x="168" y="190"/>
                  <a:pt x="168" y="190"/>
                </a:cubicBezTo>
                <a:cubicBezTo>
                  <a:pt x="168" y="191"/>
                  <a:pt x="168" y="191"/>
                  <a:pt x="168" y="191"/>
                </a:cubicBezTo>
                <a:cubicBezTo>
                  <a:pt x="170" y="194"/>
                  <a:pt x="170" y="194"/>
                  <a:pt x="170" y="194"/>
                </a:cubicBezTo>
                <a:cubicBezTo>
                  <a:pt x="171" y="193"/>
                  <a:pt x="171" y="193"/>
                  <a:pt x="171" y="193"/>
                </a:cubicBezTo>
                <a:cubicBezTo>
                  <a:pt x="173" y="193"/>
                  <a:pt x="173" y="193"/>
                  <a:pt x="173" y="193"/>
                </a:cubicBezTo>
                <a:cubicBezTo>
                  <a:pt x="174" y="191"/>
                  <a:pt x="174" y="191"/>
                  <a:pt x="174" y="191"/>
                </a:cubicBezTo>
                <a:cubicBezTo>
                  <a:pt x="176" y="192"/>
                  <a:pt x="176" y="192"/>
                  <a:pt x="176" y="192"/>
                </a:cubicBezTo>
                <a:cubicBezTo>
                  <a:pt x="176" y="193"/>
                  <a:pt x="176" y="193"/>
                  <a:pt x="176" y="193"/>
                </a:cubicBezTo>
                <a:cubicBezTo>
                  <a:pt x="172" y="196"/>
                  <a:pt x="172" y="196"/>
                  <a:pt x="172" y="196"/>
                </a:cubicBezTo>
                <a:cubicBezTo>
                  <a:pt x="171" y="196"/>
                  <a:pt x="171" y="196"/>
                  <a:pt x="171" y="196"/>
                </a:cubicBezTo>
                <a:cubicBezTo>
                  <a:pt x="170" y="197"/>
                  <a:pt x="170" y="197"/>
                  <a:pt x="170" y="197"/>
                </a:cubicBezTo>
                <a:cubicBezTo>
                  <a:pt x="168" y="197"/>
                  <a:pt x="168" y="197"/>
                  <a:pt x="168" y="197"/>
                </a:cubicBezTo>
                <a:cubicBezTo>
                  <a:pt x="166" y="197"/>
                  <a:pt x="166" y="197"/>
                  <a:pt x="166" y="197"/>
                </a:cubicBezTo>
                <a:cubicBezTo>
                  <a:pt x="165" y="197"/>
                  <a:pt x="165" y="197"/>
                  <a:pt x="165" y="197"/>
                </a:cubicBezTo>
                <a:cubicBezTo>
                  <a:pt x="165" y="199"/>
                  <a:pt x="165" y="199"/>
                  <a:pt x="165" y="199"/>
                </a:cubicBezTo>
                <a:cubicBezTo>
                  <a:pt x="164" y="199"/>
                  <a:pt x="164" y="199"/>
                  <a:pt x="164" y="199"/>
                </a:cubicBezTo>
                <a:cubicBezTo>
                  <a:pt x="162" y="199"/>
                  <a:pt x="162" y="199"/>
                  <a:pt x="162" y="199"/>
                </a:cubicBezTo>
                <a:cubicBezTo>
                  <a:pt x="162" y="201"/>
                  <a:pt x="162" y="201"/>
                  <a:pt x="162" y="201"/>
                </a:cubicBezTo>
                <a:cubicBezTo>
                  <a:pt x="165" y="205"/>
                  <a:pt x="165" y="205"/>
                  <a:pt x="165" y="205"/>
                </a:cubicBezTo>
                <a:cubicBezTo>
                  <a:pt x="166" y="204"/>
                  <a:pt x="166" y="204"/>
                  <a:pt x="166" y="204"/>
                </a:cubicBezTo>
                <a:cubicBezTo>
                  <a:pt x="167" y="203"/>
                  <a:pt x="167" y="203"/>
                  <a:pt x="167" y="203"/>
                </a:cubicBezTo>
                <a:cubicBezTo>
                  <a:pt x="168" y="204"/>
                  <a:pt x="168" y="204"/>
                  <a:pt x="168" y="204"/>
                </a:cubicBezTo>
                <a:cubicBezTo>
                  <a:pt x="168" y="202"/>
                  <a:pt x="168" y="202"/>
                  <a:pt x="168" y="202"/>
                </a:cubicBezTo>
                <a:cubicBezTo>
                  <a:pt x="170" y="202"/>
                  <a:pt x="170" y="202"/>
                  <a:pt x="170" y="202"/>
                </a:cubicBezTo>
                <a:cubicBezTo>
                  <a:pt x="170" y="203"/>
                  <a:pt x="170" y="203"/>
                  <a:pt x="170" y="203"/>
                </a:cubicBezTo>
                <a:cubicBezTo>
                  <a:pt x="171" y="203"/>
                  <a:pt x="171" y="203"/>
                  <a:pt x="171" y="203"/>
                </a:cubicBezTo>
                <a:cubicBezTo>
                  <a:pt x="171" y="201"/>
                  <a:pt x="171" y="201"/>
                  <a:pt x="171" y="201"/>
                </a:cubicBezTo>
                <a:cubicBezTo>
                  <a:pt x="173" y="201"/>
                  <a:pt x="173" y="201"/>
                  <a:pt x="173" y="201"/>
                </a:cubicBezTo>
                <a:cubicBezTo>
                  <a:pt x="175" y="199"/>
                  <a:pt x="175" y="199"/>
                  <a:pt x="175" y="199"/>
                </a:cubicBezTo>
                <a:cubicBezTo>
                  <a:pt x="175" y="197"/>
                  <a:pt x="175" y="197"/>
                  <a:pt x="175" y="197"/>
                </a:cubicBezTo>
                <a:cubicBezTo>
                  <a:pt x="177" y="196"/>
                  <a:pt x="177" y="196"/>
                  <a:pt x="177" y="196"/>
                </a:cubicBezTo>
                <a:cubicBezTo>
                  <a:pt x="177" y="197"/>
                  <a:pt x="177" y="197"/>
                  <a:pt x="177" y="197"/>
                </a:cubicBezTo>
                <a:cubicBezTo>
                  <a:pt x="176" y="198"/>
                  <a:pt x="176" y="198"/>
                  <a:pt x="176" y="198"/>
                </a:cubicBezTo>
                <a:cubicBezTo>
                  <a:pt x="177" y="199"/>
                  <a:pt x="177" y="199"/>
                  <a:pt x="177" y="199"/>
                </a:cubicBezTo>
                <a:cubicBezTo>
                  <a:pt x="179" y="199"/>
                  <a:pt x="179" y="199"/>
                  <a:pt x="179" y="199"/>
                </a:cubicBezTo>
                <a:cubicBezTo>
                  <a:pt x="182" y="196"/>
                  <a:pt x="182" y="196"/>
                  <a:pt x="182" y="196"/>
                </a:cubicBezTo>
                <a:cubicBezTo>
                  <a:pt x="184" y="196"/>
                  <a:pt x="184" y="196"/>
                  <a:pt x="184" y="196"/>
                </a:cubicBezTo>
                <a:cubicBezTo>
                  <a:pt x="185" y="197"/>
                  <a:pt x="185" y="197"/>
                  <a:pt x="185" y="197"/>
                </a:cubicBezTo>
                <a:cubicBezTo>
                  <a:pt x="186" y="197"/>
                  <a:pt x="186" y="197"/>
                  <a:pt x="186" y="197"/>
                </a:cubicBezTo>
                <a:cubicBezTo>
                  <a:pt x="187" y="193"/>
                  <a:pt x="187" y="193"/>
                  <a:pt x="187" y="193"/>
                </a:cubicBezTo>
                <a:cubicBezTo>
                  <a:pt x="189" y="191"/>
                  <a:pt x="189" y="191"/>
                  <a:pt x="189" y="191"/>
                </a:cubicBezTo>
                <a:cubicBezTo>
                  <a:pt x="190" y="192"/>
                  <a:pt x="190" y="192"/>
                  <a:pt x="190" y="192"/>
                </a:cubicBezTo>
                <a:cubicBezTo>
                  <a:pt x="188" y="194"/>
                  <a:pt x="188" y="194"/>
                  <a:pt x="188" y="194"/>
                </a:cubicBezTo>
                <a:cubicBezTo>
                  <a:pt x="188" y="196"/>
                  <a:pt x="188" y="196"/>
                  <a:pt x="188" y="196"/>
                </a:cubicBezTo>
                <a:cubicBezTo>
                  <a:pt x="189" y="195"/>
                  <a:pt x="189" y="195"/>
                  <a:pt x="189" y="195"/>
                </a:cubicBezTo>
                <a:cubicBezTo>
                  <a:pt x="191" y="192"/>
                  <a:pt x="191" y="192"/>
                  <a:pt x="191" y="192"/>
                </a:cubicBezTo>
                <a:cubicBezTo>
                  <a:pt x="193" y="189"/>
                  <a:pt x="193" y="189"/>
                  <a:pt x="193" y="189"/>
                </a:cubicBezTo>
                <a:cubicBezTo>
                  <a:pt x="194" y="188"/>
                  <a:pt x="194" y="188"/>
                  <a:pt x="194" y="188"/>
                </a:cubicBezTo>
                <a:cubicBezTo>
                  <a:pt x="194" y="189"/>
                  <a:pt x="194" y="189"/>
                  <a:pt x="194" y="189"/>
                </a:cubicBezTo>
                <a:cubicBezTo>
                  <a:pt x="193" y="192"/>
                  <a:pt x="193" y="192"/>
                  <a:pt x="193" y="192"/>
                </a:cubicBezTo>
                <a:cubicBezTo>
                  <a:pt x="193" y="193"/>
                  <a:pt x="193" y="193"/>
                  <a:pt x="193" y="193"/>
                </a:cubicBezTo>
                <a:cubicBezTo>
                  <a:pt x="195" y="190"/>
                  <a:pt x="195" y="190"/>
                  <a:pt x="195" y="190"/>
                </a:cubicBezTo>
                <a:cubicBezTo>
                  <a:pt x="196" y="191"/>
                  <a:pt x="196" y="191"/>
                  <a:pt x="196" y="191"/>
                </a:cubicBezTo>
                <a:cubicBezTo>
                  <a:pt x="196" y="193"/>
                  <a:pt x="196" y="193"/>
                  <a:pt x="196" y="193"/>
                </a:cubicBezTo>
                <a:cubicBezTo>
                  <a:pt x="198" y="193"/>
                  <a:pt x="198" y="193"/>
                  <a:pt x="198" y="193"/>
                </a:cubicBezTo>
                <a:cubicBezTo>
                  <a:pt x="199" y="194"/>
                  <a:pt x="199" y="194"/>
                  <a:pt x="199" y="194"/>
                </a:cubicBezTo>
                <a:cubicBezTo>
                  <a:pt x="201" y="192"/>
                  <a:pt x="201" y="192"/>
                  <a:pt x="201" y="192"/>
                </a:cubicBezTo>
                <a:cubicBezTo>
                  <a:pt x="201" y="190"/>
                  <a:pt x="201" y="190"/>
                  <a:pt x="201" y="190"/>
                </a:cubicBezTo>
                <a:cubicBezTo>
                  <a:pt x="204" y="190"/>
                  <a:pt x="204" y="190"/>
                  <a:pt x="204" y="190"/>
                </a:cubicBezTo>
                <a:cubicBezTo>
                  <a:pt x="206" y="189"/>
                  <a:pt x="206" y="189"/>
                  <a:pt x="206" y="189"/>
                </a:cubicBezTo>
                <a:cubicBezTo>
                  <a:pt x="205" y="188"/>
                  <a:pt x="205" y="188"/>
                  <a:pt x="205" y="188"/>
                </a:cubicBezTo>
                <a:cubicBezTo>
                  <a:pt x="205" y="186"/>
                  <a:pt x="205" y="186"/>
                  <a:pt x="205" y="186"/>
                </a:cubicBezTo>
                <a:cubicBezTo>
                  <a:pt x="209" y="185"/>
                  <a:pt x="209" y="185"/>
                  <a:pt x="209" y="185"/>
                </a:cubicBezTo>
                <a:cubicBezTo>
                  <a:pt x="210" y="183"/>
                  <a:pt x="210" y="183"/>
                  <a:pt x="210" y="183"/>
                </a:cubicBezTo>
                <a:cubicBezTo>
                  <a:pt x="210" y="181"/>
                  <a:pt x="210" y="181"/>
                  <a:pt x="210" y="181"/>
                </a:cubicBezTo>
                <a:cubicBezTo>
                  <a:pt x="208" y="182"/>
                  <a:pt x="208" y="182"/>
                  <a:pt x="208" y="182"/>
                </a:cubicBezTo>
                <a:cubicBezTo>
                  <a:pt x="206" y="181"/>
                  <a:pt x="206" y="181"/>
                  <a:pt x="206" y="181"/>
                </a:cubicBezTo>
                <a:cubicBezTo>
                  <a:pt x="204" y="180"/>
                  <a:pt x="204" y="180"/>
                  <a:pt x="204" y="180"/>
                </a:cubicBezTo>
                <a:cubicBezTo>
                  <a:pt x="205" y="179"/>
                  <a:pt x="205" y="179"/>
                  <a:pt x="205" y="179"/>
                </a:cubicBezTo>
                <a:cubicBezTo>
                  <a:pt x="207" y="179"/>
                  <a:pt x="207" y="179"/>
                  <a:pt x="207" y="179"/>
                </a:cubicBezTo>
                <a:cubicBezTo>
                  <a:pt x="208" y="180"/>
                  <a:pt x="208" y="180"/>
                  <a:pt x="208" y="180"/>
                </a:cubicBezTo>
                <a:cubicBezTo>
                  <a:pt x="209" y="179"/>
                  <a:pt x="209" y="179"/>
                  <a:pt x="209" y="179"/>
                </a:cubicBezTo>
                <a:cubicBezTo>
                  <a:pt x="209" y="177"/>
                  <a:pt x="209" y="177"/>
                  <a:pt x="209" y="177"/>
                </a:cubicBezTo>
                <a:cubicBezTo>
                  <a:pt x="207" y="178"/>
                  <a:pt x="207" y="178"/>
                  <a:pt x="207" y="178"/>
                </a:cubicBezTo>
                <a:cubicBezTo>
                  <a:pt x="205" y="176"/>
                  <a:pt x="205" y="176"/>
                  <a:pt x="205" y="176"/>
                </a:cubicBezTo>
                <a:cubicBezTo>
                  <a:pt x="205" y="174"/>
                  <a:pt x="205" y="174"/>
                  <a:pt x="205" y="174"/>
                </a:cubicBezTo>
                <a:cubicBezTo>
                  <a:pt x="208" y="174"/>
                  <a:pt x="208" y="174"/>
                  <a:pt x="208" y="174"/>
                </a:cubicBezTo>
                <a:cubicBezTo>
                  <a:pt x="209" y="173"/>
                  <a:pt x="209" y="173"/>
                  <a:pt x="209" y="173"/>
                </a:cubicBezTo>
                <a:cubicBezTo>
                  <a:pt x="210" y="174"/>
                  <a:pt x="210" y="174"/>
                  <a:pt x="210" y="174"/>
                </a:cubicBezTo>
                <a:cubicBezTo>
                  <a:pt x="210" y="173"/>
                  <a:pt x="210" y="173"/>
                  <a:pt x="210" y="173"/>
                </a:cubicBezTo>
                <a:cubicBezTo>
                  <a:pt x="210" y="171"/>
                  <a:pt x="210" y="171"/>
                  <a:pt x="210" y="171"/>
                </a:cubicBezTo>
                <a:cubicBezTo>
                  <a:pt x="213" y="169"/>
                  <a:pt x="213" y="169"/>
                  <a:pt x="213" y="169"/>
                </a:cubicBezTo>
                <a:cubicBezTo>
                  <a:pt x="215" y="171"/>
                  <a:pt x="215" y="171"/>
                  <a:pt x="215" y="171"/>
                </a:cubicBezTo>
                <a:cubicBezTo>
                  <a:pt x="216" y="170"/>
                  <a:pt x="216" y="170"/>
                  <a:pt x="216" y="170"/>
                </a:cubicBezTo>
                <a:cubicBezTo>
                  <a:pt x="219" y="170"/>
                  <a:pt x="219" y="170"/>
                  <a:pt x="219" y="170"/>
                </a:cubicBezTo>
                <a:cubicBezTo>
                  <a:pt x="215" y="173"/>
                  <a:pt x="215" y="173"/>
                  <a:pt x="215" y="173"/>
                </a:cubicBezTo>
                <a:cubicBezTo>
                  <a:pt x="215" y="175"/>
                  <a:pt x="215" y="175"/>
                  <a:pt x="215" y="175"/>
                </a:cubicBezTo>
                <a:cubicBezTo>
                  <a:pt x="216" y="178"/>
                  <a:pt x="216" y="178"/>
                  <a:pt x="216" y="178"/>
                </a:cubicBezTo>
                <a:cubicBezTo>
                  <a:pt x="217" y="178"/>
                  <a:pt x="217" y="178"/>
                  <a:pt x="217" y="178"/>
                </a:cubicBezTo>
                <a:cubicBezTo>
                  <a:pt x="218" y="174"/>
                  <a:pt x="218" y="174"/>
                  <a:pt x="218" y="174"/>
                </a:cubicBezTo>
                <a:cubicBezTo>
                  <a:pt x="219" y="173"/>
                  <a:pt x="219" y="173"/>
                  <a:pt x="219" y="173"/>
                </a:cubicBezTo>
                <a:cubicBezTo>
                  <a:pt x="220" y="173"/>
                  <a:pt x="220" y="173"/>
                  <a:pt x="220" y="173"/>
                </a:cubicBezTo>
                <a:cubicBezTo>
                  <a:pt x="220" y="174"/>
                  <a:pt x="220" y="174"/>
                  <a:pt x="220" y="174"/>
                </a:cubicBezTo>
                <a:cubicBezTo>
                  <a:pt x="219" y="176"/>
                  <a:pt x="219" y="176"/>
                  <a:pt x="219" y="176"/>
                </a:cubicBezTo>
                <a:cubicBezTo>
                  <a:pt x="219" y="177"/>
                  <a:pt x="219" y="177"/>
                  <a:pt x="219" y="177"/>
                </a:cubicBezTo>
                <a:cubicBezTo>
                  <a:pt x="221" y="175"/>
                  <a:pt x="221" y="175"/>
                  <a:pt x="221" y="175"/>
                </a:cubicBezTo>
                <a:cubicBezTo>
                  <a:pt x="222" y="174"/>
                  <a:pt x="222" y="174"/>
                  <a:pt x="222" y="174"/>
                </a:cubicBezTo>
                <a:cubicBezTo>
                  <a:pt x="223" y="175"/>
                  <a:pt x="223" y="175"/>
                  <a:pt x="223" y="175"/>
                </a:cubicBezTo>
                <a:cubicBezTo>
                  <a:pt x="225" y="174"/>
                  <a:pt x="225" y="174"/>
                  <a:pt x="225" y="174"/>
                </a:cubicBezTo>
                <a:cubicBezTo>
                  <a:pt x="226" y="174"/>
                  <a:pt x="226" y="174"/>
                  <a:pt x="226" y="174"/>
                </a:cubicBezTo>
                <a:cubicBezTo>
                  <a:pt x="228" y="172"/>
                  <a:pt x="228" y="172"/>
                  <a:pt x="228" y="172"/>
                </a:cubicBezTo>
                <a:cubicBezTo>
                  <a:pt x="230" y="172"/>
                  <a:pt x="230" y="172"/>
                  <a:pt x="230" y="172"/>
                </a:cubicBezTo>
                <a:cubicBezTo>
                  <a:pt x="232" y="172"/>
                  <a:pt x="232" y="172"/>
                  <a:pt x="232" y="172"/>
                </a:cubicBezTo>
                <a:cubicBezTo>
                  <a:pt x="232" y="173"/>
                  <a:pt x="232" y="173"/>
                  <a:pt x="232" y="173"/>
                </a:cubicBezTo>
                <a:cubicBezTo>
                  <a:pt x="230" y="173"/>
                  <a:pt x="230" y="173"/>
                  <a:pt x="230" y="173"/>
                </a:cubicBezTo>
                <a:cubicBezTo>
                  <a:pt x="228" y="175"/>
                  <a:pt x="228" y="175"/>
                  <a:pt x="228" y="175"/>
                </a:cubicBezTo>
                <a:cubicBezTo>
                  <a:pt x="226" y="175"/>
                  <a:pt x="226" y="175"/>
                  <a:pt x="226" y="175"/>
                </a:cubicBezTo>
                <a:cubicBezTo>
                  <a:pt x="225" y="177"/>
                  <a:pt x="225" y="177"/>
                  <a:pt x="225" y="177"/>
                </a:cubicBezTo>
                <a:cubicBezTo>
                  <a:pt x="226" y="178"/>
                  <a:pt x="226" y="178"/>
                  <a:pt x="226" y="178"/>
                </a:cubicBezTo>
                <a:cubicBezTo>
                  <a:pt x="230" y="179"/>
                  <a:pt x="230" y="179"/>
                  <a:pt x="230" y="179"/>
                </a:cubicBezTo>
                <a:cubicBezTo>
                  <a:pt x="231" y="180"/>
                  <a:pt x="231" y="180"/>
                  <a:pt x="231" y="180"/>
                </a:cubicBezTo>
                <a:cubicBezTo>
                  <a:pt x="231" y="181"/>
                  <a:pt x="231" y="181"/>
                  <a:pt x="231" y="181"/>
                </a:cubicBezTo>
                <a:cubicBezTo>
                  <a:pt x="229" y="179"/>
                  <a:pt x="229" y="179"/>
                  <a:pt x="229" y="179"/>
                </a:cubicBezTo>
                <a:cubicBezTo>
                  <a:pt x="226" y="179"/>
                  <a:pt x="226" y="179"/>
                  <a:pt x="226" y="179"/>
                </a:cubicBezTo>
                <a:cubicBezTo>
                  <a:pt x="224" y="180"/>
                  <a:pt x="224" y="180"/>
                  <a:pt x="224" y="180"/>
                </a:cubicBezTo>
                <a:cubicBezTo>
                  <a:pt x="224" y="181"/>
                  <a:pt x="224" y="181"/>
                  <a:pt x="224" y="181"/>
                </a:cubicBezTo>
                <a:cubicBezTo>
                  <a:pt x="226" y="182"/>
                  <a:pt x="226" y="182"/>
                  <a:pt x="226" y="182"/>
                </a:cubicBezTo>
                <a:cubicBezTo>
                  <a:pt x="227" y="181"/>
                  <a:pt x="227" y="181"/>
                  <a:pt x="227" y="181"/>
                </a:cubicBezTo>
                <a:cubicBezTo>
                  <a:pt x="229" y="182"/>
                  <a:pt x="229" y="182"/>
                  <a:pt x="229" y="182"/>
                </a:cubicBezTo>
                <a:cubicBezTo>
                  <a:pt x="228" y="183"/>
                  <a:pt x="228" y="183"/>
                  <a:pt x="228" y="183"/>
                </a:cubicBezTo>
                <a:cubicBezTo>
                  <a:pt x="226" y="183"/>
                  <a:pt x="226" y="183"/>
                  <a:pt x="226" y="183"/>
                </a:cubicBezTo>
                <a:cubicBezTo>
                  <a:pt x="226" y="184"/>
                  <a:pt x="226" y="184"/>
                  <a:pt x="226" y="184"/>
                </a:cubicBezTo>
                <a:cubicBezTo>
                  <a:pt x="229" y="185"/>
                  <a:pt x="229" y="185"/>
                  <a:pt x="229" y="185"/>
                </a:cubicBezTo>
                <a:cubicBezTo>
                  <a:pt x="230" y="186"/>
                  <a:pt x="230" y="186"/>
                  <a:pt x="230" y="186"/>
                </a:cubicBezTo>
                <a:cubicBezTo>
                  <a:pt x="228" y="187"/>
                  <a:pt x="228" y="187"/>
                  <a:pt x="228" y="187"/>
                </a:cubicBezTo>
                <a:cubicBezTo>
                  <a:pt x="227" y="187"/>
                  <a:pt x="227" y="187"/>
                  <a:pt x="227" y="187"/>
                </a:cubicBezTo>
                <a:cubicBezTo>
                  <a:pt x="227" y="188"/>
                  <a:pt x="227" y="188"/>
                  <a:pt x="227" y="188"/>
                </a:cubicBezTo>
                <a:cubicBezTo>
                  <a:pt x="229" y="188"/>
                  <a:pt x="229" y="188"/>
                  <a:pt x="229" y="188"/>
                </a:cubicBezTo>
                <a:cubicBezTo>
                  <a:pt x="231" y="187"/>
                  <a:pt x="231" y="187"/>
                  <a:pt x="231" y="187"/>
                </a:cubicBezTo>
                <a:cubicBezTo>
                  <a:pt x="233" y="189"/>
                  <a:pt x="233" y="189"/>
                  <a:pt x="233" y="189"/>
                </a:cubicBezTo>
                <a:cubicBezTo>
                  <a:pt x="234" y="190"/>
                  <a:pt x="234" y="190"/>
                  <a:pt x="234" y="190"/>
                </a:cubicBezTo>
                <a:cubicBezTo>
                  <a:pt x="237" y="189"/>
                  <a:pt x="237" y="189"/>
                  <a:pt x="237" y="189"/>
                </a:cubicBezTo>
                <a:cubicBezTo>
                  <a:pt x="238" y="190"/>
                  <a:pt x="238" y="190"/>
                  <a:pt x="238" y="190"/>
                </a:cubicBezTo>
                <a:cubicBezTo>
                  <a:pt x="238" y="191"/>
                  <a:pt x="238" y="191"/>
                  <a:pt x="238" y="191"/>
                </a:cubicBezTo>
                <a:cubicBezTo>
                  <a:pt x="237" y="192"/>
                  <a:pt x="237" y="192"/>
                  <a:pt x="237" y="192"/>
                </a:cubicBezTo>
                <a:cubicBezTo>
                  <a:pt x="237" y="193"/>
                  <a:pt x="237" y="193"/>
                  <a:pt x="237" y="193"/>
                </a:cubicBezTo>
                <a:cubicBezTo>
                  <a:pt x="238" y="193"/>
                  <a:pt x="238" y="193"/>
                  <a:pt x="238" y="193"/>
                </a:cubicBezTo>
                <a:cubicBezTo>
                  <a:pt x="238" y="194"/>
                  <a:pt x="238" y="194"/>
                  <a:pt x="238" y="194"/>
                </a:cubicBezTo>
                <a:cubicBezTo>
                  <a:pt x="240" y="195"/>
                  <a:pt x="240" y="195"/>
                  <a:pt x="240" y="195"/>
                </a:cubicBezTo>
                <a:cubicBezTo>
                  <a:pt x="241" y="193"/>
                  <a:pt x="241" y="193"/>
                  <a:pt x="241" y="193"/>
                </a:cubicBezTo>
                <a:cubicBezTo>
                  <a:pt x="241" y="192"/>
                  <a:pt x="241" y="192"/>
                  <a:pt x="241" y="192"/>
                </a:cubicBezTo>
                <a:cubicBezTo>
                  <a:pt x="241" y="191"/>
                  <a:pt x="241" y="191"/>
                  <a:pt x="241" y="191"/>
                </a:cubicBezTo>
                <a:cubicBezTo>
                  <a:pt x="244" y="191"/>
                  <a:pt x="244" y="191"/>
                  <a:pt x="244" y="191"/>
                </a:cubicBezTo>
                <a:cubicBezTo>
                  <a:pt x="242" y="193"/>
                  <a:pt x="242" y="193"/>
                  <a:pt x="242" y="193"/>
                </a:cubicBezTo>
                <a:cubicBezTo>
                  <a:pt x="242" y="194"/>
                  <a:pt x="242" y="194"/>
                  <a:pt x="242" y="194"/>
                </a:cubicBezTo>
                <a:cubicBezTo>
                  <a:pt x="240" y="197"/>
                  <a:pt x="240" y="197"/>
                  <a:pt x="240" y="197"/>
                </a:cubicBezTo>
                <a:cubicBezTo>
                  <a:pt x="242" y="199"/>
                  <a:pt x="242" y="199"/>
                  <a:pt x="242" y="199"/>
                </a:cubicBezTo>
                <a:cubicBezTo>
                  <a:pt x="241" y="199"/>
                  <a:pt x="241" y="199"/>
                  <a:pt x="241" y="199"/>
                </a:cubicBezTo>
                <a:cubicBezTo>
                  <a:pt x="240" y="199"/>
                  <a:pt x="240" y="199"/>
                  <a:pt x="240" y="199"/>
                </a:cubicBezTo>
                <a:cubicBezTo>
                  <a:pt x="238" y="199"/>
                  <a:pt x="238" y="199"/>
                  <a:pt x="238" y="199"/>
                </a:cubicBezTo>
                <a:cubicBezTo>
                  <a:pt x="239" y="201"/>
                  <a:pt x="239" y="201"/>
                  <a:pt x="239" y="201"/>
                </a:cubicBezTo>
                <a:cubicBezTo>
                  <a:pt x="244" y="202"/>
                  <a:pt x="244" y="202"/>
                  <a:pt x="244" y="202"/>
                </a:cubicBezTo>
                <a:cubicBezTo>
                  <a:pt x="245" y="201"/>
                  <a:pt x="245" y="201"/>
                  <a:pt x="245" y="201"/>
                </a:cubicBezTo>
                <a:cubicBezTo>
                  <a:pt x="247" y="201"/>
                  <a:pt x="247" y="201"/>
                  <a:pt x="247" y="201"/>
                </a:cubicBezTo>
                <a:cubicBezTo>
                  <a:pt x="249" y="201"/>
                  <a:pt x="249" y="201"/>
                  <a:pt x="249" y="201"/>
                </a:cubicBezTo>
                <a:cubicBezTo>
                  <a:pt x="251" y="201"/>
                  <a:pt x="251" y="201"/>
                  <a:pt x="251" y="201"/>
                </a:cubicBezTo>
                <a:cubicBezTo>
                  <a:pt x="254" y="201"/>
                  <a:pt x="254" y="201"/>
                  <a:pt x="254" y="201"/>
                </a:cubicBezTo>
                <a:cubicBezTo>
                  <a:pt x="255" y="201"/>
                  <a:pt x="255" y="201"/>
                  <a:pt x="255" y="201"/>
                </a:cubicBezTo>
                <a:cubicBezTo>
                  <a:pt x="255" y="203"/>
                  <a:pt x="255" y="203"/>
                  <a:pt x="255" y="203"/>
                </a:cubicBezTo>
                <a:cubicBezTo>
                  <a:pt x="256" y="203"/>
                  <a:pt x="256" y="203"/>
                  <a:pt x="256" y="203"/>
                </a:cubicBezTo>
                <a:cubicBezTo>
                  <a:pt x="257" y="204"/>
                  <a:pt x="257" y="204"/>
                  <a:pt x="257" y="204"/>
                </a:cubicBezTo>
                <a:cubicBezTo>
                  <a:pt x="259" y="205"/>
                  <a:pt x="259" y="205"/>
                  <a:pt x="259" y="205"/>
                </a:cubicBezTo>
                <a:cubicBezTo>
                  <a:pt x="259" y="207"/>
                  <a:pt x="259" y="207"/>
                  <a:pt x="259" y="207"/>
                </a:cubicBezTo>
                <a:cubicBezTo>
                  <a:pt x="261" y="207"/>
                  <a:pt x="261" y="207"/>
                  <a:pt x="261" y="207"/>
                </a:cubicBezTo>
                <a:cubicBezTo>
                  <a:pt x="264" y="205"/>
                  <a:pt x="264" y="205"/>
                  <a:pt x="264" y="205"/>
                </a:cubicBezTo>
                <a:cubicBezTo>
                  <a:pt x="264" y="205"/>
                  <a:pt x="264" y="205"/>
                  <a:pt x="264" y="205"/>
                </a:cubicBezTo>
                <a:cubicBezTo>
                  <a:pt x="265" y="205"/>
                  <a:pt x="265" y="205"/>
                  <a:pt x="265" y="205"/>
                </a:cubicBezTo>
                <a:cubicBezTo>
                  <a:pt x="265" y="207"/>
                  <a:pt x="265" y="207"/>
                  <a:pt x="265" y="207"/>
                </a:cubicBezTo>
                <a:cubicBezTo>
                  <a:pt x="264" y="208"/>
                  <a:pt x="264" y="208"/>
                  <a:pt x="264" y="208"/>
                </a:cubicBezTo>
                <a:cubicBezTo>
                  <a:pt x="262" y="208"/>
                  <a:pt x="262" y="208"/>
                  <a:pt x="262" y="208"/>
                </a:cubicBezTo>
                <a:cubicBezTo>
                  <a:pt x="262" y="209"/>
                  <a:pt x="262" y="209"/>
                  <a:pt x="262" y="209"/>
                </a:cubicBezTo>
                <a:cubicBezTo>
                  <a:pt x="265" y="210"/>
                  <a:pt x="265" y="210"/>
                  <a:pt x="265" y="210"/>
                </a:cubicBezTo>
                <a:cubicBezTo>
                  <a:pt x="266" y="212"/>
                  <a:pt x="266" y="212"/>
                  <a:pt x="266" y="212"/>
                </a:cubicBezTo>
                <a:cubicBezTo>
                  <a:pt x="267" y="213"/>
                  <a:pt x="267" y="213"/>
                  <a:pt x="267" y="213"/>
                </a:cubicBezTo>
                <a:cubicBezTo>
                  <a:pt x="270" y="214"/>
                  <a:pt x="270" y="214"/>
                  <a:pt x="270" y="214"/>
                </a:cubicBezTo>
                <a:cubicBezTo>
                  <a:pt x="273" y="213"/>
                  <a:pt x="273" y="213"/>
                  <a:pt x="273" y="213"/>
                </a:cubicBezTo>
                <a:cubicBezTo>
                  <a:pt x="275" y="213"/>
                  <a:pt x="275" y="213"/>
                  <a:pt x="275" y="213"/>
                </a:cubicBezTo>
                <a:cubicBezTo>
                  <a:pt x="276" y="214"/>
                  <a:pt x="276" y="214"/>
                  <a:pt x="276" y="214"/>
                </a:cubicBezTo>
                <a:cubicBezTo>
                  <a:pt x="277" y="212"/>
                  <a:pt x="277" y="212"/>
                  <a:pt x="277" y="212"/>
                </a:cubicBezTo>
                <a:cubicBezTo>
                  <a:pt x="279" y="210"/>
                  <a:pt x="279" y="210"/>
                  <a:pt x="279" y="210"/>
                </a:cubicBezTo>
                <a:cubicBezTo>
                  <a:pt x="280" y="210"/>
                  <a:pt x="280" y="210"/>
                  <a:pt x="280" y="210"/>
                </a:cubicBezTo>
                <a:cubicBezTo>
                  <a:pt x="280" y="211"/>
                  <a:pt x="280" y="211"/>
                  <a:pt x="280" y="211"/>
                </a:cubicBezTo>
                <a:cubicBezTo>
                  <a:pt x="278" y="213"/>
                  <a:pt x="278" y="213"/>
                  <a:pt x="278" y="213"/>
                </a:cubicBezTo>
                <a:cubicBezTo>
                  <a:pt x="277" y="216"/>
                  <a:pt x="277" y="216"/>
                  <a:pt x="277" y="216"/>
                </a:cubicBezTo>
                <a:cubicBezTo>
                  <a:pt x="276" y="219"/>
                  <a:pt x="276" y="219"/>
                  <a:pt x="276" y="219"/>
                </a:cubicBezTo>
                <a:cubicBezTo>
                  <a:pt x="275" y="219"/>
                  <a:pt x="275" y="219"/>
                  <a:pt x="275" y="219"/>
                </a:cubicBezTo>
                <a:cubicBezTo>
                  <a:pt x="273" y="218"/>
                  <a:pt x="273" y="218"/>
                  <a:pt x="273" y="218"/>
                </a:cubicBezTo>
                <a:cubicBezTo>
                  <a:pt x="272" y="218"/>
                  <a:pt x="272" y="218"/>
                  <a:pt x="272" y="218"/>
                </a:cubicBezTo>
                <a:cubicBezTo>
                  <a:pt x="274" y="220"/>
                  <a:pt x="274" y="220"/>
                  <a:pt x="274" y="220"/>
                </a:cubicBezTo>
                <a:cubicBezTo>
                  <a:pt x="274" y="222"/>
                  <a:pt x="274" y="222"/>
                  <a:pt x="274" y="222"/>
                </a:cubicBezTo>
                <a:cubicBezTo>
                  <a:pt x="275" y="223"/>
                  <a:pt x="275" y="223"/>
                  <a:pt x="275" y="223"/>
                </a:cubicBezTo>
                <a:cubicBezTo>
                  <a:pt x="277" y="223"/>
                  <a:pt x="277" y="223"/>
                  <a:pt x="277" y="223"/>
                </a:cubicBezTo>
                <a:cubicBezTo>
                  <a:pt x="278" y="223"/>
                  <a:pt x="278" y="223"/>
                  <a:pt x="278" y="223"/>
                </a:cubicBezTo>
                <a:cubicBezTo>
                  <a:pt x="278" y="225"/>
                  <a:pt x="278" y="225"/>
                  <a:pt x="278" y="225"/>
                </a:cubicBezTo>
                <a:cubicBezTo>
                  <a:pt x="277" y="225"/>
                  <a:pt x="277" y="225"/>
                  <a:pt x="277" y="225"/>
                </a:cubicBezTo>
                <a:cubicBezTo>
                  <a:pt x="277" y="225"/>
                  <a:pt x="277" y="225"/>
                  <a:pt x="277" y="225"/>
                </a:cubicBezTo>
                <a:cubicBezTo>
                  <a:pt x="279" y="228"/>
                  <a:pt x="279" y="228"/>
                  <a:pt x="279" y="228"/>
                </a:cubicBezTo>
                <a:cubicBezTo>
                  <a:pt x="280" y="228"/>
                  <a:pt x="280" y="228"/>
                  <a:pt x="280" y="228"/>
                </a:cubicBezTo>
                <a:cubicBezTo>
                  <a:pt x="283" y="228"/>
                  <a:pt x="283" y="228"/>
                  <a:pt x="283" y="228"/>
                </a:cubicBezTo>
                <a:cubicBezTo>
                  <a:pt x="284" y="226"/>
                  <a:pt x="284" y="226"/>
                  <a:pt x="284" y="226"/>
                </a:cubicBezTo>
                <a:cubicBezTo>
                  <a:pt x="286" y="222"/>
                  <a:pt x="286" y="222"/>
                  <a:pt x="286" y="222"/>
                </a:cubicBezTo>
                <a:cubicBezTo>
                  <a:pt x="285" y="225"/>
                  <a:pt x="285" y="225"/>
                  <a:pt x="285" y="225"/>
                </a:cubicBezTo>
                <a:cubicBezTo>
                  <a:pt x="285" y="227"/>
                  <a:pt x="285" y="227"/>
                  <a:pt x="285" y="227"/>
                </a:cubicBezTo>
                <a:cubicBezTo>
                  <a:pt x="284" y="229"/>
                  <a:pt x="284" y="229"/>
                  <a:pt x="284" y="229"/>
                </a:cubicBezTo>
                <a:cubicBezTo>
                  <a:pt x="283" y="229"/>
                  <a:pt x="283" y="229"/>
                  <a:pt x="283" y="229"/>
                </a:cubicBezTo>
                <a:cubicBezTo>
                  <a:pt x="282" y="231"/>
                  <a:pt x="282" y="231"/>
                  <a:pt x="282" y="231"/>
                </a:cubicBezTo>
                <a:cubicBezTo>
                  <a:pt x="282" y="232"/>
                  <a:pt x="282" y="232"/>
                  <a:pt x="282" y="232"/>
                </a:cubicBezTo>
                <a:cubicBezTo>
                  <a:pt x="284" y="233"/>
                  <a:pt x="284" y="233"/>
                  <a:pt x="284" y="233"/>
                </a:cubicBezTo>
                <a:cubicBezTo>
                  <a:pt x="283" y="234"/>
                  <a:pt x="283" y="234"/>
                  <a:pt x="283" y="234"/>
                </a:cubicBezTo>
                <a:cubicBezTo>
                  <a:pt x="283" y="239"/>
                  <a:pt x="283" y="239"/>
                  <a:pt x="283" y="239"/>
                </a:cubicBezTo>
                <a:cubicBezTo>
                  <a:pt x="284" y="240"/>
                  <a:pt x="284" y="240"/>
                  <a:pt x="284" y="240"/>
                </a:cubicBezTo>
                <a:cubicBezTo>
                  <a:pt x="285" y="240"/>
                  <a:pt x="285" y="240"/>
                  <a:pt x="285" y="240"/>
                </a:cubicBezTo>
                <a:cubicBezTo>
                  <a:pt x="285" y="242"/>
                  <a:pt x="285" y="242"/>
                  <a:pt x="285" y="242"/>
                </a:cubicBezTo>
                <a:cubicBezTo>
                  <a:pt x="285" y="243"/>
                  <a:pt x="285" y="243"/>
                  <a:pt x="285" y="243"/>
                </a:cubicBezTo>
                <a:cubicBezTo>
                  <a:pt x="288" y="247"/>
                  <a:pt x="288" y="247"/>
                  <a:pt x="288" y="247"/>
                </a:cubicBezTo>
                <a:cubicBezTo>
                  <a:pt x="289" y="247"/>
                  <a:pt x="289" y="247"/>
                  <a:pt x="289" y="247"/>
                </a:cubicBezTo>
                <a:cubicBezTo>
                  <a:pt x="290" y="248"/>
                  <a:pt x="290" y="248"/>
                  <a:pt x="290" y="248"/>
                </a:cubicBezTo>
                <a:cubicBezTo>
                  <a:pt x="291" y="247"/>
                  <a:pt x="291" y="247"/>
                  <a:pt x="291" y="247"/>
                </a:cubicBezTo>
                <a:cubicBezTo>
                  <a:pt x="292" y="249"/>
                  <a:pt x="292" y="249"/>
                  <a:pt x="292" y="249"/>
                </a:cubicBezTo>
                <a:cubicBezTo>
                  <a:pt x="293" y="248"/>
                  <a:pt x="293" y="248"/>
                  <a:pt x="293" y="248"/>
                </a:cubicBezTo>
                <a:cubicBezTo>
                  <a:pt x="293" y="247"/>
                  <a:pt x="293" y="247"/>
                  <a:pt x="293" y="247"/>
                </a:cubicBezTo>
                <a:cubicBezTo>
                  <a:pt x="293" y="247"/>
                  <a:pt x="293" y="247"/>
                  <a:pt x="293" y="247"/>
                </a:cubicBezTo>
                <a:cubicBezTo>
                  <a:pt x="294" y="248"/>
                  <a:pt x="294" y="248"/>
                  <a:pt x="294" y="248"/>
                </a:cubicBezTo>
                <a:cubicBezTo>
                  <a:pt x="295" y="248"/>
                  <a:pt x="295" y="248"/>
                  <a:pt x="295" y="248"/>
                </a:cubicBezTo>
                <a:cubicBezTo>
                  <a:pt x="296" y="246"/>
                  <a:pt x="296" y="246"/>
                  <a:pt x="296" y="246"/>
                </a:cubicBezTo>
                <a:cubicBezTo>
                  <a:pt x="295" y="243"/>
                  <a:pt x="295" y="243"/>
                  <a:pt x="295" y="243"/>
                </a:cubicBezTo>
                <a:cubicBezTo>
                  <a:pt x="294" y="243"/>
                  <a:pt x="294" y="243"/>
                  <a:pt x="294" y="243"/>
                </a:cubicBezTo>
                <a:cubicBezTo>
                  <a:pt x="293" y="244"/>
                  <a:pt x="293" y="244"/>
                  <a:pt x="293" y="244"/>
                </a:cubicBezTo>
                <a:cubicBezTo>
                  <a:pt x="292" y="243"/>
                  <a:pt x="292" y="243"/>
                  <a:pt x="292" y="243"/>
                </a:cubicBezTo>
                <a:cubicBezTo>
                  <a:pt x="294" y="241"/>
                  <a:pt x="294" y="241"/>
                  <a:pt x="294" y="241"/>
                </a:cubicBezTo>
                <a:cubicBezTo>
                  <a:pt x="294" y="240"/>
                  <a:pt x="294" y="240"/>
                  <a:pt x="294" y="240"/>
                </a:cubicBezTo>
                <a:cubicBezTo>
                  <a:pt x="293" y="239"/>
                  <a:pt x="293" y="239"/>
                  <a:pt x="293" y="239"/>
                </a:cubicBezTo>
                <a:cubicBezTo>
                  <a:pt x="292" y="238"/>
                  <a:pt x="292" y="238"/>
                  <a:pt x="292" y="238"/>
                </a:cubicBezTo>
                <a:cubicBezTo>
                  <a:pt x="291" y="237"/>
                  <a:pt x="291" y="237"/>
                  <a:pt x="291" y="237"/>
                </a:cubicBezTo>
                <a:cubicBezTo>
                  <a:pt x="292" y="236"/>
                  <a:pt x="292" y="236"/>
                  <a:pt x="292" y="236"/>
                </a:cubicBezTo>
                <a:cubicBezTo>
                  <a:pt x="293" y="234"/>
                  <a:pt x="293" y="234"/>
                  <a:pt x="293" y="234"/>
                </a:cubicBezTo>
                <a:cubicBezTo>
                  <a:pt x="294" y="234"/>
                  <a:pt x="294" y="234"/>
                  <a:pt x="294" y="234"/>
                </a:cubicBezTo>
                <a:cubicBezTo>
                  <a:pt x="294" y="236"/>
                  <a:pt x="294" y="236"/>
                  <a:pt x="294" y="236"/>
                </a:cubicBezTo>
                <a:cubicBezTo>
                  <a:pt x="294" y="237"/>
                  <a:pt x="294" y="237"/>
                  <a:pt x="294" y="237"/>
                </a:cubicBezTo>
                <a:cubicBezTo>
                  <a:pt x="296" y="235"/>
                  <a:pt x="296" y="235"/>
                  <a:pt x="296" y="235"/>
                </a:cubicBezTo>
                <a:cubicBezTo>
                  <a:pt x="296" y="237"/>
                  <a:pt x="296" y="237"/>
                  <a:pt x="296" y="237"/>
                </a:cubicBezTo>
                <a:cubicBezTo>
                  <a:pt x="297" y="238"/>
                  <a:pt x="297" y="238"/>
                  <a:pt x="297" y="238"/>
                </a:cubicBezTo>
                <a:cubicBezTo>
                  <a:pt x="296" y="240"/>
                  <a:pt x="296" y="240"/>
                  <a:pt x="296" y="240"/>
                </a:cubicBezTo>
                <a:cubicBezTo>
                  <a:pt x="297" y="242"/>
                  <a:pt x="297" y="242"/>
                  <a:pt x="297" y="242"/>
                </a:cubicBezTo>
                <a:cubicBezTo>
                  <a:pt x="298" y="242"/>
                  <a:pt x="298" y="242"/>
                  <a:pt x="298" y="242"/>
                </a:cubicBezTo>
                <a:cubicBezTo>
                  <a:pt x="300" y="240"/>
                  <a:pt x="300" y="240"/>
                  <a:pt x="300" y="240"/>
                </a:cubicBezTo>
                <a:cubicBezTo>
                  <a:pt x="300" y="240"/>
                  <a:pt x="300" y="240"/>
                  <a:pt x="300" y="240"/>
                </a:cubicBezTo>
                <a:cubicBezTo>
                  <a:pt x="300" y="242"/>
                  <a:pt x="300" y="242"/>
                  <a:pt x="300" y="242"/>
                </a:cubicBezTo>
                <a:cubicBezTo>
                  <a:pt x="298" y="243"/>
                  <a:pt x="298" y="243"/>
                  <a:pt x="298" y="243"/>
                </a:cubicBezTo>
                <a:cubicBezTo>
                  <a:pt x="298" y="244"/>
                  <a:pt x="298" y="244"/>
                  <a:pt x="298" y="244"/>
                </a:cubicBezTo>
                <a:cubicBezTo>
                  <a:pt x="299" y="246"/>
                  <a:pt x="299" y="246"/>
                  <a:pt x="299" y="246"/>
                </a:cubicBezTo>
                <a:cubicBezTo>
                  <a:pt x="298" y="248"/>
                  <a:pt x="298" y="248"/>
                  <a:pt x="298" y="248"/>
                </a:cubicBezTo>
                <a:cubicBezTo>
                  <a:pt x="299" y="249"/>
                  <a:pt x="299" y="249"/>
                  <a:pt x="299" y="249"/>
                </a:cubicBezTo>
                <a:cubicBezTo>
                  <a:pt x="301" y="250"/>
                  <a:pt x="301" y="250"/>
                  <a:pt x="301" y="250"/>
                </a:cubicBezTo>
                <a:cubicBezTo>
                  <a:pt x="301" y="249"/>
                  <a:pt x="301" y="249"/>
                  <a:pt x="301" y="249"/>
                </a:cubicBezTo>
                <a:cubicBezTo>
                  <a:pt x="302" y="247"/>
                  <a:pt x="302" y="247"/>
                  <a:pt x="302" y="247"/>
                </a:cubicBezTo>
                <a:cubicBezTo>
                  <a:pt x="302" y="249"/>
                  <a:pt x="302" y="249"/>
                  <a:pt x="302" y="249"/>
                </a:cubicBezTo>
                <a:cubicBezTo>
                  <a:pt x="302" y="250"/>
                  <a:pt x="302" y="250"/>
                  <a:pt x="302" y="250"/>
                </a:cubicBezTo>
                <a:cubicBezTo>
                  <a:pt x="303" y="252"/>
                  <a:pt x="303" y="252"/>
                  <a:pt x="303" y="252"/>
                </a:cubicBezTo>
                <a:cubicBezTo>
                  <a:pt x="304" y="253"/>
                  <a:pt x="304" y="253"/>
                  <a:pt x="304" y="253"/>
                </a:cubicBezTo>
                <a:cubicBezTo>
                  <a:pt x="306" y="250"/>
                  <a:pt x="306" y="250"/>
                  <a:pt x="306" y="250"/>
                </a:cubicBezTo>
                <a:cubicBezTo>
                  <a:pt x="306" y="247"/>
                  <a:pt x="306" y="247"/>
                  <a:pt x="306" y="247"/>
                </a:cubicBezTo>
                <a:cubicBezTo>
                  <a:pt x="307" y="246"/>
                  <a:pt x="307" y="246"/>
                  <a:pt x="307" y="246"/>
                </a:cubicBezTo>
                <a:cubicBezTo>
                  <a:pt x="307" y="241"/>
                  <a:pt x="307" y="241"/>
                  <a:pt x="307" y="241"/>
                </a:cubicBezTo>
                <a:cubicBezTo>
                  <a:pt x="308" y="237"/>
                  <a:pt x="308" y="237"/>
                  <a:pt x="308" y="237"/>
                </a:cubicBezTo>
                <a:cubicBezTo>
                  <a:pt x="308" y="232"/>
                  <a:pt x="308" y="232"/>
                  <a:pt x="308" y="232"/>
                </a:cubicBezTo>
                <a:cubicBezTo>
                  <a:pt x="308" y="229"/>
                  <a:pt x="308" y="229"/>
                  <a:pt x="308" y="229"/>
                </a:cubicBezTo>
                <a:cubicBezTo>
                  <a:pt x="307" y="228"/>
                  <a:pt x="307" y="228"/>
                  <a:pt x="307" y="228"/>
                </a:cubicBezTo>
                <a:cubicBezTo>
                  <a:pt x="307" y="228"/>
                  <a:pt x="307" y="228"/>
                  <a:pt x="307" y="228"/>
                </a:cubicBezTo>
                <a:cubicBezTo>
                  <a:pt x="308" y="228"/>
                  <a:pt x="308" y="228"/>
                  <a:pt x="308" y="228"/>
                </a:cubicBezTo>
                <a:cubicBezTo>
                  <a:pt x="309" y="230"/>
                  <a:pt x="309" y="230"/>
                  <a:pt x="309" y="230"/>
                </a:cubicBezTo>
                <a:cubicBezTo>
                  <a:pt x="310" y="231"/>
                  <a:pt x="310" y="231"/>
                  <a:pt x="310" y="231"/>
                </a:cubicBezTo>
                <a:cubicBezTo>
                  <a:pt x="311" y="228"/>
                  <a:pt x="311" y="228"/>
                  <a:pt x="311" y="228"/>
                </a:cubicBezTo>
                <a:cubicBezTo>
                  <a:pt x="313" y="227"/>
                  <a:pt x="313" y="227"/>
                  <a:pt x="313" y="227"/>
                </a:cubicBezTo>
                <a:cubicBezTo>
                  <a:pt x="312" y="230"/>
                  <a:pt x="312" y="230"/>
                  <a:pt x="312" y="230"/>
                </a:cubicBezTo>
                <a:cubicBezTo>
                  <a:pt x="311" y="233"/>
                  <a:pt x="311" y="233"/>
                  <a:pt x="311" y="233"/>
                </a:cubicBezTo>
                <a:cubicBezTo>
                  <a:pt x="312" y="236"/>
                  <a:pt x="312" y="236"/>
                  <a:pt x="312" y="236"/>
                </a:cubicBezTo>
                <a:cubicBezTo>
                  <a:pt x="310" y="240"/>
                  <a:pt x="310" y="240"/>
                  <a:pt x="310" y="240"/>
                </a:cubicBezTo>
                <a:cubicBezTo>
                  <a:pt x="309" y="242"/>
                  <a:pt x="309" y="242"/>
                  <a:pt x="309" y="242"/>
                </a:cubicBezTo>
                <a:cubicBezTo>
                  <a:pt x="310" y="243"/>
                  <a:pt x="310" y="243"/>
                  <a:pt x="310" y="243"/>
                </a:cubicBezTo>
                <a:cubicBezTo>
                  <a:pt x="309" y="245"/>
                  <a:pt x="309" y="245"/>
                  <a:pt x="309" y="245"/>
                </a:cubicBezTo>
                <a:cubicBezTo>
                  <a:pt x="309" y="248"/>
                  <a:pt x="309" y="248"/>
                  <a:pt x="309" y="248"/>
                </a:cubicBezTo>
                <a:cubicBezTo>
                  <a:pt x="309" y="249"/>
                  <a:pt x="309" y="249"/>
                  <a:pt x="309" y="249"/>
                </a:cubicBezTo>
                <a:cubicBezTo>
                  <a:pt x="309" y="251"/>
                  <a:pt x="309" y="251"/>
                  <a:pt x="309" y="251"/>
                </a:cubicBezTo>
                <a:cubicBezTo>
                  <a:pt x="311" y="253"/>
                  <a:pt x="311" y="253"/>
                  <a:pt x="311" y="253"/>
                </a:cubicBezTo>
                <a:cubicBezTo>
                  <a:pt x="311" y="255"/>
                  <a:pt x="311" y="255"/>
                  <a:pt x="311" y="255"/>
                </a:cubicBezTo>
                <a:cubicBezTo>
                  <a:pt x="312" y="255"/>
                  <a:pt x="312" y="255"/>
                  <a:pt x="312" y="255"/>
                </a:cubicBezTo>
                <a:cubicBezTo>
                  <a:pt x="313" y="257"/>
                  <a:pt x="313" y="257"/>
                  <a:pt x="313" y="257"/>
                </a:cubicBezTo>
                <a:cubicBezTo>
                  <a:pt x="314" y="259"/>
                  <a:pt x="314" y="259"/>
                  <a:pt x="314" y="259"/>
                </a:cubicBezTo>
                <a:cubicBezTo>
                  <a:pt x="315" y="258"/>
                  <a:pt x="315" y="258"/>
                  <a:pt x="315" y="258"/>
                </a:cubicBezTo>
                <a:cubicBezTo>
                  <a:pt x="316" y="259"/>
                  <a:pt x="316" y="259"/>
                  <a:pt x="316" y="259"/>
                </a:cubicBezTo>
                <a:cubicBezTo>
                  <a:pt x="318" y="258"/>
                  <a:pt x="318" y="258"/>
                  <a:pt x="318" y="258"/>
                </a:cubicBezTo>
                <a:cubicBezTo>
                  <a:pt x="320" y="258"/>
                  <a:pt x="320" y="258"/>
                  <a:pt x="320" y="258"/>
                </a:cubicBezTo>
                <a:cubicBezTo>
                  <a:pt x="320" y="258"/>
                  <a:pt x="320" y="258"/>
                  <a:pt x="320" y="258"/>
                </a:cubicBezTo>
                <a:cubicBezTo>
                  <a:pt x="318" y="260"/>
                  <a:pt x="318" y="260"/>
                  <a:pt x="318" y="260"/>
                </a:cubicBezTo>
                <a:cubicBezTo>
                  <a:pt x="317" y="260"/>
                  <a:pt x="317" y="260"/>
                  <a:pt x="317" y="260"/>
                </a:cubicBezTo>
                <a:cubicBezTo>
                  <a:pt x="317" y="261"/>
                  <a:pt x="317" y="261"/>
                  <a:pt x="317" y="261"/>
                </a:cubicBezTo>
                <a:cubicBezTo>
                  <a:pt x="318" y="262"/>
                  <a:pt x="318" y="262"/>
                  <a:pt x="318" y="262"/>
                </a:cubicBezTo>
                <a:cubicBezTo>
                  <a:pt x="317" y="263"/>
                  <a:pt x="317" y="263"/>
                  <a:pt x="317" y="263"/>
                </a:cubicBezTo>
                <a:cubicBezTo>
                  <a:pt x="315" y="263"/>
                  <a:pt x="315" y="263"/>
                  <a:pt x="315" y="263"/>
                </a:cubicBezTo>
                <a:cubicBezTo>
                  <a:pt x="316" y="264"/>
                  <a:pt x="316" y="264"/>
                  <a:pt x="316" y="264"/>
                </a:cubicBezTo>
                <a:cubicBezTo>
                  <a:pt x="317" y="267"/>
                  <a:pt x="317" y="267"/>
                  <a:pt x="317" y="267"/>
                </a:cubicBezTo>
                <a:cubicBezTo>
                  <a:pt x="317" y="269"/>
                  <a:pt x="317" y="269"/>
                  <a:pt x="317" y="269"/>
                </a:cubicBezTo>
                <a:cubicBezTo>
                  <a:pt x="316" y="269"/>
                  <a:pt x="316" y="269"/>
                  <a:pt x="316" y="269"/>
                </a:cubicBezTo>
                <a:cubicBezTo>
                  <a:pt x="315" y="268"/>
                  <a:pt x="315" y="268"/>
                  <a:pt x="315" y="268"/>
                </a:cubicBezTo>
                <a:cubicBezTo>
                  <a:pt x="314" y="266"/>
                  <a:pt x="314" y="266"/>
                  <a:pt x="314" y="266"/>
                </a:cubicBezTo>
                <a:cubicBezTo>
                  <a:pt x="313" y="267"/>
                  <a:pt x="313" y="267"/>
                  <a:pt x="313" y="267"/>
                </a:cubicBezTo>
                <a:cubicBezTo>
                  <a:pt x="314" y="268"/>
                  <a:pt x="314" y="268"/>
                  <a:pt x="314" y="268"/>
                </a:cubicBezTo>
                <a:cubicBezTo>
                  <a:pt x="313" y="270"/>
                  <a:pt x="313" y="270"/>
                  <a:pt x="313" y="270"/>
                </a:cubicBezTo>
                <a:cubicBezTo>
                  <a:pt x="313" y="272"/>
                  <a:pt x="313" y="272"/>
                  <a:pt x="313" y="272"/>
                </a:cubicBezTo>
                <a:cubicBezTo>
                  <a:pt x="314" y="273"/>
                  <a:pt x="314" y="273"/>
                  <a:pt x="314" y="273"/>
                </a:cubicBezTo>
                <a:cubicBezTo>
                  <a:pt x="313" y="274"/>
                  <a:pt x="313" y="274"/>
                  <a:pt x="313" y="274"/>
                </a:cubicBezTo>
                <a:cubicBezTo>
                  <a:pt x="312" y="274"/>
                  <a:pt x="312" y="274"/>
                  <a:pt x="312" y="274"/>
                </a:cubicBezTo>
                <a:cubicBezTo>
                  <a:pt x="311" y="275"/>
                  <a:pt x="311" y="275"/>
                  <a:pt x="311" y="275"/>
                </a:cubicBezTo>
                <a:cubicBezTo>
                  <a:pt x="311" y="276"/>
                  <a:pt x="311" y="276"/>
                  <a:pt x="311" y="276"/>
                </a:cubicBezTo>
                <a:cubicBezTo>
                  <a:pt x="312" y="276"/>
                  <a:pt x="312" y="276"/>
                  <a:pt x="312" y="276"/>
                </a:cubicBezTo>
                <a:cubicBezTo>
                  <a:pt x="313" y="276"/>
                  <a:pt x="313" y="276"/>
                  <a:pt x="313" y="276"/>
                </a:cubicBezTo>
                <a:cubicBezTo>
                  <a:pt x="314" y="278"/>
                  <a:pt x="314" y="278"/>
                  <a:pt x="314" y="278"/>
                </a:cubicBezTo>
                <a:cubicBezTo>
                  <a:pt x="315" y="279"/>
                  <a:pt x="315" y="279"/>
                  <a:pt x="315" y="279"/>
                </a:cubicBezTo>
                <a:cubicBezTo>
                  <a:pt x="316" y="279"/>
                  <a:pt x="316" y="279"/>
                  <a:pt x="316" y="279"/>
                </a:cubicBezTo>
                <a:cubicBezTo>
                  <a:pt x="317" y="280"/>
                  <a:pt x="317" y="280"/>
                  <a:pt x="317" y="280"/>
                </a:cubicBezTo>
                <a:cubicBezTo>
                  <a:pt x="317" y="280"/>
                  <a:pt x="317" y="280"/>
                  <a:pt x="317" y="280"/>
                </a:cubicBezTo>
                <a:cubicBezTo>
                  <a:pt x="316" y="280"/>
                  <a:pt x="316" y="280"/>
                  <a:pt x="316" y="280"/>
                </a:cubicBezTo>
                <a:cubicBezTo>
                  <a:pt x="315" y="281"/>
                  <a:pt x="315" y="281"/>
                  <a:pt x="315" y="281"/>
                </a:cubicBezTo>
                <a:cubicBezTo>
                  <a:pt x="315" y="282"/>
                  <a:pt x="315" y="282"/>
                  <a:pt x="315" y="282"/>
                </a:cubicBezTo>
                <a:cubicBezTo>
                  <a:pt x="317" y="283"/>
                  <a:pt x="317" y="283"/>
                  <a:pt x="317" y="283"/>
                </a:cubicBezTo>
                <a:cubicBezTo>
                  <a:pt x="318" y="285"/>
                  <a:pt x="318" y="285"/>
                  <a:pt x="318" y="285"/>
                </a:cubicBezTo>
                <a:cubicBezTo>
                  <a:pt x="319" y="286"/>
                  <a:pt x="319" y="286"/>
                  <a:pt x="319" y="286"/>
                </a:cubicBezTo>
                <a:cubicBezTo>
                  <a:pt x="320" y="286"/>
                  <a:pt x="320" y="286"/>
                  <a:pt x="320" y="286"/>
                </a:cubicBezTo>
                <a:cubicBezTo>
                  <a:pt x="319" y="287"/>
                  <a:pt x="319" y="287"/>
                  <a:pt x="319" y="287"/>
                </a:cubicBezTo>
                <a:cubicBezTo>
                  <a:pt x="318" y="287"/>
                  <a:pt x="318" y="287"/>
                  <a:pt x="318" y="287"/>
                </a:cubicBezTo>
                <a:cubicBezTo>
                  <a:pt x="317" y="288"/>
                  <a:pt x="317" y="288"/>
                  <a:pt x="317" y="288"/>
                </a:cubicBezTo>
                <a:cubicBezTo>
                  <a:pt x="317" y="291"/>
                  <a:pt x="317" y="291"/>
                  <a:pt x="317" y="291"/>
                </a:cubicBezTo>
                <a:cubicBezTo>
                  <a:pt x="319" y="294"/>
                  <a:pt x="319" y="294"/>
                  <a:pt x="319" y="294"/>
                </a:cubicBezTo>
                <a:cubicBezTo>
                  <a:pt x="320" y="295"/>
                  <a:pt x="320" y="295"/>
                  <a:pt x="320" y="295"/>
                </a:cubicBezTo>
                <a:cubicBezTo>
                  <a:pt x="322" y="295"/>
                  <a:pt x="322" y="295"/>
                  <a:pt x="322" y="295"/>
                </a:cubicBezTo>
                <a:cubicBezTo>
                  <a:pt x="323" y="295"/>
                  <a:pt x="323" y="295"/>
                  <a:pt x="323" y="295"/>
                </a:cubicBezTo>
                <a:cubicBezTo>
                  <a:pt x="321" y="296"/>
                  <a:pt x="321" y="296"/>
                  <a:pt x="321" y="296"/>
                </a:cubicBezTo>
                <a:cubicBezTo>
                  <a:pt x="319" y="296"/>
                  <a:pt x="319" y="296"/>
                  <a:pt x="319" y="296"/>
                </a:cubicBezTo>
                <a:cubicBezTo>
                  <a:pt x="318" y="296"/>
                  <a:pt x="318" y="296"/>
                  <a:pt x="318" y="296"/>
                </a:cubicBezTo>
                <a:cubicBezTo>
                  <a:pt x="317" y="299"/>
                  <a:pt x="317" y="299"/>
                  <a:pt x="317" y="299"/>
                </a:cubicBezTo>
                <a:cubicBezTo>
                  <a:pt x="313" y="302"/>
                  <a:pt x="313" y="302"/>
                  <a:pt x="313" y="302"/>
                </a:cubicBezTo>
                <a:cubicBezTo>
                  <a:pt x="311" y="304"/>
                  <a:pt x="311" y="304"/>
                  <a:pt x="311" y="304"/>
                </a:cubicBezTo>
                <a:cubicBezTo>
                  <a:pt x="311" y="306"/>
                  <a:pt x="311" y="306"/>
                  <a:pt x="311" y="306"/>
                </a:cubicBezTo>
                <a:cubicBezTo>
                  <a:pt x="312" y="308"/>
                  <a:pt x="312" y="308"/>
                  <a:pt x="312" y="308"/>
                </a:cubicBezTo>
                <a:cubicBezTo>
                  <a:pt x="314" y="306"/>
                  <a:pt x="314" y="306"/>
                  <a:pt x="314" y="306"/>
                </a:cubicBezTo>
                <a:cubicBezTo>
                  <a:pt x="315" y="303"/>
                  <a:pt x="315" y="303"/>
                  <a:pt x="315" y="303"/>
                </a:cubicBezTo>
                <a:cubicBezTo>
                  <a:pt x="315" y="302"/>
                  <a:pt x="315" y="302"/>
                  <a:pt x="315" y="302"/>
                </a:cubicBezTo>
                <a:cubicBezTo>
                  <a:pt x="317" y="302"/>
                  <a:pt x="317" y="302"/>
                  <a:pt x="317" y="302"/>
                </a:cubicBezTo>
                <a:cubicBezTo>
                  <a:pt x="319" y="299"/>
                  <a:pt x="319" y="299"/>
                  <a:pt x="319" y="299"/>
                </a:cubicBezTo>
                <a:cubicBezTo>
                  <a:pt x="320" y="300"/>
                  <a:pt x="320" y="300"/>
                  <a:pt x="320" y="300"/>
                </a:cubicBezTo>
                <a:cubicBezTo>
                  <a:pt x="321" y="300"/>
                  <a:pt x="321" y="300"/>
                  <a:pt x="321" y="300"/>
                </a:cubicBezTo>
                <a:cubicBezTo>
                  <a:pt x="324" y="300"/>
                  <a:pt x="324" y="300"/>
                  <a:pt x="324" y="300"/>
                </a:cubicBezTo>
                <a:cubicBezTo>
                  <a:pt x="322" y="302"/>
                  <a:pt x="322" y="302"/>
                  <a:pt x="322" y="302"/>
                </a:cubicBezTo>
                <a:cubicBezTo>
                  <a:pt x="323" y="302"/>
                  <a:pt x="323" y="302"/>
                  <a:pt x="323" y="302"/>
                </a:cubicBezTo>
                <a:cubicBezTo>
                  <a:pt x="325" y="302"/>
                  <a:pt x="325" y="302"/>
                  <a:pt x="325" y="302"/>
                </a:cubicBezTo>
                <a:cubicBezTo>
                  <a:pt x="325" y="303"/>
                  <a:pt x="325" y="303"/>
                  <a:pt x="325" y="303"/>
                </a:cubicBezTo>
                <a:cubicBezTo>
                  <a:pt x="323" y="305"/>
                  <a:pt x="323" y="305"/>
                  <a:pt x="323" y="305"/>
                </a:cubicBezTo>
                <a:cubicBezTo>
                  <a:pt x="323" y="307"/>
                  <a:pt x="323" y="307"/>
                  <a:pt x="323" y="307"/>
                </a:cubicBezTo>
                <a:cubicBezTo>
                  <a:pt x="323" y="308"/>
                  <a:pt x="323" y="308"/>
                  <a:pt x="323" y="308"/>
                </a:cubicBezTo>
                <a:cubicBezTo>
                  <a:pt x="322" y="310"/>
                  <a:pt x="322" y="310"/>
                  <a:pt x="322" y="310"/>
                </a:cubicBezTo>
                <a:cubicBezTo>
                  <a:pt x="321" y="312"/>
                  <a:pt x="321" y="312"/>
                  <a:pt x="321" y="312"/>
                </a:cubicBezTo>
                <a:cubicBezTo>
                  <a:pt x="322" y="313"/>
                  <a:pt x="322" y="313"/>
                  <a:pt x="322" y="313"/>
                </a:cubicBezTo>
                <a:cubicBezTo>
                  <a:pt x="322" y="314"/>
                  <a:pt x="322" y="314"/>
                  <a:pt x="322" y="314"/>
                </a:cubicBezTo>
                <a:cubicBezTo>
                  <a:pt x="321" y="314"/>
                  <a:pt x="321" y="314"/>
                  <a:pt x="321" y="314"/>
                </a:cubicBezTo>
                <a:cubicBezTo>
                  <a:pt x="319" y="314"/>
                  <a:pt x="319" y="314"/>
                  <a:pt x="319" y="314"/>
                </a:cubicBezTo>
                <a:cubicBezTo>
                  <a:pt x="318" y="315"/>
                  <a:pt x="318" y="315"/>
                  <a:pt x="318" y="315"/>
                </a:cubicBezTo>
                <a:cubicBezTo>
                  <a:pt x="318" y="316"/>
                  <a:pt x="318" y="316"/>
                  <a:pt x="318" y="316"/>
                </a:cubicBezTo>
                <a:cubicBezTo>
                  <a:pt x="319" y="316"/>
                  <a:pt x="319" y="316"/>
                  <a:pt x="319" y="316"/>
                </a:cubicBezTo>
                <a:cubicBezTo>
                  <a:pt x="320" y="316"/>
                  <a:pt x="320" y="316"/>
                  <a:pt x="320" y="316"/>
                </a:cubicBezTo>
                <a:cubicBezTo>
                  <a:pt x="322" y="316"/>
                  <a:pt x="322" y="316"/>
                  <a:pt x="322" y="316"/>
                </a:cubicBezTo>
                <a:cubicBezTo>
                  <a:pt x="322" y="317"/>
                  <a:pt x="322" y="317"/>
                  <a:pt x="322" y="317"/>
                </a:cubicBezTo>
                <a:cubicBezTo>
                  <a:pt x="321" y="318"/>
                  <a:pt x="321" y="318"/>
                  <a:pt x="321" y="318"/>
                </a:cubicBezTo>
                <a:cubicBezTo>
                  <a:pt x="319" y="318"/>
                  <a:pt x="319" y="318"/>
                  <a:pt x="319" y="318"/>
                </a:cubicBezTo>
                <a:cubicBezTo>
                  <a:pt x="318" y="318"/>
                  <a:pt x="318" y="318"/>
                  <a:pt x="318" y="318"/>
                </a:cubicBezTo>
                <a:cubicBezTo>
                  <a:pt x="317" y="319"/>
                  <a:pt x="317" y="319"/>
                  <a:pt x="317" y="319"/>
                </a:cubicBezTo>
                <a:cubicBezTo>
                  <a:pt x="317" y="321"/>
                  <a:pt x="317" y="321"/>
                  <a:pt x="317" y="321"/>
                </a:cubicBezTo>
                <a:cubicBezTo>
                  <a:pt x="318" y="323"/>
                  <a:pt x="318" y="323"/>
                  <a:pt x="318" y="323"/>
                </a:cubicBezTo>
                <a:cubicBezTo>
                  <a:pt x="319" y="322"/>
                  <a:pt x="319" y="322"/>
                  <a:pt x="319" y="322"/>
                </a:cubicBezTo>
                <a:cubicBezTo>
                  <a:pt x="319" y="321"/>
                  <a:pt x="319" y="321"/>
                  <a:pt x="319" y="321"/>
                </a:cubicBezTo>
                <a:cubicBezTo>
                  <a:pt x="321" y="321"/>
                  <a:pt x="321" y="321"/>
                  <a:pt x="321" y="321"/>
                </a:cubicBezTo>
                <a:cubicBezTo>
                  <a:pt x="322" y="320"/>
                  <a:pt x="322" y="320"/>
                  <a:pt x="322" y="320"/>
                </a:cubicBezTo>
                <a:cubicBezTo>
                  <a:pt x="325" y="318"/>
                  <a:pt x="325" y="318"/>
                  <a:pt x="325" y="318"/>
                </a:cubicBezTo>
                <a:cubicBezTo>
                  <a:pt x="327" y="314"/>
                  <a:pt x="327" y="314"/>
                  <a:pt x="327" y="314"/>
                </a:cubicBezTo>
                <a:cubicBezTo>
                  <a:pt x="328" y="310"/>
                  <a:pt x="328" y="310"/>
                  <a:pt x="328" y="310"/>
                </a:cubicBezTo>
                <a:cubicBezTo>
                  <a:pt x="330" y="306"/>
                  <a:pt x="330" y="306"/>
                  <a:pt x="330" y="306"/>
                </a:cubicBezTo>
                <a:cubicBezTo>
                  <a:pt x="331" y="305"/>
                  <a:pt x="331" y="305"/>
                  <a:pt x="331" y="305"/>
                </a:cubicBezTo>
                <a:cubicBezTo>
                  <a:pt x="331" y="305"/>
                  <a:pt x="331" y="305"/>
                  <a:pt x="331" y="305"/>
                </a:cubicBezTo>
                <a:cubicBezTo>
                  <a:pt x="331" y="305"/>
                  <a:pt x="331" y="305"/>
                  <a:pt x="331" y="305"/>
                </a:cubicBezTo>
                <a:cubicBezTo>
                  <a:pt x="331" y="307"/>
                  <a:pt x="331" y="307"/>
                  <a:pt x="331" y="307"/>
                </a:cubicBezTo>
                <a:cubicBezTo>
                  <a:pt x="328" y="312"/>
                  <a:pt x="328" y="312"/>
                  <a:pt x="328" y="312"/>
                </a:cubicBezTo>
                <a:cubicBezTo>
                  <a:pt x="328" y="316"/>
                  <a:pt x="328" y="316"/>
                  <a:pt x="328" y="316"/>
                </a:cubicBezTo>
                <a:cubicBezTo>
                  <a:pt x="325" y="318"/>
                  <a:pt x="325" y="318"/>
                  <a:pt x="325" y="318"/>
                </a:cubicBezTo>
                <a:cubicBezTo>
                  <a:pt x="325" y="320"/>
                  <a:pt x="325" y="320"/>
                  <a:pt x="325" y="320"/>
                </a:cubicBezTo>
                <a:cubicBezTo>
                  <a:pt x="326" y="320"/>
                  <a:pt x="326" y="320"/>
                  <a:pt x="326" y="320"/>
                </a:cubicBezTo>
                <a:cubicBezTo>
                  <a:pt x="329" y="316"/>
                  <a:pt x="329" y="316"/>
                  <a:pt x="329" y="316"/>
                </a:cubicBezTo>
                <a:cubicBezTo>
                  <a:pt x="330" y="314"/>
                  <a:pt x="330" y="314"/>
                  <a:pt x="330" y="314"/>
                </a:cubicBezTo>
                <a:cubicBezTo>
                  <a:pt x="332" y="312"/>
                  <a:pt x="332" y="312"/>
                  <a:pt x="332" y="312"/>
                </a:cubicBezTo>
                <a:cubicBezTo>
                  <a:pt x="332" y="313"/>
                  <a:pt x="332" y="313"/>
                  <a:pt x="332" y="313"/>
                </a:cubicBezTo>
                <a:cubicBezTo>
                  <a:pt x="334" y="313"/>
                  <a:pt x="334" y="313"/>
                  <a:pt x="334" y="313"/>
                </a:cubicBezTo>
                <a:cubicBezTo>
                  <a:pt x="333" y="314"/>
                  <a:pt x="333" y="314"/>
                  <a:pt x="333" y="314"/>
                </a:cubicBezTo>
                <a:cubicBezTo>
                  <a:pt x="331" y="316"/>
                  <a:pt x="331" y="316"/>
                  <a:pt x="331" y="316"/>
                </a:cubicBezTo>
                <a:cubicBezTo>
                  <a:pt x="330" y="317"/>
                  <a:pt x="330" y="317"/>
                  <a:pt x="330" y="317"/>
                </a:cubicBezTo>
                <a:cubicBezTo>
                  <a:pt x="327" y="321"/>
                  <a:pt x="327" y="321"/>
                  <a:pt x="327" y="321"/>
                </a:cubicBezTo>
                <a:cubicBezTo>
                  <a:pt x="327" y="321"/>
                  <a:pt x="327" y="321"/>
                  <a:pt x="327" y="321"/>
                </a:cubicBezTo>
                <a:cubicBezTo>
                  <a:pt x="328" y="321"/>
                  <a:pt x="328" y="321"/>
                  <a:pt x="328" y="321"/>
                </a:cubicBezTo>
                <a:cubicBezTo>
                  <a:pt x="327" y="322"/>
                  <a:pt x="327" y="322"/>
                  <a:pt x="327" y="322"/>
                </a:cubicBezTo>
                <a:cubicBezTo>
                  <a:pt x="325" y="322"/>
                  <a:pt x="325" y="322"/>
                  <a:pt x="325" y="322"/>
                </a:cubicBezTo>
                <a:cubicBezTo>
                  <a:pt x="324" y="322"/>
                  <a:pt x="324" y="322"/>
                  <a:pt x="324" y="322"/>
                </a:cubicBezTo>
                <a:cubicBezTo>
                  <a:pt x="322" y="325"/>
                  <a:pt x="322" y="325"/>
                  <a:pt x="322" y="325"/>
                </a:cubicBezTo>
                <a:cubicBezTo>
                  <a:pt x="321" y="327"/>
                  <a:pt x="321" y="327"/>
                  <a:pt x="321" y="327"/>
                </a:cubicBezTo>
                <a:cubicBezTo>
                  <a:pt x="321" y="329"/>
                  <a:pt x="321" y="329"/>
                  <a:pt x="321" y="329"/>
                </a:cubicBezTo>
                <a:cubicBezTo>
                  <a:pt x="320" y="328"/>
                  <a:pt x="320" y="328"/>
                  <a:pt x="320" y="328"/>
                </a:cubicBezTo>
                <a:cubicBezTo>
                  <a:pt x="319" y="327"/>
                  <a:pt x="319" y="327"/>
                  <a:pt x="319" y="327"/>
                </a:cubicBezTo>
                <a:cubicBezTo>
                  <a:pt x="317" y="328"/>
                  <a:pt x="317" y="328"/>
                  <a:pt x="317" y="328"/>
                </a:cubicBezTo>
                <a:cubicBezTo>
                  <a:pt x="318" y="331"/>
                  <a:pt x="318" y="331"/>
                  <a:pt x="318" y="331"/>
                </a:cubicBezTo>
                <a:cubicBezTo>
                  <a:pt x="319" y="331"/>
                  <a:pt x="319" y="331"/>
                  <a:pt x="319" y="331"/>
                </a:cubicBezTo>
                <a:cubicBezTo>
                  <a:pt x="320" y="333"/>
                  <a:pt x="320" y="333"/>
                  <a:pt x="320" y="333"/>
                </a:cubicBezTo>
                <a:cubicBezTo>
                  <a:pt x="319" y="336"/>
                  <a:pt x="319" y="336"/>
                  <a:pt x="319" y="336"/>
                </a:cubicBezTo>
                <a:cubicBezTo>
                  <a:pt x="318" y="341"/>
                  <a:pt x="318" y="341"/>
                  <a:pt x="318" y="341"/>
                </a:cubicBezTo>
                <a:cubicBezTo>
                  <a:pt x="319" y="344"/>
                  <a:pt x="319" y="344"/>
                  <a:pt x="319" y="344"/>
                </a:cubicBezTo>
                <a:cubicBezTo>
                  <a:pt x="321" y="347"/>
                  <a:pt x="321" y="347"/>
                  <a:pt x="321" y="347"/>
                </a:cubicBezTo>
                <a:cubicBezTo>
                  <a:pt x="322" y="347"/>
                  <a:pt x="322" y="347"/>
                  <a:pt x="322" y="347"/>
                </a:cubicBezTo>
                <a:cubicBezTo>
                  <a:pt x="322" y="346"/>
                  <a:pt x="322" y="346"/>
                  <a:pt x="322" y="346"/>
                </a:cubicBezTo>
                <a:cubicBezTo>
                  <a:pt x="324" y="344"/>
                  <a:pt x="324" y="344"/>
                  <a:pt x="324" y="344"/>
                </a:cubicBezTo>
                <a:cubicBezTo>
                  <a:pt x="327" y="343"/>
                  <a:pt x="327" y="343"/>
                  <a:pt x="327" y="343"/>
                </a:cubicBezTo>
                <a:cubicBezTo>
                  <a:pt x="329" y="342"/>
                  <a:pt x="329" y="342"/>
                  <a:pt x="329" y="342"/>
                </a:cubicBezTo>
                <a:cubicBezTo>
                  <a:pt x="330" y="340"/>
                  <a:pt x="330" y="340"/>
                  <a:pt x="330" y="340"/>
                </a:cubicBezTo>
                <a:cubicBezTo>
                  <a:pt x="331" y="340"/>
                  <a:pt x="331" y="340"/>
                  <a:pt x="331" y="340"/>
                </a:cubicBezTo>
                <a:cubicBezTo>
                  <a:pt x="331" y="342"/>
                  <a:pt x="331" y="342"/>
                  <a:pt x="331" y="342"/>
                </a:cubicBezTo>
                <a:cubicBezTo>
                  <a:pt x="330" y="344"/>
                  <a:pt x="330" y="344"/>
                  <a:pt x="330" y="344"/>
                </a:cubicBezTo>
                <a:cubicBezTo>
                  <a:pt x="329" y="344"/>
                  <a:pt x="329" y="344"/>
                  <a:pt x="329" y="344"/>
                </a:cubicBezTo>
                <a:cubicBezTo>
                  <a:pt x="328" y="346"/>
                  <a:pt x="328" y="346"/>
                  <a:pt x="328" y="346"/>
                </a:cubicBezTo>
                <a:cubicBezTo>
                  <a:pt x="328" y="347"/>
                  <a:pt x="328" y="347"/>
                  <a:pt x="328" y="347"/>
                </a:cubicBezTo>
                <a:cubicBezTo>
                  <a:pt x="330" y="348"/>
                  <a:pt x="330" y="348"/>
                  <a:pt x="330" y="348"/>
                </a:cubicBezTo>
                <a:cubicBezTo>
                  <a:pt x="331" y="350"/>
                  <a:pt x="331" y="350"/>
                  <a:pt x="331" y="350"/>
                </a:cubicBezTo>
                <a:cubicBezTo>
                  <a:pt x="333" y="350"/>
                  <a:pt x="333" y="350"/>
                  <a:pt x="333" y="350"/>
                </a:cubicBezTo>
                <a:cubicBezTo>
                  <a:pt x="335" y="350"/>
                  <a:pt x="335" y="350"/>
                  <a:pt x="335" y="350"/>
                </a:cubicBezTo>
                <a:cubicBezTo>
                  <a:pt x="335" y="351"/>
                  <a:pt x="335" y="351"/>
                  <a:pt x="335" y="351"/>
                </a:cubicBezTo>
                <a:cubicBezTo>
                  <a:pt x="333" y="350"/>
                  <a:pt x="333" y="350"/>
                  <a:pt x="333" y="350"/>
                </a:cubicBezTo>
                <a:cubicBezTo>
                  <a:pt x="331" y="350"/>
                  <a:pt x="331" y="350"/>
                  <a:pt x="331" y="350"/>
                </a:cubicBezTo>
                <a:cubicBezTo>
                  <a:pt x="329" y="350"/>
                  <a:pt x="329" y="350"/>
                  <a:pt x="329" y="350"/>
                </a:cubicBezTo>
                <a:cubicBezTo>
                  <a:pt x="326" y="349"/>
                  <a:pt x="326" y="349"/>
                  <a:pt x="326" y="349"/>
                </a:cubicBezTo>
                <a:cubicBezTo>
                  <a:pt x="326" y="351"/>
                  <a:pt x="326" y="351"/>
                  <a:pt x="326" y="351"/>
                </a:cubicBezTo>
                <a:cubicBezTo>
                  <a:pt x="326" y="352"/>
                  <a:pt x="326" y="352"/>
                  <a:pt x="326" y="352"/>
                </a:cubicBezTo>
                <a:cubicBezTo>
                  <a:pt x="327" y="354"/>
                  <a:pt x="327" y="354"/>
                  <a:pt x="327" y="354"/>
                </a:cubicBezTo>
                <a:cubicBezTo>
                  <a:pt x="327" y="358"/>
                  <a:pt x="327" y="358"/>
                  <a:pt x="327" y="358"/>
                </a:cubicBezTo>
                <a:cubicBezTo>
                  <a:pt x="328" y="360"/>
                  <a:pt x="328" y="360"/>
                  <a:pt x="328" y="360"/>
                </a:cubicBezTo>
                <a:cubicBezTo>
                  <a:pt x="329" y="360"/>
                  <a:pt x="329" y="360"/>
                  <a:pt x="329" y="360"/>
                </a:cubicBezTo>
                <a:cubicBezTo>
                  <a:pt x="330" y="359"/>
                  <a:pt x="330" y="359"/>
                  <a:pt x="330" y="359"/>
                </a:cubicBezTo>
                <a:cubicBezTo>
                  <a:pt x="331" y="360"/>
                  <a:pt x="331" y="360"/>
                  <a:pt x="331" y="360"/>
                </a:cubicBezTo>
                <a:cubicBezTo>
                  <a:pt x="330" y="360"/>
                  <a:pt x="330" y="360"/>
                  <a:pt x="330" y="360"/>
                </a:cubicBezTo>
                <a:cubicBezTo>
                  <a:pt x="330" y="361"/>
                  <a:pt x="330" y="361"/>
                  <a:pt x="330" y="361"/>
                </a:cubicBezTo>
                <a:cubicBezTo>
                  <a:pt x="331" y="362"/>
                  <a:pt x="331" y="362"/>
                  <a:pt x="331" y="362"/>
                </a:cubicBezTo>
                <a:cubicBezTo>
                  <a:pt x="331" y="363"/>
                  <a:pt x="331" y="363"/>
                  <a:pt x="331" y="363"/>
                </a:cubicBezTo>
                <a:cubicBezTo>
                  <a:pt x="330" y="364"/>
                  <a:pt x="330" y="364"/>
                  <a:pt x="330" y="364"/>
                </a:cubicBezTo>
                <a:cubicBezTo>
                  <a:pt x="329" y="364"/>
                  <a:pt x="329" y="364"/>
                  <a:pt x="329" y="364"/>
                </a:cubicBezTo>
                <a:cubicBezTo>
                  <a:pt x="327" y="364"/>
                  <a:pt x="327" y="364"/>
                  <a:pt x="327" y="364"/>
                </a:cubicBezTo>
                <a:cubicBezTo>
                  <a:pt x="324" y="366"/>
                  <a:pt x="324" y="366"/>
                  <a:pt x="324" y="366"/>
                </a:cubicBezTo>
                <a:cubicBezTo>
                  <a:pt x="324" y="367"/>
                  <a:pt x="324" y="367"/>
                  <a:pt x="324" y="367"/>
                </a:cubicBezTo>
                <a:cubicBezTo>
                  <a:pt x="325" y="368"/>
                  <a:pt x="325" y="368"/>
                  <a:pt x="325" y="368"/>
                </a:cubicBezTo>
                <a:cubicBezTo>
                  <a:pt x="328" y="367"/>
                  <a:pt x="328" y="367"/>
                  <a:pt x="328" y="367"/>
                </a:cubicBezTo>
                <a:cubicBezTo>
                  <a:pt x="329" y="367"/>
                  <a:pt x="329" y="367"/>
                  <a:pt x="329" y="367"/>
                </a:cubicBezTo>
                <a:cubicBezTo>
                  <a:pt x="328" y="368"/>
                  <a:pt x="328" y="368"/>
                  <a:pt x="328" y="368"/>
                </a:cubicBezTo>
                <a:cubicBezTo>
                  <a:pt x="327" y="369"/>
                  <a:pt x="327" y="369"/>
                  <a:pt x="327" y="369"/>
                </a:cubicBezTo>
                <a:cubicBezTo>
                  <a:pt x="329" y="370"/>
                  <a:pt x="329" y="370"/>
                  <a:pt x="329" y="370"/>
                </a:cubicBezTo>
                <a:cubicBezTo>
                  <a:pt x="332" y="369"/>
                  <a:pt x="332" y="369"/>
                  <a:pt x="332" y="369"/>
                </a:cubicBezTo>
                <a:cubicBezTo>
                  <a:pt x="334" y="367"/>
                  <a:pt x="334" y="367"/>
                  <a:pt x="334" y="367"/>
                </a:cubicBezTo>
                <a:cubicBezTo>
                  <a:pt x="336" y="365"/>
                  <a:pt x="336" y="365"/>
                  <a:pt x="336" y="365"/>
                </a:cubicBezTo>
                <a:cubicBezTo>
                  <a:pt x="338" y="365"/>
                  <a:pt x="338" y="365"/>
                  <a:pt x="338" y="365"/>
                </a:cubicBezTo>
                <a:cubicBezTo>
                  <a:pt x="340" y="363"/>
                  <a:pt x="340" y="363"/>
                  <a:pt x="340" y="363"/>
                </a:cubicBezTo>
                <a:cubicBezTo>
                  <a:pt x="340" y="361"/>
                  <a:pt x="340" y="361"/>
                  <a:pt x="340" y="361"/>
                </a:cubicBezTo>
                <a:cubicBezTo>
                  <a:pt x="341" y="361"/>
                  <a:pt x="341" y="361"/>
                  <a:pt x="341" y="361"/>
                </a:cubicBezTo>
                <a:cubicBezTo>
                  <a:pt x="342" y="362"/>
                  <a:pt x="342" y="362"/>
                  <a:pt x="342" y="362"/>
                </a:cubicBezTo>
                <a:cubicBezTo>
                  <a:pt x="340" y="365"/>
                  <a:pt x="340" y="365"/>
                  <a:pt x="340" y="365"/>
                </a:cubicBezTo>
                <a:cubicBezTo>
                  <a:pt x="338" y="366"/>
                  <a:pt x="338" y="366"/>
                  <a:pt x="338" y="366"/>
                </a:cubicBezTo>
                <a:cubicBezTo>
                  <a:pt x="336" y="367"/>
                  <a:pt x="336" y="367"/>
                  <a:pt x="336" y="367"/>
                </a:cubicBezTo>
                <a:cubicBezTo>
                  <a:pt x="336" y="369"/>
                  <a:pt x="336" y="369"/>
                  <a:pt x="336" y="369"/>
                </a:cubicBezTo>
                <a:cubicBezTo>
                  <a:pt x="336" y="370"/>
                  <a:pt x="336" y="370"/>
                  <a:pt x="336" y="370"/>
                </a:cubicBezTo>
                <a:cubicBezTo>
                  <a:pt x="338" y="369"/>
                  <a:pt x="338" y="369"/>
                  <a:pt x="338" y="369"/>
                </a:cubicBezTo>
                <a:cubicBezTo>
                  <a:pt x="340" y="369"/>
                  <a:pt x="340" y="369"/>
                  <a:pt x="340" y="369"/>
                </a:cubicBezTo>
                <a:cubicBezTo>
                  <a:pt x="342" y="370"/>
                  <a:pt x="342" y="370"/>
                  <a:pt x="342" y="370"/>
                </a:cubicBezTo>
                <a:cubicBezTo>
                  <a:pt x="340" y="370"/>
                  <a:pt x="340" y="370"/>
                  <a:pt x="340" y="370"/>
                </a:cubicBezTo>
                <a:cubicBezTo>
                  <a:pt x="338" y="371"/>
                  <a:pt x="338" y="371"/>
                  <a:pt x="338" y="371"/>
                </a:cubicBezTo>
                <a:cubicBezTo>
                  <a:pt x="338" y="374"/>
                  <a:pt x="338" y="374"/>
                  <a:pt x="338" y="374"/>
                </a:cubicBezTo>
                <a:cubicBezTo>
                  <a:pt x="339" y="376"/>
                  <a:pt x="339" y="376"/>
                  <a:pt x="339" y="376"/>
                </a:cubicBezTo>
                <a:cubicBezTo>
                  <a:pt x="338" y="377"/>
                  <a:pt x="338" y="377"/>
                  <a:pt x="338" y="377"/>
                </a:cubicBezTo>
                <a:cubicBezTo>
                  <a:pt x="337" y="375"/>
                  <a:pt x="337" y="375"/>
                  <a:pt x="337" y="375"/>
                </a:cubicBezTo>
                <a:cubicBezTo>
                  <a:pt x="337" y="372"/>
                  <a:pt x="337" y="372"/>
                  <a:pt x="337" y="372"/>
                </a:cubicBezTo>
                <a:cubicBezTo>
                  <a:pt x="336" y="371"/>
                  <a:pt x="336" y="371"/>
                  <a:pt x="336" y="371"/>
                </a:cubicBezTo>
                <a:cubicBezTo>
                  <a:pt x="334" y="372"/>
                  <a:pt x="334" y="372"/>
                  <a:pt x="334" y="372"/>
                </a:cubicBezTo>
                <a:cubicBezTo>
                  <a:pt x="330" y="375"/>
                  <a:pt x="330" y="375"/>
                  <a:pt x="330" y="375"/>
                </a:cubicBezTo>
                <a:cubicBezTo>
                  <a:pt x="329" y="376"/>
                  <a:pt x="329" y="376"/>
                  <a:pt x="329" y="376"/>
                </a:cubicBezTo>
                <a:cubicBezTo>
                  <a:pt x="326" y="378"/>
                  <a:pt x="326" y="378"/>
                  <a:pt x="326" y="378"/>
                </a:cubicBezTo>
                <a:cubicBezTo>
                  <a:pt x="325" y="379"/>
                  <a:pt x="325" y="379"/>
                  <a:pt x="325" y="379"/>
                </a:cubicBezTo>
                <a:cubicBezTo>
                  <a:pt x="326" y="381"/>
                  <a:pt x="326" y="381"/>
                  <a:pt x="326" y="381"/>
                </a:cubicBezTo>
                <a:cubicBezTo>
                  <a:pt x="326" y="382"/>
                  <a:pt x="326" y="382"/>
                  <a:pt x="326" y="382"/>
                </a:cubicBezTo>
                <a:cubicBezTo>
                  <a:pt x="326" y="383"/>
                  <a:pt x="326" y="383"/>
                  <a:pt x="326" y="383"/>
                </a:cubicBezTo>
                <a:cubicBezTo>
                  <a:pt x="328" y="382"/>
                  <a:pt x="328" y="382"/>
                  <a:pt x="328" y="382"/>
                </a:cubicBezTo>
                <a:cubicBezTo>
                  <a:pt x="329" y="381"/>
                  <a:pt x="329" y="381"/>
                  <a:pt x="329" y="381"/>
                </a:cubicBezTo>
                <a:cubicBezTo>
                  <a:pt x="330" y="379"/>
                  <a:pt x="330" y="379"/>
                  <a:pt x="330" y="379"/>
                </a:cubicBezTo>
                <a:cubicBezTo>
                  <a:pt x="331" y="380"/>
                  <a:pt x="331" y="380"/>
                  <a:pt x="331" y="380"/>
                </a:cubicBezTo>
                <a:cubicBezTo>
                  <a:pt x="332" y="381"/>
                  <a:pt x="332" y="381"/>
                  <a:pt x="332" y="381"/>
                </a:cubicBezTo>
                <a:cubicBezTo>
                  <a:pt x="335" y="381"/>
                  <a:pt x="335" y="381"/>
                  <a:pt x="335" y="381"/>
                </a:cubicBezTo>
                <a:cubicBezTo>
                  <a:pt x="335" y="382"/>
                  <a:pt x="335" y="382"/>
                  <a:pt x="335" y="382"/>
                </a:cubicBezTo>
                <a:cubicBezTo>
                  <a:pt x="333" y="381"/>
                  <a:pt x="333" y="381"/>
                  <a:pt x="333" y="381"/>
                </a:cubicBezTo>
                <a:cubicBezTo>
                  <a:pt x="331" y="381"/>
                  <a:pt x="331" y="381"/>
                  <a:pt x="331" y="381"/>
                </a:cubicBezTo>
                <a:cubicBezTo>
                  <a:pt x="329" y="382"/>
                  <a:pt x="329" y="382"/>
                  <a:pt x="329" y="382"/>
                </a:cubicBezTo>
                <a:cubicBezTo>
                  <a:pt x="329" y="383"/>
                  <a:pt x="329" y="383"/>
                  <a:pt x="329" y="383"/>
                </a:cubicBezTo>
                <a:cubicBezTo>
                  <a:pt x="330" y="384"/>
                  <a:pt x="330" y="384"/>
                  <a:pt x="330" y="384"/>
                </a:cubicBezTo>
                <a:cubicBezTo>
                  <a:pt x="328" y="385"/>
                  <a:pt x="328" y="385"/>
                  <a:pt x="328" y="385"/>
                </a:cubicBezTo>
                <a:cubicBezTo>
                  <a:pt x="327" y="384"/>
                  <a:pt x="327" y="384"/>
                  <a:pt x="327" y="384"/>
                </a:cubicBezTo>
                <a:cubicBezTo>
                  <a:pt x="325" y="385"/>
                  <a:pt x="325" y="385"/>
                  <a:pt x="325" y="385"/>
                </a:cubicBezTo>
                <a:cubicBezTo>
                  <a:pt x="324" y="386"/>
                  <a:pt x="324" y="386"/>
                  <a:pt x="324" y="386"/>
                </a:cubicBezTo>
                <a:cubicBezTo>
                  <a:pt x="327" y="386"/>
                  <a:pt x="327" y="386"/>
                  <a:pt x="327" y="386"/>
                </a:cubicBezTo>
                <a:cubicBezTo>
                  <a:pt x="328" y="387"/>
                  <a:pt x="328" y="387"/>
                  <a:pt x="328" y="387"/>
                </a:cubicBezTo>
                <a:cubicBezTo>
                  <a:pt x="330" y="387"/>
                  <a:pt x="330" y="387"/>
                  <a:pt x="330" y="387"/>
                </a:cubicBezTo>
                <a:cubicBezTo>
                  <a:pt x="329" y="388"/>
                  <a:pt x="329" y="388"/>
                  <a:pt x="329" y="388"/>
                </a:cubicBezTo>
                <a:cubicBezTo>
                  <a:pt x="327" y="388"/>
                  <a:pt x="327" y="388"/>
                  <a:pt x="327" y="388"/>
                </a:cubicBezTo>
                <a:cubicBezTo>
                  <a:pt x="326" y="387"/>
                  <a:pt x="326" y="387"/>
                  <a:pt x="326" y="387"/>
                </a:cubicBezTo>
                <a:cubicBezTo>
                  <a:pt x="324" y="387"/>
                  <a:pt x="324" y="387"/>
                  <a:pt x="324" y="387"/>
                </a:cubicBezTo>
                <a:cubicBezTo>
                  <a:pt x="324" y="389"/>
                  <a:pt x="324" y="389"/>
                  <a:pt x="324" y="389"/>
                </a:cubicBezTo>
                <a:cubicBezTo>
                  <a:pt x="324" y="390"/>
                  <a:pt x="324" y="390"/>
                  <a:pt x="324" y="390"/>
                </a:cubicBezTo>
                <a:cubicBezTo>
                  <a:pt x="326" y="390"/>
                  <a:pt x="326" y="390"/>
                  <a:pt x="326" y="390"/>
                </a:cubicBezTo>
                <a:cubicBezTo>
                  <a:pt x="328" y="389"/>
                  <a:pt x="328" y="389"/>
                  <a:pt x="328" y="389"/>
                </a:cubicBezTo>
                <a:cubicBezTo>
                  <a:pt x="329" y="390"/>
                  <a:pt x="329" y="390"/>
                  <a:pt x="329" y="390"/>
                </a:cubicBezTo>
                <a:cubicBezTo>
                  <a:pt x="332" y="390"/>
                  <a:pt x="332" y="390"/>
                  <a:pt x="332" y="390"/>
                </a:cubicBezTo>
                <a:cubicBezTo>
                  <a:pt x="332" y="391"/>
                  <a:pt x="332" y="391"/>
                  <a:pt x="332" y="391"/>
                </a:cubicBezTo>
                <a:cubicBezTo>
                  <a:pt x="330" y="391"/>
                  <a:pt x="330" y="391"/>
                  <a:pt x="330" y="391"/>
                </a:cubicBezTo>
                <a:cubicBezTo>
                  <a:pt x="328" y="391"/>
                  <a:pt x="328" y="391"/>
                  <a:pt x="328" y="391"/>
                </a:cubicBezTo>
                <a:cubicBezTo>
                  <a:pt x="328" y="391"/>
                  <a:pt x="328" y="391"/>
                  <a:pt x="328" y="391"/>
                </a:cubicBezTo>
                <a:cubicBezTo>
                  <a:pt x="328" y="392"/>
                  <a:pt x="328" y="392"/>
                  <a:pt x="328" y="392"/>
                </a:cubicBezTo>
                <a:cubicBezTo>
                  <a:pt x="331" y="392"/>
                  <a:pt x="331" y="392"/>
                  <a:pt x="331" y="392"/>
                </a:cubicBezTo>
                <a:cubicBezTo>
                  <a:pt x="332" y="392"/>
                  <a:pt x="332" y="392"/>
                  <a:pt x="332" y="392"/>
                </a:cubicBezTo>
                <a:cubicBezTo>
                  <a:pt x="332" y="393"/>
                  <a:pt x="332" y="393"/>
                  <a:pt x="332" y="393"/>
                </a:cubicBezTo>
                <a:cubicBezTo>
                  <a:pt x="329" y="393"/>
                  <a:pt x="329" y="393"/>
                  <a:pt x="329" y="393"/>
                </a:cubicBezTo>
                <a:cubicBezTo>
                  <a:pt x="327" y="393"/>
                  <a:pt x="327" y="393"/>
                  <a:pt x="327" y="393"/>
                </a:cubicBezTo>
                <a:cubicBezTo>
                  <a:pt x="326" y="392"/>
                  <a:pt x="326" y="392"/>
                  <a:pt x="326" y="392"/>
                </a:cubicBezTo>
                <a:cubicBezTo>
                  <a:pt x="325" y="392"/>
                  <a:pt x="325" y="392"/>
                  <a:pt x="325" y="392"/>
                </a:cubicBezTo>
                <a:cubicBezTo>
                  <a:pt x="326" y="394"/>
                  <a:pt x="326" y="394"/>
                  <a:pt x="326" y="394"/>
                </a:cubicBezTo>
                <a:cubicBezTo>
                  <a:pt x="328" y="396"/>
                  <a:pt x="328" y="396"/>
                  <a:pt x="328" y="396"/>
                </a:cubicBezTo>
                <a:cubicBezTo>
                  <a:pt x="329" y="394"/>
                  <a:pt x="329" y="394"/>
                  <a:pt x="329" y="394"/>
                </a:cubicBezTo>
                <a:cubicBezTo>
                  <a:pt x="330" y="394"/>
                  <a:pt x="330" y="394"/>
                  <a:pt x="330" y="394"/>
                </a:cubicBezTo>
                <a:cubicBezTo>
                  <a:pt x="332" y="395"/>
                  <a:pt x="332" y="395"/>
                  <a:pt x="332" y="395"/>
                </a:cubicBezTo>
                <a:cubicBezTo>
                  <a:pt x="334" y="395"/>
                  <a:pt x="334" y="395"/>
                  <a:pt x="334" y="395"/>
                </a:cubicBezTo>
                <a:cubicBezTo>
                  <a:pt x="335" y="395"/>
                  <a:pt x="335" y="395"/>
                  <a:pt x="335" y="395"/>
                </a:cubicBezTo>
                <a:cubicBezTo>
                  <a:pt x="334" y="396"/>
                  <a:pt x="334" y="396"/>
                  <a:pt x="334" y="396"/>
                </a:cubicBezTo>
                <a:cubicBezTo>
                  <a:pt x="334" y="397"/>
                  <a:pt x="334" y="397"/>
                  <a:pt x="334" y="397"/>
                </a:cubicBezTo>
                <a:cubicBezTo>
                  <a:pt x="335" y="397"/>
                  <a:pt x="335" y="397"/>
                  <a:pt x="335" y="397"/>
                </a:cubicBezTo>
                <a:cubicBezTo>
                  <a:pt x="336" y="398"/>
                  <a:pt x="336" y="398"/>
                  <a:pt x="336" y="398"/>
                </a:cubicBezTo>
                <a:cubicBezTo>
                  <a:pt x="339" y="399"/>
                  <a:pt x="339" y="399"/>
                  <a:pt x="339" y="399"/>
                </a:cubicBezTo>
                <a:cubicBezTo>
                  <a:pt x="340" y="398"/>
                  <a:pt x="340" y="398"/>
                  <a:pt x="340" y="398"/>
                </a:cubicBezTo>
                <a:cubicBezTo>
                  <a:pt x="341" y="396"/>
                  <a:pt x="341" y="396"/>
                  <a:pt x="341" y="396"/>
                </a:cubicBezTo>
                <a:cubicBezTo>
                  <a:pt x="343" y="395"/>
                  <a:pt x="343" y="395"/>
                  <a:pt x="343" y="395"/>
                </a:cubicBezTo>
                <a:cubicBezTo>
                  <a:pt x="343" y="393"/>
                  <a:pt x="343" y="393"/>
                  <a:pt x="343" y="393"/>
                </a:cubicBezTo>
                <a:cubicBezTo>
                  <a:pt x="343" y="395"/>
                  <a:pt x="343" y="395"/>
                  <a:pt x="343" y="395"/>
                </a:cubicBezTo>
                <a:cubicBezTo>
                  <a:pt x="342" y="397"/>
                  <a:pt x="342" y="397"/>
                  <a:pt x="342" y="397"/>
                </a:cubicBezTo>
                <a:cubicBezTo>
                  <a:pt x="340" y="399"/>
                  <a:pt x="340" y="399"/>
                  <a:pt x="340" y="399"/>
                </a:cubicBezTo>
                <a:cubicBezTo>
                  <a:pt x="337" y="400"/>
                  <a:pt x="337" y="400"/>
                  <a:pt x="337" y="400"/>
                </a:cubicBezTo>
                <a:cubicBezTo>
                  <a:pt x="336" y="400"/>
                  <a:pt x="336" y="400"/>
                  <a:pt x="336" y="400"/>
                </a:cubicBezTo>
                <a:cubicBezTo>
                  <a:pt x="334" y="402"/>
                  <a:pt x="334" y="402"/>
                  <a:pt x="334" y="402"/>
                </a:cubicBezTo>
                <a:cubicBezTo>
                  <a:pt x="334" y="402"/>
                  <a:pt x="334" y="402"/>
                  <a:pt x="334" y="402"/>
                </a:cubicBezTo>
                <a:cubicBezTo>
                  <a:pt x="336" y="403"/>
                  <a:pt x="336" y="403"/>
                  <a:pt x="336" y="403"/>
                </a:cubicBezTo>
                <a:cubicBezTo>
                  <a:pt x="337" y="402"/>
                  <a:pt x="337" y="402"/>
                  <a:pt x="337" y="402"/>
                </a:cubicBezTo>
                <a:cubicBezTo>
                  <a:pt x="338" y="402"/>
                  <a:pt x="338" y="402"/>
                  <a:pt x="338" y="402"/>
                </a:cubicBezTo>
                <a:cubicBezTo>
                  <a:pt x="338" y="403"/>
                  <a:pt x="338" y="403"/>
                  <a:pt x="338" y="403"/>
                </a:cubicBezTo>
                <a:cubicBezTo>
                  <a:pt x="339" y="403"/>
                  <a:pt x="339" y="403"/>
                  <a:pt x="339" y="403"/>
                </a:cubicBezTo>
                <a:cubicBezTo>
                  <a:pt x="340" y="402"/>
                  <a:pt x="340" y="402"/>
                  <a:pt x="340" y="402"/>
                </a:cubicBezTo>
                <a:cubicBezTo>
                  <a:pt x="341" y="401"/>
                  <a:pt x="341" y="401"/>
                  <a:pt x="341" y="401"/>
                </a:cubicBezTo>
                <a:cubicBezTo>
                  <a:pt x="341" y="402"/>
                  <a:pt x="341" y="402"/>
                  <a:pt x="341" y="402"/>
                </a:cubicBezTo>
                <a:cubicBezTo>
                  <a:pt x="341" y="403"/>
                  <a:pt x="341" y="403"/>
                  <a:pt x="341" y="403"/>
                </a:cubicBezTo>
                <a:cubicBezTo>
                  <a:pt x="341" y="404"/>
                  <a:pt x="341" y="404"/>
                  <a:pt x="341" y="404"/>
                </a:cubicBezTo>
                <a:cubicBezTo>
                  <a:pt x="342" y="404"/>
                  <a:pt x="342" y="404"/>
                  <a:pt x="342" y="404"/>
                </a:cubicBezTo>
                <a:cubicBezTo>
                  <a:pt x="343" y="405"/>
                  <a:pt x="343" y="405"/>
                  <a:pt x="343" y="405"/>
                </a:cubicBezTo>
                <a:cubicBezTo>
                  <a:pt x="344" y="405"/>
                  <a:pt x="344" y="405"/>
                  <a:pt x="344" y="405"/>
                </a:cubicBezTo>
                <a:cubicBezTo>
                  <a:pt x="347" y="402"/>
                  <a:pt x="347" y="402"/>
                  <a:pt x="347" y="402"/>
                </a:cubicBezTo>
                <a:cubicBezTo>
                  <a:pt x="347" y="398"/>
                  <a:pt x="347" y="398"/>
                  <a:pt x="347" y="398"/>
                </a:cubicBezTo>
                <a:cubicBezTo>
                  <a:pt x="348" y="396"/>
                  <a:pt x="348" y="396"/>
                  <a:pt x="348" y="396"/>
                </a:cubicBezTo>
                <a:cubicBezTo>
                  <a:pt x="349" y="396"/>
                  <a:pt x="349" y="396"/>
                  <a:pt x="349" y="396"/>
                </a:cubicBezTo>
                <a:cubicBezTo>
                  <a:pt x="349" y="397"/>
                  <a:pt x="349" y="397"/>
                  <a:pt x="349" y="397"/>
                </a:cubicBezTo>
                <a:cubicBezTo>
                  <a:pt x="348" y="398"/>
                  <a:pt x="348" y="398"/>
                  <a:pt x="348" y="398"/>
                </a:cubicBezTo>
                <a:cubicBezTo>
                  <a:pt x="348" y="401"/>
                  <a:pt x="348" y="401"/>
                  <a:pt x="348" y="401"/>
                </a:cubicBezTo>
                <a:cubicBezTo>
                  <a:pt x="346" y="404"/>
                  <a:pt x="346" y="404"/>
                  <a:pt x="346" y="404"/>
                </a:cubicBezTo>
                <a:cubicBezTo>
                  <a:pt x="345" y="405"/>
                  <a:pt x="345" y="405"/>
                  <a:pt x="345" y="405"/>
                </a:cubicBezTo>
                <a:cubicBezTo>
                  <a:pt x="345" y="406"/>
                  <a:pt x="345" y="406"/>
                  <a:pt x="345" y="406"/>
                </a:cubicBezTo>
                <a:cubicBezTo>
                  <a:pt x="347" y="406"/>
                  <a:pt x="347" y="406"/>
                  <a:pt x="347" y="406"/>
                </a:cubicBezTo>
                <a:cubicBezTo>
                  <a:pt x="349" y="405"/>
                  <a:pt x="349" y="405"/>
                  <a:pt x="349" y="405"/>
                </a:cubicBezTo>
                <a:cubicBezTo>
                  <a:pt x="350" y="406"/>
                  <a:pt x="350" y="406"/>
                  <a:pt x="350" y="406"/>
                </a:cubicBezTo>
                <a:cubicBezTo>
                  <a:pt x="349" y="407"/>
                  <a:pt x="349" y="407"/>
                  <a:pt x="349" y="407"/>
                </a:cubicBezTo>
                <a:cubicBezTo>
                  <a:pt x="348" y="410"/>
                  <a:pt x="348" y="410"/>
                  <a:pt x="348" y="410"/>
                </a:cubicBezTo>
                <a:cubicBezTo>
                  <a:pt x="345" y="412"/>
                  <a:pt x="345" y="412"/>
                  <a:pt x="345" y="412"/>
                </a:cubicBezTo>
                <a:cubicBezTo>
                  <a:pt x="345" y="412"/>
                  <a:pt x="345" y="412"/>
                  <a:pt x="345" y="412"/>
                </a:cubicBezTo>
                <a:cubicBezTo>
                  <a:pt x="346" y="415"/>
                  <a:pt x="346" y="415"/>
                  <a:pt x="346" y="415"/>
                </a:cubicBezTo>
                <a:cubicBezTo>
                  <a:pt x="349" y="416"/>
                  <a:pt x="349" y="416"/>
                  <a:pt x="349" y="416"/>
                </a:cubicBezTo>
                <a:cubicBezTo>
                  <a:pt x="350" y="415"/>
                  <a:pt x="350" y="415"/>
                  <a:pt x="350" y="415"/>
                </a:cubicBezTo>
                <a:cubicBezTo>
                  <a:pt x="351" y="415"/>
                  <a:pt x="351" y="415"/>
                  <a:pt x="351" y="415"/>
                </a:cubicBezTo>
                <a:cubicBezTo>
                  <a:pt x="352" y="417"/>
                  <a:pt x="352" y="417"/>
                  <a:pt x="352" y="417"/>
                </a:cubicBezTo>
                <a:cubicBezTo>
                  <a:pt x="353" y="419"/>
                  <a:pt x="353" y="419"/>
                  <a:pt x="353" y="419"/>
                </a:cubicBezTo>
                <a:cubicBezTo>
                  <a:pt x="353" y="420"/>
                  <a:pt x="353" y="420"/>
                  <a:pt x="353" y="420"/>
                </a:cubicBezTo>
                <a:cubicBezTo>
                  <a:pt x="352" y="420"/>
                  <a:pt x="352" y="420"/>
                  <a:pt x="352" y="420"/>
                </a:cubicBezTo>
                <a:cubicBezTo>
                  <a:pt x="351" y="418"/>
                  <a:pt x="351" y="418"/>
                  <a:pt x="351" y="418"/>
                </a:cubicBezTo>
                <a:cubicBezTo>
                  <a:pt x="350" y="418"/>
                  <a:pt x="350" y="418"/>
                  <a:pt x="350" y="418"/>
                </a:cubicBezTo>
                <a:cubicBezTo>
                  <a:pt x="350" y="420"/>
                  <a:pt x="350" y="420"/>
                  <a:pt x="350" y="420"/>
                </a:cubicBezTo>
                <a:cubicBezTo>
                  <a:pt x="352" y="422"/>
                  <a:pt x="352" y="422"/>
                  <a:pt x="352" y="422"/>
                </a:cubicBezTo>
                <a:cubicBezTo>
                  <a:pt x="354" y="421"/>
                  <a:pt x="354" y="421"/>
                  <a:pt x="354" y="421"/>
                </a:cubicBezTo>
                <a:cubicBezTo>
                  <a:pt x="356" y="420"/>
                  <a:pt x="356" y="420"/>
                  <a:pt x="356" y="420"/>
                </a:cubicBezTo>
                <a:cubicBezTo>
                  <a:pt x="358" y="419"/>
                  <a:pt x="358" y="419"/>
                  <a:pt x="358" y="419"/>
                </a:cubicBezTo>
                <a:cubicBezTo>
                  <a:pt x="357" y="422"/>
                  <a:pt x="357" y="422"/>
                  <a:pt x="357" y="422"/>
                </a:cubicBezTo>
                <a:cubicBezTo>
                  <a:pt x="355" y="426"/>
                  <a:pt x="355" y="426"/>
                  <a:pt x="355" y="426"/>
                </a:cubicBezTo>
                <a:cubicBezTo>
                  <a:pt x="356" y="429"/>
                  <a:pt x="356" y="429"/>
                  <a:pt x="356" y="429"/>
                </a:cubicBezTo>
                <a:cubicBezTo>
                  <a:pt x="357" y="429"/>
                  <a:pt x="357" y="429"/>
                  <a:pt x="357" y="429"/>
                </a:cubicBezTo>
                <a:cubicBezTo>
                  <a:pt x="357" y="429"/>
                  <a:pt x="357" y="429"/>
                  <a:pt x="357" y="429"/>
                </a:cubicBezTo>
                <a:cubicBezTo>
                  <a:pt x="358" y="433"/>
                  <a:pt x="358" y="433"/>
                  <a:pt x="358" y="433"/>
                </a:cubicBezTo>
                <a:cubicBezTo>
                  <a:pt x="360" y="435"/>
                  <a:pt x="360" y="435"/>
                  <a:pt x="360" y="435"/>
                </a:cubicBezTo>
                <a:cubicBezTo>
                  <a:pt x="360" y="436"/>
                  <a:pt x="360" y="436"/>
                  <a:pt x="360" y="436"/>
                </a:cubicBezTo>
                <a:cubicBezTo>
                  <a:pt x="358" y="437"/>
                  <a:pt x="358" y="437"/>
                  <a:pt x="358" y="437"/>
                </a:cubicBezTo>
                <a:cubicBezTo>
                  <a:pt x="359" y="439"/>
                  <a:pt x="359" y="439"/>
                  <a:pt x="359" y="439"/>
                </a:cubicBezTo>
                <a:cubicBezTo>
                  <a:pt x="360" y="440"/>
                  <a:pt x="360" y="440"/>
                  <a:pt x="360" y="440"/>
                </a:cubicBezTo>
                <a:cubicBezTo>
                  <a:pt x="359" y="441"/>
                  <a:pt x="359" y="441"/>
                  <a:pt x="359" y="441"/>
                </a:cubicBezTo>
                <a:cubicBezTo>
                  <a:pt x="358" y="442"/>
                  <a:pt x="358" y="442"/>
                  <a:pt x="358" y="442"/>
                </a:cubicBezTo>
                <a:cubicBezTo>
                  <a:pt x="359" y="443"/>
                  <a:pt x="359" y="443"/>
                  <a:pt x="359" y="443"/>
                </a:cubicBezTo>
                <a:cubicBezTo>
                  <a:pt x="359" y="444"/>
                  <a:pt x="359" y="444"/>
                  <a:pt x="359" y="444"/>
                </a:cubicBezTo>
                <a:cubicBezTo>
                  <a:pt x="360" y="446"/>
                  <a:pt x="360" y="446"/>
                  <a:pt x="360" y="446"/>
                </a:cubicBezTo>
                <a:cubicBezTo>
                  <a:pt x="358" y="448"/>
                  <a:pt x="358" y="448"/>
                  <a:pt x="358" y="448"/>
                </a:cubicBezTo>
                <a:cubicBezTo>
                  <a:pt x="357" y="449"/>
                  <a:pt x="357" y="449"/>
                  <a:pt x="357" y="449"/>
                </a:cubicBezTo>
                <a:cubicBezTo>
                  <a:pt x="356" y="451"/>
                  <a:pt x="356" y="451"/>
                  <a:pt x="356" y="451"/>
                </a:cubicBezTo>
                <a:cubicBezTo>
                  <a:pt x="355" y="452"/>
                  <a:pt x="355" y="452"/>
                  <a:pt x="355" y="452"/>
                </a:cubicBezTo>
                <a:cubicBezTo>
                  <a:pt x="355" y="454"/>
                  <a:pt x="355" y="454"/>
                  <a:pt x="355" y="454"/>
                </a:cubicBezTo>
                <a:cubicBezTo>
                  <a:pt x="354" y="456"/>
                  <a:pt x="354" y="456"/>
                  <a:pt x="354" y="456"/>
                </a:cubicBezTo>
                <a:cubicBezTo>
                  <a:pt x="353" y="457"/>
                  <a:pt x="353" y="457"/>
                  <a:pt x="353" y="457"/>
                </a:cubicBezTo>
                <a:cubicBezTo>
                  <a:pt x="351" y="459"/>
                  <a:pt x="351" y="459"/>
                  <a:pt x="351" y="459"/>
                </a:cubicBezTo>
                <a:cubicBezTo>
                  <a:pt x="349" y="458"/>
                  <a:pt x="349" y="458"/>
                  <a:pt x="349" y="458"/>
                </a:cubicBezTo>
                <a:cubicBezTo>
                  <a:pt x="349" y="457"/>
                  <a:pt x="349" y="457"/>
                  <a:pt x="349" y="457"/>
                </a:cubicBezTo>
                <a:cubicBezTo>
                  <a:pt x="350" y="455"/>
                  <a:pt x="350" y="455"/>
                  <a:pt x="350" y="455"/>
                </a:cubicBezTo>
                <a:cubicBezTo>
                  <a:pt x="351" y="456"/>
                  <a:pt x="351" y="456"/>
                  <a:pt x="351" y="456"/>
                </a:cubicBezTo>
                <a:cubicBezTo>
                  <a:pt x="352" y="455"/>
                  <a:pt x="352" y="455"/>
                  <a:pt x="352" y="455"/>
                </a:cubicBezTo>
                <a:cubicBezTo>
                  <a:pt x="352" y="456"/>
                  <a:pt x="352" y="456"/>
                  <a:pt x="352" y="456"/>
                </a:cubicBezTo>
                <a:cubicBezTo>
                  <a:pt x="353" y="456"/>
                  <a:pt x="353" y="456"/>
                  <a:pt x="353" y="456"/>
                </a:cubicBezTo>
                <a:cubicBezTo>
                  <a:pt x="353" y="453"/>
                  <a:pt x="353" y="453"/>
                  <a:pt x="353" y="453"/>
                </a:cubicBezTo>
                <a:cubicBezTo>
                  <a:pt x="354" y="451"/>
                  <a:pt x="354" y="451"/>
                  <a:pt x="354" y="451"/>
                </a:cubicBezTo>
                <a:cubicBezTo>
                  <a:pt x="356" y="450"/>
                  <a:pt x="356" y="450"/>
                  <a:pt x="356" y="450"/>
                </a:cubicBezTo>
                <a:cubicBezTo>
                  <a:pt x="355" y="448"/>
                  <a:pt x="355" y="448"/>
                  <a:pt x="355" y="448"/>
                </a:cubicBezTo>
                <a:cubicBezTo>
                  <a:pt x="354" y="448"/>
                  <a:pt x="354" y="448"/>
                  <a:pt x="354" y="448"/>
                </a:cubicBezTo>
                <a:cubicBezTo>
                  <a:pt x="352" y="450"/>
                  <a:pt x="352" y="450"/>
                  <a:pt x="352" y="450"/>
                </a:cubicBezTo>
                <a:cubicBezTo>
                  <a:pt x="352" y="451"/>
                  <a:pt x="352" y="451"/>
                  <a:pt x="352" y="451"/>
                </a:cubicBezTo>
                <a:cubicBezTo>
                  <a:pt x="350" y="451"/>
                  <a:pt x="350" y="451"/>
                  <a:pt x="350" y="451"/>
                </a:cubicBezTo>
                <a:cubicBezTo>
                  <a:pt x="350" y="450"/>
                  <a:pt x="350" y="450"/>
                  <a:pt x="350" y="450"/>
                </a:cubicBezTo>
                <a:cubicBezTo>
                  <a:pt x="352" y="448"/>
                  <a:pt x="352" y="448"/>
                  <a:pt x="352" y="448"/>
                </a:cubicBezTo>
                <a:cubicBezTo>
                  <a:pt x="354" y="447"/>
                  <a:pt x="354" y="447"/>
                  <a:pt x="354" y="447"/>
                </a:cubicBezTo>
                <a:cubicBezTo>
                  <a:pt x="355" y="446"/>
                  <a:pt x="355" y="446"/>
                  <a:pt x="355" y="446"/>
                </a:cubicBezTo>
                <a:cubicBezTo>
                  <a:pt x="354" y="445"/>
                  <a:pt x="354" y="445"/>
                  <a:pt x="354" y="445"/>
                </a:cubicBezTo>
                <a:cubicBezTo>
                  <a:pt x="353" y="445"/>
                  <a:pt x="353" y="445"/>
                  <a:pt x="353" y="445"/>
                </a:cubicBezTo>
                <a:cubicBezTo>
                  <a:pt x="352" y="445"/>
                  <a:pt x="352" y="445"/>
                  <a:pt x="352" y="445"/>
                </a:cubicBezTo>
                <a:cubicBezTo>
                  <a:pt x="351" y="444"/>
                  <a:pt x="351" y="444"/>
                  <a:pt x="351" y="444"/>
                </a:cubicBezTo>
                <a:cubicBezTo>
                  <a:pt x="349" y="443"/>
                  <a:pt x="349" y="443"/>
                  <a:pt x="349" y="443"/>
                </a:cubicBezTo>
                <a:cubicBezTo>
                  <a:pt x="345" y="442"/>
                  <a:pt x="345" y="442"/>
                  <a:pt x="345" y="442"/>
                </a:cubicBezTo>
                <a:cubicBezTo>
                  <a:pt x="342" y="441"/>
                  <a:pt x="342" y="441"/>
                  <a:pt x="342" y="441"/>
                </a:cubicBezTo>
                <a:cubicBezTo>
                  <a:pt x="338" y="437"/>
                  <a:pt x="338" y="437"/>
                  <a:pt x="338" y="437"/>
                </a:cubicBezTo>
                <a:cubicBezTo>
                  <a:pt x="337" y="437"/>
                  <a:pt x="337" y="437"/>
                  <a:pt x="337" y="437"/>
                </a:cubicBezTo>
                <a:cubicBezTo>
                  <a:pt x="337" y="439"/>
                  <a:pt x="337" y="439"/>
                  <a:pt x="337" y="439"/>
                </a:cubicBezTo>
                <a:cubicBezTo>
                  <a:pt x="335" y="443"/>
                  <a:pt x="335" y="443"/>
                  <a:pt x="335" y="443"/>
                </a:cubicBezTo>
                <a:cubicBezTo>
                  <a:pt x="335" y="445"/>
                  <a:pt x="335" y="445"/>
                  <a:pt x="335" y="445"/>
                </a:cubicBezTo>
                <a:cubicBezTo>
                  <a:pt x="336" y="448"/>
                  <a:pt x="336" y="448"/>
                  <a:pt x="336" y="448"/>
                </a:cubicBezTo>
                <a:cubicBezTo>
                  <a:pt x="335" y="453"/>
                  <a:pt x="335" y="453"/>
                  <a:pt x="335" y="453"/>
                </a:cubicBezTo>
                <a:cubicBezTo>
                  <a:pt x="336" y="456"/>
                  <a:pt x="336" y="456"/>
                  <a:pt x="336" y="456"/>
                </a:cubicBezTo>
                <a:cubicBezTo>
                  <a:pt x="335" y="459"/>
                  <a:pt x="335" y="459"/>
                  <a:pt x="335" y="459"/>
                </a:cubicBezTo>
                <a:cubicBezTo>
                  <a:pt x="336" y="460"/>
                  <a:pt x="336" y="460"/>
                  <a:pt x="336" y="460"/>
                </a:cubicBezTo>
                <a:cubicBezTo>
                  <a:pt x="337" y="460"/>
                  <a:pt x="337" y="460"/>
                  <a:pt x="337" y="460"/>
                </a:cubicBezTo>
                <a:cubicBezTo>
                  <a:pt x="337" y="461"/>
                  <a:pt x="337" y="461"/>
                  <a:pt x="337" y="461"/>
                </a:cubicBezTo>
                <a:cubicBezTo>
                  <a:pt x="336" y="462"/>
                  <a:pt x="336" y="462"/>
                  <a:pt x="336" y="462"/>
                </a:cubicBezTo>
                <a:cubicBezTo>
                  <a:pt x="335" y="462"/>
                  <a:pt x="335" y="462"/>
                  <a:pt x="335" y="462"/>
                </a:cubicBezTo>
                <a:cubicBezTo>
                  <a:pt x="335" y="464"/>
                  <a:pt x="335" y="464"/>
                  <a:pt x="335" y="464"/>
                </a:cubicBezTo>
                <a:cubicBezTo>
                  <a:pt x="335" y="465"/>
                  <a:pt x="335" y="465"/>
                  <a:pt x="335" y="465"/>
                </a:cubicBezTo>
                <a:cubicBezTo>
                  <a:pt x="337" y="465"/>
                  <a:pt x="337" y="465"/>
                  <a:pt x="337" y="465"/>
                </a:cubicBezTo>
                <a:cubicBezTo>
                  <a:pt x="336" y="467"/>
                  <a:pt x="336" y="467"/>
                  <a:pt x="336" y="467"/>
                </a:cubicBezTo>
                <a:cubicBezTo>
                  <a:pt x="336" y="469"/>
                  <a:pt x="336" y="469"/>
                  <a:pt x="336" y="469"/>
                </a:cubicBezTo>
                <a:cubicBezTo>
                  <a:pt x="335" y="470"/>
                  <a:pt x="335" y="470"/>
                  <a:pt x="335" y="470"/>
                </a:cubicBezTo>
                <a:cubicBezTo>
                  <a:pt x="335" y="470"/>
                  <a:pt x="335" y="470"/>
                  <a:pt x="335" y="470"/>
                </a:cubicBezTo>
                <a:cubicBezTo>
                  <a:pt x="334" y="471"/>
                  <a:pt x="334" y="471"/>
                  <a:pt x="334" y="471"/>
                </a:cubicBezTo>
                <a:cubicBezTo>
                  <a:pt x="334" y="472"/>
                  <a:pt x="334" y="472"/>
                  <a:pt x="334" y="472"/>
                </a:cubicBezTo>
                <a:cubicBezTo>
                  <a:pt x="337" y="473"/>
                  <a:pt x="337" y="473"/>
                  <a:pt x="337" y="473"/>
                </a:cubicBezTo>
                <a:cubicBezTo>
                  <a:pt x="340" y="473"/>
                  <a:pt x="340" y="473"/>
                  <a:pt x="340" y="473"/>
                </a:cubicBezTo>
                <a:cubicBezTo>
                  <a:pt x="341" y="474"/>
                  <a:pt x="341" y="474"/>
                  <a:pt x="341" y="474"/>
                </a:cubicBezTo>
                <a:cubicBezTo>
                  <a:pt x="343" y="475"/>
                  <a:pt x="343" y="475"/>
                  <a:pt x="343" y="475"/>
                </a:cubicBezTo>
                <a:cubicBezTo>
                  <a:pt x="344" y="476"/>
                  <a:pt x="344" y="476"/>
                  <a:pt x="344" y="476"/>
                </a:cubicBezTo>
                <a:cubicBezTo>
                  <a:pt x="345" y="478"/>
                  <a:pt x="345" y="478"/>
                  <a:pt x="345" y="478"/>
                </a:cubicBezTo>
                <a:cubicBezTo>
                  <a:pt x="344" y="476"/>
                  <a:pt x="344" y="476"/>
                  <a:pt x="344" y="476"/>
                </a:cubicBezTo>
                <a:cubicBezTo>
                  <a:pt x="342" y="475"/>
                  <a:pt x="342" y="475"/>
                  <a:pt x="342" y="475"/>
                </a:cubicBezTo>
                <a:cubicBezTo>
                  <a:pt x="341" y="475"/>
                  <a:pt x="341" y="475"/>
                  <a:pt x="341" y="475"/>
                </a:cubicBezTo>
                <a:cubicBezTo>
                  <a:pt x="339" y="474"/>
                  <a:pt x="339" y="474"/>
                  <a:pt x="339" y="474"/>
                </a:cubicBezTo>
                <a:cubicBezTo>
                  <a:pt x="336" y="474"/>
                  <a:pt x="336" y="474"/>
                  <a:pt x="336" y="474"/>
                </a:cubicBezTo>
                <a:cubicBezTo>
                  <a:pt x="335" y="473"/>
                  <a:pt x="335" y="473"/>
                  <a:pt x="335" y="473"/>
                </a:cubicBezTo>
                <a:cubicBezTo>
                  <a:pt x="334" y="474"/>
                  <a:pt x="334" y="474"/>
                  <a:pt x="334" y="474"/>
                </a:cubicBezTo>
                <a:cubicBezTo>
                  <a:pt x="334" y="475"/>
                  <a:pt x="334" y="475"/>
                  <a:pt x="334" y="475"/>
                </a:cubicBezTo>
                <a:cubicBezTo>
                  <a:pt x="332" y="478"/>
                  <a:pt x="332" y="478"/>
                  <a:pt x="332" y="478"/>
                </a:cubicBezTo>
                <a:cubicBezTo>
                  <a:pt x="332" y="479"/>
                  <a:pt x="332" y="479"/>
                  <a:pt x="332" y="479"/>
                </a:cubicBezTo>
                <a:cubicBezTo>
                  <a:pt x="332" y="481"/>
                  <a:pt x="332" y="481"/>
                  <a:pt x="332" y="481"/>
                </a:cubicBezTo>
                <a:cubicBezTo>
                  <a:pt x="331" y="484"/>
                  <a:pt x="331" y="484"/>
                  <a:pt x="331" y="484"/>
                </a:cubicBezTo>
                <a:cubicBezTo>
                  <a:pt x="330" y="486"/>
                  <a:pt x="330" y="486"/>
                  <a:pt x="330" y="486"/>
                </a:cubicBezTo>
                <a:cubicBezTo>
                  <a:pt x="327" y="492"/>
                  <a:pt x="327" y="492"/>
                  <a:pt x="327" y="492"/>
                </a:cubicBezTo>
                <a:cubicBezTo>
                  <a:pt x="326" y="496"/>
                  <a:pt x="326" y="496"/>
                  <a:pt x="326" y="496"/>
                </a:cubicBezTo>
                <a:cubicBezTo>
                  <a:pt x="324" y="501"/>
                  <a:pt x="324" y="501"/>
                  <a:pt x="324" y="501"/>
                </a:cubicBezTo>
                <a:cubicBezTo>
                  <a:pt x="323" y="507"/>
                  <a:pt x="323" y="507"/>
                  <a:pt x="323" y="507"/>
                </a:cubicBezTo>
                <a:cubicBezTo>
                  <a:pt x="322" y="509"/>
                  <a:pt x="322" y="509"/>
                  <a:pt x="322" y="509"/>
                </a:cubicBezTo>
                <a:cubicBezTo>
                  <a:pt x="320" y="512"/>
                  <a:pt x="320" y="512"/>
                  <a:pt x="320" y="512"/>
                </a:cubicBezTo>
                <a:cubicBezTo>
                  <a:pt x="319" y="515"/>
                  <a:pt x="319" y="515"/>
                  <a:pt x="319" y="515"/>
                </a:cubicBezTo>
                <a:cubicBezTo>
                  <a:pt x="318" y="516"/>
                  <a:pt x="318" y="516"/>
                  <a:pt x="318" y="516"/>
                </a:cubicBezTo>
                <a:cubicBezTo>
                  <a:pt x="317" y="518"/>
                  <a:pt x="317" y="518"/>
                  <a:pt x="317" y="518"/>
                </a:cubicBezTo>
                <a:cubicBezTo>
                  <a:pt x="315" y="521"/>
                  <a:pt x="315" y="521"/>
                  <a:pt x="315" y="521"/>
                </a:cubicBezTo>
                <a:cubicBezTo>
                  <a:pt x="314" y="523"/>
                  <a:pt x="314" y="523"/>
                  <a:pt x="314" y="523"/>
                </a:cubicBezTo>
                <a:cubicBezTo>
                  <a:pt x="314" y="527"/>
                  <a:pt x="314" y="527"/>
                  <a:pt x="314" y="527"/>
                </a:cubicBezTo>
                <a:cubicBezTo>
                  <a:pt x="313" y="531"/>
                  <a:pt x="313" y="531"/>
                  <a:pt x="313" y="531"/>
                </a:cubicBezTo>
                <a:cubicBezTo>
                  <a:pt x="313" y="533"/>
                  <a:pt x="313" y="533"/>
                  <a:pt x="313" y="533"/>
                </a:cubicBezTo>
                <a:cubicBezTo>
                  <a:pt x="314" y="536"/>
                  <a:pt x="314" y="536"/>
                  <a:pt x="314" y="536"/>
                </a:cubicBezTo>
                <a:cubicBezTo>
                  <a:pt x="314" y="537"/>
                  <a:pt x="314" y="537"/>
                  <a:pt x="314" y="537"/>
                </a:cubicBezTo>
                <a:cubicBezTo>
                  <a:pt x="313" y="538"/>
                  <a:pt x="313" y="538"/>
                  <a:pt x="313" y="538"/>
                </a:cubicBezTo>
                <a:cubicBezTo>
                  <a:pt x="314" y="541"/>
                  <a:pt x="314" y="541"/>
                  <a:pt x="314" y="541"/>
                </a:cubicBezTo>
                <a:cubicBezTo>
                  <a:pt x="314" y="545"/>
                  <a:pt x="314" y="545"/>
                  <a:pt x="314" y="545"/>
                </a:cubicBezTo>
                <a:cubicBezTo>
                  <a:pt x="313" y="547"/>
                  <a:pt x="313" y="547"/>
                  <a:pt x="313" y="547"/>
                </a:cubicBezTo>
                <a:cubicBezTo>
                  <a:pt x="312" y="548"/>
                  <a:pt x="312" y="548"/>
                  <a:pt x="312" y="548"/>
                </a:cubicBezTo>
                <a:cubicBezTo>
                  <a:pt x="312" y="550"/>
                  <a:pt x="312" y="550"/>
                  <a:pt x="312" y="550"/>
                </a:cubicBezTo>
                <a:cubicBezTo>
                  <a:pt x="312" y="550"/>
                  <a:pt x="312" y="550"/>
                  <a:pt x="312" y="550"/>
                </a:cubicBezTo>
                <a:cubicBezTo>
                  <a:pt x="311" y="553"/>
                  <a:pt x="311" y="553"/>
                  <a:pt x="311" y="553"/>
                </a:cubicBezTo>
                <a:cubicBezTo>
                  <a:pt x="308" y="555"/>
                  <a:pt x="308" y="555"/>
                  <a:pt x="308" y="555"/>
                </a:cubicBezTo>
                <a:cubicBezTo>
                  <a:pt x="307" y="557"/>
                  <a:pt x="307" y="557"/>
                  <a:pt x="307" y="557"/>
                </a:cubicBezTo>
                <a:cubicBezTo>
                  <a:pt x="307" y="559"/>
                  <a:pt x="307" y="559"/>
                  <a:pt x="307" y="559"/>
                </a:cubicBezTo>
                <a:cubicBezTo>
                  <a:pt x="309" y="562"/>
                  <a:pt x="309" y="562"/>
                  <a:pt x="309" y="562"/>
                </a:cubicBezTo>
                <a:cubicBezTo>
                  <a:pt x="311" y="566"/>
                  <a:pt x="311" y="566"/>
                  <a:pt x="311" y="566"/>
                </a:cubicBezTo>
                <a:cubicBezTo>
                  <a:pt x="311" y="570"/>
                  <a:pt x="311" y="570"/>
                  <a:pt x="311" y="570"/>
                </a:cubicBezTo>
                <a:cubicBezTo>
                  <a:pt x="311" y="572"/>
                  <a:pt x="311" y="572"/>
                  <a:pt x="311" y="572"/>
                </a:cubicBezTo>
                <a:cubicBezTo>
                  <a:pt x="309" y="574"/>
                  <a:pt x="309" y="574"/>
                  <a:pt x="309" y="574"/>
                </a:cubicBezTo>
                <a:cubicBezTo>
                  <a:pt x="309" y="575"/>
                  <a:pt x="309" y="575"/>
                  <a:pt x="309" y="575"/>
                </a:cubicBezTo>
                <a:cubicBezTo>
                  <a:pt x="310" y="576"/>
                  <a:pt x="310" y="576"/>
                  <a:pt x="310" y="576"/>
                </a:cubicBezTo>
                <a:cubicBezTo>
                  <a:pt x="310" y="579"/>
                  <a:pt x="310" y="579"/>
                  <a:pt x="310" y="579"/>
                </a:cubicBezTo>
                <a:cubicBezTo>
                  <a:pt x="310" y="580"/>
                  <a:pt x="310" y="580"/>
                  <a:pt x="310" y="580"/>
                </a:cubicBezTo>
                <a:cubicBezTo>
                  <a:pt x="309" y="581"/>
                  <a:pt x="309" y="581"/>
                  <a:pt x="309" y="581"/>
                </a:cubicBezTo>
                <a:cubicBezTo>
                  <a:pt x="310" y="583"/>
                  <a:pt x="310" y="583"/>
                  <a:pt x="310" y="583"/>
                </a:cubicBezTo>
                <a:cubicBezTo>
                  <a:pt x="314" y="589"/>
                  <a:pt x="314" y="589"/>
                  <a:pt x="314" y="589"/>
                </a:cubicBezTo>
                <a:cubicBezTo>
                  <a:pt x="314" y="591"/>
                  <a:pt x="314" y="591"/>
                  <a:pt x="314" y="591"/>
                </a:cubicBezTo>
                <a:cubicBezTo>
                  <a:pt x="314" y="592"/>
                  <a:pt x="314" y="592"/>
                  <a:pt x="314" y="592"/>
                </a:cubicBezTo>
                <a:cubicBezTo>
                  <a:pt x="314" y="594"/>
                  <a:pt x="314" y="594"/>
                  <a:pt x="314" y="594"/>
                </a:cubicBezTo>
                <a:cubicBezTo>
                  <a:pt x="316" y="596"/>
                  <a:pt x="316" y="596"/>
                  <a:pt x="316" y="596"/>
                </a:cubicBezTo>
                <a:cubicBezTo>
                  <a:pt x="317" y="597"/>
                  <a:pt x="317" y="597"/>
                  <a:pt x="317" y="597"/>
                </a:cubicBezTo>
                <a:cubicBezTo>
                  <a:pt x="318" y="597"/>
                  <a:pt x="318" y="597"/>
                  <a:pt x="318" y="597"/>
                </a:cubicBezTo>
                <a:cubicBezTo>
                  <a:pt x="318" y="597"/>
                  <a:pt x="318" y="597"/>
                  <a:pt x="318" y="597"/>
                </a:cubicBezTo>
                <a:cubicBezTo>
                  <a:pt x="318" y="595"/>
                  <a:pt x="318" y="595"/>
                  <a:pt x="318" y="595"/>
                </a:cubicBezTo>
                <a:cubicBezTo>
                  <a:pt x="318" y="593"/>
                  <a:pt x="318" y="593"/>
                  <a:pt x="318" y="593"/>
                </a:cubicBezTo>
                <a:cubicBezTo>
                  <a:pt x="319" y="593"/>
                  <a:pt x="319" y="593"/>
                  <a:pt x="319" y="593"/>
                </a:cubicBezTo>
                <a:cubicBezTo>
                  <a:pt x="320" y="593"/>
                  <a:pt x="320" y="593"/>
                  <a:pt x="320" y="593"/>
                </a:cubicBezTo>
                <a:cubicBezTo>
                  <a:pt x="320" y="594"/>
                  <a:pt x="320" y="594"/>
                  <a:pt x="320" y="594"/>
                </a:cubicBezTo>
                <a:cubicBezTo>
                  <a:pt x="322" y="594"/>
                  <a:pt x="322" y="594"/>
                  <a:pt x="322" y="594"/>
                </a:cubicBezTo>
                <a:cubicBezTo>
                  <a:pt x="322" y="595"/>
                  <a:pt x="322" y="595"/>
                  <a:pt x="322" y="595"/>
                </a:cubicBezTo>
                <a:cubicBezTo>
                  <a:pt x="325" y="595"/>
                  <a:pt x="325" y="595"/>
                  <a:pt x="325" y="595"/>
                </a:cubicBezTo>
                <a:cubicBezTo>
                  <a:pt x="323" y="595"/>
                  <a:pt x="323" y="595"/>
                  <a:pt x="323" y="595"/>
                </a:cubicBezTo>
                <a:cubicBezTo>
                  <a:pt x="321" y="596"/>
                  <a:pt x="321" y="596"/>
                  <a:pt x="321" y="596"/>
                </a:cubicBezTo>
                <a:cubicBezTo>
                  <a:pt x="321" y="595"/>
                  <a:pt x="321" y="595"/>
                  <a:pt x="321" y="595"/>
                </a:cubicBezTo>
                <a:cubicBezTo>
                  <a:pt x="320" y="595"/>
                  <a:pt x="320" y="595"/>
                  <a:pt x="320" y="595"/>
                </a:cubicBezTo>
                <a:cubicBezTo>
                  <a:pt x="320" y="597"/>
                  <a:pt x="320" y="597"/>
                  <a:pt x="320" y="597"/>
                </a:cubicBezTo>
                <a:cubicBezTo>
                  <a:pt x="320" y="597"/>
                  <a:pt x="320" y="597"/>
                  <a:pt x="320" y="597"/>
                </a:cubicBezTo>
                <a:cubicBezTo>
                  <a:pt x="321" y="600"/>
                  <a:pt x="321" y="600"/>
                  <a:pt x="321" y="600"/>
                </a:cubicBezTo>
                <a:cubicBezTo>
                  <a:pt x="321" y="601"/>
                  <a:pt x="321" y="601"/>
                  <a:pt x="321" y="601"/>
                </a:cubicBezTo>
                <a:cubicBezTo>
                  <a:pt x="322" y="602"/>
                  <a:pt x="322" y="602"/>
                  <a:pt x="322" y="602"/>
                </a:cubicBezTo>
                <a:cubicBezTo>
                  <a:pt x="320" y="601"/>
                  <a:pt x="320" y="601"/>
                  <a:pt x="320" y="601"/>
                </a:cubicBezTo>
                <a:cubicBezTo>
                  <a:pt x="319" y="599"/>
                  <a:pt x="319" y="599"/>
                  <a:pt x="319" y="599"/>
                </a:cubicBezTo>
                <a:cubicBezTo>
                  <a:pt x="319" y="599"/>
                  <a:pt x="319" y="599"/>
                  <a:pt x="319" y="599"/>
                </a:cubicBezTo>
                <a:cubicBezTo>
                  <a:pt x="318" y="600"/>
                  <a:pt x="318" y="600"/>
                  <a:pt x="318" y="600"/>
                </a:cubicBezTo>
                <a:cubicBezTo>
                  <a:pt x="318" y="601"/>
                  <a:pt x="318" y="601"/>
                  <a:pt x="318" y="601"/>
                </a:cubicBezTo>
                <a:cubicBezTo>
                  <a:pt x="317" y="602"/>
                  <a:pt x="317" y="602"/>
                  <a:pt x="317" y="602"/>
                </a:cubicBezTo>
                <a:cubicBezTo>
                  <a:pt x="317" y="603"/>
                  <a:pt x="317" y="603"/>
                  <a:pt x="317" y="603"/>
                </a:cubicBezTo>
                <a:cubicBezTo>
                  <a:pt x="317" y="605"/>
                  <a:pt x="317" y="605"/>
                  <a:pt x="317" y="605"/>
                </a:cubicBezTo>
                <a:cubicBezTo>
                  <a:pt x="317" y="607"/>
                  <a:pt x="317" y="607"/>
                  <a:pt x="317" y="607"/>
                </a:cubicBezTo>
                <a:cubicBezTo>
                  <a:pt x="318" y="607"/>
                  <a:pt x="318" y="607"/>
                  <a:pt x="318" y="607"/>
                </a:cubicBezTo>
                <a:cubicBezTo>
                  <a:pt x="318" y="609"/>
                  <a:pt x="318" y="609"/>
                  <a:pt x="318" y="609"/>
                </a:cubicBezTo>
                <a:cubicBezTo>
                  <a:pt x="320" y="610"/>
                  <a:pt x="320" y="610"/>
                  <a:pt x="320" y="610"/>
                </a:cubicBezTo>
                <a:cubicBezTo>
                  <a:pt x="321" y="611"/>
                  <a:pt x="321" y="611"/>
                  <a:pt x="321" y="611"/>
                </a:cubicBezTo>
                <a:cubicBezTo>
                  <a:pt x="321" y="613"/>
                  <a:pt x="321" y="613"/>
                  <a:pt x="321" y="613"/>
                </a:cubicBezTo>
                <a:cubicBezTo>
                  <a:pt x="320" y="614"/>
                  <a:pt x="320" y="614"/>
                  <a:pt x="320" y="614"/>
                </a:cubicBezTo>
                <a:cubicBezTo>
                  <a:pt x="319" y="614"/>
                  <a:pt x="319" y="614"/>
                  <a:pt x="319" y="614"/>
                </a:cubicBezTo>
                <a:cubicBezTo>
                  <a:pt x="319" y="615"/>
                  <a:pt x="319" y="615"/>
                  <a:pt x="319" y="615"/>
                </a:cubicBezTo>
                <a:cubicBezTo>
                  <a:pt x="319" y="617"/>
                  <a:pt x="319" y="617"/>
                  <a:pt x="319" y="617"/>
                </a:cubicBezTo>
                <a:cubicBezTo>
                  <a:pt x="319" y="619"/>
                  <a:pt x="319" y="619"/>
                  <a:pt x="319" y="619"/>
                </a:cubicBezTo>
                <a:cubicBezTo>
                  <a:pt x="319" y="620"/>
                  <a:pt x="319" y="620"/>
                  <a:pt x="319" y="620"/>
                </a:cubicBezTo>
                <a:cubicBezTo>
                  <a:pt x="321" y="621"/>
                  <a:pt x="321" y="621"/>
                  <a:pt x="321" y="621"/>
                </a:cubicBezTo>
                <a:cubicBezTo>
                  <a:pt x="322" y="625"/>
                  <a:pt x="322" y="625"/>
                  <a:pt x="322" y="625"/>
                </a:cubicBezTo>
                <a:cubicBezTo>
                  <a:pt x="324" y="629"/>
                  <a:pt x="324" y="629"/>
                  <a:pt x="324" y="629"/>
                </a:cubicBezTo>
                <a:cubicBezTo>
                  <a:pt x="325" y="631"/>
                  <a:pt x="325" y="631"/>
                  <a:pt x="325" y="631"/>
                </a:cubicBezTo>
                <a:cubicBezTo>
                  <a:pt x="326" y="632"/>
                  <a:pt x="326" y="632"/>
                  <a:pt x="326" y="632"/>
                </a:cubicBezTo>
                <a:cubicBezTo>
                  <a:pt x="326" y="633"/>
                  <a:pt x="326" y="633"/>
                  <a:pt x="326" y="633"/>
                </a:cubicBezTo>
                <a:cubicBezTo>
                  <a:pt x="326" y="633"/>
                  <a:pt x="326" y="633"/>
                  <a:pt x="326" y="633"/>
                </a:cubicBezTo>
                <a:cubicBezTo>
                  <a:pt x="327" y="635"/>
                  <a:pt x="327" y="635"/>
                  <a:pt x="327" y="635"/>
                </a:cubicBezTo>
                <a:cubicBezTo>
                  <a:pt x="328" y="637"/>
                  <a:pt x="328" y="637"/>
                  <a:pt x="328" y="637"/>
                </a:cubicBezTo>
                <a:cubicBezTo>
                  <a:pt x="327" y="640"/>
                  <a:pt x="327" y="640"/>
                  <a:pt x="327" y="640"/>
                </a:cubicBezTo>
                <a:cubicBezTo>
                  <a:pt x="327" y="642"/>
                  <a:pt x="327" y="642"/>
                  <a:pt x="327" y="642"/>
                </a:cubicBezTo>
                <a:cubicBezTo>
                  <a:pt x="326" y="642"/>
                  <a:pt x="326" y="642"/>
                  <a:pt x="326" y="642"/>
                </a:cubicBezTo>
                <a:cubicBezTo>
                  <a:pt x="327" y="644"/>
                  <a:pt x="327" y="644"/>
                  <a:pt x="327" y="644"/>
                </a:cubicBezTo>
                <a:cubicBezTo>
                  <a:pt x="328" y="645"/>
                  <a:pt x="328" y="645"/>
                  <a:pt x="328" y="645"/>
                </a:cubicBezTo>
                <a:cubicBezTo>
                  <a:pt x="331" y="645"/>
                  <a:pt x="331" y="645"/>
                  <a:pt x="331" y="645"/>
                </a:cubicBezTo>
                <a:cubicBezTo>
                  <a:pt x="333" y="645"/>
                  <a:pt x="333" y="645"/>
                  <a:pt x="333" y="645"/>
                </a:cubicBezTo>
                <a:cubicBezTo>
                  <a:pt x="335" y="646"/>
                  <a:pt x="335" y="646"/>
                  <a:pt x="335" y="646"/>
                </a:cubicBezTo>
                <a:cubicBezTo>
                  <a:pt x="337" y="646"/>
                  <a:pt x="337" y="646"/>
                  <a:pt x="337" y="646"/>
                </a:cubicBezTo>
                <a:cubicBezTo>
                  <a:pt x="339" y="646"/>
                  <a:pt x="339" y="646"/>
                  <a:pt x="339" y="646"/>
                </a:cubicBezTo>
                <a:cubicBezTo>
                  <a:pt x="340" y="648"/>
                  <a:pt x="340" y="648"/>
                  <a:pt x="340" y="648"/>
                </a:cubicBezTo>
                <a:cubicBezTo>
                  <a:pt x="340" y="650"/>
                  <a:pt x="340" y="650"/>
                  <a:pt x="340" y="650"/>
                </a:cubicBezTo>
                <a:cubicBezTo>
                  <a:pt x="343" y="651"/>
                  <a:pt x="343" y="651"/>
                  <a:pt x="343" y="651"/>
                </a:cubicBezTo>
                <a:cubicBezTo>
                  <a:pt x="345" y="651"/>
                  <a:pt x="345" y="651"/>
                  <a:pt x="345" y="651"/>
                </a:cubicBezTo>
                <a:cubicBezTo>
                  <a:pt x="347" y="652"/>
                  <a:pt x="347" y="652"/>
                  <a:pt x="347" y="652"/>
                </a:cubicBezTo>
                <a:cubicBezTo>
                  <a:pt x="348" y="653"/>
                  <a:pt x="348" y="653"/>
                  <a:pt x="348" y="653"/>
                </a:cubicBezTo>
                <a:cubicBezTo>
                  <a:pt x="348" y="655"/>
                  <a:pt x="348" y="655"/>
                  <a:pt x="348" y="655"/>
                </a:cubicBezTo>
                <a:cubicBezTo>
                  <a:pt x="348" y="655"/>
                  <a:pt x="348" y="655"/>
                  <a:pt x="348" y="655"/>
                </a:cubicBezTo>
                <a:cubicBezTo>
                  <a:pt x="349" y="655"/>
                  <a:pt x="349" y="655"/>
                  <a:pt x="349" y="655"/>
                </a:cubicBezTo>
                <a:cubicBezTo>
                  <a:pt x="351" y="655"/>
                  <a:pt x="351" y="655"/>
                  <a:pt x="351" y="655"/>
                </a:cubicBezTo>
                <a:cubicBezTo>
                  <a:pt x="353" y="657"/>
                  <a:pt x="353" y="657"/>
                  <a:pt x="353" y="657"/>
                </a:cubicBezTo>
                <a:cubicBezTo>
                  <a:pt x="356" y="662"/>
                  <a:pt x="356" y="662"/>
                  <a:pt x="356" y="662"/>
                </a:cubicBezTo>
                <a:cubicBezTo>
                  <a:pt x="357" y="665"/>
                  <a:pt x="357" y="665"/>
                  <a:pt x="357" y="665"/>
                </a:cubicBezTo>
                <a:cubicBezTo>
                  <a:pt x="356" y="668"/>
                  <a:pt x="356" y="668"/>
                  <a:pt x="356" y="668"/>
                </a:cubicBezTo>
                <a:cubicBezTo>
                  <a:pt x="357" y="670"/>
                  <a:pt x="357" y="670"/>
                  <a:pt x="357" y="670"/>
                </a:cubicBezTo>
                <a:cubicBezTo>
                  <a:pt x="357" y="672"/>
                  <a:pt x="357" y="672"/>
                  <a:pt x="357" y="672"/>
                </a:cubicBezTo>
                <a:cubicBezTo>
                  <a:pt x="358" y="677"/>
                  <a:pt x="358" y="677"/>
                  <a:pt x="358" y="677"/>
                </a:cubicBezTo>
                <a:cubicBezTo>
                  <a:pt x="359" y="679"/>
                  <a:pt x="359" y="679"/>
                  <a:pt x="359" y="679"/>
                </a:cubicBezTo>
                <a:cubicBezTo>
                  <a:pt x="361" y="681"/>
                  <a:pt x="361" y="681"/>
                  <a:pt x="361" y="681"/>
                </a:cubicBezTo>
                <a:cubicBezTo>
                  <a:pt x="360" y="681"/>
                  <a:pt x="360" y="681"/>
                  <a:pt x="360" y="681"/>
                </a:cubicBezTo>
                <a:cubicBezTo>
                  <a:pt x="359" y="683"/>
                  <a:pt x="359" y="683"/>
                  <a:pt x="359" y="683"/>
                </a:cubicBezTo>
                <a:cubicBezTo>
                  <a:pt x="360" y="685"/>
                  <a:pt x="360" y="685"/>
                  <a:pt x="360" y="685"/>
                </a:cubicBezTo>
                <a:cubicBezTo>
                  <a:pt x="363" y="688"/>
                  <a:pt x="363" y="688"/>
                  <a:pt x="363" y="688"/>
                </a:cubicBezTo>
                <a:cubicBezTo>
                  <a:pt x="363" y="689"/>
                  <a:pt x="363" y="689"/>
                  <a:pt x="363" y="689"/>
                </a:cubicBezTo>
                <a:cubicBezTo>
                  <a:pt x="362" y="690"/>
                  <a:pt x="362" y="690"/>
                  <a:pt x="362" y="690"/>
                </a:cubicBezTo>
                <a:cubicBezTo>
                  <a:pt x="363" y="691"/>
                  <a:pt x="363" y="691"/>
                  <a:pt x="363" y="691"/>
                </a:cubicBezTo>
                <a:cubicBezTo>
                  <a:pt x="365" y="693"/>
                  <a:pt x="365" y="693"/>
                  <a:pt x="365" y="693"/>
                </a:cubicBezTo>
                <a:cubicBezTo>
                  <a:pt x="365" y="695"/>
                  <a:pt x="365" y="695"/>
                  <a:pt x="365" y="695"/>
                </a:cubicBezTo>
                <a:cubicBezTo>
                  <a:pt x="364" y="696"/>
                  <a:pt x="364" y="696"/>
                  <a:pt x="364" y="696"/>
                </a:cubicBezTo>
                <a:cubicBezTo>
                  <a:pt x="364" y="698"/>
                  <a:pt x="364" y="698"/>
                  <a:pt x="364" y="698"/>
                </a:cubicBezTo>
                <a:cubicBezTo>
                  <a:pt x="365" y="699"/>
                  <a:pt x="365" y="699"/>
                  <a:pt x="365" y="699"/>
                </a:cubicBezTo>
                <a:cubicBezTo>
                  <a:pt x="366" y="700"/>
                  <a:pt x="366" y="700"/>
                  <a:pt x="366" y="700"/>
                </a:cubicBezTo>
                <a:cubicBezTo>
                  <a:pt x="366" y="704"/>
                  <a:pt x="366" y="704"/>
                  <a:pt x="366" y="704"/>
                </a:cubicBezTo>
                <a:cubicBezTo>
                  <a:pt x="367" y="706"/>
                  <a:pt x="367" y="706"/>
                  <a:pt x="367" y="706"/>
                </a:cubicBezTo>
                <a:cubicBezTo>
                  <a:pt x="369" y="708"/>
                  <a:pt x="369" y="708"/>
                  <a:pt x="369" y="708"/>
                </a:cubicBezTo>
                <a:cubicBezTo>
                  <a:pt x="370" y="708"/>
                  <a:pt x="370" y="708"/>
                  <a:pt x="370" y="708"/>
                </a:cubicBezTo>
                <a:cubicBezTo>
                  <a:pt x="373" y="711"/>
                  <a:pt x="373" y="711"/>
                  <a:pt x="373" y="711"/>
                </a:cubicBezTo>
                <a:cubicBezTo>
                  <a:pt x="374" y="713"/>
                  <a:pt x="374" y="713"/>
                  <a:pt x="374" y="713"/>
                </a:cubicBezTo>
                <a:cubicBezTo>
                  <a:pt x="375" y="715"/>
                  <a:pt x="375" y="715"/>
                  <a:pt x="375" y="715"/>
                </a:cubicBezTo>
                <a:cubicBezTo>
                  <a:pt x="377" y="717"/>
                  <a:pt x="377" y="717"/>
                  <a:pt x="377" y="717"/>
                </a:cubicBezTo>
                <a:cubicBezTo>
                  <a:pt x="378" y="720"/>
                  <a:pt x="378" y="720"/>
                  <a:pt x="378" y="720"/>
                </a:cubicBezTo>
                <a:cubicBezTo>
                  <a:pt x="379" y="720"/>
                  <a:pt x="379" y="720"/>
                  <a:pt x="379" y="720"/>
                </a:cubicBezTo>
                <a:cubicBezTo>
                  <a:pt x="380" y="723"/>
                  <a:pt x="380" y="723"/>
                  <a:pt x="380" y="723"/>
                </a:cubicBezTo>
                <a:cubicBezTo>
                  <a:pt x="379" y="724"/>
                  <a:pt x="379" y="724"/>
                  <a:pt x="379" y="724"/>
                </a:cubicBezTo>
                <a:cubicBezTo>
                  <a:pt x="379" y="725"/>
                  <a:pt x="379" y="725"/>
                  <a:pt x="379" y="725"/>
                </a:cubicBezTo>
                <a:cubicBezTo>
                  <a:pt x="380" y="726"/>
                  <a:pt x="380" y="726"/>
                  <a:pt x="380" y="726"/>
                </a:cubicBezTo>
                <a:cubicBezTo>
                  <a:pt x="379" y="728"/>
                  <a:pt x="379" y="728"/>
                  <a:pt x="379" y="728"/>
                </a:cubicBezTo>
                <a:cubicBezTo>
                  <a:pt x="378" y="728"/>
                  <a:pt x="378" y="728"/>
                  <a:pt x="378" y="728"/>
                </a:cubicBezTo>
                <a:cubicBezTo>
                  <a:pt x="377" y="729"/>
                  <a:pt x="377" y="729"/>
                  <a:pt x="377" y="729"/>
                </a:cubicBezTo>
                <a:cubicBezTo>
                  <a:pt x="377" y="729"/>
                  <a:pt x="377" y="729"/>
                  <a:pt x="377" y="729"/>
                </a:cubicBezTo>
                <a:cubicBezTo>
                  <a:pt x="379" y="729"/>
                  <a:pt x="379" y="729"/>
                  <a:pt x="379" y="729"/>
                </a:cubicBezTo>
                <a:cubicBezTo>
                  <a:pt x="379" y="731"/>
                  <a:pt x="379" y="731"/>
                  <a:pt x="379" y="731"/>
                </a:cubicBezTo>
                <a:cubicBezTo>
                  <a:pt x="378" y="732"/>
                  <a:pt x="378" y="732"/>
                  <a:pt x="378" y="732"/>
                </a:cubicBezTo>
                <a:cubicBezTo>
                  <a:pt x="377" y="731"/>
                  <a:pt x="377" y="731"/>
                  <a:pt x="377" y="731"/>
                </a:cubicBezTo>
                <a:cubicBezTo>
                  <a:pt x="374" y="730"/>
                  <a:pt x="374" y="730"/>
                  <a:pt x="374" y="730"/>
                </a:cubicBezTo>
                <a:cubicBezTo>
                  <a:pt x="373" y="730"/>
                  <a:pt x="373" y="730"/>
                  <a:pt x="373" y="730"/>
                </a:cubicBezTo>
                <a:cubicBezTo>
                  <a:pt x="370" y="730"/>
                  <a:pt x="370" y="730"/>
                  <a:pt x="370" y="730"/>
                </a:cubicBezTo>
                <a:cubicBezTo>
                  <a:pt x="369" y="731"/>
                  <a:pt x="369" y="731"/>
                  <a:pt x="369" y="731"/>
                </a:cubicBezTo>
                <a:cubicBezTo>
                  <a:pt x="371" y="733"/>
                  <a:pt x="371" y="733"/>
                  <a:pt x="371" y="733"/>
                </a:cubicBezTo>
                <a:cubicBezTo>
                  <a:pt x="373" y="734"/>
                  <a:pt x="373" y="734"/>
                  <a:pt x="373" y="734"/>
                </a:cubicBezTo>
                <a:cubicBezTo>
                  <a:pt x="373" y="736"/>
                  <a:pt x="373" y="736"/>
                  <a:pt x="373" y="736"/>
                </a:cubicBezTo>
                <a:cubicBezTo>
                  <a:pt x="374" y="738"/>
                  <a:pt x="374" y="738"/>
                  <a:pt x="374" y="738"/>
                </a:cubicBezTo>
                <a:cubicBezTo>
                  <a:pt x="376" y="738"/>
                  <a:pt x="376" y="738"/>
                  <a:pt x="376" y="738"/>
                </a:cubicBezTo>
                <a:cubicBezTo>
                  <a:pt x="379" y="740"/>
                  <a:pt x="379" y="740"/>
                  <a:pt x="379" y="740"/>
                </a:cubicBezTo>
                <a:cubicBezTo>
                  <a:pt x="379" y="741"/>
                  <a:pt x="379" y="741"/>
                  <a:pt x="379" y="741"/>
                </a:cubicBezTo>
                <a:cubicBezTo>
                  <a:pt x="380" y="741"/>
                  <a:pt x="380" y="741"/>
                  <a:pt x="380" y="741"/>
                </a:cubicBezTo>
                <a:cubicBezTo>
                  <a:pt x="381" y="741"/>
                  <a:pt x="381" y="741"/>
                  <a:pt x="381" y="741"/>
                </a:cubicBezTo>
                <a:cubicBezTo>
                  <a:pt x="381" y="742"/>
                  <a:pt x="381" y="742"/>
                  <a:pt x="381" y="742"/>
                </a:cubicBezTo>
                <a:cubicBezTo>
                  <a:pt x="382" y="743"/>
                  <a:pt x="382" y="743"/>
                  <a:pt x="382" y="743"/>
                </a:cubicBezTo>
                <a:cubicBezTo>
                  <a:pt x="383" y="743"/>
                  <a:pt x="383" y="743"/>
                  <a:pt x="383" y="743"/>
                </a:cubicBezTo>
                <a:cubicBezTo>
                  <a:pt x="384" y="743"/>
                  <a:pt x="384" y="743"/>
                  <a:pt x="384" y="743"/>
                </a:cubicBezTo>
                <a:cubicBezTo>
                  <a:pt x="386" y="741"/>
                  <a:pt x="386" y="741"/>
                  <a:pt x="386" y="741"/>
                </a:cubicBezTo>
                <a:cubicBezTo>
                  <a:pt x="387" y="741"/>
                  <a:pt x="387" y="741"/>
                  <a:pt x="387" y="741"/>
                </a:cubicBezTo>
                <a:cubicBezTo>
                  <a:pt x="386" y="742"/>
                  <a:pt x="386" y="742"/>
                  <a:pt x="386" y="742"/>
                </a:cubicBezTo>
                <a:cubicBezTo>
                  <a:pt x="387" y="746"/>
                  <a:pt x="387" y="746"/>
                  <a:pt x="387" y="746"/>
                </a:cubicBezTo>
                <a:cubicBezTo>
                  <a:pt x="390" y="749"/>
                  <a:pt x="390" y="749"/>
                  <a:pt x="390" y="749"/>
                </a:cubicBezTo>
                <a:cubicBezTo>
                  <a:pt x="392" y="750"/>
                  <a:pt x="392" y="750"/>
                  <a:pt x="392" y="750"/>
                </a:cubicBezTo>
                <a:cubicBezTo>
                  <a:pt x="393" y="749"/>
                  <a:pt x="393" y="749"/>
                  <a:pt x="393" y="749"/>
                </a:cubicBezTo>
                <a:cubicBezTo>
                  <a:pt x="394" y="751"/>
                  <a:pt x="394" y="751"/>
                  <a:pt x="394" y="751"/>
                </a:cubicBezTo>
                <a:cubicBezTo>
                  <a:pt x="395" y="755"/>
                  <a:pt x="395" y="755"/>
                  <a:pt x="395" y="755"/>
                </a:cubicBezTo>
                <a:cubicBezTo>
                  <a:pt x="395" y="759"/>
                  <a:pt x="395" y="759"/>
                  <a:pt x="395" y="759"/>
                </a:cubicBezTo>
                <a:cubicBezTo>
                  <a:pt x="395" y="762"/>
                  <a:pt x="395" y="762"/>
                  <a:pt x="395" y="762"/>
                </a:cubicBezTo>
                <a:cubicBezTo>
                  <a:pt x="393" y="765"/>
                  <a:pt x="393" y="765"/>
                  <a:pt x="393" y="765"/>
                </a:cubicBezTo>
                <a:cubicBezTo>
                  <a:pt x="393" y="767"/>
                  <a:pt x="393" y="767"/>
                  <a:pt x="393" y="767"/>
                </a:cubicBezTo>
                <a:cubicBezTo>
                  <a:pt x="395" y="768"/>
                  <a:pt x="395" y="768"/>
                  <a:pt x="395" y="768"/>
                </a:cubicBezTo>
                <a:cubicBezTo>
                  <a:pt x="396" y="768"/>
                  <a:pt x="396" y="768"/>
                  <a:pt x="396" y="768"/>
                </a:cubicBezTo>
                <a:cubicBezTo>
                  <a:pt x="396" y="769"/>
                  <a:pt x="396" y="769"/>
                  <a:pt x="396" y="769"/>
                </a:cubicBezTo>
                <a:cubicBezTo>
                  <a:pt x="398" y="770"/>
                  <a:pt x="398" y="770"/>
                  <a:pt x="398" y="770"/>
                </a:cubicBezTo>
                <a:cubicBezTo>
                  <a:pt x="399" y="772"/>
                  <a:pt x="399" y="772"/>
                  <a:pt x="399" y="772"/>
                </a:cubicBezTo>
                <a:cubicBezTo>
                  <a:pt x="404" y="776"/>
                  <a:pt x="404" y="776"/>
                  <a:pt x="404" y="776"/>
                </a:cubicBezTo>
                <a:cubicBezTo>
                  <a:pt x="405" y="777"/>
                  <a:pt x="405" y="777"/>
                  <a:pt x="405" y="777"/>
                </a:cubicBezTo>
                <a:cubicBezTo>
                  <a:pt x="406" y="778"/>
                  <a:pt x="406" y="778"/>
                  <a:pt x="406" y="778"/>
                </a:cubicBezTo>
                <a:cubicBezTo>
                  <a:pt x="407" y="780"/>
                  <a:pt x="407" y="780"/>
                  <a:pt x="407" y="780"/>
                </a:cubicBezTo>
                <a:cubicBezTo>
                  <a:pt x="410" y="781"/>
                  <a:pt x="410" y="781"/>
                  <a:pt x="410" y="781"/>
                </a:cubicBezTo>
                <a:cubicBezTo>
                  <a:pt x="411" y="782"/>
                  <a:pt x="411" y="782"/>
                  <a:pt x="411" y="782"/>
                </a:cubicBezTo>
                <a:cubicBezTo>
                  <a:pt x="411" y="785"/>
                  <a:pt x="411" y="785"/>
                  <a:pt x="411" y="785"/>
                </a:cubicBezTo>
                <a:cubicBezTo>
                  <a:pt x="412" y="786"/>
                  <a:pt x="412" y="786"/>
                  <a:pt x="412" y="786"/>
                </a:cubicBezTo>
                <a:cubicBezTo>
                  <a:pt x="412" y="787"/>
                  <a:pt x="412" y="787"/>
                  <a:pt x="412" y="787"/>
                </a:cubicBezTo>
                <a:cubicBezTo>
                  <a:pt x="413" y="789"/>
                  <a:pt x="413" y="789"/>
                  <a:pt x="413" y="789"/>
                </a:cubicBezTo>
                <a:cubicBezTo>
                  <a:pt x="414" y="790"/>
                  <a:pt x="414" y="790"/>
                  <a:pt x="414" y="790"/>
                </a:cubicBezTo>
                <a:cubicBezTo>
                  <a:pt x="417" y="788"/>
                  <a:pt x="417" y="788"/>
                  <a:pt x="417" y="788"/>
                </a:cubicBezTo>
                <a:cubicBezTo>
                  <a:pt x="419" y="785"/>
                  <a:pt x="419" y="785"/>
                  <a:pt x="419" y="785"/>
                </a:cubicBezTo>
                <a:cubicBezTo>
                  <a:pt x="419" y="783"/>
                  <a:pt x="419" y="783"/>
                  <a:pt x="419" y="783"/>
                </a:cubicBezTo>
                <a:cubicBezTo>
                  <a:pt x="418" y="782"/>
                  <a:pt x="418" y="782"/>
                  <a:pt x="418" y="782"/>
                </a:cubicBezTo>
                <a:cubicBezTo>
                  <a:pt x="417" y="780"/>
                  <a:pt x="417" y="780"/>
                  <a:pt x="417" y="780"/>
                </a:cubicBezTo>
                <a:cubicBezTo>
                  <a:pt x="416" y="779"/>
                  <a:pt x="416" y="779"/>
                  <a:pt x="416" y="779"/>
                </a:cubicBezTo>
                <a:cubicBezTo>
                  <a:pt x="416" y="777"/>
                  <a:pt x="416" y="777"/>
                  <a:pt x="416" y="777"/>
                </a:cubicBezTo>
                <a:cubicBezTo>
                  <a:pt x="414" y="776"/>
                  <a:pt x="414" y="776"/>
                  <a:pt x="414" y="776"/>
                </a:cubicBezTo>
                <a:cubicBezTo>
                  <a:pt x="414" y="775"/>
                  <a:pt x="414" y="775"/>
                  <a:pt x="414" y="775"/>
                </a:cubicBezTo>
                <a:cubicBezTo>
                  <a:pt x="413" y="774"/>
                  <a:pt x="413" y="774"/>
                  <a:pt x="413" y="774"/>
                </a:cubicBezTo>
                <a:cubicBezTo>
                  <a:pt x="412" y="773"/>
                  <a:pt x="412" y="773"/>
                  <a:pt x="412" y="773"/>
                </a:cubicBezTo>
                <a:cubicBezTo>
                  <a:pt x="411" y="774"/>
                  <a:pt x="411" y="774"/>
                  <a:pt x="411" y="774"/>
                </a:cubicBezTo>
                <a:cubicBezTo>
                  <a:pt x="411" y="775"/>
                  <a:pt x="411" y="775"/>
                  <a:pt x="411" y="775"/>
                </a:cubicBezTo>
                <a:cubicBezTo>
                  <a:pt x="410" y="776"/>
                  <a:pt x="410" y="776"/>
                  <a:pt x="410" y="776"/>
                </a:cubicBezTo>
                <a:cubicBezTo>
                  <a:pt x="410" y="774"/>
                  <a:pt x="410" y="774"/>
                  <a:pt x="410" y="774"/>
                </a:cubicBezTo>
                <a:cubicBezTo>
                  <a:pt x="409" y="773"/>
                  <a:pt x="409" y="773"/>
                  <a:pt x="409" y="773"/>
                </a:cubicBezTo>
                <a:cubicBezTo>
                  <a:pt x="407" y="771"/>
                  <a:pt x="407" y="771"/>
                  <a:pt x="407" y="771"/>
                </a:cubicBezTo>
                <a:cubicBezTo>
                  <a:pt x="407" y="770"/>
                  <a:pt x="407" y="770"/>
                  <a:pt x="407" y="770"/>
                </a:cubicBezTo>
                <a:cubicBezTo>
                  <a:pt x="408" y="768"/>
                  <a:pt x="408" y="768"/>
                  <a:pt x="408" y="768"/>
                </a:cubicBezTo>
                <a:cubicBezTo>
                  <a:pt x="407" y="766"/>
                  <a:pt x="407" y="766"/>
                  <a:pt x="407" y="766"/>
                </a:cubicBezTo>
                <a:cubicBezTo>
                  <a:pt x="406" y="763"/>
                  <a:pt x="406" y="763"/>
                  <a:pt x="406" y="763"/>
                </a:cubicBezTo>
                <a:cubicBezTo>
                  <a:pt x="406" y="762"/>
                  <a:pt x="406" y="762"/>
                  <a:pt x="406" y="762"/>
                </a:cubicBezTo>
                <a:cubicBezTo>
                  <a:pt x="406" y="761"/>
                  <a:pt x="406" y="761"/>
                  <a:pt x="406" y="761"/>
                </a:cubicBezTo>
                <a:cubicBezTo>
                  <a:pt x="405" y="760"/>
                  <a:pt x="405" y="760"/>
                  <a:pt x="405" y="760"/>
                </a:cubicBezTo>
                <a:cubicBezTo>
                  <a:pt x="405" y="758"/>
                  <a:pt x="405" y="758"/>
                  <a:pt x="405" y="758"/>
                </a:cubicBezTo>
                <a:cubicBezTo>
                  <a:pt x="404" y="757"/>
                  <a:pt x="404" y="757"/>
                  <a:pt x="404" y="757"/>
                </a:cubicBezTo>
                <a:cubicBezTo>
                  <a:pt x="404" y="755"/>
                  <a:pt x="404" y="755"/>
                  <a:pt x="404" y="755"/>
                </a:cubicBezTo>
                <a:cubicBezTo>
                  <a:pt x="404" y="754"/>
                  <a:pt x="404" y="754"/>
                  <a:pt x="404" y="754"/>
                </a:cubicBezTo>
                <a:cubicBezTo>
                  <a:pt x="403" y="751"/>
                  <a:pt x="403" y="751"/>
                  <a:pt x="403" y="751"/>
                </a:cubicBezTo>
                <a:cubicBezTo>
                  <a:pt x="404" y="750"/>
                  <a:pt x="404" y="750"/>
                  <a:pt x="404" y="750"/>
                </a:cubicBezTo>
                <a:cubicBezTo>
                  <a:pt x="403" y="746"/>
                  <a:pt x="403" y="746"/>
                  <a:pt x="403" y="746"/>
                </a:cubicBezTo>
                <a:cubicBezTo>
                  <a:pt x="402" y="744"/>
                  <a:pt x="402" y="744"/>
                  <a:pt x="402" y="744"/>
                </a:cubicBezTo>
                <a:cubicBezTo>
                  <a:pt x="402" y="743"/>
                  <a:pt x="402" y="743"/>
                  <a:pt x="402" y="743"/>
                </a:cubicBezTo>
                <a:cubicBezTo>
                  <a:pt x="401" y="743"/>
                  <a:pt x="401" y="743"/>
                  <a:pt x="401" y="743"/>
                </a:cubicBezTo>
                <a:cubicBezTo>
                  <a:pt x="401" y="743"/>
                  <a:pt x="401" y="743"/>
                  <a:pt x="401" y="743"/>
                </a:cubicBezTo>
                <a:cubicBezTo>
                  <a:pt x="401" y="745"/>
                  <a:pt x="401" y="745"/>
                  <a:pt x="401" y="745"/>
                </a:cubicBezTo>
                <a:cubicBezTo>
                  <a:pt x="400" y="745"/>
                  <a:pt x="400" y="745"/>
                  <a:pt x="400" y="745"/>
                </a:cubicBezTo>
                <a:cubicBezTo>
                  <a:pt x="398" y="742"/>
                  <a:pt x="398" y="742"/>
                  <a:pt x="398" y="742"/>
                </a:cubicBezTo>
                <a:cubicBezTo>
                  <a:pt x="398" y="741"/>
                  <a:pt x="398" y="741"/>
                  <a:pt x="398" y="741"/>
                </a:cubicBezTo>
                <a:cubicBezTo>
                  <a:pt x="399" y="740"/>
                  <a:pt x="399" y="740"/>
                  <a:pt x="399" y="740"/>
                </a:cubicBezTo>
                <a:cubicBezTo>
                  <a:pt x="398" y="739"/>
                  <a:pt x="398" y="739"/>
                  <a:pt x="398" y="739"/>
                </a:cubicBezTo>
                <a:cubicBezTo>
                  <a:pt x="397" y="739"/>
                  <a:pt x="397" y="739"/>
                  <a:pt x="397" y="739"/>
                </a:cubicBezTo>
                <a:cubicBezTo>
                  <a:pt x="397" y="735"/>
                  <a:pt x="397" y="735"/>
                  <a:pt x="397" y="735"/>
                </a:cubicBezTo>
                <a:cubicBezTo>
                  <a:pt x="395" y="732"/>
                  <a:pt x="395" y="732"/>
                  <a:pt x="395" y="732"/>
                </a:cubicBezTo>
                <a:cubicBezTo>
                  <a:pt x="394" y="732"/>
                  <a:pt x="394" y="732"/>
                  <a:pt x="394" y="732"/>
                </a:cubicBezTo>
                <a:cubicBezTo>
                  <a:pt x="392" y="730"/>
                  <a:pt x="392" y="730"/>
                  <a:pt x="392" y="730"/>
                </a:cubicBezTo>
                <a:cubicBezTo>
                  <a:pt x="392" y="727"/>
                  <a:pt x="392" y="727"/>
                  <a:pt x="392" y="727"/>
                </a:cubicBezTo>
                <a:cubicBezTo>
                  <a:pt x="392" y="725"/>
                  <a:pt x="392" y="725"/>
                  <a:pt x="392" y="725"/>
                </a:cubicBezTo>
                <a:cubicBezTo>
                  <a:pt x="391" y="723"/>
                  <a:pt x="391" y="723"/>
                  <a:pt x="391" y="723"/>
                </a:cubicBezTo>
                <a:cubicBezTo>
                  <a:pt x="389" y="722"/>
                  <a:pt x="389" y="722"/>
                  <a:pt x="389" y="722"/>
                </a:cubicBezTo>
                <a:cubicBezTo>
                  <a:pt x="389" y="721"/>
                  <a:pt x="389" y="721"/>
                  <a:pt x="389" y="721"/>
                </a:cubicBezTo>
                <a:cubicBezTo>
                  <a:pt x="388" y="719"/>
                  <a:pt x="388" y="719"/>
                  <a:pt x="388" y="719"/>
                </a:cubicBezTo>
                <a:cubicBezTo>
                  <a:pt x="387" y="718"/>
                  <a:pt x="387" y="718"/>
                  <a:pt x="387" y="718"/>
                </a:cubicBezTo>
                <a:cubicBezTo>
                  <a:pt x="385" y="717"/>
                  <a:pt x="385" y="717"/>
                  <a:pt x="385" y="717"/>
                </a:cubicBezTo>
                <a:cubicBezTo>
                  <a:pt x="385" y="715"/>
                  <a:pt x="385" y="715"/>
                  <a:pt x="385" y="715"/>
                </a:cubicBezTo>
                <a:cubicBezTo>
                  <a:pt x="385" y="714"/>
                  <a:pt x="385" y="714"/>
                  <a:pt x="385" y="714"/>
                </a:cubicBezTo>
                <a:cubicBezTo>
                  <a:pt x="385" y="711"/>
                  <a:pt x="385" y="711"/>
                  <a:pt x="385" y="711"/>
                </a:cubicBezTo>
                <a:cubicBezTo>
                  <a:pt x="382" y="709"/>
                  <a:pt x="382" y="709"/>
                  <a:pt x="382" y="709"/>
                </a:cubicBezTo>
                <a:cubicBezTo>
                  <a:pt x="381" y="708"/>
                  <a:pt x="381" y="708"/>
                  <a:pt x="381" y="708"/>
                </a:cubicBezTo>
                <a:cubicBezTo>
                  <a:pt x="380" y="708"/>
                  <a:pt x="380" y="708"/>
                  <a:pt x="380" y="708"/>
                </a:cubicBezTo>
                <a:cubicBezTo>
                  <a:pt x="380" y="706"/>
                  <a:pt x="380" y="706"/>
                  <a:pt x="380" y="706"/>
                </a:cubicBezTo>
                <a:cubicBezTo>
                  <a:pt x="379" y="703"/>
                  <a:pt x="379" y="703"/>
                  <a:pt x="379" y="703"/>
                </a:cubicBezTo>
                <a:cubicBezTo>
                  <a:pt x="378" y="702"/>
                  <a:pt x="378" y="702"/>
                  <a:pt x="378" y="702"/>
                </a:cubicBezTo>
                <a:cubicBezTo>
                  <a:pt x="378" y="700"/>
                  <a:pt x="378" y="700"/>
                  <a:pt x="378" y="700"/>
                </a:cubicBezTo>
                <a:cubicBezTo>
                  <a:pt x="378" y="693"/>
                  <a:pt x="378" y="693"/>
                  <a:pt x="378" y="693"/>
                </a:cubicBezTo>
                <a:cubicBezTo>
                  <a:pt x="378" y="689"/>
                  <a:pt x="378" y="689"/>
                  <a:pt x="378" y="689"/>
                </a:cubicBezTo>
                <a:cubicBezTo>
                  <a:pt x="378" y="686"/>
                  <a:pt x="378" y="686"/>
                  <a:pt x="378" y="686"/>
                </a:cubicBezTo>
                <a:cubicBezTo>
                  <a:pt x="379" y="683"/>
                  <a:pt x="379" y="683"/>
                  <a:pt x="379" y="683"/>
                </a:cubicBezTo>
                <a:cubicBezTo>
                  <a:pt x="379" y="681"/>
                  <a:pt x="379" y="681"/>
                  <a:pt x="379" y="681"/>
                </a:cubicBezTo>
                <a:cubicBezTo>
                  <a:pt x="378" y="679"/>
                  <a:pt x="378" y="679"/>
                  <a:pt x="378" y="679"/>
                </a:cubicBezTo>
                <a:cubicBezTo>
                  <a:pt x="380" y="681"/>
                  <a:pt x="380" y="681"/>
                  <a:pt x="380" y="681"/>
                </a:cubicBezTo>
                <a:cubicBezTo>
                  <a:pt x="382" y="682"/>
                  <a:pt x="382" y="682"/>
                  <a:pt x="382" y="682"/>
                </a:cubicBezTo>
                <a:cubicBezTo>
                  <a:pt x="384" y="685"/>
                  <a:pt x="384" y="685"/>
                  <a:pt x="384" y="685"/>
                </a:cubicBezTo>
                <a:cubicBezTo>
                  <a:pt x="385" y="686"/>
                  <a:pt x="385" y="686"/>
                  <a:pt x="385" y="686"/>
                </a:cubicBezTo>
                <a:cubicBezTo>
                  <a:pt x="387" y="686"/>
                  <a:pt x="387" y="686"/>
                  <a:pt x="387" y="686"/>
                </a:cubicBezTo>
                <a:cubicBezTo>
                  <a:pt x="388" y="685"/>
                  <a:pt x="388" y="685"/>
                  <a:pt x="388" y="685"/>
                </a:cubicBezTo>
                <a:cubicBezTo>
                  <a:pt x="390" y="687"/>
                  <a:pt x="390" y="687"/>
                  <a:pt x="390" y="687"/>
                </a:cubicBezTo>
                <a:cubicBezTo>
                  <a:pt x="390" y="688"/>
                  <a:pt x="390" y="688"/>
                  <a:pt x="390" y="688"/>
                </a:cubicBezTo>
                <a:cubicBezTo>
                  <a:pt x="392" y="688"/>
                  <a:pt x="392" y="688"/>
                  <a:pt x="392" y="688"/>
                </a:cubicBezTo>
                <a:cubicBezTo>
                  <a:pt x="394" y="689"/>
                  <a:pt x="394" y="689"/>
                  <a:pt x="394" y="689"/>
                </a:cubicBezTo>
                <a:cubicBezTo>
                  <a:pt x="394" y="690"/>
                  <a:pt x="394" y="690"/>
                  <a:pt x="394" y="690"/>
                </a:cubicBezTo>
                <a:cubicBezTo>
                  <a:pt x="393" y="692"/>
                  <a:pt x="393" y="692"/>
                  <a:pt x="393" y="692"/>
                </a:cubicBezTo>
                <a:cubicBezTo>
                  <a:pt x="393" y="694"/>
                  <a:pt x="393" y="694"/>
                  <a:pt x="393" y="694"/>
                </a:cubicBezTo>
                <a:cubicBezTo>
                  <a:pt x="394" y="696"/>
                  <a:pt x="394" y="696"/>
                  <a:pt x="394" y="696"/>
                </a:cubicBezTo>
                <a:cubicBezTo>
                  <a:pt x="395" y="699"/>
                  <a:pt x="395" y="699"/>
                  <a:pt x="395" y="699"/>
                </a:cubicBezTo>
                <a:cubicBezTo>
                  <a:pt x="395" y="701"/>
                  <a:pt x="395" y="701"/>
                  <a:pt x="395" y="701"/>
                </a:cubicBezTo>
                <a:cubicBezTo>
                  <a:pt x="396" y="703"/>
                  <a:pt x="396" y="703"/>
                  <a:pt x="396" y="703"/>
                </a:cubicBezTo>
                <a:cubicBezTo>
                  <a:pt x="395" y="705"/>
                  <a:pt x="395" y="705"/>
                  <a:pt x="395" y="705"/>
                </a:cubicBezTo>
                <a:cubicBezTo>
                  <a:pt x="396" y="707"/>
                  <a:pt x="396" y="707"/>
                  <a:pt x="396" y="707"/>
                </a:cubicBezTo>
                <a:cubicBezTo>
                  <a:pt x="399" y="710"/>
                  <a:pt x="399" y="710"/>
                  <a:pt x="399" y="710"/>
                </a:cubicBezTo>
                <a:cubicBezTo>
                  <a:pt x="398" y="711"/>
                  <a:pt x="398" y="711"/>
                  <a:pt x="398" y="711"/>
                </a:cubicBezTo>
                <a:cubicBezTo>
                  <a:pt x="398" y="712"/>
                  <a:pt x="398" y="712"/>
                  <a:pt x="398" y="712"/>
                </a:cubicBezTo>
                <a:cubicBezTo>
                  <a:pt x="398" y="713"/>
                  <a:pt x="398" y="713"/>
                  <a:pt x="398" y="713"/>
                </a:cubicBezTo>
                <a:cubicBezTo>
                  <a:pt x="399" y="713"/>
                  <a:pt x="399" y="713"/>
                  <a:pt x="399" y="713"/>
                </a:cubicBezTo>
                <a:cubicBezTo>
                  <a:pt x="400" y="714"/>
                  <a:pt x="400" y="714"/>
                  <a:pt x="400" y="714"/>
                </a:cubicBezTo>
                <a:cubicBezTo>
                  <a:pt x="401" y="718"/>
                  <a:pt x="401" y="718"/>
                  <a:pt x="401" y="718"/>
                </a:cubicBezTo>
                <a:cubicBezTo>
                  <a:pt x="402" y="718"/>
                  <a:pt x="402" y="718"/>
                  <a:pt x="402" y="718"/>
                </a:cubicBezTo>
                <a:cubicBezTo>
                  <a:pt x="403" y="720"/>
                  <a:pt x="403" y="720"/>
                  <a:pt x="403" y="720"/>
                </a:cubicBezTo>
                <a:cubicBezTo>
                  <a:pt x="403" y="722"/>
                  <a:pt x="403" y="722"/>
                  <a:pt x="403" y="722"/>
                </a:cubicBezTo>
                <a:cubicBezTo>
                  <a:pt x="404" y="723"/>
                  <a:pt x="404" y="723"/>
                  <a:pt x="404" y="723"/>
                </a:cubicBezTo>
                <a:cubicBezTo>
                  <a:pt x="405" y="724"/>
                  <a:pt x="405" y="724"/>
                  <a:pt x="405" y="724"/>
                </a:cubicBezTo>
                <a:cubicBezTo>
                  <a:pt x="406" y="726"/>
                  <a:pt x="406" y="726"/>
                  <a:pt x="406" y="726"/>
                </a:cubicBezTo>
                <a:cubicBezTo>
                  <a:pt x="407" y="728"/>
                  <a:pt x="407" y="728"/>
                  <a:pt x="407" y="728"/>
                </a:cubicBezTo>
                <a:cubicBezTo>
                  <a:pt x="408" y="729"/>
                  <a:pt x="408" y="729"/>
                  <a:pt x="408" y="729"/>
                </a:cubicBezTo>
                <a:cubicBezTo>
                  <a:pt x="409" y="730"/>
                  <a:pt x="409" y="730"/>
                  <a:pt x="409" y="730"/>
                </a:cubicBezTo>
                <a:cubicBezTo>
                  <a:pt x="410" y="730"/>
                  <a:pt x="410" y="730"/>
                  <a:pt x="410" y="730"/>
                </a:cubicBezTo>
                <a:cubicBezTo>
                  <a:pt x="411" y="730"/>
                  <a:pt x="411" y="730"/>
                  <a:pt x="411" y="730"/>
                </a:cubicBezTo>
                <a:cubicBezTo>
                  <a:pt x="412" y="730"/>
                  <a:pt x="412" y="730"/>
                  <a:pt x="412" y="730"/>
                </a:cubicBezTo>
                <a:cubicBezTo>
                  <a:pt x="413" y="731"/>
                  <a:pt x="413" y="731"/>
                  <a:pt x="413" y="731"/>
                </a:cubicBezTo>
                <a:cubicBezTo>
                  <a:pt x="413" y="733"/>
                  <a:pt x="413" y="733"/>
                  <a:pt x="413" y="733"/>
                </a:cubicBezTo>
                <a:cubicBezTo>
                  <a:pt x="412" y="734"/>
                  <a:pt x="412" y="734"/>
                  <a:pt x="412" y="734"/>
                </a:cubicBezTo>
                <a:cubicBezTo>
                  <a:pt x="413" y="737"/>
                  <a:pt x="413" y="737"/>
                  <a:pt x="413" y="737"/>
                </a:cubicBezTo>
                <a:cubicBezTo>
                  <a:pt x="416" y="740"/>
                  <a:pt x="416" y="740"/>
                  <a:pt x="416" y="740"/>
                </a:cubicBezTo>
                <a:cubicBezTo>
                  <a:pt x="418" y="740"/>
                  <a:pt x="418" y="740"/>
                  <a:pt x="418" y="740"/>
                </a:cubicBezTo>
                <a:cubicBezTo>
                  <a:pt x="419" y="740"/>
                  <a:pt x="419" y="740"/>
                  <a:pt x="419" y="740"/>
                </a:cubicBezTo>
                <a:cubicBezTo>
                  <a:pt x="418" y="742"/>
                  <a:pt x="418" y="742"/>
                  <a:pt x="418" y="742"/>
                </a:cubicBezTo>
                <a:cubicBezTo>
                  <a:pt x="419" y="744"/>
                  <a:pt x="419" y="744"/>
                  <a:pt x="419" y="744"/>
                </a:cubicBezTo>
                <a:cubicBezTo>
                  <a:pt x="421" y="744"/>
                  <a:pt x="421" y="744"/>
                  <a:pt x="421" y="744"/>
                </a:cubicBezTo>
                <a:cubicBezTo>
                  <a:pt x="423" y="744"/>
                  <a:pt x="423" y="744"/>
                  <a:pt x="423" y="744"/>
                </a:cubicBezTo>
                <a:cubicBezTo>
                  <a:pt x="424" y="746"/>
                  <a:pt x="424" y="746"/>
                  <a:pt x="424" y="746"/>
                </a:cubicBezTo>
                <a:cubicBezTo>
                  <a:pt x="425" y="748"/>
                  <a:pt x="425" y="748"/>
                  <a:pt x="425" y="748"/>
                </a:cubicBezTo>
                <a:cubicBezTo>
                  <a:pt x="426" y="749"/>
                  <a:pt x="426" y="749"/>
                  <a:pt x="426" y="749"/>
                </a:cubicBezTo>
                <a:cubicBezTo>
                  <a:pt x="427" y="748"/>
                  <a:pt x="427" y="748"/>
                  <a:pt x="427" y="748"/>
                </a:cubicBezTo>
                <a:cubicBezTo>
                  <a:pt x="427" y="749"/>
                  <a:pt x="427" y="749"/>
                  <a:pt x="427" y="749"/>
                </a:cubicBezTo>
                <a:cubicBezTo>
                  <a:pt x="427" y="750"/>
                  <a:pt x="427" y="750"/>
                  <a:pt x="427" y="750"/>
                </a:cubicBezTo>
                <a:cubicBezTo>
                  <a:pt x="427" y="751"/>
                  <a:pt x="427" y="751"/>
                  <a:pt x="427" y="751"/>
                </a:cubicBezTo>
                <a:cubicBezTo>
                  <a:pt x="426" y="750"/>
                  <a:pt x="426" y="750"/>
                  <a:pt x="426" y="750"/>
                </a:cubicBezTo>
                <a:cubicBezTo>
                  <a:pt x="424" y="750"/>
                  <a:pt x="424" y="750"/>
                  <a:pt x="424" y="750"/>
                </a:cubicBezTo>
                <a:cubicBezTo>
                  <a:pt x="423" y="752"/>
                  <a:pt x="423" y="752"/>
                  <a:pt x="423" y="752"/>
                </a:cubicBezTo>
                <a:cubicBezTo>
                  <a:pt x="422" y="755"/>
                  <a:pt x="422" y="755"/>
                  <a:pt x="422" y="755"/>
                </a:cubicBezTo>
                <a:cubicBezTo>
                  <a:pt x="422" y="757"/>
                  <a:pt x="422" y="757"/>
                  <a:pt x="422" y="757"/>
                </a:cubicBezTo>
                <a:cubicBezTo>
                  <a:pt x="424" y="758"/>
                  <a:pt x="424" y="758"/>
                  <a:pt x="424" y="758"/>
                </a:cubicBezTo>
                <a:cubicBezTo>
                  <a:pt x="425" y="758"/>
                  <a:pt x="425" y="758"/>
                  <a:pt x="425" y="758"/>
                </a:cubicBezTo>
                <a:cubicBezTo>
                  <a:pt x="427" y="759"/>
                  <a:pt x="427" y="759"/>
                  <a:pt x="427" y="759"/>
                </a:cubicBezTo>
                <a:cubicBezTo>
                  <a:pt x="431" y="762"/>
                  <a:pt x="431" y="762"/>
                  <a:pt x="431" y="762"/>
                </a:cubicBezTo>
                <a:cubicBezTo>
                  <a:pt x="433" y="763"/>
                  <a:pt x="433" y="763"/>
                  <a:pt x="433" y="763"/>
                </a:cubicBezTo>
                <a:cubicBezTo>
                  <a:pt x="434" y="763"/>
                  <a:pt x="434" y="763"/>
                  <a:pt x="434" y="763"/>
                </a:cubicBezTo>
                <a:cubicBezTo>
                  <a:pt x="435" y="764"/>
                  <a:pt x="435" y="764"/>
                  <a:pt x="435" y="764"/>
                </a:cubicBezTo>
                <a:cubicBezTo>
                  <a:pt x="435" y="766"/>
                  <a:pt x="435" y="766"/>
                  <a:pt x="435" y="766"/>
                </a:cubicBezTo>
                <a:cubicBezTo>
                  <a:pt x="436" y="767"/>
                  <a:pt x="436" y="767"/>
                  <a:pt x="436" y="767"/>
                </a:cubicBezTo>
                <a:cubicBezTo>
                  <a:pt x="435" y="769"/>
                  <a:pt x="435" y="769"/>
                  <a:pt x="435" y="769"/>
                </a:cubicBezTo>
                <a:cubicBezTo>
                  <a:pt x="434" y="770"/>
                  <a:pt x="434" y="770"/>
                  <a:pt x="434" y="770"/>
                </a:cubicBezTo>
                <a:cubicBezTo>
                  <a:pt x="434" y="770"/>
                  <a:pt x="434" y="770"/>
                  <a:pt x="434" y="770"/>
                </a:cubicBezTo>
                <a:cubicBezTo>
                  <a:pt x="436" y="771"/>
                  <a:pt x="436" y="771"/>
                  <a:pt x="436" y="771"/>
                </a:cubicBezTo>
                <a:cubicBezTo>
                  <a:pt x="439" y="773"/>
                  <a:pt x="439" y="773"/>
                  <a:pt x="439" y="773"/>
                </a:cubicBezTo>
                <a:cubicBezTo>
                  <a:pt x="439" y="774"/>
                  <a:pt x="439" y="774"/>
                  <a:pt x="439" y="774"/>
                </a:cubicBezTo>
                <a:cubicBezTo>
                  <a:pt x="440" y="774"/>
                  <a:pt x="440" y="774"/>
                  <a:pt x="440" y="774"/>
                </a:cubicBezTo>
                <a:cubicBezTo>
                  <a:pt x="443" y="777"/>
                  <a:pt x="443" y="777"/>
                  <a:pt x="443" y="777"/>
                </a:cubicBezTo>
                <a:cubicBezTo>
                  <a:pt x="446" y="781"/>
                  <a:pt x="446" y="781"/>
                  <a:pt x="446" y="781"/>
                </a:cubicBezTo>
                <a:cubicBezTo>
                  <a:pt x="448" y="785"/>
                  <a:pt x="448" y="785"/>
                  <a:pt x="448" y="785"/>
                </a:cubicBezTo>
                <a:cubicBezTo>
                  <a:pt x="451" y="788"/>
                  <a:pt x="451" y="788"/>
                  <a:pt x="451" y="788"/>
                </a:cubicBezTo>
                <a:cubicBezTo>
                  <a:pt x="451" y="790"/>
                  <a:pt x="451" y="790"/>
                  <a:pt x="451" y="790"/>
                </a:cubicBezTo>
                <a:cubicBezTo>
                  <a:pt x="455" y="795"/>
                  <a:pt x="455" y="795"/>
                  <a:pt x="455" y="795"/>
                </a:cubicBezTo>
                <a:cubicBezTo>
                  <a:pt x="455" y="797"/>
                  <a:pt x="455" y="797"/>
                  <a:pt x="455" y="797"/>
                </a:cubicBezTo>
                <a:cubicBezTo>
                  <a:pt x="455" y="799"/>
                  <a:pt x="455" y="799"/>
                  <a:pt x="455" y="799"/>
                </a:cubicBezTo>
                <a:cubicBezTo>
                  <a:pt x="455" y="800"/>
                  <a:pt x="455" y="800"/>
                  <a:pt x="455" y="800"/>
                </a:cubicBezTo>
                <a:cubicBezTo>
                  <a:pt x="457" y="803"/>
                  <a:pt x="457" y="803"/>
                  <a:pt x="457" y="803"/>
                </a:cubicBezTo>
                <a:cubicBezTo>
                  <a:pt x="459" y="809"/>
                  <a:pt x="459" y="809"/>
                  <a:pt x="459" y="809"/>
                </a:cubicBezTo>
                <a:cubicBezTo>
                  <a:pt x="459" y="811"/>
                  <a:pt x="459" y="811"/>
                  <a:pt x="459" y="811"/>
                </a:cubicBezTo>
                <a:cubicBezTo>
                  <a:pt x="458" y="813"/>
                  <a:pt x="458" y="813"/>
                  <a:pt x="458" y="813"/>
                </a:cubicBezTo>
                <a:cubicBezTo>
                  <a:pt x="455" y="815"/>
                  <a:pt x="455" y="815"/>
                  <a:pt x="455" y="815"/>
                </a:cubicBezTo>
                <a:cubicBezTo>
                  <a:pt x="455" y="816"/>
                  <a:pt x="455" y="816"/>
                  <a:pt x="455" y="816"/>
                </a:cubicBezTo>
                <a:cubicBezTo>
                  <a:pt x="456" y="816"/>
                  <a:pt x="456" y="816"/>
                  <a:pt x="456" y="816"/>
                </a:cubicBezTo>
                <a:cubicBezTo>
                  <a:pt x="457" y="817"/>
                  <a:pt x="457" y="817"/>
                  <a:pt x="457" y="817"/>
                </a:cubicBezTo>
                <a:cubicBezTo>
                  <a:pt x="456" y="818"/>
                  <a:pt x="456" y="818"/>
                  <a:pt x="456" y="818"/>
                </a:cubicBezTo>
                <a:cubicBezTo>
                  <a:pt x="454" y="818"/>
                  <a:pt x="454" y="818"/>
                  <a:pt x="454" y="818"/>
                </a:cubicBezTo>
                <a:cubicBezTo>
                  <a:pt x="453" y="819"/>
                  <a:pt x="453" y="819"/>
                  <a:pt x="453" y="819"/>
                </a:cubicBezTo>
                <a:cubicBezTo>
                  <a:pt x="453" y="820"/>
                  <a:pt x="453" y="820"/>
                  <a:pt x="453" y="820"/>
                </a:cubicBezTo>
                <a:cubicBezTo>
                  <a:pt x="454" y="823"/>
                  <a:pt x="454" y="823"/>
                  <a:pt x="454" y="823"/>
                </a:cubicBezTo>
                <a:cubicBezTo>
                  <a:pt x="456" y="825"/>
                  <a:pt x="456" y="825"/>
                  <a:pt x="456" y="825"/>
                </a:cubicBezTo>
                <a:cubicBezTo>
                  <a:pt x="456" y="826"/>
                  <a:pt x="456" y="826"/>
                  <a:pt x="456" y="826"/>
                </a:cubicBezTo>
                <a:cubicBezTo>
                  <a:pt x="458" y="829"/>
                  <a:pt x="458" y="829"/>
                  <a:pt x="458" y="829"/>
                </a:cubicBezTo>
                <a:cubicBezTo>
                  <a:pt x="458" y="831"/>
                  <a:pt x="458" y="831"/>
                  <a:pt x="458" y="831"/>
                </a:cubicBezTo>
                <a:cubicBezTo>
                  <a:pt x="459" y="832"/>
                  <a:pt x="459" y="832"/>
                  <a:pt x="459" y="832"/>
                </a:cubicBezTo>
                <a:cubicBezTo>
                  <a:pt x="461" y="832"/>
                  <a:pt x="461" y="832"/>
                  <a:pt x="461" y="832"/>
                </a:cubicBezTo>
                <a:cubicBezTo>
                  <a:pt x="461" y="833"/>
                  <a:pt x="461" y="833"/>
                  <a:pt x="461" y="833"/>
                </a:cubicBezTo>
                <a:cubicBezTo>
                  <a:pt x="465" y="834"/>
                  <a:pt x="465" y="834"/>
                  <a:pt x="465" y="834"/>
                </a:cubicBezTo>
                <a:cubicBezTo>
                  <a:pt x="467" y="833"/>
                  <a:pt x="467" y="833"/>
                  <a:pt x="467" y="833"/>
                </a:cubicBezTo>
                <a:cubicBezTo>
                  <a:pt x="468" y="834"/>
                  <a:pt x="468" y="834"/>
                  <a:pt x="468" y="834"/>
                </a:cubicBezTo>
                <a:cubicBezTo>
                  <a:pt x="467" y="835"/>
                  <a:pt x="467" y="835"/>
                  <a:pt x="467" y="835"/>
                </a:cubicBezTo>
                <a:cubicBezTo>
                  <a:pt x="467" y="836"/>
                  <a:pt x="467" y="836"/>
                  <a:pt x="467" y="836"/>
                </a:cubicBezTo>
                <a:cubicBezTo>
                  <a:pt x="469" y="837"/>
                  <a:pt x="469" y="837"/>
                  <a:pt x="469" y="837"/>
                </a:cubicBezTo>
                <a:cubicBezTo>
                  <a:pt x="472" y="839"/>
                  <a:pt x="472" y="839"/>
                  <a:pt x="472" y="839"/>
                </a:cubicBezTo>
                <a:cubicBezTo>
                  <a:pt x="474" y="842"/>
                  <a:pt x="474" y="842"/>
                  <a:pt x="474" y="842"/>
                </a:cubicBezTo>
                <a:cubicBezTo>
                  <a:pt x="475" y="844"/>
                  <a:pt x="475" y="844"/>
                  <a:pt x="475" y="844"/>
                </a:cubicBezTo>
                <a:cubicBezTo>
                  <a:pt x="477" y="845"/>
                  <a:pt x="477" y="845"/>
                  <a:pt x="477" y="845"/>
                </a:cubicBezTo>
                <a:cubicBezTo>
                  <a:pt x="478" y="845"/>
                  <a:pt x="478" y="845"/>
                  <a:pt x="478" y="845"/>
                </a:cubicBezTo>
                <a:cubicBezTo>
                  <a:pt x="480" y="845"/>
                  <a:pt x="480" y="845"/>
                  <a:pt x="480" y="845"/>
                </a:cubicBezTo>
                <a:cubicBezTo>
                  <a:pt x="481" y="846"/>
                  <a:pt x="481" y="846"/>
                  <a:pt x="481" y="846"/>
                </a:cubicBezTo>
                <a:cubicBezTo>
                  <a:pt x="485" y="847"/>
                  <a:pt x="485" y="847"/>
                  <a:pt x="485" y="847"/>
                </a:cubicBezTo>
                <a:cubicBezTo>
                  <a:pt x="487" y="847"/>
                  <a:pt x="487" y="847"/>
                  <a:pt x="487" y="847"/>
                </a:cubicBezTo>
                <a:cubicBezTo>
                  <a:pt x="487" y="846"/>
                  <a:pt x="487" y="846"/>
                  <a:pt x="487" y="846"/>
                </a:cubicBezTo>
                <a:cubicBezTo>
                  <a:pt x="488" y="846"/>
                  <a:pt x="488" y="846"/>
                  <a:pt x="488" y="846"/>
                </a:cubicBezTo>
                <a:cubicBezTo>
                  <a:pt x="489" y="847"/>
                  <a:pt x="489" y="847"/>
                  <a:pt x="489" y="847"/>
                </a:cubicBezTo>
                <a:cubicBezTo>
                  <a:pt x="494" y="852"/>
                  <a:pt x="494" y="852"/>
                  <a:pt x="494" y="852"/>
                </a:cubicBezTo>
                <a:cubicBezTo>
                  <a:pt x="496" y="853"/>
                  <a:pt x="496" y="853"/>
                  <a:pt x="496" y="853"/>
                </a:cubicBezTo>
                <a:cubicBezTo>
                  <a:pt x="499" y="855"/>
                  <a:pt x="499" y="855"/>
                  <a:pt x="499" y="855"/>
                </a:cubicBezTo>
                <a:cubicBezTo>
                  <a:pt x="503" y="857"/>
                  <a:pt x="503" y="857"/>
                  <a:pt x="503" y="857"/>
                </a:cubicBezTo>
                <a:cubicBezTo>
                  <a:pt x="508" y="858"/>
                  <a:pt x="508" y="858"/>
                  <a:pt x="508" y="858"/>
                </a:cubicBezTo>
                <a:cubicBezTo>
                  <a:pt x="510" y="859"/>
                  <a:pt x="510" y="859"/>
                  <a:pt x="510" y="859"/>
                </a:cubicBezTo>
                <a:cubicBezTo>
                  <a:pt x="512" y="861"/>
                  <a:pt x="512" y="861"/>
                  <a:pt x="512" y="861"/>
                </a:cubicBezTo>
                <a:cubicBezTo>
                  <a:pt x="514" y="861"/>
                  <a:pt x="514" y="861"/>
                  <a:pt x="514" y="861"/>
                </a:cubicBezTo>
                <a:cubicBezTo>
                  <a:pt x="517" y="863"/>
                  <a:pt x="517" y="863"/>
                  <a:pt x="517" y="863"/>
                </a:cubicBezTo>
                <a:cubicBezTo>
                  <a:pt x="519" y="862"/>
                  <a:pt x="519" y="862"/>
                  <a:pt x="519" y="862"/>
                </a:cubicBezTo>
                <a:cubicBezTo>
                  <a:pt x="519" y="863"/>
                  <a:pt x="519" y="863"/>
                  <a:pt x="519" y="863"/>
                </a:cubicBezTo>
                <a:cubicBezTo>
                  <a:pt x="521" y="865"/>
                  <a:pt x="521" y="865"/>
                  <a:pt x="521" y="865"/>
                </a:cubicBezTo>
                <a:cubicBezTo>
                  <a:pt x="523" y="866"/>
                  <a:pt x="523" y="866"/>
                  <a:pt x="523" y="866"/>
                </a:cubicBezTo>
                <a:cubicBezTo>
                  <a:pt x="525" y="866"/>
                  <a:pt x="525" y="866"/>
                  <a:pt x="525" y="866"/>
                </a:cubicBezTo>
                <a:cubicBezTo>
                  <a:pt x="526" y="866"/>
                  <a:pt x="526" y="866"/>
                  <a:pt x="526" y="866"/>
                </a:cubicBezTo>
                <a:cubicBezTo>
                  <a:pt x="527" y="867"/>
                  <a:pt x="527" y="867"/>
                  <a:pt x="527" y="867"/>
                </a:cubicBezTo>
                <a:cubicBezTo>
                  <a:pt x="531" y="869"/>
                  <a:pt x="531" y="869"/>
                  <a:pt x="531" y="869"/>
                </a:cubicBezTo>
                <a:cubicBezTo>
                  <a:pt x="535" y="869"/>
                  <a:pt x="535" y="869"/>
                  <a:pt x="535" y="869"/>
                </a:cubicBezTo>
                <a:cubicBezTo>
                  <a:pt x="537" y="870"/>
                  <a:pt x="537" y="870"/>
                  <a:pt x="537" y="870"/>
                </a:cubicBezTo>
                <a:cubicBezTo>
                  <a:pt x="542" y="872"/>
                  <a:pt x="542" y="872"/>
                  <a:pt x="542" y="872"/>
                </a:cubicBezTo>
                <a:cubicBezTo>
                  <a:pt x="544" y="872"/>
                  <a:pt x="544" y="872"/>
                  <a:pt x="544" y="872"/>
                </a:cubicBezTo>
                <a:cubicBezTo>
                  <a:pt x="550" y="869"/>
                  <a:pt x="550" y="869"/>
                  <a:pt x="550" y="869"/>
                </a:cubicBezTo>
                <a:cubicBezTo>
                  <a:pt x="552" y="869"/>
                  <a:pt x="552" y="869"/>
                  <a:pt x="552" y="869"/>
                </a:cubicBezTo>
                <a:cubicBezTo>
                  <a:pt x="555" y="868"/>
                  <a:pt x="555" y="868"/>
                  <a:pt x="555" y="868"/>
                </a:cubicBezTo>
                <a:cubicBezTo>
                  <a:pt x="557" y="867"/>
                  <a:pt x="557" y="867"/>
                  <a:pt x="557" y="867"/>
                </a:cubicBezTo>
                <a:cubicBezTo>
                  <a:pt x="559" y="867"/>
                  <a:pt x="559" y="867"/>
                  <a:pt x="559" y="867"/>
                </a:cubicBezTo>
                <a:cubicBezTo>
                  <a:pt x="560" y="867"/>
                  <a:pt x="560" y="867"/>
                  <a:pt x="560" y="867"/>
                </a:cubicBezTo>
                <a:cubicBezTo>
                  <a:pt x="560" y="866"/>
                  <a:pt x="560" y="866"/>
                  <a:pt x="560" y="866"/>
                </a:cubicBezTo>
                <a:cubicBezTo>
                  <a:pt x="558" y="866"/>
                  <a:pt x="558" y="866"/>
                  <a:pt x="558" y="866"/>
                </a:cubicBezTo>
                <a:cubicBezTo>
                  <a:pt x="557" y="866"/>
                  <a:pt x="557" y="866"/>
                  <a:pt x="557" y="866"/>
                </a:cubicBezTo>
                <a:cubicBezTo>
                  <a:pt x="557" y="865"/>
                  <a:pt x="557" y="865"/>
                  <a:pt x="557" y="865"/>
                </a:cubicBezTo>
                <a:cubicBezTo>
                  <a:pt x="559" y="864"/>
                  <a:pt x="559" y="864"/>
                  <a:pt x="559" y="864"/>
                </a:cubicBezTo>
                <a:cubicBezTo>
                  <a:pt x="560" y="864"/>
                  <a:pt x="560" y="864"/>
                  <a:pt x="560" y="864"/>
                </a:cubicBezTo>
                <a:cubicBezTo>
                  <a:pt x="560" y="865"/>
                  <a:pt x="560" y="865"/>
                  <a:pt x="560" y="865"/>
                </a:cubicBezTo>
                <a:cubicBezTo>
                  <a:pt x="561" y="865"/>
                  <a:pt x="561" y="865"/>
                  <a:pt x="561" y="865"/>
                </a:cubicBezTo>
                <a:cubicBezTo>
                  <a:pt x="562" y="865"/>
                  <a:pt x="562" y="865"/>
                  <a:pt x="562" y="865"/>
                </a:cubicBezTo>
                <a:cubicBezTo>
                  <a:pt x="562" y="866"/>
                  <a:pt x="562" y="866"/>
                  <a:pt x="562" y="866"/>
                </a:cubicBezTo>
                <a:cubicBezTo>
                  <a:pt x="561" y="866"/>
                  <a:pt x="561" y="866"/>
                  <a:pt x="561" y="866"/>
                </a:cubicBezTo>
                <a:cubicBezTo>
                  <a:pt x="561" y="866"/>
                  <a:pt x="561" y="866"/>
                  <a:pt x="561" y="866"/>
                </a:cubicBezTo>
                <a:cubicBezTo>
                  <a:pt x="561" y="866"/>
                  <a:pt x="561" y="866"/>
                  <a:pt x="561" y="866"/>
                </a:cubicBezTo>
                <a:cubicBezTo>
                  <a:pt x="563" y="866"/>
                  <a:pt x="563" y="866"/>
                  <a:pt x="563" y="866"/>
                </a:cubicBezTo>
                <a:cubicBezTo>
                  <a:pt x="565" y="867"/>
                  <a:pt x="565" y="867"/>
                  <a:pt x="565" y="867"/>
                </a:cubicBezTo>
                <a:cubicBezTo>
                  <a:pt x="568" y="869"/>
                  <a:pt x="568" y="869"/>
                  <a:pt x="568" y="869"/>
                </a:cubicBezTo>
                <a:cubicBezTo>
                  <a:pt x="569" y="870"/>
                  <a:pt x="569" y="870"/>
                  <a:pt x="569" y="870"/>
                </a:cubicBezTo>
                <a:cubicBezTo>
                  <a:pt x="569" y="870"/>
                  <a:pt x="569" y="870"/>
                  <a:pt x="569" y="870"/>
                </a:cubicBezTo>
                <a:cubicBezTo>
                  <a:pt x="567" y="867"/>
                  <a:pt x="567" y="867"/>
                  <a:pt x="567" y="867"/>
                </a:cubicBezTo>
                <a:cubicBezTo>
                  <a:pt x="564" y="866"/>
                  <a:pt x="564" y="866"/>
                  <a:pt x="564" y="866"/>
                </a:cubicBezTo>
                <a:cubicBezTo>
                  <a:pt x="563" y="865"/>
                  <a:pt x="563" y="865"/>
                  <a:pt x="563" y="865"/>
                </a:cubicBezTo>
                <a:cubicBezTo>
                  <a:pt x="564" y="865"/>
                  <a:pt x="564" y="865"/>
                  <a:pt x="564" y="865"/>
                </a:cubicBezTo>
                <a:cubicBezTo>
                  <a:pt x="564" y="866"/>
                  <a:pt x="564" y="866"/>
                  <a:pt x="564" y="866"/>
                </a:cubicBezTo>
                <a:cubicBezTo>
                  <a:pt x="566" y="866"/>
                  <a:pt x="566" y="866"/>
                  <a:pt x="566" y="866"/>
                </a:cubicBezTo>
                <a:cubicBezTo>
                  <a:pt x="568" y="868"/>
                  <a:pt x="568" y="868"/>
                  <a:pt x="568" y="868"/>
                </a:cubicBezTo>
                <a:cubicBezTo>
                  <a:pt x="570" y="870"/>
                  <a:pt x="570" y="870"/>
                  <a:pt x="570" y="870"/>
                </a:cubicBezTo>
                <a:cubicBezTo>
                  <a:pt x="570" y="871"/>
                  <a:pt x="570" y="871"/>
                  <a:pt x="570" y="871"/>
                </a:cubicBezTo>
                <a:cubicBezTo>
                  <a:pt x="571" y="872"/>
                  <a:pt x="571" y="872"/>
                  <a:pt x="571" y="872"/>
                </a:cubicBezTo>
                <a:cubicBezTo>
                  <a:pt x="578" y="878"/>
                  <a:pt x="578" y="878"/>
                  <a:pt x="578" y="878"/>
                </a:cubicBezTo>
                <a:cubicBezTo>
                  <a:pt x="580" y="878"/>
                  <a:pt x="580" y="878"/>
                  <a:pt x="580" y="878"/>
                </a:cubicBezTo>
                <a:cubicBezTo>
                  <a:pt x="580" y="879"/>
                  <a:pt x="580" y="879"/>
                  <a:pt x="580" y="879"/>
                </a:cubicBezTo>
                <a:cubicBezTo>
                  <a:pt x="583" y="882"/>
                  <a:pt x="583" y="882"/>
                  <a:pt x="583" y="882"/>
                </a:cubicBezTo>
                <a:cubicBezTo>
                  <a:pt x="585" y="884"/>
                  <a:pt x="585" y="884"/>
                  <a:pt x="585" y="884"/>
                </a:cubicBezTo>
                <a:cubicBezTo>
                  <a:pt x="586" y="886"/>
                  <a:pt x="586" y="886"/>
                  <a:pt x="586" y="886"/>
                </a:cubicBezTo>
                <a:cubicBezTo>
                  <a:pt x="588" y="888"/>
                  <a:pt x="588" y="888"/>
                  <a:pt x="588" y="888"/>
                </a:cubicBezTo>
                <a:cubicBezTo>
                  <a:pt x="589" y="888"/>
                  <a:pt x="589" y="888"/>
                  <a:pt x="589" y="888"/>
                </a:cubicBezTo>
                <a:cubicBezTo>
                  <a:pt x="591" y="889"/>
                  <a:pt x="591" y="889"/>
                  <a:pt x="591" y="889"/>
                </a:cubicBezTo>
                <a:cubicBezTo>
                  <a:pt x="596" y="891"/>
                  <a:pt x="596" y="891"/>
                  <a:pt x="596" y="891"/>
                </a:cubicBezTo>
                <a:cubicBezTo>
                  <a:pt x="599" y="892"/>
                  <a:pt x="599" y="892"/>
                  <a:pt x="599" y="892"/>
                </a:cubicBezTo>
                <a:cubicBezTo>
                  <a:pt x="601" y="891"/>
                  <a:pt x="601" y="891"/>
                  <a:pt x="601" y="891"/>
                </a:cubicBezTo>
                <a:cubicBezTo>
                  <a:pt x="605" y="893"/>
                  <a:pt x="605" y="893"/>
                  <a:pt x="605" y="893"/>
                </a:cubicBezTo>
                <a:cubicBezTo>
                  <a:pt x="606" y="893"/>
                  <a:pt x="606" y="893"/>
                  <a:pt x="606" y="893"/>
                </a:cubicBezTo>
                <a:cubicBezTo>
                  <a:pt x="608" y="893"/>
                  <a:pt x="608" y="893"/>
                  <a:pt x="608" y="893"/>
                </a:cubicBezTo>
                <a:cubicBezTo>
                  <a:pt x="610" y="894"/>
                  <a:pt x="610" y="894"/>
                  <a:pt x="610" y="894"/>
                </a:cubicBezTo>
                <a:cubicBezTo>
                  <a:pt x="612" y="895"/>
                  <a:pt x="612" y="895"/>
                  <a:pt x="612" y="895"/>
                </a:cubicBezTo>
                <a:cubicBezTo>
                  <a:pt x="613" y="895"/>
                  <a:pt x="613" y="895"/>
                  <a:pt x="613" y="895"/>
                </a:cubicBezTo>
                <a:cubicBezTo>
                  <a:pt x="617" y="896"/>
                  <a:pt x="617" y="896"/>
                  <a:pt x="617" y="896"/>
                </a:cubicBezTo>
                <a:cubicBezTo>
                  <a:pt x="620" y="898"/>
                  <a:pt x="620" y="898"/>
                  <a:pt x="620" y="898"/>
                </a:cubicBezTo>
                <a:cubicBezTo>
                  <a:pt x="620" y="897"/>
                  <a:pt x="620" y="897"/>
                  <a:pt x="620" y="897"/>
                </a:cubicBezTo>
                <a:cubicBezTo>
                  <a:pt x="619" y="896"/>
                  <a:pt x="619" y="896"/>
                  <a:pt x="619" y="896"/>
                </a:cubicBezTo>
                <a:cubicBezTo>
                  <a:pt x="620" y="896"/>
                  <a:pt x="620" y="896"/>
                  <a:pt x="620" y="896"/>
                </a:cubicBezTo>
                <a:cubicBezTo>
                  <a:pt x="621" y="896"/>
                  <a:pt x="621" y="896"/>
                  <a:pt x="621" y="896"/>
                </a:cubicBezTo>
                <a:cubicBezTo>
                  <a:pt x="623" y="898"/>
                  <a:pt x="623" y="898"/>
                  <a:pt x="623" y="898"/>
                </a:cubicBezTo>
                <a:cubicBezTo>
                  <a:pt x="624" y="899"/>
                  <a:pt x="624" y="899"/>
                  <a:pt x="624" y="899"/>
                </a:cubicBezTo>
                <a:cubicBezTo>
                  <a:pt x="629" y="899"/>
                  <a:pt x="629" y="899"/>
                  <a:pt x="629" y="899"/>
                </a:cubicBezTo>
                <a:cubicBezTo>
                  <a:pt x="630" y="897"/>
                  <a:pt x="630" y="897"/>
                  <a:pt x="630" y="897"/>
                </a:cubicBezTo>
                <a:cubicBezTo>
                  <a:pt x="629" y="896"/>
                  <a:pt x="629" y="896"/>
                  <a:pt x="629" y="896"/>
                </a:cubicBezTo>
                <a:cubicBezTo>
                  <a:pt x="630" y="896"/>
                  <a:pt x="630" y="896"/>
                  <a:pt x="630" y="896"/>
                </a:cubicBezTo>
                <a:cubicBezTo>
                  <a:pt x="630" y="896"/>
                  <a:pt x="630" y="896"/>
                  <a:pt x="630" y="896"/>
                </a:cubicBezTo>
                <a:cubicBezTo>
                  <a:pt x="631" y="896"/>
                  <a:pt x="631" y="896"/>
                  <a:pt x="631" y="896"/>
                </a:cubicBezTo>
                <a:cubicBezTo>
                  <a:pt x="632" y="897"/>
                  <a:pt x="632" y="897"/>
                  <a:pt x="632" y="897"/>
                </a:cubicBezTo>
                <a:cubicBezTo>
                  <a:pt x="633" y="897"/>
                  <a:pt x="633" y="897"/>
                  <a:pt x="633" y="897"/>
                </a:cubicBezTo>
                <a:cubicBezTo>
                  <a:pt x="633" y="896"/>
                  <a:pt x="633" y="896"/>
                  <a:pt x="633" y="896"/>
                </a:cubicBezTo>
                <a:cubicBezTo>
                  <a:pt x="634" y="897"/>
                  <a:pt x="634" y="897"/>
                  <a:pt x="634" y="897"/>
                </a:cubicBezTo>
                <a:cubicBezTo>
                  <a:pt x="634" y="898"/>
                  <a:pt x="634" y="898"/>
                  <a:pt x="634" y="898"/>
                </a:cubicBezTo>
                <a:cubicBezTo>
                  <a:pt x="634" y="899"/>
                  <a:pt x="634" y="899"/>
                  <a:pt x="634" y="899"/>
                </a:cubicBezTo>
                <a:cubicBezTo>
                  <a:pt x="634" y="899"/>
                  <a:pt x="634" y="899"/>
                  <a:pt x="634" y="899"/>
                </a:cubicBezTo>
                <a:cubicBezTo>
                  <a:pt x="634" y="900"/>
                  <a:pt x="634" y="900"/>
                  <a:pt x="634" y="900"/>
                </a:cubicBezTo>
                <a:cubicBezTo>
                  <a:pt x="633" y="900"/>
                  <a:pt x="633" y="900"/>
                  <a:pt x="633" y="900"/>
                </a:cubicBezTo>
                <a:cubicBezTo>
                  <a:pt x="632" y="900"/>
                  <a:pt x="632" y="900"/>
                  <a:pt x="632" y="900"/>
                </a:cubicBezTo>
                <a:cubicBezTo>
                  <a:pt x="631" y="900"/>
                  <a:pt x="631" y="900"/>
                  <a:pt x="631" y="900"/>
                </a:cubicBezTo>
                <a:cubicBezTo>
                  <a:pt x="635" y="905"/>
                  <a:pt x="635" y="905"/>
                  <a:pt x="635" y="905"/>
                </a:cubicBezTo>
                <a:cubicBezTo>
                  <a:pt x="637" y="906"/>
                  <a:pt x="637" y="906"/>
                  <a:pt x="637" y="906"/>
                </a:cubicBezTo>
                <a:cubicBezTo>
                  <a:pt x="637" y="907"/>
                  <a:pt x="637" y="907"/>
                  <a:pt x="637" y="907"/>
                </a:cubicBezTo>
                <a:cubicBezTo>
                  <a:pt x="640" y="910"/>
                  <a:pt x="640" y="910"/>
                  <a:pt x="640" y="910"/>
                </a:cubicBezTo>
                <a:cubicBezTo>
                  <a:pt x="642" y="913"/>
                  <a:pt x="642" y="913"/>
                  <a:pt x="642" y="913"/>
                </a:cubicBezTo>
                <a:cubicBezTo>
                  <a:pt x="647" y="918"/>
                  <a:pt x="647" y="918"/>
                  <a:pt x="647" y="918"/>
                </a:cubicBezTo>
                <a:cubicBezTo>
                  <a:pt x="648" y="919"/>
                  <a:pt x="648" y="919"/>
                  <a:pt x="648" y="919"/>
                </a:cubicBezTo>
                <a:cubicBezTo>
                  <a:pt x="649" y="919"/>
                  <a:pt x="649" y="919"/>
                  <a:pt x="649" y="919"/>
                </a:cubicBezTo>
                <a:cubicBezTo>
                  <a:pt x="649" y="919"/>
                  <a:pt x="649" y="919"/>
                  <a:pt x="649" y="919"/>
                </a:cubicBezTo>
                <a:cubicBezTo>
                  <a:pt x="648" y="922"/>
                  <a:pt x="648" y="922"/>
                  <a:pt x="648" y="922"/>
                </a:cubicBezTo>
                <a:cubicBezTo>
                  <a:pt x="648" y="922"/>
                  <a:pt x="648" y="922"/>
                  <a:pt x="648" y="922"/>
                </a:cubicBezTo>
                <a:cubicBezTo>
                  <a:pt x="648" y="923"/>
                  <a:pt x="648" y="923"/>
                  <a:pt x="648" y="923"/>
                </a:cubicBezTo>
                <a:cubicBezTo>
                  <a:pt x="650" y="923"/>
                  <a:pt x="650" y="923"/>
                  <a:pt x="650" y="923"/>
                </a:cubicBezTo>
                <a:cubicBezTo>
                  <a:pt x="650" y="925"/>
                  <a:pt x="650" y="925"/>
                  <a:pt x="650" y="925"/>
                </a:cubicBezTo>
                <a:cubicBezTo>
                  <a:pt x="648" y="926"/>
                  <a:pt x="648" y="926"/>
                  <a:pt x="648" y="926"/>
                </a:cubicBezTo>
                <a:cubicBezTo>
                  <a:pt x="648" y="928"/>
                  <a:pt x="648" y="928"/>
                  <a:pt x="648" y="928"/>
                </a:cubicBezTo>
                <a:cubicBezTo>
                  <a:pt x="648" y="930"/>
                  <a:pt x="648" y="930"/>
                  <a:pt x="648" y="930"/>
                </a:cubicBezTo>
                <a:cubicBezTo>
                  <a:pt x="651" y="933"/>
                  <a:pt x="651" y="933"/>
                  <a:pt x="651" y="933"/>
                </a:cubicBezTo>
                <a:cubicBezTo>
                  <a:pt x="653" y="933"/>
                  <a:pt x="653" y="933"/>
                  <a:pt x="653" y="933"/>
                </a:cubicBezTo>
                <a:cubicBezTo>
                  <a:pt x="655" y="934"/>
                  <a:pt x="655" y="934"/>
                  <a:pt x="655" y="934"/>
                </a:cubicBezTo>
                <a:cubicBezTo>
                  <a:pt x="656" y="935"/>
                  <a:pt x="656" y="935"/>
                  <a:pt x="656" y="935"/>
                </a:cubicBezTo>
                <a:cubicBezTo>
                  <a:pt x="657" y="935"/>
                  <a:pt x="657" y="935"/>
                  <a:pt x="657" y="935"/>
                </a:cubicBezTo>
                <a:cubicBezTo>
                  <a:pt x="658" y="933"/>
                  <a:pt x="658" y="933"/>
                  <a:pt x="658" y="933"/>
                </a:cubicBezTo>
                <a:cubicBezTo>
                  <a:pt x="658" y="932"/>
                  <a:pt x="658" y="932"/>
                  <a:pt x="658" y="932"/>
                </a:cubicBezTo>
                <a:cubicBezTo>
                  <a:pt x="655" y="930"/>
                  <a:pt x="655" y="930"/>
                  <a:pt x="655" y="930"/>
                </a:cubicBezTo>
                <a:cubicBezTo>
                  <a:pt x="654" y="929"/>
                  <a:pt x="654" y="929"/>
                  <a:pt x="654" y="929"/>
                </a:cubicBezTo>
                <a:cubicBezTo>
                  <a:pt x="655" y="928"/>
                  <a:pt x="655" y="928"/>
                  <a:pt x="655" y="928"/>
                </a:cubicBezTo>
                <a:cubicBezTo>
                  <a:pt x="657" y="929"/>
                  <a:pt x="657" y="929"/>
                  <a:pt x="657" y="929"/>
                </a:cubicBezTo>
                <a:cubicBezTo>
                  <a:pt x="659" y="930"/>
                  <a:pt x="659" y="930"/>
                  <a:pt x="659" y="930"/>
                </a:cubicBezTo>
                <a:cubicBezTo>
                  <a:pt x="659" y="932"/>
                  <a:pt x="659" y="932"/>
                  <a:pt x="659" y="932"/>
                </a:cubicBezTo>
                <a:cubicBezTo>
                  <a:pt x="661" y="933"/>
                  <a:pt x="661" y="933"/>
                  <a:pt x="661" y="933"/>
                </a:cubicBezTo>
                <a:cubicBezTo>
                  <a:pt x="661" y="935"/>
                  <a:pt x="661" y="935"/>
                  <a:pt x="661" y="935"/>
                </a:cubicBezTo>
                <a:cubicBezTo>
                  <a:pt x="664" y="937"/>
                  <a:pt x="664" y="937"/>
                  <a:pt x="664" y="937"/>
                </a:cubicBezTo>
                <a:cubicBezTo>
                  <a:pt x="666" y="938"/>
                  <a:pt x="666" y="938"/>
                  <a:pt x="666" y="938"/>
                </a:cubicBezTo>
                <a:cubicBezTo>
                  <a:pt x="667" y="939"/>
                  <a:pt x="667" y="939"/>
                  <a:pt x="667" y="939"/>
                </a:cubicBezTo>
                <a:cubicBezTo>
                  <a:pt x="669" y="942"/>
                  <a:pt x="669" y="942"/>
                  <a:pt x="669" y="942"/>
                </a:cubicBezTo>
                <a:cubicBezTo>
                  <a:pt x="669" y="943"/>
                  <a:pt x="669" y="943"/>
                  <a:pt x="669" y="943"/>
                </a:cubicBezTo>
                <a:cubicBezTo>
                  <a:pt x="668" y="944"/>
                  <a:pt x="668" y="944"/>
                  <a:pt x="668" y="944"/>
                </a:cubicBezTo>
                <a:cubicBezTo>
                  <a:pt x="668" y="946"/>
                  <a:pt x="668" y="946"/>
                  <a:pt x="668" y="946"/>
                </a:cubicBezTo>
                <a:cubicBezTo>
                  <a:pt x="669" y="947"/>
                  <a:pt x="669" y="947"/>
                  <a:pt x="669" y="947"/>
                </a:cubicBezTo>
                <a:cubicBezTo>
                  <a:pt x="671" y="948"/>
                  <a:pt x="671" y="948"/>
                  <a:pt x="671" y="948"/>
                </a:cubicBezTo>
                <a:cubicBezTo>
                  <a:pt x="673" y="949"/>
                  <a:pt x="673" y="949"/>
                  <a:pt x="673" y="949"/>
                </a:cubicBezTo>
                <a:cubicBezTo>
                  <a:pt x="674" y="948"/>
                  <a:pt x="674" y="948"/>
                  <a:pt x="674" y="948"/>
                </a:cubicBezTo>
                <a:cubicBezTo>
                  <a:pt x="674" y="947"/>
                  <a:pt x="674" y="947"/>
                  <a:pt x="674" y="947"/>
                </a:cubicBezTo>
                <a:cubicBezTo>
                  <a:pt x="673" y="946"/>
                  <a:pt x="673" y="946"/>
                  <a:pt x="673" y="946"/>
                </a:cubicBezTo>
                <a:cubicBezTo>
                  <a:pt x="671" y="945"/>
                  <a:pt x="671" y="945"/>
                  <a:pt x="671" y="945"/>
                </a:cubicBezTo>
                <a:cubicBezTo>
                  <a:pt x="671" y="944"/>
                  <a:pt x="671" y="944"/>
                  <a:pt x="671" y="944"/>
                </a:cubicBezTo>
                <a:cubicBezTo>
                  <a:pt x="672" y="944"/>
                  <a:pt x="672" y="944"/>
                  <a:pt x="672" y="944"/>
                </a:cubicBezTo>
                <a:cubicBezTo>
                  <a:pt x="673" y="945"/>
                  <a:pt x="673" y="945"/>
                  <a:pt x="673" y="945"/>
                </a:cubicBezTo>
                <a:cubicBezTo>
                  <a:pt x="675" y="947"/>
                  <a:pt x="675" y="947"/>
                  <a:pt x="675" y="947"/>
                </a:cubicBezTo>
                <a:cubicBezTo>
                  <a:pt x="675" y="949"/>
                  <a:pt x="675" y="949"/>
                  <a:pt x="675" y="949"/>
                </a:cubicBezTo>
                <a:cubicBezTo>
                  <a:pt x="675" y="949"/>
                  <a:pt x="675" y="949"/>
                  <a:pt x="675" y="949"/>
                </a:cubicBezTo>
                <a:cubicBezTo>
                  <a:pt x="676" y="949"/>
                  <a:pt x="676" y="949"/>
                  <a:pt x="676" y="949"/>
                </a:cubicBezTo>
                <a:cubicBezTo>
                  <a:pt x="677" y="950"/>
                  <a:pt x="677" y="950"/>
                  <a:pt x="677" y="950"/>
                </a:cubicBezTo>
                <a:cubicBezTo>
                  <a:pt x="678" y="950"/>
                  <a:pt x="678" y="950"/>
                  <a:pt x="678" y="950"/>
                </a:cubicBezTo>
                <a:cubicBezTo>
                  <a:pt x="678" y="949"/>
                  <a:pt x="678" y="949"/>
                  <a:pt x="678" y="949"/>
                </a:cubicBezTo>
                <a:cubicBezTo>
                  <a:pt x="678" y="948"/>
                  <a:pt x="678" y="948"/>
                  <a:pt x="678" y="948"/>
                </a:cubicBezTo>
                <a:cubicBezTo>
                  <a:pt x="679" y="948"/>
                  <a:pt x="679" y="948"/>
                  <a:pt x="679" y="948"/>
                </a:cubicBezTo>
                <a:cubicBezTo>
                  <a:pt x="680" y="948"/>
                  <a:pt x="680" y="948"/>
                  <a:pt x="680" y="948"/>
                </a:cubicBezTo>
                <a:cubicBezTo>
                  <a:pt x="682" y="948"/>
                  <a:pt x="682" y="948"/>
                  <a:pt x="682" y="948"/>
                </a:cubicBezTo>
                <a:cubicBezTo>
                  <a:pt x="684" y="948"/>
                  <a:pt x="684" y="948"/>
                  <a:pt x="684" y="948"/>
                </a:cubicBezTo>
                <a:cubicBezTo>
                  <a:pt x="684" y="947"/>
                  <a:pt x="684" y="947"/>
                  <a:pt x="684" y="947"/>
                </a:cubicBezTo>
                <a:cubicBezTo>
                  <a:pt x="685" y="948"/>
                  <a:pt x="685" y="948"/>
                  <a:pt x="685" y="948"/>
                </a:cubicBezTo>
                <a:cubicBezTo>
                  <a:pt x="685" y="949"/>
                  <a:pt x="685" y="949"/>
                  <a:pt x="685" y="949"/>
                </a:cubicBezTo>
                <a:cubicBezTo>
                  <a:pt x="686" y="949"/>
                  <a:pt x="686" y="949"/>
                  <a:pt x="686" y="949"/>
                </a:cubicBezTo>
                <a:cubicBezTo>
                  <a:pt x="690" y="950"/>
                  <a:pt x="690" y="950"/>
                  <a:pt x="690" y="950"/>
                </a:cubicBezTo>
                <a:cubicBezTo>
                  <a:pt x="691" y="952"/>
                  <a:pt x="691" y="952"/>
                  <a:pt x="691" y="952"/>
                </a:cubicBezTo>
                <a:cubicBezTo>
                  <a:pt x="692" y="955"/>
                  <a:pt x="692" y="955"/>
                  <a:pt x="692" y="955"/>
                </a:cubicBezTo>
                <a:cubicBezTo>
                  <a:pt x="693" y="956"/>
                  <a:pt x="693" y="956"/>
                  <a:pt x="693" y="956"/>
                </a:cubicBezTo>
                <a:cubicBezTo>
                  <a:pt x="695" y="956"/>
                  <a:pt x="695" y="956"/>
                  <a:pt x="695" y="956"/>
                </a:cubicBezTo>
                <a:cubicBezTo>
                  <a:pt x="696" y="954"/>
                  <a:pt x="696" y="954"/>
                  <a:pt x="696" y="954"/>
                </a:cubicBezTo>
                <a:cubicBezTo>
                  <a:pt x="695" y="954"/>
                  <a:pt x="695" y="954"/>
                  <a:pt x="695" y="954"/>
                </a:cubicBezTo>
                <a:cubicBezTo>
                  <a:pt x="696" y="953"/>
                  <a:pt x="696" y="953"/>
                  <a:pt x="696" y="953"/>
                </a:cubicBezTo>
                <a:cubicBezTo>
                  <a:pt x="697" y="953"/>
                  <a:pt x="697" y="953"/>
                  <a:pt x="697" y="953"/>
                </a:cubicBezTo>
                <a:cubicBezTo>
                  <a:pt x="698" y="954"/>
                  <a:pt x="698" y="954"/>
                  <a:pt x="698" y="954"/>
                </a:cubicBezTo>
                <a:cubicBezTo>
                  <a:pt x="697" y="955"/>
                  <a:pt x="697" y="955"/>
                  <a:pt x="697" y="955"/>
                </a:cubicBezTo>
                <a:cubicBezTo>
                  <a:pt x="698" y="957"/>
                  <a:pt x="698" y="957"/>
                  <a:pt x="698" y="957"/>
                </a:cubicBezTo>
                <a:cubicBezTo>
                  <a:pt x="697" y="958"/>
                  <a:pt x="697" y="958"/>
                  <a:pt x="697" y="958"/>
                </a:cubicBezTo>
                <a:cubicBezTo>
                  <a:pt x="698" y="959"/>
                  <a:pt x="698" y="959"/>
                  <a:pt x="698" y="959"/>
                </a:cubicBezTo>
                <a:cubicBezTo>
                  <a:pt x="701" y="960"/>
                  <a:pt x="701" y="960"/>
                  <a:pt x="701" y="960"/>
                </a:cubicBezTo>
                <a:cubicBezTo>
                  <a:pt x="702" y="958"/>
                  <a:pt x="702" y="958"/>
                  <a:pt x="702" y="958"/>
                </a:cubicBezTo>
                <a:cubicBezTo>
                  <a:pt x="704" y="957"/>
                  <a:pt x="704" y="957"/>
                  <a:pt x="704" y="957"/>
                </a:cubicBezTo>
                <a:cubicBezTo>
                  <a:pt x="705" y="957"/>
                  <a:pt x="705" y="957"/>
                  <a:pt x="705" y="957"/>
                </a:cubicBezTo>
                <a:cubicBezTo>
                  <a:pt x="706" y="957"/>
                  <a:pt x="706" y="957"/>
                  <a:pt x="706" y="957"/>
                </a:cubicBezTo>
                <a:cubicBezTo>
                  <a:pt x="707" y="954"/>
                  <a:pt x="707" y="954"/>
                  <a:pt x="707" y="954"/>
                </a:cubicBezTo>
                <a:cubicBezTo>
                  <a:pt x="705" y="953"/>
                  <a:pt x="705" y="953"/>
                  <a:pt x="705" y="953"/>
                </a:cubicBezTo>
                <a:cubicBezTo>
                  <a:pt x="703" y="952"/>
                  <a:pt x="703" y="952"/>
                  <a:pt x="703" y="952"/>
                </a:cubicBezTo>
                <a:cubicBezTo>
                  <a:pt x="703" y="950"/>
                  <a:pt x="703" y="950"/>
                  <a:pt x="703" y="950"/>
                </a:cubicBezTo>
                <a:cubicBezTo>
                  <a:pt x="703" y="949"/>
                  <a:pt x="703" y="949"/>
                  <a:pt x="703" y="949"/>
                </a:cubicBezTo>
                <a:cubicBezTo>
                  <a:pt x="705" y="948"/>
                  <a:pt x="705" y="948"/>
                  <a:pt x="705" y="948"/>
                </a:cubicBezTo>
                <a:cubicBezTo>
                  <a:pt x="708" y="947"/>
                  <a:pt x="708" y="947"/>
                  <a:pt x="708" y="947"/>
                </a:cubicBezTo>
                <a:cubicBezTo>
                  <a:pt x="711" y="945"/>
                  <a:pt x="711" y="945"/>
                  <a:pt x="711" y="945"/>
                </a:cubicBezTo>
                <a:cubicBezTo>
                  <a:pt x="710" y="944"/>
                  <a:pt x="710" y="944"/>
                  <a:pt x="710" y="944"/>
                </a:cubicBezTo>
                <a:cubicBezTo>
                  <a:pt x="710" y="943"/>
                  <a:pt x="710" y="943"/>
                  <a:pt x="710" y="943"/>
                </a:cubicBezTo>
                <a:cubicBezTo>
                  <a:pt x="710" y="942"/>
                  <a:pt x="710" y="942"/>
                  <a:pt x="710" y="942"/>
                </a:cubicBezTo>
                <a:cubicBezTo>
                  <a:pt x="713" y="940"/>
                  <a:pt x="713" y="940"/>
                  <a:pt x="713" y="940"/>
                </a:cubicBezTo>
                <a:cubicBezTo>
                  <a:pt x="716" y="940"/>
                  <a:pt x="716" y="940"/>
                  <a:pt x="716" y="940"/>
                </a:cubicBezTo>
                <a:cubicBezTo>
                  <a:pt x="717" y="940"/>
                  <a:pt x="717" y="940"/>
                  <a:pt x="717" y="940"/>
                </a:cubicBezTo>
                <a:cubicBezTo>
                  <a:pt x="719" y="942"/>
                  <a:pt x="719" y="942"/>
                  <a:pt x="719" y="942"/>
                </a:cubicBezTo>
                <a:cubicBezTo>
                  <a:pt x="720" y="942"/>
                  <a:pt x="720" y="942"/>
                  <a:pt x="720" y="942"/>
                </a:cubicBezTo>
                <a:cubicBezTo>
                  <a:pt x="722" y="945"/>
                  <a:pt x="722" y="945"/>
                  <a:pt x="722" y="945"/>
                </a:cubicBezTo>
                <a:cubicBezTo>
                  <a:pt x="722" y="947"/>
                  <a:pt x="722" y="947"/>
                  <a:pt x="722" y="947"/>
                </a:cubicBezTo>
                <a:cubicBezTo>
                  <a:pt x="724" y="947"/>
                  <a:pt x="724" y="947"/>
                  <a:pt x="724" y="947"/>
                </a:cubicBezTo>
                <a:cubicBezTo>
                  <a:pt x="724" y="947"/>
                  <a:pt x="724" y="947"/>
                  <a:pt x="724" y="947"/>
                </a:cubicBezTo>
                <a:cubicBezTo>
                  <a:pt x="725" y="945"/>
                  <a:pt x="725" y="945"/>
                  <a:pt x="725" y="945"/>
                </a:cubicBezTo>
                <a:cubicBezTo>
                  <a:pt x="727" y="945"/>
                  <a:pt x="727" y="945"/>
                  <a:pt x="727" y="945"/>
                </a:cubicBezTo>
                <a:cubicBezTo>
                  <a:pt x="727" y="947"/>
                  <a:pt x="727" y="947"/>
                  <a:pt x="727" y="947"/>
                </a:cubicBezTo>
                <a:cubicBezTo>
                  <a:pt x="726" y="948"/>
                  <a:pt x="726" y="948"/>
                  <a:pt x="726" y="948"/>
                </a:cubicBezTo>
                <a:cubicBezTo>
                  <a:pt x="725" y="948"/>
                  <a:pt x="725" y="948"/>
                  <a:pt x="725" y="948"/>
                </a:cubicBezTo>
                <a:cubicBezTo>
                  <a:pt x="723" y="950"/>
                  <a:pt x="723" y="950"/>
                  <a:pt x="723" y="950"/>
                </a:cubicBezTo>
                <a:cubicBezTo>
                  <a:pt x="723" y="951"/>
                  <a:pt x="723" y="951"/>
                  <a:pt x="723" y="951"/>
                </a:cubicBezTo>
                <a:cubicBezTo>
                  <a:pt x="724" y="954"/>
                  <a:pt x="724" y="954"/>
                  <a:pt x="724" y="954"/>
                </a:cubicBezTo>
                <a:cubicBezTo>
                  <a:pt x="726" y="957"/>
                  <a:pt x="726" y="957"/>
                  <a:pt x="726" y="957"/>
                </a:cubicBezTo>
                <a:cubicBezTo>
                  <a:pt x="728" y="959"/>
                  <a:pt x="728" y="959"/>
                  <a:pt x="728" y="959"/>
                </a:cubicBezTo>
                <a:cubicBezTo>
                  <a:pt x="728" y="959"/>
                  <a:pt x="728" y="959"/>
                  <a:pt x="728" y="959"/>
                </a:cubicBezTo>
                <a:cubicBezTo>
                  <a:pt x="729" y="962"/>
                  <a:pt x="729" y="962"/>
                  <a:pt x="729" y="962"/>
                </a:cubicBezTo>
                <a:cubicBezTo>
                  <a:pt x="729" y="964"/>
                  <a:pt x="729" y="964"/>
                  <a:pt x="729" y="964"/>
                </a:cubicBezTo>
                <a:cubicBezTo>
                  <a:pt x="731" y="966"/>
                  <a:pt x="731" y="966"/>
                  <a:pt x="731" y="966"/>
                </a:cubicBezTo>
                <a:cubicBezTo>
                  <a:pt x="732" y="966"/>
                  <a:pt x="732" y="966"/>
                  <a:pt x="732" y="966"/>
                </a:cubicBezTo>
                <a:cubicBezTo>
                  <a:pt x="733" y="966"/>
                  <a:pt x="733" y="966"/>
                  <a:pt x="733" y="966"/>
                </a:cubicBezTo>
                <a:cubicBezTo>
                  <a:pt x="733" y="967"/>
                  <a:pt x="733" y="967"/>
                  <a:pt x="733" y="967"/>
                </a:cubicBezTo>
                <a:cubicBezTo>
                  <a:pt x="734" y="969"/>
                  <a:pt x="734" y="969"/>
                  <a:pt x="734" y="969"/>
                </a:cubicBezTo>
                <a:cubicBezTo>
                  <a:pt x="732" y="970"/>
                  <a:pt x="732" y="970"/>
                  <a:pt x="732" y="970"/>
                </a:cubicBezTo>
                <a:cubicBezTo>
                  <a:pt x="732" y="971"/>
                  <a:pt x="732" y="971"/>
                  <a:pt x="732" y="971"/>
                </a:cubicBezTo>
                <a:cubicBezTo>
                  <a:pt x="733" y="972"/>
                  <a:pt x="733" y="972"/>
                  <a:pt x="733" y="972"/>
                </a:cubicBezTo>
                <a:cubicBezTo>
                  <a:pt x="733" y="975"/>
                  <a:pt x="733" y="975"/>
                  <a:pt x="733" y="975"/>
                </a:cubicBezTo>
                <a:cubicBezTo>
                  <a:pt x="732" y="976"/>
                  <a:pt x="732" y="976"/>
                  <a:pt x="732" y="976"/>
                </a:cubicBezTo>
                <a:cubicBezTo>
                  <a:pt x="731" y="978"/>
                  <a:pt x="731" y="978"/>
                  <a:pt x="731" y="978"/>
                </a:cubicBezTo>
                <a:cubicBezTo>
                  <a:pt x="732" y="978"/>
                  <a:pt x="732" y="978"/>
                  <a:pt x="732" y="978"/>
                </a:cubicBezTo>
                <a:cubicBezTo>
                  <a:pt x="733" y="980"/>
                  <a:pt x="733" y="980"/>
                  <a:pt x="733" y="980"/>
                </a:cubicBezTo>
                <a:cubicBezTo>
                  <a:pt x="733" y="983"/>
                  <a:pt x="733" y="983"/>
                  <a:pt x="733" y="983"/>
                </a:cubicBezTo>
                <a:cubicBezTo>
                  <a:pt x="733" y="988"/>
                  <a:pt x="733" y="988"/>
                  <a:pt x="733" y="988"/>
                </a:cubicBezTo>
                <a:cubicBezTo>
                  <a:pt x="731" y="990"/>
                  <a:pt x="731" y="990"/>
                  <a:pt x="731" y="990"/>
                </a:cubicBezTo>
                <a:cubicBezTo>
                  <a:pt x="731" y="991"/>
                  <a:pt x="731" y="991"/>
                  <a:pt x="731" y="991"/>
                </a:cubicBezTo>
                <a:cubicBezTo>
                  <a:pt x="732" y="993"/>
                  <a:pt x="732" y="993"/>
                  <a:pt x="732" y="993"/>
                </a:cubicBezTo>
                <a:cubicBezTo>
                  <a:pt x="734" y="992"/>
                  <a:pt x="734" y="992"/>
                  <a:pt x="734" y="992"/>
                </a:cubicBezTo>
                <a:cubicBezTo>
                  <a:pt x="734" y="993"/>
                  <a:pt x="734" y="993"/>
                  <a:pt x="734" y="993"/>
                </a:cubicBezTo>
                <a:cubicBezTo>
                  <a:pt x="735" y="995"/>
                  <a:pt x="735" y="995"/>
                  <a:pt x="735" y="995"/>
                </a:cubicBezTo>
                <a:cubicBezTo>
                  <a:pt x="736" y="994"/>
                  <a:pt x="736" y="994"/>
                  <a:pt x="736" y="994"/>
                </a:cubicBezTo>
                <a:cubicBezTo>
                  <a:pt x="736" y="995"/>
                  <a:pt x="736" y="995"/>
                  <a:pt x="736" y="995"/>
                </a:cubicBezTo>
                <a:cubicBezTo>
                  <a:pt x="735" y="997"/>
                  <a:pt x="735" y="997"/>
                  <a:pt x="735" y="997"/>
                </a:cubicBezTo>
                <a:cubicBezTo>
                  <a:pt x="734" y="999"/>
                  <a:pt x="734" y="999"/>
                  <a:pt x="734" y="999"/>
                </a:cubicBezTo>
                <a:cubicBezTo>
                  <a:pt x="730" y="1003"/>
                  <a:pt x="730" y="1003"/>
                  <a:pt x="730" y="1003"/>
                </a:cubicBezTo>
                <a:cubicBezTo>
                  <a:pt x="729" y="1005"/>
                  <a:pt x="729" y="1005"/>
                  <a:pt x="729" y="1005"/>
                </a:cubicBezTo>
                <a:cubicBezTo>
                  <a:pt x="727" y="1008"/>
                  <a:pt x="727" y="1008"/>
                  <a:pt x="727" y="1008"/>
                </a:cubicBezTo>
                <a:cubicBezTo>
                  <a:pt x="723" y="1009"/>
                  <a:pt x="723" y="1009"/>
                  <a:pt x="723" y="1009"/>
                </a:cubicBezTo>
                <a:cubicBezTo>
                  <a:pt x="720" y="1011"/>
                  <a:pt x="720" y="1011"/>
                  <a:pt x="720" y="1011"/>
                </a:cubicBezTo>
                <a:cubicBezTo>
                  <a:pt x="717" y="1015"/>
                  <a:pt x="717" y="1015"/>
                  <a:pt x="717" y="1015"/>
                </a:cubicBezTo>
                <a:cubicBezTo>
                  <a:pt x="717" y="1018"/>
                  <a:pt x="717" y="1018"/>
                  <a:pt x="717" y="1018"/>
                </a:cubicBezTo>
                <a:cubicBezTo>
                  <a:pt x="716" y="1020"/>
                  <a:pt x="716" y="1020"/>
                  <a:pt x="716" y="1020"/>
                </a:cubicBezTo>
                <a:cubicBezTo>
                  <a:pt x="716" y="1023"/>
                  <a:pt x="716" y="1023"/>
                  <a:pt x="716" y="1023"/>
                </a:cubicBezTo>
                <a:cubicBezTo>
                  <a:pt x="713" y="1023"/>
                  <a:pt x="713" y="1023"/>
                  <a:pt x="713" y="1023"/>
                </a:cubicBezTo>
                <a:cubicBezTo>
                  <a:pt x="708" y="1026"/>
                  <a:pt x="708" y="1026"/>
                  <a:pt x="708" y="1026"/>
                </a:cubicBezTo>
                <a:cubicBezTo>
                  <a:pt x="705" y="1026"/>
                  <a:pt x="705" y="1026"/>
                  <a:pt x="705" y="1026"/>
                </a:cubicBezTo>
                <a:cubicBezTo>
                  <a:pt x="703" y="1027"/>
                  <a:pt x="703" y="1027"/>
                  <a:pt x="703" y="1027"/>
                </a:cubicBezTo>
                <a:cubicBezTo>
                  <a:pt x="704" y="1030"/>
                  <a:pt x="704" y="1030"/>
                  <a:pt x="704" y="1030"/>
                </a:cubicBezTo>
                <a:cubicBezTo>
                  <a:pt x="704" y="1031"/>
                  <a:pt x="704" y="1031"/>
                  <a:pt x="704" y="1031"/>
                </a:cubicBezTo>
                <a:cubicBezTo>
                  <a:pt x="705" y="1033"/>
                  <a:pt x="705" y="1033"/>
                  <a:pt x="705" y="1033"/>
                </a:cubicBezTo>
                <a:cubicBezTo>
                  <a:pt x="705" y="1036"/>
                  <a:pt x="705" y="1036"/>
                  <a:pt x="705" y="1036"/>
                </a:cubicBezTo>
                <a:cubicBezTo>
                  <a:pt x="701" y="1040"/>
                  <a:pt x="701" y="1040"/>
                  <a:pt x="701" y="1040"/>
                </a:cubicBezTo>
                <a:cubicBezTo>
                  <a:pt x="700" y="1041"/>
                  <a:pt x="700" y="1041"/>
                  <a:pt x="700" y="1041"/>
                </a:cubicBezTo>
                <a:cubicBezTo>
                  <a:pt x="701" y="1043"/>
                  <a:pt x="701" y="1043"/>
                  <a:pt x="701" y="1043"/>
                </a:cubicBezTo>
                <a:cubicBezTo>
                  <a:pt x="699" y="1045"/>
                  <a:pt x="699" y="1045"/>
                  <a:pt x="699" y="1045"/>
                </a:cubicBezTo>
                <a:cubicBezTo>
                  <a:pt x="697" y="1046"/>
                  <a:pt x="697" y="1046"/>
                  <a:pt x="697" y="1046"/>
                </a:cubicBezTo>
                <a:cubicBezTo>
                  <a:pt x="695" y="1048"/>
                  <a:pt x="695" y="1048"/>
                  <a:pt x="695" y="1048"/>
                </a:cubicBezTo>
                <a:cubicBezTo>
                  <a:pt x="696" y="1050"/>
                  <a:pt x="696" y="1050"/>
                  <a:pt x="696" y="1050"/>
                </a:cubicBezTo>
                <a:cubicBezTo>
                  <a:pt x="697" y="1052"/>
                  <a:pt x="697" y="1052"/>
                  <a:pt x="697" y="1052"/>
                </a:cubicBezTo>
                <a:cubicBezTo>
                  <a:pt x="697" y="1053"/>
                  <a:pt x="697" y="1053"/>
                  <a:pt x="697" y="1053"/>
                </a:cubicBezTo>
                <a:cubicBezTo>
                  <a:pt x="697" y="1056"/>
                  <a:pt x="697" y="1056"/>
                  <a:pt x="697" y="1056"/>
                </a:cubicBezTo>
                <a:cubicBezTo>
                  <a:pt x="696" y="1058"/>
                  <a:pt x="696" y="1058"/>
                  <a:pt x="696" y="1058"/>
                </a:cubicBezTo>
                <a:cubicBezTo>
                  <a:pt x="695" y="1059"/>
                  <a:pt x="695" y="1059"/>
                  <a:pt x="695" y="1059"/>
                </a:cubicBezTo>
                <a:cubicBezTo>
                  <a:pt x="696" y="1061"/>
                  <a:pt x="696" y="1061"/>
                  <a:pt x="696" y="1061"/>
                </a:cubicBezTo>
                <a:cubicBezTo>
                  <a:pt x="698" y="1062"/>
                  <a:pt x="698" y="1062"/>
                  <a:pt x="698" y="1062"/>
                </a:cubicBezTo>
                <a:cubicBezTo>
                  <a:pt x="700" y="1064"/>
                  <a:pt x="700" y="1064"/>
                  <a:pt x="700" y="1064"/>
                </a:cubicBezTo>
                <a:cubicBezTo>
                  <a:pt x="702" y="1065"/>
                  <a:pt x="702" y="1065"/>
                  <a:pt x="702" y="1065"/>
                </a:cubicBezTo>
                <a:cubicBezTo>
                  <a:pt x="703" y="1064"/>
                  <a:pt x="703" y="1064"/>
                  <a:pt x="703" y="1064"/>
                </a:cubicBezTo>
                <a:cubicBezTo>
                  <a:pt x="704" y="1062"/>
                  <a:pt x="704" y="1062"/>
                  <a:pt x="704" y="1062"/>
                </a:cubicBezTo>
                <a:cubicBezTo>
                  <a:pt x="704" y="1061"/>
                  <a:pt x="704" y="1061"/>
                  <a:pt x="704" y="1061"/>
                </a:cubicBezTo>
                <a:cubicBezTo>
                  <a:pt x="706" y="1059"/>
                  <a:pt x="706" y="1059"/>
                  <a:pt x="706" y="1059"/>
                </a:cubicBezTo>
                <a:cubicBezTo>
                  <a:pt x="706" y="1061"/>
                  <a:pt x="706" y="1061"/>
                  <a:pt x="706" y="1061"/>
                </a:cubicBezTo>
                <a:cubicBezTo>
                  <a:pt x="706" y="1062"/>
                  <a:pt x="706" y="1062"/>
                  <a:pt x="706" y="1062"/>
                </a:cubicBezTo>
                <a:cubicBezTo>
                  <a:pt x="707" y="1061"/>
                  <a:pt x="707" y="1061"/>
                  <a:pt x="707" y="1061"/>
                </a:cubicBezTo>
                <a:cubicBezTo>
                  <a:pt x="706" y="1060"/>
                  <a:pt x="706" y="1060"/>
                  <a:pt x="706" y="1060"/>
                </a:cubicBezTo>
                <a:cubicBezTo>
                  <a:pt x="707" y="1060"/>
                  <a:pt x="707" y="1060"/>
                  <a:pt x="707" y="1060"/>
                </a:cubicBezTo>
                <a:cubicBezTo>
                  <a:pt x="708" y="1063"/>
                  <a:pt x="708" y="1063"/>
                  <a:pt x="708" y="1063"/>
                </a:cubicBezTo>
                <a:cubicBezTo>
                  <a:pt x="707" y="1065"/>
                  <a:pt x="707" y="1065"/>
                  <a:pt x="707" y="1065"/>
                </a:cubicBezTo>
                <a:cubicBezTo>
                  <a:pt x="707" y="1067"/>
                  <a:pt x="707" y="1067"/>
                  <a:pt x="707" y="1067"/>
                </a:cubicBezTo>
                <a:cubicBezTo>
                  <a:pt x="706" y="1070"/>
                  <a:pt x="706" y="1070"/>
                  <a:pt x="706" y="1070"/>
                </a:cubicBezTo>
                <a:cubicBezTo>
                  <a:pt x="704" y="1072"/>
                  <a:pt x="704" y="1072"/>
                  <a:pt x="704" y="1072"/>
                </a:cubicBezTo>
                <a:cubicBezTo>
                  <a:pt x="704" y="1072"/>
                  <a:pt x="704" y="1072"/>
                  <a:pt x="704" y="1072"/>
                </a:cubicBezTo>
                <a:cubicBezTo>
                  <a:pt x="699" y="1074"/>
                  <a:pt x="699" y="1074"/>
                  <a:pt x="699" y="1074"/>
                </a:cubicBezTo>
                <a:cubicBezTo>
                  <a:pt x="697" y="1076"/>
                  <a:pt x="697" y="1076"/>
                  <a:pt x="697" y="1076"/>
                </a:cubicBezTo>
                <a:cubicBezTo>
                  <a:pt x="693" y="1079"/>
                  <a:pt x="693" y="1079"/>
                  <a:pt x="693" y="1079"/>
                </a:cubicBezTo>
                <a:cubicBezTo>
                  <a:pt x="693" y="1082"/>
                  <a:pt x="693" y="1082"/>
                  <a:pt x="693" y="1082"/>
                </a:cubicBezTo>
                <a:cubicBezTo>
                  <a:pt x="692" y="1084"/>
                  <a:pt x="692" y="1084"/>
                  <a:pt x="692" y="1084"/>
                </a:cubicBezTo>
                <a:cubicBezTo>
                  <a:pt x="692" y="1085"/>
                  <a:pt x="692" y="1085"/>
                  <a:pt x="692" y="1085"/>
                </a:cubicBezTo>
                <a:cubicBezTo>
                  <a:pt x="694" y="1086"/>
                  <a:pt x="694" y="1086"/>
                  <a:pt x="694" y="1086"/>
                </a:cubicBezTo>
                <a:cubicBezTo>
                  <a:pt x="694" y="1087"/>
                  <a:pt x="694" y="1087"/>
                  <a:pt x="694" y="1087"/>
                </a:cubicBezTo>
                <a:cubicBezTo>
                  <a:pt x="693" y="1088"/>
                  <a:pt x="693" y="1088"/>
                  <a:pt x="693" y="1088"/>
                </a:cubicBezTo>
                <a:cubicBezTo>
                  <a:pt x="693" y="1089"/>
                  <a:pt x="693" y="1089"/>
                  <a:pt x="693" y="1089"/>
                </a:cubicBezTo>
                <a:cubicBezTo>
                  <a:pt x="695" y="1091"/>
                  <a:pt x="695" y="1091"/>
                  <a:pt x="695" y="1091"/>
                </a:cubicBezTo>
                <a:cubicBezTo>
                  <a:pt x="696" y="1094"/>
                  <a:pt x="696" y="1094"/>
                  <a:pt x="696" y="1094"/>
                </a:cubicBezTo>
                <a:cubicBezTo>
                  <a:pt x="696" y="1096"/>
                  <a:pt x="696" y="1096"/>
                  <a:pt x="696" y="1096"/>
                </a:cubicBezTo>
                <a:cubicBezTo>
                  <a:pt x="694" y="1096"/>
                  <a:pt x="694" y="1096"/>
                  <a:pt x="694" y="1096"/>
                </a:cubicBezTo>
                <a:cubicBezTo>
                  <a:pt x="693" y="1097"/>
                  <a:pt x="693" y="1097"/>
                  <a:pt x="693" y="1097"/>
                </a:cubicBezTo>
                <a:cubicBezTo>
                  <a:pt x="692" y="1098"/>
                  <a:pt x="692" y="1098"/>
                  <a:pt x="692" y="1098"/>
                </a:cubicBezTo>
                <a:cubicBezTo>
                  <a:pt x="694" y="1100"/>
                  <a:pt x="694" y="1100"/>
                  <a:pt x="694" y="1100"/>
                </a:cubicBezTo>
                <a:cubicBezTo>
                  <a:pt x="696" y="1101"/>
                  <a:pt x="696" y="1101"/>
                  <a:pt x="696" y="1101"/>
                </a:cubicBezTo>
                <a:cubicBezTo>
                  <a:pt x="699" y="1103"/>
                  <a:pt x="699" y="1103"/>
                  <a:pt x="699" y="1103"/>
                </a:cubicBezTo>
                <a:cubicBezTo>
                  <a:pt x="702" y="1104"/>
                  <a:pt x="702" y="1104"/>
                  <a:pt x="702" y="1104"/>
                </a:cubicBezTo>
                <a:cubicBezTo>
                  <a:pt x="706" y="1106"/>
                  <a:pt x="706" y="1106"/>
                  <a:pt x="706" y="1106"/>
                </a:cubicBezTo>
                <a:cubicBezTo>
                  <a:pt x="708" y="1107"/>
                  <a:pt x="708" y="1107"/>
                  <a:pt x="708" y="1107"/>
                </a:cubicBezTo>
                <a:cubicBezTo>
                  <a:pt x="708" y="1109"/>
                  <a:pt x="708" y="1109"/>
                  <a:pt x="708" y="1109"/>
                </a:cubicBezTo>
                <a:cubicBezTo>
                  <a:pt x="711" y="1112"/>
                  <a:pt x="711" y="1112"/>
                  <a:pt x="711" y="1112"/>
                </a:cubicBezTo>
                <a:cubicBezTo>
                  <a:pt x="711" y="1115"/>
                  <a:pt x="711" y="1115"/>
                  <a:pt x="711" y="1115"/>
                </a:cubicBezTo>
                <a:cubicBezTo>
                  <a:pt x="712" y="1117"/>
                  <a:pt x="712" y="1117"/>
                  <a:pt x="712" y="1117"/>
                </a:cubicBezTo>
                <a:cubicBezTo>
                  <a:pt x="716" y="1119"/>
                  <a:pt x="716" y="1119"/>
                  <a:pt x="716" y="1119"/>
                </a:cubicBezTo>
                <a:cubicBezTo>
                  <a:pt x="718" y="1122"/>
                  <a:pt x="718" y="1122"/>
                  <a:pt x="718" y="1122"/>
                </a:cubicBezTo>
                <a:cubicBezTo>
                  <a:pt x="719" y="1125"/>
                  <a:pt x="719" y="1125"/>
                  <a:pt x="719" y="1125"/>
                </a:cubicBezTo>
                <a:cubicBezTo>
                  <a:pt x="720" y="1127"/>
                  <a:pt x="720" y="1127"/>
                  <a:pt x="720" y="1127"/>
                </a:cubicBezTo>
                <a:cubicBezTo>
                  <a:pt x="720" y="1130"/>
                  <a:pt x="720" y="1130"/>
                  <a:pt x="720" y="1130"/>
                </a:cubicBezTo>
                <a:cubicBezTo>
                  <a:pt x="722" y="1132"/>
                  <a:pt x="722" y="1132"/>
                  <a:pt x="722" y="1132"/>
                </a:cubicBezTo>
                <a:cubicBezTo>
                  <a:pt x="723" y="1133"/>
                  <a:pt x="723" y="1133"/>
                  <a:pt x="723" y="1133"/>
                </a:cubicBezTo>
                <a:cubicBezTo>
                  <a:pt x="725" y="1136"/>
                  <a:pt x="725" y="1136"/>
                  <a:pt x="725" y="1136"/>
                </a:cubicBezTo>
                <a:cubicBezTo>
                  <a:pt x="725" y="1139"/>
                  <a:pt x="725" y="1139"/>
                  <a:pt x="725" y="1139"/>
                </a:cubicBezTo>
                <a:cubicBezTo>
                  <a:pt x="725" y="1140"/>
                  <a:pt x="725" y="1140"/>
                  <a:pt x="725" y="1140"/>
                </a:cubicBezTo>
                <a:cubicBezTo>
                  <a:pt x="726" y="1143"/>
                  <a:pt x="726" y="1143"/>
                  <a:pt x="726" y="1143"/>
                </a:cubicBezTo>
                <a:cubicBezTo>
                  <a:pt x="730" y="1147"/>
                  <a:pt x="730" y="1147"/>
                  <a:pt x="730" y="1147"/>
                </a:cubicBezTo>
                <a:cubicBezTo>
                  <a:pt x="731" y="1149"/>
                  <a:pt x="731" y="1149"/>
                  <a:pt x="731" y="1149"/>
                </a:cubicBezTo>
                <a:cubicBezTo>
                  <a:pt x="730" y="1151"/>
                  <a:pt x="730" y="1151"/>
                  <a:pt x="730" y="1151"/>
                </a:cubicBezTo>
                <a:cubicBezTo>
                  <a:pt x="731" y="1152"/>
                  <a:pt x="731" y="1152"/>
                  <a:pt x="731" y="1152"/>
                </a:cubicBezTo>
                <a:cubicBezTo>
                  <a:pt x="732" y="1153"/>
                  <a:pt x="732" y="1153"/>
                  <a:pt x="732" y="1153"/>
                </a:cubicBezTo>
                <a:cubicBezTo>
                  <a:pt x="735" y="1156"/>
                  <a:pt x="735" y="1156"/>
                  <a:pt x="735" y="1156"/>
                </a:cubicBezTo>
                <a:cubicBezTo>
                  <a:pt x="736" y="1158"/>
                  <a:pt x="736" y="1158"/>
                  <a:pt x="736" y="1158"/>
                </a:cubicBezTo>
                <a:cubicBezTo>
                  <a:pt x="737" y="1160"/>
                  <a:pt x="737" y="1160"/>
                  <a:pt x="737" y="1160"/>
                </a:cubicBezTo>
                <a:cubicBezTo>
                  <a:pt x="738" y="1162"/>
                  <a:pt x="738" y="1162"/>
                  <a:pt x="738" y="1162"/>
                </a:cubicBezTo>
                <a:cubicBezTo>
                  <a:pt x="740" y="1163"/>
                  <a:pt x="740" y="1163"/>
                  <a:pt x="740" y="1163"/>
                </a:cubicBezTo>
                <a:cubicBezTo>
                  <a:pt x="741" y="1165"/>
                  <a:pt x="741" y="1165"/>
                  <a:pt x="741" y="1165"/>
                </a:cubicBezTo>
                <a:cubicBezTo>
                  <a:pt x="744" y="1170"/>
                  <a:pt x="744" y="1170"/>
                  <a:pt x="744" y="1170"/>
                </a:cubicBezTo>
                <a:cubicBezTo>
                  <a:pt x="744" y="1172"/>
                  <a:pt x="744" y="1172"/>
                  <a:pt x="744" y="1172"/>
                </a:cubicBezTo>
                <a:cubicBezTo>
                  <a:pt x="748" y="1177"/>
                  <a:pt x="748" y="1177"/>
                  <a:pt x="748" y="1177"/>
                </a:cubicBezTo>
                <a:cubicBezTo>
                  <a:pt x="748" y="1179"/>
                  <a:pt x="748" y="1179"/>
                  <a:pt x="748" y="1179"/>
                </a:cubicBezTo>
                <a:cubicBezTo>
                  <a:pt x="747" y="1179"/>
                  <a:pt x="747" y="1179"/>
                  <a:pt x="747" y="1179"/>
                </a:cubicBezTo>
                <a:cubicBezTo>
                  <a:pt x="746" y="1178"/>
                  <a:pt x="746" y="1178"/>
                  <a:pt x="746" y="1178"/>
                </a:cubicBezTo>
                <a:cubicBezTo>
                  <a:pt x="746" y="1179"/>
                  <a:pt x="746" y="1179"/>
                  <a:pt x="746" y="1179"/>
                </a:cubicBezTo>
                <a:cubicBezTo>
                  <a:pt x="746" y="1181"/>
                  <a:pt x="746" y="1181"/>
                  <a:pt x="746" y="1181"/>
                </a:cubicBezTo>
                <a:cubicBezTo>
                  <a:pt x="746" y="1183"/>
                  <a:pt x="746" y="1183"/>
                  <a:pt x="746" y="1183"/>
                </a:cubicBezTo>
                <a:cubicBezTo>
                  <a:pt x="747" y="1182"/>
                  <a:pt x="747" y="1182"/>
                  <a:pt x="747" y="1182"/>
                </a:cubicBezTo>
                <a:cubicBezTo>
                  <a:pt x="749" y="1183"/>
                  <a:pt x="749" y="1183"/>
                  <a:pt x="749" y="1183"/>
                </a:cubicBezTo>
                <a:cubicBezTo>
                  <a:pt x="749" y="1185"/>
                  <a:pt x="749" y="1185"/>
                  <a:pt x="749" y="1185"/>
                </a:cubicBezTo>
                <a:cubicBezTo>
                  <a:pt x="749" y="1186"/>
                  <a:pt x="749" y="1186"/>
                  <a:pt x="749" y="1186"/>
                </a:cubicBezTo>
                <a:cubicBezTo>
                  <a:pt x="752" y="1188"/>
                  <a:pt x="752" y="1188"/>
                  <a:pt x="752" y="1188"/>
                </a:cubicBezTo>
                <a:cubicBezTo>
                  <a:pt x="755" y="1189"/>
                  <a:pt x="755" y="1189"/>
                  <a:pt x="755" y="1189"/>
                </a:cubicBezTo>
                <a:cubicBezTo>
                  <a:pt x="755" y="1191"/>
                  <a:pt x="755" y="1191"/>
                  <a:pt x="755" y="1191"/>
                </a:cubicBezTo>
                <a:cubicBezTo>
                  <a:pt x="757" y="1193"/>
                  <a:pt x="757" y="1193"/>
                  <a:pt x="757" y="1193"/>
                </a:cubicBezTo>
                <a:cubicBezTo>
                  <a:pt x="759" y="1193"/>
                  <a:pt x="759" y="1193"/>
                  <a:pt x="759" y="1193"/>
                </a:cubicBezTo>
                <a:cubicBezTo>
                  <a:pt x="759" y="1194"/>
                  <a:pt x="759" y="1194"/>
                  <a:pt x="759" y="1194"/>
                </a:cubicBezTo>
                <a:cubicBezTo>
                  <a:pt x="760" y="1196"/>
                  <a:pt x="760" y="1196"/>
                  <a:pt x="760" y="1196"/>
                </a:cubicBezTo>
                <a:cubicBezTo>
                  <a:pt x="761" y="1196"/>
                  <a:pt x="761" y="1196"/>
                  <a:pt x="761" y="1196"/>
                </a:cubicBezTo>
                <a:cubicBezTo>
                  <a:pt x="765" y="1196"/>
                  <a:pt x="765" y="1196"/>
                  <a:pt x="765" y="1196"/>
                </a:cubicBezTo>
                <a:cubicBezTo>
                  <a:pt x="766" y="1195"/>
                  <a:pt x="766" y="1195"/>
                  <a:pt x="766" y="1195"/>
                </a:cubicBezTo>
                <a:cubicBezTo>
                  <a:pt x="765" y="1197"/>
                  <a:pt x="765" y="1197"/>
                  <a:pt x="765" y="1197"/>
                </a:cubicBezTo>
                <a:cubicBezTo>
                  <a:pt x="767" y="1199"/>
                  <a:pt x="767" y="1199"/>
                  <a:pt x="767" y="1199"/>
                </a:cubicBezTo>
                <a:cubicBezTo>
                  <a:pt x="770" y="1201"/>
                  <a:pt x="770" y="1201"/>
                  <a:pt x="770" y="1201"/>
                </a:cubicBezTo>
                <a:cubicBezTo>
                  <a:pt x="771" y="1202"/>
                  <a:pt x="771" y="1202"/>
                  <a:pt x="771" y="1202"/>
                </a:cubicBezTo>
                <a:cubicBezTo>
                  <a:pt x="772" y="1203"/>
                  <a:pt x="772" y="1203"/>
                  <a:pt x="772" y="1203"/>
                </a:cubicBezTo>
                <a:cubicBezTo>
                  <a:pt x="773" y="1204"/>
                  <a:pt x="773" y="1204"/>
                  <a:pt x="773" y="1204"/>
                </a:cubicBezTo>
                <a:cubicBezTo>
                  <a:pt x="776" y="1205"/>
                  <a:pt x="776" y="1205"/>
                  <a:pt x="776" y="1205"/>
                </a:cubicBezTo>
                <a:cubicBezTo>
                  <a:pt x="777" y="1205"/>
                  <a:pt x="777" y="1205"/>
                  <a:pt x="777" y="1205"/>
                </a:cubicBezTo>
                <a:cubicBezTo>
                  <a:pt x="778" y="1205"/>
                  <a:pt x="778" y="1205"/>
                  <a:pt x="778" y="1205"/>
                </a:cubicBezTo>
                <a:cubicBezTo>
                  <a:pt x="782" y="1208"/>
                  <a:pt x="782" y="1208"/>
                  <a:pt x="782" y="1208"/>
                </a:cubicBezTo>
                <a:cubicBezTo>
                  <a:pt x="785" y="1209"/>
                  <a:pt x="785" y="1209"/>
                  <a:pt x="785" y="1209"/>
                </a:cubicBezTo>
                <a:cubicBezTo>
                  <a:pt x="787" y="1209"/>
                  <a:pt x="787" y="1209"/>
                  <a:pt x="787" y="1209"/>
                </a:cubicBezTo>
                <a:cubicBezTo>
                  <a:pt x="788" y="1209"/>
                  <a:pt x="788" y="1209"/>
                  <a:pt x="788" y="1209"/>
                </a:cubicBezTo>
                <a:cubicBezTo>
                  <a:pt x="788" y="1211"/>
                  <a:pt x="788" y="1211"/>
                  <a:pt x="788" y="1211"/>
                </a:cubicBezTo>
                <a:cubicBezTo>
                  <a:pt x="791" y="1213"/>
                  <a:pt x="791" y="1213"/>
                  <a:pt x="791" y="1213"/>
                </a:cubicBezTo>
                <a:cubicBezTo>
                  <a:pt x="792" y="1214"/>
                  <a:pt x="792" y="1214"/>
                  <a:pt x="792" y="1214"/>
                </a:cubicBezTo>
                <a:cubicBezTo>
                  <a:pt x="795" y="1216"/>
                  <a:pt x="795" y="1216"/>
                  <a:pt x="795" y="1216"/>
                </a:cubicBezTo>
                <a:cubicBezTo>
                  <a:pt x="796" y="1216"/>
                  <a:pt x="796" y="1216"/>
                  <a:pt x="796" y="1216"/>
                </a:cubicBezTo>
                <a:cubicBezTo>
                  <a:pt x="797" y="1218"/>
                  <a:pt x="797" y="1218"/>
                  <a:pt x="797" y="1218"/>
                </a:cubicBezTo>
                <a:cubicBezTo>
                  <a:pt x="797" y="1219"/>
                  <a:pt x="797" y="1219"/>
                  <a:pt x="797" y="1219"/>
                </a:cubicBezTo>
                <a:cubicBezTo>
                  <a:pt x="797" y="1220"/>
                  <a:pt x="797" y="1220"/>
                  <a:pt x="797" y="1220"/>
                </a:cubicBezTo>
                <a:cubicBezTo>
                  <a:pt x="799" y="1221"/>
                  <a:pt x="799" y="1221"/>
                  <a:pt x="799" y="1221"/>
                </a:cubicBezTo>
                <a:cubicBezTo>
                  <a:pt x="801" y="1222"/>
                  <a:pt x="801" y="1222"/>
                  <a:pt x="801" y="1222"/>
                </a:cubicBezTo>
                <a:cubicBezTo>
                  <a:pt x="804" y="1224"/>
                  <a:pt x="804" y="1224"/>
                  <a:pt x="804" y="1224"/>
                </a:cubicBezTo>
                <a:cubicBezTo>
                  <a:pt x="807" y="1227"/>
                  <a:pt x="807" y="1227"/>
                  <a:pt x="807" y="1227"/>
                </a:cubicBezTo>
                <a:cubicBezTo>
                  <a:pt x="808" y="1227"/>
                  <a:pt x="808" y="1227"/>
                  <a:pt x="808" y="1227"/>
                </a:cubicBezTo>
                <a:cubicBezTo>
                  <a:pt x="809" y="1228"/>
                  <a:pt x="809" y="1228"/>
                  <a:pt x="809" y="1228"/>
                </a:cubicBezTo>
                <a:cubicBezTo>
                  <a:pt x="810" y="1229"/>
                  <a:pt x="810" y="1229"/>
                  <a:pt x="810" y="1229"/>
                </a:cubicBezTo>
                <a:cubicBezTo>
                  <a:pt x="810" y="1231"/>
                  <a:pt x="810" y="1231"/>
                  <a:pt x="810" y="1231"/>
                </a:cubicBezTo>
                <a:cubicBezTo>
                  <a:pt x="809" y="1234"/>
                  <a:pt x="809" y="1234"/>
                  <a:pt x="809" y="1234"/>
                </a:cubicBezTo>
                <a:cubicBezTo>
                  <a:pt x="810" y="1236"/>
                  <a:pt x="810" y="1236"/>
                  <a:pt x="810" y="1236"/>
                </a:cubicBezTo>
                <a:cubicBezTo>
                  <a:pt x="812" y="1244"/>
                  <a:pt x="812" y="1244"/>
                  <a:pt x="812" y="1244"/>
                </a:cubicBezTo>
                <a:cubicBezTo>
                  <a:pt x="812" y="1247"/>
                  <a:pt x="812" y="1247"/>
                  <a:pt x="812" y="1247"/>
                </a:cubicBezTo>
                <a:cubicBezTo>
                  <a:pt x="811" y="1249"/>
                  <a:pt x="811" y="1249"/>
                  <a:pt x="811" y="1249"/>
                </a:cubicBezTo>
                <a:cubicBezTo>
                  <a:pt x="810" y="1250"/>
                  <a:pt x="810" y="1250"/>
                  <a:pt x="810" y="1250"/>
                </a:cubicBezTo>
                <a:cubicBezTo>
                  <a:pt x="811" y="1254"/>
                  <a:pt x="811" y="1254"/>
                  <a:pt x="811" y="1254"/>
                </a:cubicBezTo>
                <a:cubicBezTo>
                  <a:pt x="812" y="1258"/>
                  <a:pt x="812" y="1258"/>
                  <a:pt x="812" y="1258"/>
                </a:cubicBezTo>
                <a:cubicBezTo>
                  <a:pt x="813" y="1261"/>
                  <a:pt x="813" y="1261"/>
                  <a:pt x="813" y="1261"/>
                </a:cubicBezTo>
                <a:cubicBezTo>
                  <a:pt x="813" y="1266"/>
                  <a:pt x="813" y="1266"/>
                  <a:pt x="813" y="1266"/>
                </a:cubicBezTo>
                <a:cubicBezTo>
                  <a:pt x="813" y="1268"/>
                  <a:pt x="813" y="1268"/>
                  <a:pt x="813" y="1268"/>
                </a:cubicBezTo>
                <a:cubicBezTo>
                  <a:pt x="812" y="1269"/>
                  <a:pt x="812" y="1269"/>
                  <a:pt x="812" y="1269"/>
                </a:cubicBezTo>
                <a:cubicBezTo>
                  <a:pt x="813" y="1276"/>
                  <a:pt x="813" y="1276"/>
                  <a:pt x="813" y="1276"/>
                </a:cubicBezTo>
                <a:cubicBezTo>
                  <a:pt x="813" y="1277"/>
                  <a:pt x="813" y="1277"/>
                  <a:pt x="813" y="1277"/>
                </a:cubicBezTo>
                <a:cubicBezTo>
                  <a:pt x="811" y="1278"/>
                  <a:pt x="811" y="1278"/>
                  <a:pt x="811" y="1278"/>
                </a:cubicBezTo>
                <a:cubicBezTo>
                  <a:pt x="810" y="1279"/>
                  <a:pt x="810" y="1279"/>
                  <a:pt x="810" y="1279"/>
                </a:cubicBezTo>
                <a:cubicBezTo>
                  <a:pt x="810" y="1283"/>
                  <a:pt x="810" y="1283"/>
                  <a:pt x="810" y="1283"/>
                </a:cubicBezTo>
                <a:cubicBezTo>
                  <a:pt x="811" y="1284"/>
                  <a:pt x="811" y="1284"/>
                  <a:pt x="811" y="1284"/>
                </a:cubicBezTo>
                <a:cubicBezTo>
                  <a:pt x="812" y="1283"/>
                  <a:pt x="812" y="1283"/>
                  <a:pt x="812" y="1283"/>
                </a:cubicBezTo>
                <a:cubicBezTo>
                  <a:pt x="813" y="1284"/>
                  <a:pt x="813" y="1284"/>
                  <a:pt x="813" y="1284"/>
                </a:cubicBezTo>
                <a:cubicBezTo>
                  <a:pt x="812" y="1285"/>
                  <a:pt x="812" y="1285"/>
                  <a:pt x="812" y="1285"/>
                </a:cubicBezTo>
                <a:cubicBezTo>
                  <a:pt x="812" y="1296"/>
                  <a:pt x="812" y="1296"/>
                  <a:pt x="812" y="1296"/>
                </a:cubicBezTo>
                <a:cubicBezTo>
                  <a:pt x="813" y="1300"/>
                  <a:pt x="813" y="1300"/>
                  <a:pt x="813" y="1300"/>
                </a:cubicBezTo>
                <a:cubicBezTo>
                  <a:pt x="813" y="1303"/>
                  <a:pt x="813" y="1303"/>
                  <a:pt x="813" y="1303"/>
                </a:cubicBezTo>
                <a:cubicBezTo>
                  <a:pt x="813" y="1306"/>
                  <a:pt x="813" y="1306"/>
                  <a:pt x="813" y="1306"/>
                </a:cubicBezTo>
                <a:cubicBezTo>
                  <a:pt x="811" y="1308"/>
                  <a:pt x="811" y="1308"/>
                  <a:pt x="811" y="1308"/>
                </a:cubicBezTo>
                <a:cubicBezTo>
                  <a:pt x="811" y="1311"/>
                  <a:pt x="811" y="1311"/>
                  <a:pt x="811" y="1311"/>
                </a:cubicBezTo>
                <a:cubicBezTo>
                  <a:pt x="813" y="1314"/>
                  <a:pt x="813" y="1314"/>
                  <a:pt x="813" y="1314"/>
                </a:cubicBezTo>
                <a:cubicBezTo>
                  <a:pt x="813" y="1316"/>
                  <a:pt x="813" y="1316"/>
                  <a:pt x="813" y="1316"/>
                </a:cubicBezTo>
                <a:cubicBezTo>
                  <a:pt x="813" y="1322"/>
                  <a:pt x="813" y="1322"/>
                  <a:pt x="813" y="1322"/>
                </a:cubicBezTo>
                <a:cubicBezTo>
                  <a:pt x="811" y="1323"/>
                  <a:pt x="811" y="1323"/>
                  <a:pt x="811" y="1323"/>
                </a:cubicBezTo>
                <a:cubicBezTo>
                  <a:pt x="811" y="1326"/>
                  <a:pt x="811" y="1326"/>
                  <a:pt x="811" y="1326"/>
                </a:cubicBezTo>
                <a:cubicBezTo>
                  <a:pt x="812" y="1328"/>
                  <a:pt x="812" y="1328"/>
                  <a:pt x="812" y="1328"/>
                </a:cubicBezTo>
                <a:cubicBezTo>
                  <a:pt x="812" y="1329"/>
                  <a:pt x="812" y="1329"/>
                  <a:pt x="812" y="1329"/>
                </a:cubicBezTo>
                <a:cubicBezTo>
                  <a:pt x="810" y="1331"/>
                  <a:pt x="810" y="1331"/>
                  <a:pt x="810" y="1331"/>
                </a:cubicBezTo>
                <a:cubicBezTo>
                  <a:pt x="810" y="1334"/>
                  <a:pt x="810" y="1334"/>
                  <a:pt x="810" y="1334"/>
                </a:cubicBezTo>
                <a:cubicBezTo>
                  <a:pt x="809" y="1336"/>
                  <a:pt x="809" y="1336"/>
                  <a:pt x="809" y="1336"/>
                </a:cubicBezTo>
                <a:cubicBezTo>
                  <a:pt x="810" y="1339"/>
                  <a:pt x="810" y="1339"/>
                  <a:pt x="810" y="1339"/>
                </a:cubicBezTo>
                <a:cubicBezTo>
                  <a:pt x="809" y="1340"/>
                  <a:pt x="809" y="1340"/>
                  <a:pt x="809" y="1340"/>
                </a:cubicBezTo>
                <a:cubicBezTo>
                  <a:pt x="808" y="1344"/>
                  <a:pt x="808" y="1344"/>
                  <a:pt x="808" y="1344"/>
                </a:cubicBezTo>
                <a:cubicBezTo>
                  <a:pt x="808" y="1346"/>
                  <a:pt x="808" y="1346"/>
                  <a:pt x="808" y="1346"/>
                </a:cubicBezTo>
                <a:cubicBezTo>
                  <a:pt x="809" y="1349"/>
                  <a:pt x="809" y="1349"/>
                  <a:pt x="809" y="1349"/>
                </a:cubicBezTo>
                <a:cubicBezTo>
                  <a:pt x="810" y="1352"/>
                  <a:pt x="810" y="1352"/>
                  <a:pt x="810" y="1352"/>
                </a:cubicBezTo>
                <a:cubicBezTo>
                  <a:pt x="811" y="1353"/>
                  <a:pt x="811" y="1353"/>
                  <a:pt x="811" y="1353"/>
                </a:cubicBezTo>
                <a:cubicBezTo>
                  <a:pt x="810" y="1354"/>
                  <a:pt x="810" y="1354"/>
                  <a:pt x="810" y="1354"/>
                </a:cubicBezTo>
                <a:cubicBezTo>
                  <a:pt x="809" y="1357"/>
                  <a:pt x="809" y="1357"/>
                  <a:pt x="809" y="1357"/>
                </a:cubicBezTo>
                <a:cubicBezTo>
                  <a:pt x="810" y="1358"/>
                  <a:pt x="810" y="1358"/>
                  <a:pt x="810" y="1358"/>
                </a:cubicBezTo>
                <a:cubicBezTo>
                  <a:pt x="809" y="1360"/>
                  <a:pt x="809" y="1360"/>
                  <a:pt x="809" y="1360"/>
                </a:cubicBezTo>
                <a:cubicBezTo>
                  <a:pt x="807" y="1361"/>
                  <a:pt x="807" y="1361"/>
                  <a:pt x="807" y="1361"/>
                </a:cubicBezTo>
                <a:cubicBezTo>
                  <a:pt x="807" y="1363"/>
                  <a:pt x="807" y="1363"/>
                  <a:pt x="807" y="1363"/>
                </a:cubicBezTo>
                <a:cubicBezTo>
                  <a:pt x="808" y="1366"/>
                  <a:pt x="808" y="1366"/>
                  <a:pt x="808" y="1366"/>
                </a:cubicBezTo>
                <a:cubicBezTo>
                  <a:pt x="808" y="1368"/>
                  <a:pt x="808" y="1368"/>
                  <a:pt x="808" y="1368"/>
                </a:cubicBezTo>
                <a:cubicBezTo>
                  <a:pt x="810" y="1374"/>
                  <a:pt x="810" y="1374"/>
                  <a:pt x="810" y="1374"/>
                </a:cubicBezTo>
                <a:cubicBezTo>
                  <a:pt x="810" y="1377"/>
                  <a:pt x="810" y="1377"/>
                  <a:pt x="810" y="1377"/>
                </a:cubicBezTo>
                <a:cubicBezTo>
                  <a:pt x="809" y="1378"/>
                  <a:pt x="809" y="1378"/>
                  <a:pt x="809" y="1378"/>
                </a:cubicBezTo>
                <a:cubicBezTo>
                  <a:pt x="809" y="1380"/>
                  <a:pt x="809" y="1380"/>
                  <a:pt x="809" y="1380"/>
                </a:cubicBezTo>
                <a:cubicBezTo>
                  <a:pt x="812" y="1383"/>
                  <a:pt x="812" y="1383"/>
                  <a:pt x="812" y="1383"/>
                </a:cubicBezTo>
                <a:cubicBezTo>
                  <a:pt x="812" y="1387"/>
                  <a:pt x="812" y="1387"/>
                  <a:pt x="812" y="1387"/>
                </a:cubicBezTo>
                <a:cubicBezTo>
                  <a:pt x="811" y="1389"/>
                  <a:pt x="811" y="1389"/>
                  <a:pt x="811" y="1389"/>
                </a:cubicBezTo>
                <a:cubicBezTo>
                  <a:pt x="811" y="1390"/>
                  <a:pt x="811" y="1390"/>
                  <a:pt x="811" y="1390"/>
                </a:cubicBezTo>
                <a:cubicBezTo>
                  <a:pt x="812" y="1392"/>
                  <a:pt x="812" y="1392"/>
                  <a:pt x="812" y="1392"/>
                </a:cubicBezTo>
                <a:cubicBezTo>
                  <a:pt x="811" y="1393"/>
                  <a:pt x="811" y="1393"/>
                  <a:pt x="811" y="1393"/>
                </a:cubicBezTo>
                <a:cubicBezTo>
                  <a:pt x="811" y="1395"/>
                  <a:pt x="811" y="1395"/>
                  <a:pt x="811" y="1395"/>
                </a:cubicBezTo>
                <a:cubicBezTo>
                  <a:pt x="811" y="1396"/>
                  <a:pt x="811" y="1396"/>
                  <a:pt x="811" y="1396"/>
                </a:cubicBezTo>
                <a:cubicBezTo>
                  <a:pt x="814" y="1399"/>
                  <a:pt x="814" y="1399"/>
                  <a:pt x="814" y="1399"/>
                </a:cubicBezTo>
                <a:cubicBezTo>
                  <a:pt x="814" y="1401"/>
                  <a:pt x="814" y="1401"/>
                  <a:pt x="814" y="1401"/>
                </a:cubicBezTo>
                <a:cubicBezTo>
                  <a:pt x="813" y="1403"/>
                  <a:pt x="813" y="1403"/>
                  <a:pt x="813" y="1403"/>
                </a:cubicBezTo>
                <a:cubicBezTo>
                  <a:pt x="811" y="1404"/>
                  <a:pt x="811" y="1404"/>
                  <a:pt x="811" y="1404"/>
                </a:cubicBezTo>
                <a:cubicBezTo>
                  <a:pt x="810" y="1407"/>
                  <a:pt x="810" y="1407"/>
                  <a:pt x="810" y="1407"/>
                </a:cubicBezTo>
                <a:cubicBezTo>
                  <a:pt x="810" y="1408"/>
                  <a:pt x="810" y="1408"/>
                  <a:pt x="810" y="1408"/>
                </a:cubicBezTo>
                <a:cubicBezTo>
                  <a:pt x="811" y="1408"/>
                  <a:pt x="811" y="1408"/>
                  <a:pt x="811" y="1408"/>
                </a:cubicBezTo>
                <a:cubicBezTo>
                  <a:pt x="810" y="1411"/>
                  <a:pt x="810" y="1411"/>
                  <a:pt x="810" y="1411"/>
                </a:cubicBezTo>
                <a:cubicBezTo>
                  <a:pt x="809" y="1412"/>
                  <a:pt x="809" y="1412"/>
                  <a:pt x="809" y="1412"/>
                </a:cubicBezTo>
                <a:cubicBezTo>
                  <a:pt x="809" y="1414"/>
                  <a:pt x="809" y="1414"/>
                  <a:pt x="809" y="1414"/>
                </a:cubicBezTo>
                <a:cubicBezTo>
                  <a:pt x="809" y="1417"/>
                  <a:pt x="809" y="1417"/>
                  <a:pt x="809" y="1417"/>
                </a:cubicBezTo>
                <a:cubicBezTo>
                  <a:pt x="808" y="1419"/>
                  <a:pt x="808" y="1419"/>
                  <a:pt x="808" y="1419"/>
                </a:cubicBezTo>
                <a:cubicBezTo>
                  <a:pt x="808" y="1420"/>
                  <a:pt x="808" y="1420"/>
                  <a:pt x="808" y="1420"/>
                </a:cubicBezTo>
                <a:cubicBezTo>
                  <a:pt x="807" y="1421"/>
                  <a:pt x="807" y="1421"/>
                  <a:pt x="807" y="1421"/>
                </a:cubicBezTo>
                <a:cubicBezTo>
                  <a:pt x="807" y="1424"/>
                  <a:pt x="807" y="1424"/>
                  <a:pt x="807" y="1424"/>
                </a:cubicBezTo>
                <a:cubicBezTo>
                  <a:pt x="806" y="1425"/>
                  <a:pt x="806" y="1425"/>
                  <a:pt x="806" y="1425"/>
                </a:cubicBezTo>
                <a:cubicBezTo>
                  <a:pt x="806" y="1426"/>
                  <a:pt x="806" y="1426"/>
                  <a:pt x="806" y="1426"/>
                </a:cubicBezTo>
                <a:cubicBezTo>
                  <a:pt x="807" y="1427"/>
                  <a:pt x="807" y="1427"/>
                  <a:pt x="807" y="1427"/>
                </a:cubicBezTo>
                <a:cubicBezTo>
                  <a:pt x="806" y="1429"/>
                  <a:pt x="806" y="1429"/>
                  <a:pt x="806" y="1429"/>
                </a:cubicBezTo>
                <a:cubicBezTo>
                  <a:pt x="805" y="1432"/>
                  <a:pt x="805" y="1432"/>
                  <a:pt x="805" y="1432"/>
                </a:cubicBezTo>
                <a:cubicBezTo>
                  <a:pt x="805" y="1434"/>
                  <a:pt x="805" y="1434"/>
                  <a:pt x="805" y="1434"/>
                </a:cubicBezTo>
                <a:cubicBezTo>
                  <a:pt x="804" y="1434"/>
                  <a:pt x="804" y="1434"/>
                  <a:pt x="804" y="1434"/>
                </a:cubicBezTo>
                <a:cubicBezTo>
                  <a:pt x="804" y="1436"/>
                  <a:pt x="804" y="1436"/>
                  <a:pt x="804" y="1436"/>
                </a:cubicBezTo>
                <a:cubicBezTo>
                  <a:pt x="803" y="1438"/>
                  <a:pt x="803" y="1438"/>
                  <a:pt x="803" y="1438"/>
                </a:cubicBezTo>
                <a:cubicBezTo>
                  <a:pt x="803" y="1439"/>
                  <a:pt x="803" y="1439"/>
                  <a:pt x="803" y="1439"/>
                </a:cubicBezTo>
                <a:cubicBezTo>
                  <a:pt x="804" y="1441"/>
                  <a:pt x="804" y="1441"/>
                  <a:pt x="804" y="1441"/>
                </a:cubicBezTo>
                <a:cubicBezTo>
                  <a:pt x="804" y="1443"/>
                  <a:pt x="804" y="1443"/>
                  <a:pt x="804" y="1443"/>
                </a:cubicBezTo>
                <a:cubicBezTo>
                  <a:pt x="803" y="1444"/>
                  <a:pt x="803" y="1444"/>
                  <a:pt x="803" y="1444"/>
                </a:cubicBezTo>
                <a:cubicBezTo>
                  <a:pt x="801" y="1445"/>
                  <a:pt x="801" y="1445"/>
                  <a:pt x="801" y="1445"/>
                </a:cubicBezTo>
                <a:cubicBezTo>
                  <a:pt x="800" y="1444"/>
                  <a:pt x="800" y="1444"/>
                  <a:pt x="800" y="1444"/>
                </a:cubicBezTo>
                <a:cubicBezTo>
                  <a:pt x="799" y="1444"/>
                  <a:pt x="799" y="1444"/>
                  <a:pt x="799" y="1444"/>
                </a:cubicBezTo>
                <a:cubicBezTo>
                  <a:pt x="799" y="1445"/>
                  <a:pt x="799" y="1445"/>
                  <a:pt x="799" y="1445"/>
                </a:cubicBezTo>
                <a:cubicBezTo>
                  <a:pt x="799" y="1447"/>
                  <a:pt x="799" y="1447"/>
                  <a:pt x="799" y="1447"/>
                </a:cubicBezTo>
                <a:cubicBezTo>
                  <a:pt x="799" y="1451"/>
                  <a:pt x="799" y="1451"/>
                  <a:pt x="799" y="1451"/>
                </a:cubicBezTo>
                <a:cubicBezTo>
                  <a:pt x="800" y="1453"/>
                  <a:pt x="800" y="1453"/>
                  <a:pt x="800" y="1453"/>
                </a:cubicBezTo>
                <a:cubicBezTo>
                  <a:pt x="803" y="1454"/>
                  <a:pt x="803" y="1454"/>
                  <a:pt x="803" y="1454"/>
                </a:cubicBezTo>
                <a:cubicBezTo>
                  <a:pt x="803" y="1457"/>
                  <a:pt x="803" y="1457"/>
                  <a:pt x="803" y="1457"/>
                </a:cubicBezTo>
                <a:cubicBezTo>
                  <a:pt x="802" y="1459"/>
                  <a:pt x="802" y="1459"/>
                  <a:pt x="802" y="1459"/>
                </a:cubicBezTo>
                <a:cubicBezTo>
                  <a:pt x="806" y="1465"/>
                  <a:pt x="806" y="1465"/>
                  <a:pt x="806" y="1465"/>
                </a:cubicBezTo>
                <a:cubicBezTo>
                  <a:pt x="806" y="1466"/>
                  <a:pt x="806" y="1466"/>
                  <a:pt x="806" y="1466"/>
                </a:cubicBezTo>
                <a:cubicBezTo>
                  <a:pt x="807" y="1467"/>
                  <a:pt x="807" y="1467"/>
                  <a:pt x="807" y="1467"/>
                </a:cubicBezTo>
                <a:cubicBezTo>
                  <a:pt x="807" y="1471"/>
                  <a:pt x="807" y="1471"/>
                  <a:pt x="807" y="1471"/>
                </a:cubicBezTo>
                <a:cubicBezTo>
                  <a:pt x="806" y="1475"/>
                  <a:pt x="806" y="1475"/>
                  <a:pt x="806" y="1475"/>
                </a:cubicBezTo>
                <a:cubicBezTo>
                  <a:pt x="806" y="1476"/>
                  <a:pt x="806" y="1476"/>
                  <a:pt x="806" y="1476"/>
                </a:cubicBezTo>
                <a:cubicBezTo>
                  <a:pt x="806" y="1477"/>
                  <a:pt x="806" y="1477"/>
                  <a:pt x="806" y="1477"/>
                </a:cubicBezTo>
                <a:cubicBezTo>
                  <a:pt x="806" y="1478"/>
                  <a:pt x="806" y="1478"/>
                  <a:pt x="806" y="1478"/>
                </a:cubicBezTo>
                <a:cubicBezTo>
                  <a:pt x="805" y="1478"/>
                  <a:pt x="805" y="1478"/>
                  <a:pt x="805" y="1478"/>
                </a:cubicBezTo>
                <a:cubicBezTo>
                  <a:pt x="804" y="1478"/>
                  <a:pt x="804" y="1478"/>
                  <a:pt x="804" y="1478"/>
                </a:cubicBezTo>
                <a:cubicBezTo>
                  <a:pt x="803" y="1480"/>
                  <a:pt x="803" y="1480"/>
                  <a:pt x="803" y="1480"/>
                </a:cubicBezTo>
                <a:cubicBezTo>
                  <a:pt x="804" y="1482"/>
                  <a:pt x="804" y="1482"/>
                  <a:pt x="804" y="1482"/>
                </a:cubicBezTo>
                <a:cubicBezTo>
                  <a:pt x="805" y="1483"/>
                  <a:pt x="805" y="1483"/>
                  <a:pt x="805" y="1483"/>
                </a:cubicBezTo>
                <a:cubicBezTo>
                  <a:pt x="804" y="1487"/>
                  <a:pt x="804" y="1487"/>
                  <a:pt x="804" y="1487"/>
                </a:cubicBezTo>
                <a:cubicBezTo>
                  <a:pt x="804" y="1489"/>
                  <a:pt x="804" y="1489"/>
                  <a:pt x="804" y="1489"/>
                </a:cubicBezTo>
                <a:cubicBezTo>
                  <a:pt x="803" y="1490"/>
                  <a:pt x="803" y="1490"/>
                  <a:pt x="803" y="1490"/>
                </a:cubicBezTo>
                <a:cubicBezTo>
                  <a:pt x="804" y="1491"/>
                  <a:pt x="804" y="1491"/>
                  <a:pt x="804" y="1491"/>
                </a:cubicBezTo>
                <a:cubicBezTo>
                  <a:pt x="804" y="1492"/>
                  <a:pt x="804" y="1492"/>
                  <a:pt x="804" y="1492"/>
                </a:cubicBezTo>
                <a:cubicBezTo>
                  <a:pt x="804" y="1493"/>
                  <a:pt x="804" y="1493"/>
                  <a:pt x="804" y="1493"/>
                </a:cubicBezTo>
                <a:cubicBezTo>
                  <a:pt x="804" y="1494"/>
                  <a:pt x="804" y="1494"/>
                  <a:pt x="804" y="1494"/>
                </a:cubicBezTo>
                <a:cubicBezTo>
                  <a:pt x="807" y="1499"/>
                  <a:pt x="807" y="1499"/>
                  <a:pt x="807" y="1499"/>
                </a:cubicBezTo>
                <a:cubicBezTo>
                  <a:pt x="808" y="1500"/>
                  <a:pt x="808" y="1500"/>
                  <a:pt x="808" y="1500"/>
                </a:cubicBezTo>
                <a:cubicBezTo>
                  <a:pt x="809" y="1501"/>
                  <a:pt x="809" y="1501"/>
                  <a:pt x="809" y="1501"/>
                </a:cubicBezTo>
                <a:cubicBezTo>
                  <a:pt x="812" y="1503"/>
                  <a:pt x="812" y="1503"/>
                  <a:pt x="812" y="1503"/>
                </a:cubicBezTo>
                <a:cubicBezTo>
                  <a:pt x="815" y="1502"/>
                  <a:pt x="815" y="1502"/>
                  <a:pt x="815" y="1502"/>
                </a:cubicBezTo>
                <a:cubicBezTo>
                  <a:pt x="815" y="1499"/>
                  <a:pt x="815" y="1499"/>
                  <a:pt x="815" y="1499"/>
                </a:cubicBezTo>
                <a:cubicBezTo>
                  <a:pt x="815" y="1498"/>
                  <a:pt x="815" y="1498"/>
                  <a:pt x="815" y="1498"/>
                </a:cubicBezTo>
                <a:cubicBezTo>
                  <a:pt x="817" y="1499"/>
                  <a:pt x="817" y="1499"/>
                  <a:pt x="817" y="1499"/>
                </a:cubicBezTo>
                <a:cubicBezTo>
                  <a:pt x="819" y="1500"/>
                  <a:pt x="819" y="1500"/>
                  <a:pt x="819" y="1500"/>
                </a:cubicBezTo>
                <a:cubicBezTo>
                  <a:pt x="819" y="1500"/>
                  <a:pt x="819" y="1500"/>
                  <a:pt x="819" y="1500"/>
                </a:cubicBezTo>
                <a:cubicBezTo>
                  <a:pt x="821" y="1500"/>
                  <a:pt x="821" y="1500"/>
                  <a:pt x="821" y="1500"/>
                </a:cubicBezTo>
                <a:cubicBezTo>
                  <a:pt x="820" y="1501"/>
                  <a:pt x="820" y="1501"/>
                  <a:pt x="820" y="1501"/>
                </a:cubicBezTo>
                <a:cubicBezTo>
                  <a:pt x="817" y="1503"/>
                  <a:pt x="817" y="1503"/>
                  <a:pt x="817" y="1503"/>
                </a:cubicBezTo>
                <a:cubicBezTo>
                  <a:pt x="817" y="1505"/>
                  <a:pt x="817" y="1505"/>
                  <a:pt x="817" y="1505"/>
                </a:cubicBezTo>
                <a:cubicBezTo>
                  <a:pt x="819" y="1505"/>
                  <a:pt x="819" y="1505"/>
                  <a:pt x="819" y="1505"/>
                </a:cubicBezTo>
                <a:cubicBezTo>
                  <a:pt x="820" y="1505"/>
                  <a:pt x="820" y="1505"/>
                  <a:pt x="820" y="1505"/>
                </a:cubicBezTo>
                <a:cubicBezTo>
                  <a:pt x="821" y="1506"/>
                  <a:pt x="821" y="1506"/>
                  <a:pt x="821" y="1506"/>
                </a:cubicBezTo>
                <a:cubicBezTo>
                  <a:pt x="821" y="1510"/>
                  <a:pt x="821" y="1510"/>
                  <a:pt x="821" y="1510"/>
                </a:cubicBezTo>
                <a:cubicBezTo>
                  <a:pt x="822" y="1511"/>
                  <a:pt x="822" y="1511"/>
                  <a:pt x="822" y="1511"/>
                </a:cubicBezTo>
                <a:cubicBezTo>
                  <a:pt x="821" y="1511"/>
                  <a:pt x="821" y="1511"/>
                  <a:pt x="821" y="1511"/>
                </a:cubicBezTo>
                <a:cubicBezTo>
                  <a:pt x="820" y="1510"/>
                  <a:pt x="820" y="1510"/>
                  <a:pt x="820" y="1510"/>
                </a:cubicBezTo>
                <a:cubicBezTo>
                  <a:pt x="820" y="1509"/>
                  <a:pt x="820" y="1509"/>
                  <a:pt x="820" y="1509"/>
                </a:cubicBezTo>
                <a:cubicBezTo>
                  <a:pt x="818" y="1508"/>
                  <a:pt x="818" y="1508"/>
                  <a:pt x="818" y="1508"/>
                </a:cubicBezTo>
                <a:cubicBezTo>
                  <a:pt x="818" y="1509"/>
                  <a:pt x="818" y="1509"/>
                  <a:pt x="818" y="1509"/>
                </a:cubicBezTo>
                <a:cubicBezTo>
                  <a:pt x="818" y="1510"/>
                  <a:pt x="818" y="1510"/>
                  <a:pt x="818" y="1510"/>
                </a:cubicBezTo>
                <a:cubicBezTo>
                  <a:pt x="820" y="1511"/>
                  <a:pt x="820" y="1511"/>
                  <a:pt x="820" y="1511"/>
                </a:cubicBezTo>
                <a:cubicBezTo>
                  <a:pt x="820" y="1512"/>
                  <a:pt x="820" y="1512"/>
                  <a:pt x="820" y="1512"/>
                </a:cubicBezTo>
                <a:cubicBezTo>
                  <a:pt x="819" y="1513"/>
                  <a:pt x="819" y="1513"/>
                  <a:pt x="819" y="1513"/>
                </a:cubicBezTo>
                <a:cubicBezTo>
                  <a:pt x="818" y="1514"/>
                  <a:pt x="818" y="1514"/>
                  <a:pt x="818" y="1514"/>
                </a:cubicBezTo>
                <a:cubicBezTo>
                  <a:pt x="818" y="1516"/>
                  <a:pt x="818" y="1516"/>
                  <a:pt x="818" y="1516"/>
                </a:cubicBezTo>
                <a:cubicBezTo>
                  <a:pt x="820" y="1518"/>
                  <a:pt x="820" y="1518"/>
                  <a:pt x="820" y="1518"/>
                </a:cubicBezTo>
                <a:cubicBezTo>
                  <a:pt x="818" y="1519"/>
                  <a:pt x="818" y="1519"/>
                  <a:pt x="818" y="1519"/>
                </a:cubicBezTo>
                <a:cubicBezTo>
                  <a:pt x="818" y="1521"/>
                  <a:pt x="818" y="1521"/>
                  <a:pt x="818" y="1521"/>
                </a:cubicBezTo>
                <a:cubicBezTo>
                  <a:pt x="819" y="1521"/>
                  <a:pt x="819" y="1521"/>
                  <a:pt x="819" y="1521"/>
                </a:cubicBezTo>
                <a:cubicBezTo>
                  <a:pt x="817" y="1523"/>
                  <a:pt x="817" y="1523"/>
                  <a:pt x="817" y="1523"/>
                </a:cubicBezTo>
                <a:cubicBezTo>
                  <a:pt x="817" y="1524"/>
                  <a:pt x="817" y="1524"/>
                  <a:pt x="817" y="1524"/>
                </a:cubicBezTo>
                <a:cubicBezTo>
                  <a:pt x="820" y="1526"/>
                  <a:pt x="820" y="1526"/>
                  <a:pt x="820" y="1526"/>
                </a:cubicBezTo>
                <a:cubicBezTo>
                  <a:pt x="819" y="1527"/>
                  <a:pt x="819" y="1527"/>
                  <a:pt x="819" y="1527"/>
                </a:cubicBezTo>
                <a:cubicBezTo>
                  <a:pt x="819" y="1530"/>
                  <a:pt x="819" y="1530"/>
                  <a:pt x="819" y="1530"/>
                </a:cubicBezTo>
                <a:cubicBezTo>
                  <a:pt x="817" y="1531"/>
                  <a:pt x="817" y="1531"/>
                  <a:pt x="817" y="1531"/>
                </a:cubicBezTo>
                <a:cubicBezTo>
                  <a:pt x="817" y="1533"/>
                  <a:pt x="817" y="1533"/>
                  <a:pt x="817" y="1533"/>
                </a:cubicBezTo>
                <a:cubicBezTo>
                  <a:pt x="818" y="1534"/>
                  <a:pt x="818" y="1534"/>
                  <a:pt x="818" y="1534"/>
                </a:cubicBezTo>
                <a:cubicBezTo>
                  <a:pt x="820" y="1534"/>
                  <a:pt x="820" y="1534"/>
                  <a:pt x="820" y="1534"/>
                </a:cubicBezTo>
                <a:cubicBezTo>
                  <a:pt x="822" y="1535"/>
                  <a:pt x="822" y="1535"/>
                  <a:pt x="822" y="1535"/>
                </a:cubicBezTo>
                <a:cubicBezTo>
                  <a:pt x="822" y="1537"/>
                  <a:pt x="822" y="1537"/>
                  <a:pt x="822" y="1537"/>
                </a:cubicBezTo>
                <a:cubicBezTo>
                  <a:pt x="824" y="1537"/>
                  <a:pt x="824" y="1537"/>
                  <a:pt x="824" y="1537"/>
                </a:cubicBezTo>
                <a:cubicBezTo>
                  <a:pt x="824" y="1538"/>
                  <a:pt x="824" y="1538"/>
                  <a:pt x="824" y="1538"/>
                </a:cubicBezTo>
                <a:cubicBezTo>
                  <a:pt x="824" y="1541"/>
                  <a:pt x="824" y="1541"/>
                  <a:pt x="824" y="1541"/>
                </a:cubicBezTo>
                <a:cubicBezTo>
                  <a:pt x="823" y="1543"/>
                  <a:pt x="823" y="1543"/>
                  <a:pt x="823" y="1543"/>
                </a:cubicBezTo>
                <a:cubicBezTo>
                  <a:pt x="820" y="1545"/>
                  <a:pt x="820" y="1545"/>
                  <a:pt x="820" y="1545"/>
                </a:cubicBezTo>
                <a:cubicBezTo>
                  <a:pt x="819" y="1545"/>
                  <a:pt x="819" y="1545"/>
                  <a:pt x="819" y="1545"/>
                </a:cubicBezTo>
                <a:cubicBezTo>
                  <a:pt x="819" y="1547"/>
                  <a:pt x="819" y="1547"/>
                  <a:pt x="819" y="1547"/>
                </a:cubicBezTo>
                <a:cubicBezTo>
                  <a:pt x="819" y="1549"/>
                  <a:pt x="819" y="1549"/>
                  <a:pt x="819" y="1549"/>
                </a:cubicBezTo>
                <a:cubicBezTo>
                  <a:pt x="819" y="1550"/>
                  <a:pt x="819" y="1550"/>
                  <a:pt x="819" y="1550"/>
                </a:cubicBezTo>
                <a:cubicBezTo>
                  <a:pt x="819" y="1551"/>
                  <a:pt x="819" y="1551"/>
                  <a:pt x="819" y="1551"/>
                </a:cubicBezTo>
                <a:cubicBezTo>
                  <a:pt x="820" y="1552"/>
                  <a:pt x="820" y="1552"/>
                  <a:pt x="820" y="1552"/>
                </a:cubicBezTo>
                <a:cubicBezTo>
                  <a:pt x="818" y="1554"/>
                  <a:pt x="818" y="1554"/>
                  <a:pt x="818" y="1554"/>
                </a:cubicBezTo>
                <a:cubicBezTo>
                  <a:pt x="817" y="1557"/>
                  <a:pt x="817" y="1557"/>
                  <a:pt x="817" y="1557"/>
                </a:cubicBezTo>
                <a:cubicBezTo>
                  <a:pt x="817" y="1559"/>
                  <a:pt x="817" y="1559"/>
                  <a:pt x="817" y="1559"/>
                </a:cubicBezTo>
                <a:cubicBezTo>
                  <a:pt x="818" y="1560"/>
                  <a:pt x="818" y="1560"/>
                  <a:pt x="818" y="1560"/>
                </a:cubicBezTo>
                <a:cubicBezTo>
                  <a:pt x="818" y="1561"/>
                  <a:pt x="818" y="1561"/>
                  <a:pt x="818" y="1561"/>
                </a:cubicBezTo>
                <a:cubicBezTo>
                  <a:pt x="817" y="1565"/>
                  <a:pt x="817" y="1565"/>
                  <a:pt x="817" y="1565"/>
                </a:cubicBezTo>
                <a:cubicBezTo>
                  <a:pt x="816" y="1565"/>
                  <a:pt x="816" y="1565"/>
                  <a:pt x="816" y="1565"/>
                </a:cubicBezTo>
                <a:cubicBezTo>
                  <a:pt x="816" y="1567"/>
                  <a:pt x="816" y="1567"/>
                  <a:pt x="816" y="1567"/>
                </a:cubicBezTo>
                <a:cubicBezTo>
                  <a:pt x="815" y="1566"/>
                  <a:pt x="815" y="1566"/>
                  <a:pt x="815" y="1566"/>
                </a:cubicBezTo>
                <a:cubicBezTo>
                  <a:pt x="816" y="1565"/>
                  <a:pt x="816" y="1565"/>
                  <a:pt x="816" y="1565"/>
                </a:cubicBezTo>
                <a:cubicBezTo>
                  <a:pt x="816" y="1562"/>
                  <a:pt x="816" y="1562"/>
                  <a:pt x="816" y="1562"/>
                </a:cubicBezTo>
                <a:cubicBezTo>
                  <a:pt x="816" y="1560"/>
                  <a:pt x="816" y="1560"/>
                  <a:pt x="816" y="1560"/>
                </a:cubicBezTo>
                <a:cubicBezTo>
                  <a:pt x="816" y="1559"/>
                  <a:pt x="816" y="1559"/>
                  <a:pt x="816" y="1559"/>
                </a:cubicBezTo>
                <a:cubicBezTo>
                  <a:pt x="815" y="1559"/>
                  <a:pt x="815" y="1559"/>
                  <a:pt x="815" y="1559"/>
                </a:cubicBezTo>
                <a:cubicBezTo>
                  <a:pt x="813" y="1560"/>
                  <a:pt x="813" y="1560"/>
                  <a:pt x="813" y="1560"/>
                </a:cubicBezTo>
                <a:cubicBezTo>
                  <a:pt x="811" y="1561"/>
                  <a:pt x="811" y="1561"/>
                  <a:pt x="811" y="1561"/>
                </a:cubicBezTo>
                <a:cubicBezTo>
                  <a:pt x="810" y="1561"/>
                  <a:pt x="810" y="1561"/>
                  <a:pt x="810" y="1561"/>
                </a:cubicBezTo>
                <a:cubicBezTo>
                  <a:pt x="810" y="1560"/>
                  <a:pt x="810" y="1560"/>
                  <a:pt x="810" y="1560"/>
                </a:cubicBezTo>
                <a:cubicBezTo>
                  <a:pt x="812" y="1559"/>
                  <a:pt x="812" y="1559"/>
                  <a:pt x="812" y="1559"/>
                </a:cubicBezTo>
                <a:cubicBezTo>
                  <a:pt x="813" y="1559"/>
                  <a:pt x="813" y="1559"/>
                  <a:pt x="813" y="1559"/>
                </a:cubicBezTo>
                <a:cubicBezTo>
                  <a:pt x="813" y="1556"/>
                  <a:pt x="813" y="1556"/>
                  <a:pt x="813" y="1556"/>
                </a:cubicBezTo>
                <a:cubicBezTo>
                  <a:pt x="812" y="1555"/>
                  <a:pt x="812" y="1555"/>
                  <a:pt x="812" y="1555"/>
                </a:cubicBezTo>
                <a:cubicBezTo>
                  <a:pt x="810" y="1556"/>
                  <a:pt x="810" y="1556"/>
                  <a:pt x="810" y="1556"/>
                </a:cubicBezTo>
                <a:cubicBezTo>
                  <a:pt x="807" y="1556"/>
                  <a:pt x="807" y="1556"/>
                  <a:pt x="807" y="1556"/>
                </a:cubicBezTo>
                <a:cubicBezTo>
                  <a:pt x="805" y="1556"/>
                  <a:pt x="805" y="1556"/>
                  <a:pt x="805" y="1556"/>
                </a:cubicBezTo>
                <a:cubicBezTo>
                  <a:pt x="804" y="1556"/>
                  <a:pt x="804" y="1556"/>
                  <a:pt x="804" y="1556"/>
                </a:cubicBezTo>
                <a:cubicBezTo>
                  <a:pt x="804" y="1557"/>
                  <a:pt x="804" y="1557"/>
                  <a:pt x="804" y="1557"/>
                </a:cubicBezTo>
                <a:cubicBezTo>
                  <a:pt x="805" y="1559"/>
                  <a:pt x="805" y="1559"/>
                  <a:pt x="805" y="1559"/>
                </a:cubicBezTo>
                <a:cubicBezTo>
                  <a:pt x="806" y="1560"/>
                  <a:pt x="806" y="1560"/>
                  <a:pt x="806" y="1560"/>
                </a:cubicBezTo>
                <a:cubicBezTo>
                  <a:pt x="806" y="1561"/>
                  <a:pt x="806" y="1561"/>
                  <a:pt x="806" y="1561"/>
                </a:cubicBezTo>
                <a:cubicBezTo>
                  <a:pt x="805" y="1561"/>
                  <a:pt x="805" y="1561"/>
                  <a:pt x="805" y="1561"/>
                </a:cubicBezTo>
                <a:cubicBezTo>
                  <a:pt x="804" y="1563"/>
                  <a:pt x="804" y="1563"/>
                  <a:pt x="804" y="1563"/>
                </a:cubicBezTo>
                <a:cubicBezTo>
                  <a:pt x="803" y="1564"/>
                  <a:pt x="803" y="1564"/>
                  <a:pt x="803" y="1564"/>
                </a:cubicBezTo>
                <a:cubicBezTo>
                  <a:pt x="802" y="1566"/>
                  <a:pt x="802" y="1566"/>
                  <a:pt x="802" y="1566"/>
                </a:cubicBezTo>
                <a:cubicBezTo>
                  <a:pt x="799" y="1567"/>
                  <a:pt x="799" y="1567"/>
                  <a:pt x="799" y="1567"/>
                </a:cubicBezTo>
                <a:cubicBezTo>
                  <a:pt x="799" y="1569"/>
                  <a:pt x="799" y="1569"/>
                  <a:pt x="799" y="1569"/>
                </a:cubicBezTo>
                <a:cubicBezTo>
                  <a:pt x="802" y="1572"/>
                  <a:pt x="802" y="1572"/>
                  <a:pt x="802" y="1572"/>
                </a:cubicBezTo>
                <a:cubicBezTo>
                  <a:pt x="804" y="1572"/>
                  <a:pt x="804" y="1572"/>
                  <a:pt x="804" y="1572"/>
                </a:cubicBezTo>
                <a:cubicBezTo>
                  <a:pt x="805" y="1571"/>
                  <a:pt x="805" y="1571"/>
                  <a:pt x="805" y="1571"/>
                </a:cubicBezTo>
                <a:cubicBezTo>
                  <a:pt x="804" y="1570"/>
                  <a:pt x="804" y="1570"/>
                  <a:pt x="804" y="1570"/>
                </a:cubicBezTo>
                <a:cubicBezTo>
                  <a:pt x="803" y="1569"/>
                  <a:pt x="803" y="1569"/>
                  <a:pt x="803" y="1569"/>
                </a:cubicBezTo>
                <a:cubicBezTo>
                  <a:pt x="802" y="1568"/>
                  <a:pt x="802" y="1568"/>
                  <a:pt x="802" y="1568"/>
                </a:cubicBezTo>
                <a:cubicBezTo>
                  <a:pt x="803" y="1567"/>
                  <a:pt x="803" y="1567"/>
                  <a:pt x="803" y="1567"/>
                </a:cubicBezTo>
                <a:cubicBezTo>
                  <a:pt x="806" y="1566"/>
                  <a:pt x="806" y="1566"/>
                  <a:pt x="806" y="1566"/>
                </a:cubicBezTo>
                <a:cubicBezTo>
                  <a:pt x="806" y="1566"/>
                  <a:pt x="806" y="1566"/>
                  <a:pt x="806" y="1566"/>
                </a:cubicBezTo>
                <a:cubicBezTo>
                  <a:pt x="807" y="1568"/>
                  <a:pt x="807" y="1568"/>
                  <a:pt x="807" y="1568"/>
                </a:cubicBezTo>
                <a:cubicBezTo>
                  <a:pt x="809" y="1569"/>
                  <a:pt x="809" y="1569"/>
                  <a:pt x="809" y="1569"/>
                </a:cubicBezTo>
                <a:cubicBezTo>
                  <a:pt x="811" y="1569"/>
                  <a:pt x="811" y="1569"/>
                  <a:pt x="811" y="1569"/>
                </a:cubicBezTo>
                <a:cubicBezTo>
                  <a:pt x="812" y="1568"/>
                  <a:pt x="812" y="1568"/>
                  <a:pt x="812" y="1568"/>
                </a:cubicBezTo>
                <a:cubicBezTo>
                  <a:pt x="813" y="1569"/>
                  <a:pt x="813" y="1569"/>
                  <a:pt x="813" y="1569"/>
                </a:cubicBezTo>
                <a:cubicBezTo>
                  <a:pt x="814" y="1570"/>
                  <a:pt x="814" y="1570"/>
                  <a:pt x="814" y="1570"/>
                </a:cubicBezTo>
                <a:cubicBezTo>
                  <a:pt x="817" y="1571"/>
                  <a:pt x="817" y="1571"/>
                  <a:pt x="817" y="1571"/>
                </a:cubicBezTo>
                <a:cubicBezTo>
                  <a:pt x="818" y="1572"/>
                  <a:pt x="818" y="1572"/>
                  <a:pt x="818" y="1572"/>
                </a:cubicBezTo>
                <a:cubicBezTo>
                  <a:pt x="816" y="1572"/>
                  <a:pt x="816" y="1572"/>
                  <a:pt x="816" y="1572"/>
                </a:cubicBezTo>
                <a:cubicBezTo>
                  <a:pt x="816" y="1574"/>
                  <a:pt x="816" y="1574"/>
                  <a:pt x="816" y="1574"/>
                </a:cubicBezTo>
                <a:cubicBezTo>
                  <a:pt x="817" y="1575"/>
                  <a:pt x="817" y="1575"/>
                  <a:pt x="817" y="1575"/>
                </a:cubicBezTo>
                <a:cubicBezTo>
                  <a:pt x="816" y="1576"/>
                  <a:pt x="816" y="1576"/>
                  <a:pt x="816" y="1576"/>
                </a:cubicBezTo>
                <a:cubicBezTo>
                  <a:pt x="815" y="1577"/>
                  <a:pt x="815" y="1577"/>
                  <a:pt x="815" y="1577"/>
                </a:cubicBezTo>
                <a:cubicBezTo>
                  <a:pt x="816" y="1578"/>
                  <a:pt x="816" y="1578"/>
                  <a:pt x="816" y="1578"/>
                </a:cubicBezTo>
                <a:cubicBezTo>
                  <a:pt x="817" y="1579"/>
                  <a:pt x="817" y="1579"/>
                  <a:pt x="817" y="1579"/>
                </a:cubicBezTo>
                <a:cubicBezTo>
                  <a:pt x="817" y="1580"/>
                  <a:pt x="817" y="1580"/>
                  <a:pt x="817" y="1580"/>
                </a:cubicBezTo>
                <a:cubicBezTo>
                  <a:pt x="815" y="1579"/>
                  <a:pt x="815" y="1579"/>
                  <a:pt x="815" y="1579"/>
                </a:cubicBezTo>
                <a:cubicBezTo>
                  <a:pt x="815" y="1578"/>
                  <a:pt x="815" y="1578"/>
                  <a:pt x="815" y="1578"/>
                </a:cubicBezTo>
                <a:cubicBezTo>
                  <a:pt x="814" y="1578"/>
                  <a:pt x="814" y="1578"/>
                  <a:pt x="814" y="1578"/>
                </a:cubicBezTo>
                <a:cubicBezTo>
                  <a:pt x="813" y="1580"/>
                  <a:pt x="813" y="1580"/>
                  <a:pt x="813" y="1580"/>
                </a:cubicBezTo>
                <a:cubicBezTo>
                  <a:pt x="815" y="1581"/>
                  <a:pt x="815" y="1581"/>
                  <a:pt x="815" y="1581"/>
                </a:cubicBezTo>
                <a:cubicBezTo>
                  <a:pt x="816" y="1583"/>
                  <a:pt x="816" y="1583"/>
                  <a:pt x="816" y="1583"/>
                </a:cubicBezTo>
                <a:cubicBezTo>
                  <a:pt x="818" y="1583"/>
                  <a:pt x="818" y="1583"/>
                  <a:pt x="818" y="1583"/>
                </a:cubicBezTo>
                <a:cubicBezTo>
                  <a:pt x="821" y="1582"/>
                  <a:pt x="821" y="1582"/>
                  <a:pt x="821" y="1582"/>
                </a:cubicBezTo>
                <a:cubicBezTo>
                  <a:pt x="822" y="1583"/>
                  <a:pt x="822" y="1583"/>
                  <a:pt x="822" y="1583"/>
                </a:cubicBezTo>
                <a:cubicBezTo>
                  <a:pt x="823" y="1583"/>
                  <a:pt x="823" y="1583"/>
                  <a:pt x="823" y="1583"/>
                </a:cubicBezTo>
                <a:cubicBezTo>
                  <a:pt x="825" y="1582"/>
                  <a:pt x="825" y="1582"/>
                  <a:pt x="825" y="1582"/>
                </a:cubicBezTo>
                <a:cubicBezTo>
                  <a:pt x="824" y="1583"/>
                  <a:pt x="824" y="1583"/>
                  <a:pt x="824" y="1583"/>
                </a:cubicBezTo>
                <a:cubicBezTo>
                  <a:pt x="824" y="1584"/>
                  <a:pt x="824" y="1584"/>
                  <a:pt x="824" y="1584"/>
                </a:cubicBezTo>
                <a:cubicBezTo>
                  <a:pt x="824" y="1584"/>
                  <a:pt x="824" y="1584"/>
                  <a:pt x="824" y="1584"/>
                </a:cubicBezTo>
                <a:cubicBezTo>
                  <a:pt x="822" y="1585"/>
                  <a:pt x="822" y="1585"/>
                  <a:pt x="822" y="1585"/>
                </a:cubicBezTo>
                <a:cubicBezTo>
                  <a:pt x="821" y="1585"/>
                  <a:pt x="821" y="1585"/>
                  <a:pt x="821" y="1585"/>
                </a:cubicBezTo>
                <a:cubicBezTo>
                  <a:pt x="820" y="1584"/>
                  <a:pt x="820" y="1584"/>
                  <a:pt x="820" y="1584"/>
                </a:cubicBezTo>
                <a:cubicBezTo>
                  <a:pt x="817" y="1585"/>
                  <a:pt x="817" y="1585"/>
                  <a:pt x="817" y="1585"/>
                </a:cubicBezTo>
                <a:cubicBezTo>
                  <a:pt x="816" y="1586"/>
                  <a:pt x="816" y="1586"/>
                  <a:pt x="816" y="1586"/>
                </a:cubicBezTo>
                <a:cubicBezTo>
                  <a:pt x="817" y="1587"/>
                  <a:pt x="817" y="1587"/>
                  <a:pt x="817" y="1587"/>
                </a:cubicBezTo>
                <a:cubicBezTo>
                  <a:pt x="819" y="1589"/>
                  <a:pt x="819" y="1589"/>
                  <a:pt x="819" y="1589"/>
                </a:cubicBezTo>
                <a:cubicBezTo>
                  <a:pt x="819" y="1590"/>
                  <a:pt x="819" y="1590"/>
                  <a:pt x="819" y="1590"/>
                </a:cubicBezTo>
                <a:cubicBezTo>
                  <a:pt x="821" y="1591"/>
                  <a:pt x="821" y="1591"/>
                  <a:pt x="821" y="1591"/>
                </a:cubicBezTo>
                <a:cubicBezTo>
                  <a:pt x="822" y="1590"/>
                  <a:pt x="822" y="1590"/>
                  <a:pt x="822" y="1590"/>
                </a:cubicBezTo>
                <a:cubicBezTo>
                  <a:pt x="822" y="1591"/>
                  <a:pt x="822" y="1591"/>
                  <a:pt x="822" y="1591"/>
                </a:cubicBezTo>
                <a:cubicBezTo>
                  <a:pt x="820" y="1593"/>
                  <a:pt x="820" y="1593"/>
                  <a:pt x="820" y="1593"/>
                </a:cubicBezTo>
                <a:cubicBezTo>
                  <a:pt x="820" y="1594"/>
                  <a:pt x="820" y="1594"/>
                  <a:pt x="820" y="1594"/>
                </a:cubicBezTo>
                <a:cubicBezTo>
                  <a:pt x="821" y="1594"/>
                  <a:pt x="821" y="1594"/>
                  <a:pt x="821" y="1594"/>
                </a:cubicBezTo>
                <a:cubicBezTo>
                  <a:pt x="820" y="1596"/>
                  <a:pt x="820" y="1596"/>
                  <a:pt x="820" y="1596"/>
                </a:cubicBezTo>
                <a:cubicBezTo>
                  <a:pt x="819" y="1596"/>
                  <a:pt x="819" y="1596"/>
                  <a:pt x="819" y="1596"/>
                </a:cubicBezTo>
                <a:cubicBezTo>
                  <a:pt x="819" y="1597"/>
                  <a:pt x="819" y="1597"/>
                  <a:pt x="819" y="1597"/>
                </a:cubicBezTo>
                <a:cubicBezTo>
                  <a:pt x="820" y="1602"/>
                  <a:pt x="820" y="1602"/>
                  <a:pt x="820" y="1602"/>
                </a:cubicBezTo>
                <a:cubicBezTo>
                  <a:pt x="821" y="1603"/>
                  <a:pt x="821" y="1603"/>
                  <a:pt x="821" y="1603"/>
                </a:cubicBezTo>
                <a:cubicBezTo>
                  <a:pt x="821" y="1606"/>
                  <a:pt x="821" y="1606"/>
                  <a:pt x="821" y="1606"/>
                </a:cubicBezTo>
                <a:cubicBezTo>
                  <a:pt x="822" y="1608"/>
                  <a:pt x="822" y="1608"/>
                  <a:pt x="822" y="1608"/>
                </a:cubicBezTo>
                <a:cubicBezTo>
                  <a:pt x="824" y="1608"/>
                  <a:pt x="824" y="1608"/>
                  <a:pt x="824" y="1608"/>
                </a:cubicBezTo>
                <a:cubicBezTo>
                  <a:pt x="824" y="1605"/>
                  <a:pt x="824" y="1605"/>
                  <a:pt x="824" y="1605"/>
                </a:cubicBezTo>
                <a:cubicBezTo>
                  <a:pt x="825" y="1601"/>
                  <a:pt x="825" y="1601"/>
                  <a:pt x="825" y="1601"/>
                </a:cubicBezTo>
                <a:cubicBezTo>
                  <a:pt x="826" y="1600"/>
                  <a:pt x="826" y="1600"/>
                  <a:pt x="826" y="1600"/>
                </a:cubicBezTo>
                <a:cubicBezTo>
                  <a:pt x="827" y="1601"/>
                  <a:pt x="827" y="1601"/>
                  <a:pt x="827" y="1601"/>
                </a:cubicBezTo>
                <a:cubicBezTo>
                  <a:pt x="826" y="1601"/>
                  <a:pt x="826" y="1601"/>
                  <a:pt x="826" y="1601"/>
                </a:cubicBezTo>
                <a:cubicBezTo>
                  <a:pt x="825" y="1605"/>
                  <a:pt x="825" y="1605"/>
                  <a:pt x="825" y="1605"/>
                </a:cubicBezTo>
                <a:cubicBezTo>
                  <a:pt x="825" y="1606"/>
                  <a:pt x="825" y="1606"/>
                  <a:pt x="825" y="1606"/>
                </a:cubicBezTo>
                <a:cubicBezTo>
                  <a:pt x="826" y="1607"/>
                  <a:pt x="826" y="1607"/>
                  <a:pt x="826" y="1607"/>
                </a:cubicBezTo>
                <a:cubicBezTo>
                  <a:pt x="828" y="1607"/>
                  <a:pt x="828" y="1607"/>
                  <a:pt x="828" y="1607"/>
                </a:cubicBezTo>
                <a:cubicBezTo>
                  <a:pt x="827" y="1608"/>
                  <a:pt x="827" y="1608"/>
                  <a:pt x="827" y="1608"/>
                </a:cubicBezTo>
                <a:cubicBezTo>
                  <a:pt x="825" y="1608"/>
                  <a:pt x="825" y="1608"/>
                  <a:pt x="825" y="1608"/>
                </a:cubicBezTo>
                <a:cubicBezTo>
                  <a:pt x="823" y="1610"/>
                  <a:pt x="823" y="1610"/>
                  <a:pt x="823" y="1610"/>
                </a:cubicBezTo>
                <a:cubicBezTo>
                  <a:pt x="823" y="1611"/>
                  <a:pt x="823" y="1611"/>
                  <a:pt x="823" y="1611"/>
                </a:cubicBezTo>
                <a:cubicBezTo>
                  <a:pt x="823" y="1613"/>
                  <a:pt x="823" y="1613"/>
                  <a:pt x="823" y="1613"/>
                </a:cubicBezTo>
                <a:cubicBezTo>
                  <a:pt x="823" y="1615"/>
                  <a:pt x="823" y="1615"/>
                  <a:pt x="823" y="1615"/>
                </a:cubicBezTo>
                <a:cubicBezTo>
                  <a:pt x="822" y="1615"/>
                  <a:pt x="822" y="1615"/>
                  <a:pt x="822" y="1615"/>
                </a:cubicBezTo>
                <a:cubicBezTo>
                  <a:pt x="821" y="1617"/>
                  <a:pt x="821" y="1617"/>
                  <a:pt x="821" y="1617"/>
                </a:cubicBezTo>
                <a:cubicBezTo>
                  <a:pt x="821" y="1618"/>
                  <a:pt x="821" y="1618"/>
                  <a:pt x="821" y="1618"/>
                </a:cubicBezTo>
                <a:cubicBezTo>
                  <a:pt x="824" y="1620"/>
                  <a:pt x="824" y="1620"/>
                  <a:pt x="824" y="1620"/>
                </a:cubicBezTo>
                <a:cubicBezTo>
                  <a:pt x="828" y="1621"/>
                  <a:pt x="828" y="1621"/>
                  <a:pt x="828" y="1621"/>
                </a:cubicBezTo>
                <a:cubicBezTo>
                  <a:pt x="829" y="1622"/>
                  <a:pt x="829" y="1622"/>
                  <a:pt x="829" y="1622"/>
                </a:cubicBezTo>
                <a:cubicBezTo>
                  <a:pt x="829" y="1623"/>
                  <a:pt x="829" y="1623"/>
                  <a:pt x="829" y="1623"/>
                </a:cubicBezTo>
                <a:cubicBezTo>
                  <a:pt x="828" y="1623"/>
                  <a:pt x="828" y="1623"/>
                  <a:pt x="828" y="1623"/>
                </a:cubicBezTo>
                <a:cubicBezTo>
                  <a:pt x="829" y="1625"/>
                  <a:pt x="829" y="1625"/>
                  <a:pt x="829" y="1625"/>
                </a:cubicBezTo>
                <a:cubicBezTo>
                  <a:pt x="830" y="1626"/>
                  <a:pt x="830" y="1626"/>
                  <a:pt x="830" y="1626"/>
                </a:cubicBezTo>
                <a:cubicBezTo>
                  <a:pt x="831" y="1624"/>
                  <a:pt x="831" y="1624"/>
                  <a:pt x="831" y="1624"/>
                </a:cubicBezTo>
                <a:cubicBezTo>
                  <a:pt x="831" y="1626"/>
                  <a:pt x="831" y="1626"/>
                  <a:pt x="831" y="1626"/>
                </a:cubicBezTo>
                <a:cubicBezTo>
                  <a:pt x="831" y="1627"/>
                  <a:pt x="831" y="1627"/>
                  <a:pt x="831" y="1627"/>
                </a:cubicBezTo>
                <a:cubicBezTo>
                  <a:pt x="829" y="1628"/>
                  <a:pt x="829" y="1628"/>
                  <a:pt x="829" y="1628"/>
                </a:cubicBezTo>
                <a:cubicBezTo>
                  <a:pt x="828" y="1629"/>
                  <a:pt x="828" y="1629"/>
                  <a:pt x="828" y="1629"/>
                </a:cubicBezTo>
                <a:cubicBezTo>
                  <a:pt x="829" y="1630"/>
                  <a:pt x="829" y="1630"/>
                  <a:pt x="829" y="1630"/>
                </a:cubicBezTo>
                <a:cubicBezTo>
                  <a:pt x="830" y="1630"/>
                  <a:pt x="830" y="1630"/>
                  <a:pt x="830" y="1630"/>
                </a:cubicBezTo>
                <a:cubicBezTo>
                  <a:pt x="830" y="1631"/>
                  <a:pt x="830" y="1631"/>
                  <a:pt x="830" y="1631"/>
                </a:cubicBezTo>
                <a:cubicBezTo>
                  <a:pt x="832" y="1633"/>
                  <a:pt x="832" y="1633"/>
                  <a:pt x="832" y="1633"/>
                </a:cubicBezTo>
                <a:cubicBezTo>
                  <a:pt x="833" y="1633"/>
                  <a:pt x="833" y="1633"/>
                  <a:pt x="833" y="1633"/>
                </a:cubicBezTo>
                <a:cubicBezTo>
                  <a:pt x="834" y="1632"/>
                  <a:pt x="834" y="1632"/>
                  <a:pt x="834" y="1632"/>
                </a:cubicBezTo>
                <a:cubicBezTo>
                  <a:pt x="834" y="1634"/>
                  <a:pt x="834" y="1634"/>
                  <a:pt x="834" y="1634"/>
                </a:cubicBezTo>
                <a:cubicBezTo>
                  <a:pt x="834" y="1636"/>
                  <a:pt x="834" y="1636"/>
                  <a:pt x="834" y="1636"/>
                </a:cubicBezTo>
                <a:cubicBezTo>
                  <a:pt x="833" y="1636"/>
                  <a:pt x="833" y="1636"/>
                  <a:pt x="833" y="1636"/>
                </a:cubicBezTo>
                <a:cubicBezTo>
                  <a:pt x="833" y="1635"/>
                  <a:pt x="833" y="1635"/>
                  <a:pt x="833" y="1635"/>
                </a:cubicBezTo>
                <a:cubicBezTo>
                  <a:pt x="832" y="1635"/>
                  <a:pt x="832" y="1635"/>
                  <a:pt x="832" y="1635"/>
                </a:cubicBezTo>
                <a:cubicBezTo>
                  <a:pt x="831" y="1636"/>
                  <a:pt x="831" y="1636"/>
                  <a:pt x="831" y="1636"/>
                </a:cubicBezTo>
                <a:cubicBezTo>
                  <a:pt x="833" y="1639"/>
                  <a:pt x="833" y="1639"/>
                  <a:pt x="833" y="1639"/>
                </a:cubicBezTo>
                <a:cubicBezTo>
                  <a:pt x="834" y="1639"/>
                  <a:pt x="834" y="1639"/>
                  <a:pt x="834" y="1639"/>
                </a:cubicBezTo>
                <a:cubicBezTo>
                  <a:pt x="834" y="1641"/>
                  <a:pt x="834" y="1641"/>
                  <a:pt x="834" y="1641"/>
                </a:cubicBezTo>
                <a:cubicBezTo>
                  <a:pt x="835" y="1642"/>
                  <a:pt x="835" y="1642"/>
                  <a:pt x="835" y="1642"/>
                </a:cubicBezTo>
                <a:cubicBezTo>
                  <a:pt x="837" y="1644"/>
                  <a:pt x="837" y="1644"/>
                  <a:pt x="837" y="1644"/>
                </a:cubicBezTo>
                <a:cubicBezTo>
                  <a:pt x="838" y="1643"/>
                  <a:pt x="838" y="1643"/>
                  <a:pt x="838" y="1643"/>
                </a:cubicBezTo>
                <a:cubicBezTo>
                  <a:pt x="837" y="1641"/>
                  <a:pt x="837" y="1641"/>
                  <a:pt x="837" y="1641"/>
                </a:cubicBezTo>
                <a:cubicBezTo>
                  <a:pt x="838" y="1640"/>
                  <a:pt x="838" y="1640"/>
                  <a:pt x="838" y="1640"/>
                </a:cubicBezTo>
                <a:cubicBezTo>
                  <a:pt x="837" y="1638"/>
                  <a:pt x="837" y="1638"/>
                  <a:pt x="837" y="1638"/>
                </a:cubicBezTo>
                <a:cubicBezTo>
                  <a:pt x="839" y="1639"/>
                  <a:pt x="839" y="1639"/>
                  <a:pt x="839" y="1639"/>
                </a:cubicBezTo>
                <a:cubicBezTo>
                  <a:pt x="839" y="1641"/>
                  <a:pt x="839" y="1641"/>
                  <a:pt x="839" y="1641"/>
                </a:cubicBezTo>
                <a:cubicBezTo>
                  <a:pt x="840" y="1642"/>
                  <a:pt x="840" y="1642"/>
                  <a:pt x="840" y="1642"/>
                </a:cubicBezTo>
                <a:cubicBezTo>
                  <a:pt x="841" y="1640"/>
                  <a:pt x="841" y="1640"/>
                  <a:pt x="841" y="1640"/>
                </a:cubicBezTo>
                <a:cubicBezTo>
                  <a:pt x="842" y="1639"/>
                  <a:pt x="842" y="1639"/>
                  <a:pt x="842" y="1639"/>
                </a:cubicBezTo>
                <a:cubicBezTo>
                  <a:pt x="842" y="1638"/>
                  <a:pt x="842" y="1638"/>
                  <a:pt x="842" y="1638"/>
                </a:cubicBezTo>
                <a:cubicBezTo>
                  <a:pt x="841" y="1637"/>
                  <a:pt x="841" y="1637"/>
                  <a:pt x="841" y="1637"/>
                </a:cubicBezTo>
                <a:cubicBezTo>
                  <a:pt x="839" y="1637"/>
                  <a:pt x="839" y="1637"/>
                  <a:pt x="839" y="1637"/>
                </a:cubicBezTo>
                <a:cubicBezTo>
                  <a:pt x="839" y="1636"/>
                  <a:pt x="839" y="1636"/>
                  <a:pt x="839" y="1636"/>
                </a:cubicBezTo>
                <a:cubicBezTo>
                  <a:pt x="840" y="1636"/>
                  <a:pt x="840" y="1636"/>
                  <a:pt x="840" y="1636"/>
                </a:cubicBezTo>
                <a:cubicBezTo>
                  <a:pt x="843" y="1637"/>
                  <a:pt x="843" y="1637"/>
                  <a:pt x="843" y="1637"/>
                </a:cubicBezTo>
                <a:cubicBezTo>
                  <a:pt x="844" y="1638"/>
                  <a:pt x="844" y="1638"/>
                  <a:pt x="844" y="1638"/>
                </a:cubicBezTo>
                <a:cubicBezTo>
                  <a:pt x="846" y="1638"/>
                  <a:pt x="846" y="1638"/>
                  <a:pt x="846" y="1638"/>
                </a:cubicBezTo>
                <a:cubicBezTo>
                  <a:pt x="845" y="1636"/>
                  <a:pt x="845" y="1636"/>
                  <a:pt x="845" y="1636"/>
                </a:cubicBezTo>
                <a:cubicBezTo>
                  <a:pt x="843" y="1635"/>
                  <a:pt x="843" y="1635"/>
                  <a:pt x="843" y="1635"/>
                </a:cubicBezTo>
                <a:cubicBezTo>
                  <a:pt x="840" y="1635"/>
                  <a:pt x="840" y="1635"/>
                  <a:pt x="840" y="1635"/>
                </a:cubicBezTo>
                <a:cubicBezTo>
                  <a:pt x="840" y="1634"/>
                  <a:pt x="840" y="1634"/>
                  <a:pt x="840" y="1634"/>
                </a:cubicBezTo>
                <a:cubicBezTo>
                  <a:pt x="841" y="1634"/>
                  <a:pt x="841" y="1634"/>
                  <a:pt x="841" y="1634"/>
                </a:cubicBezTo>
                <a:cubicBezTo>
                  <a:pt x="844" y="1635"/>
                  <a:pt x="844" y="1635"/>
                  <a:pt x="844" y="1635"/>
                </a:cubicBezTo>
                <a:cubicBezTo>
                  <a:pt x="847" y="1637"/>
                  <a:pt x="847" y="1637"/>
                  <a:pt x="847" y="1637"/>
                </a:cubicBezTo>
                <a:cubicBezTo>
                  <a:pt x="848" y="1639"/>
                  <a:pt x="848" y="1639"/>
                  <a:pt x="848" y="1639"/>
                </a:cubicBezTo>
                <a:cubicBezTo>
                  <a:pt x="846" y="1641"/>
                  <a:pt x="846" y="1641"/>
                  <a:pt x="846" y="1641"/>
                </a:cubicBezTo>
                <a:cubicBezTo>
                  <a:pt x="846" y="1642"/>
                  <a:pt x="846" y="1642"/>
                  <a:pt x="846" y="1642"/>
                </a:cubicBezTo>
                <a:cubicBezTo>
                  <a:pt x="848" y="1645"/>
                  <a:pt x="848" y="1645"/>
                  <a:pt x="848" y="1645"/>
                </a:cubicBezTo>
                <a:cubicBezTo>
                  <a:pt x="847" y="1646"/>
                  <a:pt x="847" y="1646"/>
                  <a:pt x="847" y="1646"/>
                </a:cubicBezTo>
                <a:cubicBezTo>
                  <a:pt x="846" y="1647"/>
                  <a:pt x="846" y="1647"/>
                  <a:pt x="846" y="1647"/>
                </a:cubicBezTo>
                <a:cubicBezTo>
                  <a:pt x="847" y="1645"/>
                  <a:pt x="847" y="1645"/>
                  <a:pt x="847" y="1645"/>
                </a:cubicBezTo>
                <a:cubicBezTo>
                  <a:pt x="845" y="1642"/>
                  <a:pt x="845" y="1642"/>
                  <a:pt x="845" y="1642"/>
                </a:cubicBezTo>
                <a:cubicBezTo>
                  <a:pt x="844" y="1641"/>
                  <a:pt x="844" y="1641"/>
                  <a:pt x="844" y="1641"/>
                </a:cubicBezTo>
                <a:cubicBezTo>
                  <a:pt x="843" y="1642"/>
                  <a:pt x="843" y="1642"/>
                  <a:pt x="843" y="1642"/>
                </a:cubicBezTo>
                <a:cubicBezTo>
                  <a:pt x="843" y="1644"/>
                  <a:pt x="843" y="1644"/>
                  <a:pt x="843" y="1644"/>
                </a:cubicBezTo>
                <a:cubicBezTo>
                  <a:pt x="844" y="1645"/>
                  <a:pt x="844" y="1645"/>
                  <a:pt x="844" y="1645"/>
                </a:cubicBezTo>
                <a:cubicBezTo>
                  <a:pt x="843" y="1646"/>
                  <a:pt x="843" y="1646"/>
                  <a:pt x="843" y="1646"/>
                </a:cubicBezTo>
                <a:cubicBezTo>
                  <a:pt x="842" y="1645"/>
                  <a:pt x="842" y="1645"/>
                  <a:pt x="842" y="1645"/>
                </a:cubicBezTo>
                <a:cubicBezTo>
                  <a:pt x="842" y="1644"/>
                  <a:pt x="842" y="1644"/>
                  <a:pt x="842" y="1644"/>
                </a:cubicBezTo>
                <a:cubicBezTo>
                  <a:pt x="841" y="1644"/>
                  <a:pt x="841" y="1644"/>
                  <a:pt x="841" y="1644"/>
                </a:cubicBezTo>
                <a:cubicBezTo>
                  <a:pt x="839" y="1645"/>
                  <a:pt x="839" y="1645"/>
                  <a:pt x="839" y="1645"/>
                </a:cubicBezTo>
                <a:cubicBezTo>
                  <a:pt x="837" y="1645"/>
                  <a:pt x="837" y="1645"/>
                  <a:pt x="837" y="1645"/>
                </a:cubicBezTo>
                <a:cubicBezTo>
                  <a:pt x="835" y="1646"/>
                  <a:pt x="835" y="1646"/>
                  <a:pt x="835" y="1646"/>
                </a:cubicBezTo>
                <a:cubicBezTo>
                  <a:pt x="837" y="1647"/>
                  <a:pt x="837" y="1647"/>
                  <a:pt x="837" y="1647"/>
                </a:cubicBezTo>
                <a:cubicBezTo>
                  <a:pt x="837" y="1649"/>
                  <a:pt x="837" y="1649"/>
                  <a:pt x="837" y="1649"/>
                </a:cubicBezTo>
                <a:cubicBezTo>
                  <a:pt x="838" y="1651"/>
                  <a:pt x="838" y="1651"/>
                  <a:pt x="838" y="1651"/>
                </a:cubicBezTo>
                <a:cubicBezTo>
                  <a:pt x="838" y="1652"/>
                  <a:pt x="838" y="1652"/>
                  <a:pt x="838" y="1652"/>
                </a:cubicBezTo>
                <a:cubicBezTo>
                  <a:pt x="838" y="1653"/>
                  <a:pt x="838" y="1653"/>
                  <a:pt x="838" y="1653"/>
                </a:cubicBezTo>
                <a:cubicBezTo>
                  <a:pt x="838" y="1654"/>
                  <a:pt x="838" y="1654"/>
                  <a:pt x="838" y="1654"/>
                </a:cubicBezTo>
                <a:cubicBezTo>
                  <a:pt x="839" y="1654"/>
                  <a:pt x="839" y="1654"/>
                  <a:pt x="839" y="1654"/>
                </a:cubicBezTo>
                <a:cubicBezTo>
                  <a:pt x="840" y="1653"/>
                  <a:pt x="840" y="1653"/>
                  <a:pt x="840" y="1653"/>
                </a:cubicBezTo>
                <a:cubicBezTo>
                  <a:pt x="841" y="1653"/>
                  <a:pt x="841" y="1653"/>
                  <a:pt x="841" y="1653"/>
                </a:cubicBezTo>
                <a:cubicBezTo>
                  <a:pt x="843" y="1654"/>
                  <a:pt x="843" y="1654"/>
                  <a:pt x="843" y="1654"/>
                </a:cubicBezTo>
                <a:cubicBezTo>
                  <a:pt x="843" y="1654"/>
                  <a:pt x="843" y="1654"/>
                  <a:pt x="843" y="1654"/>
                </a:cubicBezTo>
                <a:cubicBezTo>
                  <a:pt x="841" y="1655"/>
                  <a:pt x="841" y="1655"/>
                  <a:pt x="841" y="1655"/>
                </a:cubicBezTo>
                <a:cubicBezTo>
                  <a:pt x="840" y="1656"/>
                  <a:pt x="840" y="1656"/>
                  <a:pt x="840" y="1656"/>
                </a:cubicBezTo>
                <a:cubicBezTo>
                  <a:pt x="840" y="1657"/>
                  <a:pt x="840" y="1657"/>
                  <a:pt x="840" y="1657"/>
                </a:cubicBezTo>
                <a:cubicBezTo>
                  <a:pt x="843" y="1657"/>
                  <a:pt x="843" y="1657"/>
                  <a:pt x="843" y="1657"/>
                </a:cubicBezTo>
                <a:cubicBezTo>
                  <a:pt x="845" y="1659"/>
                  <a:pt x="845" y="1659"/>
                  <a:pt x="845" y="1659"/>
                </a:cubicBezTo>
                <a:cubicBezTo>
                  <a:pt x="846" y="1658"/>
                  <a:pt x="846" y="1658"/>
                  <a:pt x="846" y="1658"/>
                </a:cubicBezTo>
                <a:cubicBezTo>
                  <a:pt x="847" y="1657"/>
                  <a:pt x="847" y="1657"/>
                  <a:pt x="847" y="1657"/>
                </a:cubicBezTo>
                <a:cubicBezTo>
                  <a:pt x="846" y="1655"/>
                  <a:pt x="846" y="1655"/>
                  <a:pt x="846" y="1655"/>
                </a:cubicBezTo>
                <a:cubicBezTo>
                  <a:pt x="847" y="1654"/>
                  <a:pt x="847" y="1654"/>
                  <a:pt x="847" y="1654"/>
                </a:cubicBezTo>
                <a:cubicBezTo>
                  <a:pt x="846" y="1652"/>
                  <a:pt x="846" y="1652"/>
                  <a:pt x="846" y="1652"/>
                </a:cubicBezTo>
                <a:cubicBezTo>
                  <a:pt x="845" y="1652"/>
                  <a:pt x="845" y="1652"/>
                  <a:pt x="845" y="1652"/>
                </a:cubicBezTo>
                <a:cubicBezTo>
                  <a:pt x="844" y="1652"/>
                  <a:pt x="844" y="1652"/>
                  <a:pt x="844" y="1652"/>
                </a:cubicBezTo>
                <a:cubicBezTo>
                  <a:pt x="845" y="1652"/>
                  <a:pt x="845" y="1652"/>
                  <a:pt x="845" y="1652"/>
                </a:cubicBezTo>
                <a:cubicBezTo>
                  <a:pt x="846" y="1651"/>
                  <a:pt x="846" y="1651"/>
                  <a:pt x="846" y="1651"/>
                </a:cubicBezTo>
                <a:cubicBezTo>
                  <a:pt x="846" y="1650"/>
                  <a:pt x="846" y="1650"/>
                  <a:pt x="846" y="1650"/>
                </a:cubicBezTo>
                <a:cubicBezTo>
                  <a:pt x="846" y="1649"/>
                  <a:pt x="846" y="1649"/>
                  <a:pt x="846" y="1649"/>
                </a:cubicBezTo>
                <a:cubicBezTo>
                  <a:pt x="849" y="1650"/>
                  <a:pt x="849" y="1650"/>
                  <a:pt x="849" y="1650"/>
                </a:cubicBezTo>
                <a:cubicBezTo>
                  <a:pt x="850" y="1649"/>
                  <a:pt x="850" y="1649"/>
                  <a:pt x="850" y="1649"/>
                </a:cubicBezTo>
                <a:cubicBezTo>
                  <a:pt x="850" y="1650"/>
                  <a:pt x="850" y="1650"/>
                  <a:pt x="850" y="1650"/>
                </a:cubicBezTo>
                <a:cubicBezTo>
                  <a:pt x="851" y="1651"/>
                  <a:pt x="851" y="1651"/>
                  <a:pt x="851" y="1651"/>
                </a:cubicBezTo>
                <a:cubicBezTo>
                  <a:pt x="852" y="1650"/>
                  <a:pt x="852" y="1650"/>
                  <a:pt x="852" y="1650"/>
                </a:cubicBezTo>
                <a:cubicBezTo>
                  <a:pt x="854" y="1649"/>
                  <a:pt x="854" y="1649"/>
                  <a:pt x="854" y="1649"/>
                </a:cubicBezTo>
                <a:cubicBezTo>
                  <a:pt x="855" y="1650"/>
                  <a:pt x="855" y="1650"/>
                  <a:pt x="855" y="1650"/>
                </a:cubicBezTo>
                <a:cubicBezTo>
                  <a:pt x="857" y="1650"/>
                  <a:pt x="857" y="1650"/>
                  <a:pt x="857" y="1650"/>
                </a:cubicBezTo>
                <a:cubicBezTo>
                  <a:pt x="859" y="1650"/>
                  <a:pt x="859" y="1650"/>
                  <a:pt x="859" y="1650"/>
                </a:cubicBezTo>
                <a:cubicBezTo>
                  <a:pt x="859" y="1651"/>
                  <a:pt x="859" y="1651"/>
                  <a:pt x="859" y="1651"/>
                </a:cubicBezTo>
                <a:cubicBezTo>
                  <a:pt x="858" y="1651"/>
                  <a:pt x="858" y="1651"/>
                  <a:pt x="858" y="1651"/>
                </a:cubicBezTo>
                <a:cubicBezTo>
                  <a:pt x="857" y="1652"/>
                  <a:pt x="857" y="1652"/>
                  <a:pt x="857" y="1652"/>
                </a:cubicBezTo>
                <a:cubicBezTo>
                  <a:pt x="856" y="1652"/>
                  <a:pt x="856" y="1652"/>
                  <a:pt x="856" y="1652"/>
                </a:cubicBezTo>
                <a:cubicBezTo>
                  <a:pt x="855" y="1651"/>
                  <a:pt x="855" y="1651"/>
                  <a:pt x="855" y="1651"/>
                </a:cubicBezTo>
                <a:cubicBezTo>
                  <a:pt x="853" y="1652"/>
                  <a:pt x="853" y="1652"/>
                  <a:pt x="853" y="1652"/>
                </a:cubicBezTo>
                <a:cubicBezTo>
                  <a:pt x="850" y="1654"/>
                  <a:pt x="850" y="1654"/>
                  <a:pt x="850" y="1654"/>
                </a:cubicBezTo>
                <a:cubicBezTo>
                  <a:pt x="850" y="1654"/>
                  <a:pt x="850" y="1654"/>
                  <a:pt x="850" y="1654"/>
                </a:cubicBezTo>
                <a:cubicBezTo>
                  <a:pt x="849" y="1654"/>
                  <a:pt x="849" y="1654"/>
                  <a:pt x="849" y="1654"/>
                </a:cubicBezTo>
                <a:cubicBezTo>
                  <a:pt x="847" y="1656"/>
                  <a:pt x="847" y="1656"/>
                  <a:pt x="847" y="1656"/>
                </a:cubicBezTo>
                <a:cubicBezTo>
                  <a:pt x="848" y="1657"/>
                  <a:pt x="848" y="1657"/>
                  <a:pt x="848" y="1657"/>
                </a:cubicBezTo>
                <a:cubicBezTo>
                  <a:pt x="847" y="1658"/>
                  <a:pt x="847" y="1658"/>
                  <a:pt x="847" y="1658"/>
                </a:cubicBezTo>
                <a:cubicBezTo>
                  <a:pt x="847" y="1659"/>
                  <a:pt x="847" y="1659"/>
                  <a:pt x="847" y="1659"/>
                </a:cubicBezTo>
                <a:cubicBezTo>
                  <a:pt x="847" y="1660"/>
                  <a:pt x="847" y="1660"/>
                  <a:pt x="847" y="1660"/>
                </a:cubicBezTo>
                <a:cubicBezTo>
                  <a:pt x="847" y="1660"/>
                  <a:pt x="847" y="1660"/>
                  <a:pt x="847" y="1660"/>
                </a:cubicBezTo>
                <a:cubicBezTo>
                  <a:pt x="847" y="1661"/>
                  <a:pt x="847" y="1661"/>
                  <a:pt x="847" y="1661"/>
                </a:cubicBezTo>
                <a:cubicBezTo>
                  <a:pt x="847" y="1662"/>
                  <a:pt x="847" y="1662"/>
                  <a:pt x="847" y="1662"/>
                </a:cubicBezTo>
                <a:cubicBezTo>
                  <a:pt x="850" y="1663"/>
                  <a:pt x="850" y="1663"/>
                  <a:pt x="850" y="1663"/>
                </a:cubicBezTo>
                <a:cubicBezTo>
                  <a:pt x="852" y="1665"/>
                  <a:pt x="852" y="1665"/>
                  <a:pt x="852" y="1665"/>
                </a:cubicBezTo>
                <a:cubicBezTo>
                  <a:pt x="852" y="1665"/>
                  <a:pt x="852" y="1665"/>
                  <a:pt x="852" y="1665"/>
                </a:cubicBezTo>
                <a:cubicBezTo>
                  <a:pt x="853" y="1664"/>
                  <a:pt x="853" y="1664"/>
                  <a:pt x="853" y="1664"/>
                </a:cubicBezTo>
                <a:cubicBezTo>
                  <a:pt x="852" y="1662"/>
                  <a:pt x="852" y="1662"/>
                  <a:pt x="852" y="1662"/>
                </a:cubicBezTo>
                <a:cubicBezTo>
                  <a:pt x="854" y="1661"/>
                  <a:pt x="854" y="1661"/>
                  <a:pt x="854" y="1661"/>
                </a:cubicBezTo>
                <a:cubicBezTo>
                  <a:pt x="855" y="1661"/>
                  <a:pt x="855" y="1661"/>
                  <a:pt x="855" y="1661"/>
                </a:cubicBezTo>
                <a:cubicBezTo>
                  <a:pt x="855" y="1660"/>
                  <a:pt x="855" y="1660"/>
                  <a:pt x="855" y="1660"/>
                </a:cubicBezTo>
                <a:cubicBezTo>
                  <a:pt x="854" y="1658"/>
                  <a:pt x="854" y="1658"/>
                  <a:pt x="854" y="1658"/>
                </a:cubicBezTo>
                <a:cubicBezTo>
                  <a:pt x="856" y="1657"/>
                  <a:pt x="856" y="1657"/>
                  <a:pt x="856" y="1657"/>
                </a:cubicBezTo>
                <a:cubicBezTo>
                  <a:pt x="858" y="1656"/>
                  <a:pt x="858" y="1656"/>
                  <a:pt x="858" y="1656"/>
                </a:cubicBezTo>
                <a:cubicBezTo>
                  <a:pt x="860" y="1654"/>
                  <a:pt x="860" y="1654"/>
                  <a:pt x="860" y="1654"/>
                </a:cubicBezTo>
                <a:cubicBezTo>
                  <a:pt x="861" y="1653"/>
                  <a:pt x="861" y="1653"/>
                  <a:pt x="861" y="1653"/>
                </a:cubicBezTo>
                <a:cubicBezTo>
                  <a:pt x="861" y="1653"/>
                  <a:pt x="861" y="1653"/>
                  <a:pt x="861" y="1653"/>
                </a:cubicBezTo>
                <a:cubicBezTo>
                  <a:pt x="863" y="1654"/>
                  <a:pt x="863" y="1654"/>
                  <a:pt x="863" y="1654"/>
                </a:cubicBezTo>
                <a:cubicBezTo>
                  <a:pt x="864" y="1654"/>
                  <a:pt x="864" y="1654"/>
                  <a:pt x="864" y="1654"/>
                </a:cubicBezTo>
                <a:cubicBezTo>
                  <a:pt x="864" y="1655"/>
                  <a:pt x="864" y="1655"/>
                  <a:pt x="864" y="1655"/>
                </a:cubicBezTo>
                <a:cubicBezTo>
                  <a:pt x="863" y="1655"/>
                  <a:pt x="863" y="1655"/>
                  <a:pt x="863" y="1655"/>
                </a:cubicBezTo>
                <a:cubicBezTo>
                  <a:pt x="862" y="1657"/>
                  <a:pt x="862" y="1657"/>
                  <a:pt x="862" y="1657"/>
                </a:cubicBezTo>
                <a:cubicBezTo>
                  <a:pt x="861" y="1658"/>
                  <a:pt x="861" y="1658"/>
                  <a:pt x="861" y="1658"/>
                </a:cubicBezTo>
                <a:cubicBezTo>
                  <a:pt x="859" y="1660"/>
                  <a:pt x="859" y="1660"/>
                  <a:pt x="859" y="1660"/>
                </a:cubicBezTo>
                <a:cubicBezTo>
                  <a:pt x="859" y="1662"/>
                  <a:pt x="859" y="1662"/>
                  <a:pt x="859" y="1662"/>
                </a:cubicBezTo>
                <a:cubicBezTo>
                  <a:pt x="860" y="1663"/>
                  <a:pt x="860" y="1663"/>
                  <a:pt x="860" y="1663"/>
                </a:cubicBezTo>
                <a:cubicBezTo>
                  <a:pt x="859" y="1664"/>
                  <a:pt x="859" y="1664"/>
                  <a:pt x="859" y="1664"/>
                </a:cubicBezTo>
                <a:cubicBezTo>
                  <a:pt x="857" y="1665"/>
                  <a:pt x="857" y="1665"/>
                  <a:pt x="857" y="1665"/>
                </a:cubicBezTo>
                <a:cubicBezTo>
                  <a:pt x="857" y="1664"/>
                  <a:pt x="857" y="1664"/>
                  <a:pt x="857" y="1664"/>
                </a:cubicBezTo>
                <a:cubicBezTo>
                  <a:pt x="858" y="1664"/>
                  <a:pt x="858" y="1664"/>
                  <a:pt x="858" y="1664"/>
                </a:cubicBezTo>
                <a:cubicBezTo>
                  <a:pt x="858" y="1661"/>
                  <a:pt x="858" y="1661"/>
                  <a:pt x="858" y="1661"/>
                </a:cubicBezTo>
                <a:cubicBezTo>
                  <a:pt x="858" y="1661"/>
                  <a:pt x="858" y="1661"/>
                  <a:pt x="858" y="1661"/>
                </a:cubicBezTo>
                <a:cubicBezTo>
                  <a:pt x="857" y="1661"/>
                  <a:pt x="857" y="1661"/>
                  <a:pt x="857" y="1661"/>
                </a:cubicBezTo>
                <a:cubicBezTo>
                  <a:pt x="856" y="1663"/>
                  <a:pt x="856" y="1663"/>
                  <a:pt x="856" y="1663"/>
                </a:cubicBezTo>
                <a:cubicBezTo>
                  <a:pt x="856" y="1662"/>
                  <a:pt x="856" y="1662"/>
                  <a:pt x="856" y="1662"/>
                </a:cubicBezTo>
                <a:cubicBezTo>
                  <a:pt x="855" y="1662"/>
                  <a:pt x="855" y="1662"/>
                  <a:pt x="855" y="1662"/>
                </a:cubicBezTo>
                <a:cubicBezTo>
                  <a:pt x="854" y="1663"/>
                  <a:pt x="854" y="1663"/>
                  <a:pt x="854" y="1663"/>
                </a:cubicBezTo>
                <a:cubicBezTo>
                  <a:pt x="855" y="1665"/>
                  <a:pt x="855" y="1665"/>
                  <a:pt x="855" y="1665"/>
                </a:cubicBezTo>
                <a:cubicBezTo>
                  <a:pt x="858" y="1668"/>
                  <a:pt x="858" y="1668"/>
                  <a:pt x="858" y="1668"/>
                </a:cubicBezTo>
                <a:cubicBezTo>
                  <a:pt x="861" y="1669"/>
                  <a:pt x="861" y="1669"/>
                  <a:pt x="861" y="1669"/>
                </a:cubicBezTo>
                <a:cubicBezTo>
                  <a:pt x="863" y="1670"/>
                  <a:pt x="863" y="1670"/>
                  <a:pt x="863" y="1670"/>
                </a:cubicBezTo>
                <a:cubicBezTo>
                  <a:pt x="864" y="1670"/>
                  <a:pt x="864" y="1670"/>
                  <a:pt x="864" y="1670"/>
                </a:cubicBezTo>
                <a:cubicBezTo>
                  <a:pt x="865" y="1670"/>
                  <a:pt x="865" y="1670"/>
                  <a:pt x="865" y="1670"/>
                </a:cubicBezTo>
                <a:cubicBezTo>
                  <a:pt x="866" y="1669"/>
                  <a:pt x="866" y="1669"/>
                  <a:pt x="866" y="1669"/>
                </a:cubicBezTo>
                <a:cubicBezTo>
                  <a:pt x="868" y="1667"/>
                  <a:pt x="868" y="1667"/>
                  <a:pt x="868" y="1667"/>
                </a:cubicBezTo>
                <a:cubicBezTo>
                  <a:pt x="867" y="1664"/>
                  <a:pt x="867" y="1664"/>
                  <a:pt x="867" y="1664"/>
                </a:cubicBezTo>
                <a:cubicBezTo>
                  <a:pt x="867" y="1663"/>
                  <a:pt x="867" y="1663"/>
                  <a:pt x="867" y="1663"/>
                </a:cubicBezTo>
                <a:cubicBezTo>
                  <a:pt x="867" y="1661"/>
                  <a:pt x="867" y="1661"/>
                  <a:pt x="867" y="1661"/>
                </a:cubicBezTo>
                <a:cubicBezTo>
                  <a:pt x="867" y="1659"/>
                  <a:pt x="867" y="1659"/>
                  <a:pt x="867" y="1659"/>
                </a:cubicBezTo>
                <a:cubicBezTo>
                  <a:pt x="867" y="1656"/>
                  <a:pt x="867" y="1656"/>
                  <a:pt x="867" y="1656"/>
                </a:cubicBezTo>
                <a:cubicBezTo>
                  <a:pt x="867" y="1654"/>
                  <a:pt x="867" y="1654"/>
                  <a:pt x="867" y="1654"/>
                </a:cubicBezTo>
                <a:cubicBezTo>
                  <a:pt x="867" y="1652"/>
                  <a:pt x="867" y="1652"/>
                  <a:pt x="867" y="1652"/>
                </a:cubicBezTo>
                <a:cubicBezTo>
                  <a:pt x="869" y="1651"/>
                  <a:pt x="869" y="1651"/>
                  <a:pt x="869" y="1651"/>
                </a:cubicBezTo>
                <a:cubicBezTo>
                  <a:pt x="872" y="1648"/>
                  <a:pt x="872" y="1648"/>
                  <a:pt x="872" y="1648"/>
                </a:cubicBezTo>
                <a:cubicBezTo>
                  <a:pt x="873" y="1647"/>
                  <a:pt x="873" y="1647"/>
                  <a:pt x="873" y="1647"/>
                </a:cubicBezTo>
                <a:cubicBezTo>
                  <a:pt x="875" y="1647"/>
                  <a:pt x="875" y="1647"/>
                  <a:pt x="875" y="1647"/>
                </a:cubicBezTo>
                <a:cubicBezTo>
                  <a:pt x="876" y="1647"/>
                  <a:pt x="876" y="1647"/>
                  <a:pt x="876" y="1647"/>
                </a:cubicBezTo>
                <a:cubicBezTo>
                  <a:pt x="876" y="1644"/>
                  <a:pt x="876" y="1644"/>
                  <a:pt x="876" y="1644"/>
                </a:cubicBezTo>
                <a:cubicBezTo>
                  <a:pt x="877" y="1643"/>
                  <a:pt x="877" y="1643"/>
                  <a:pt x="877" y="1643"/>
                </a:cubicBezTo>
                <a:cubicBezTo>
                  <a:pt x="879" y="1642"/>
                  <a:pt x="879" y="1642"/>
                  <a:pt x="879" y="1642"/>
                </a:cubicBezTo>
                <a:cubicBezTo>
                  <a:pt x="882" y="1644"/>
                  <a:pt x="882" y="1644"/>
                  <a:pt x="882" y="1644"/>
                </a:cubicBezTo>
                <a:cubicBezTo>
                  <a:pt x="883" y="1643"/>
                  <a:pt x="883" y="1643"/>
                  <a:pt x="883" y="1643"/>
                </a:cubicBezTo>
                <a:cubicBezTo>
                  <a:pt x="883" y="1643"/>
                  <a:pt x="883" y="1643"/>
                  <a:pt x="883" y="1643"/>
                </a:cubicBezTo>
                <a:cubicBezTo>
                  <a:pt x="886" y="1644"/>
                  <a:pt x="886" y="1644"/>
                  <a:pt x="886" y="1644"/>
                </a:cubicBezTo>
                <a:cubicBezTo>
                  <a:pt x="887" y="1644"/>
                  <a:pt x="887" y="1644"/>
                  <a:pt x="887" y="1644"/>
                </a:cubicBezTo>
                <a:cubicBezTo>
                  <a:pt x="886" y="1643"/>
                  <a:pt x="886" y="1643"/>
                  <a:pt x="886" y="1643"/>
                </a:cubicBezTo>
                <a:cubicBezTo>
                  <a:pt x="884" y="1641"/>
                  <a:pt x="884" y="1641"/>
                  <a:pt x="884" y="1641"/>
                </a:cubicBezTo>
                <a:cubicBezTo>
                  <a:pt x="881" y="1639"/>
                  <a:pt x="881" y="1639"/>
                  <a:pt x="881" y="1639"/>
                </a:cubicBezTo>
                <a:cubicBezTo>
                  <a:pt x="881" y="1637"/>
                  <a:pt x="881" y="1637"/>
                  <a:pt x="881" y="1637"/>
                </a:cubicBezTo>
                <a:cubicBezTo>
                  <a:pt x="879" y="1635"/>
                  <a:pt x="879" y="1635"/>
                  <a:pt x="879" y="1635"/>
                </a:cubicBezTo>
                <a:cubicBezTo>
                  <a:pt x="878" y="1636"/>
                  <a:pt x="878" y="1636"/>
                  <a:pt x="878" y="1636"/>
                </a:cubicBezTo>
                <a:cubicBezTo>
                  <a:pt x="877" y="1634"/>
                  <a:pt x="877" y="1634"/>
                  <a:pt x="877" y="1634"/>
                </a:cubicBezTo>
                <a:cubicBezTo>
                  <a:pt x="878" y="1634"/>
                  <a:pt x="878" y="1634"/>
                  <a:pt x="878" y="1634"/>
                </a:cubicBezTo>
                <a:cubicBezTo>
                  <a:pt x="879" y="1632"/>
                  <a:pt x="879" y="1632"/>
                  <a:pt x="879" y="1632"/>
                </a:cubicBezTo>
                <a:cubicBezTo>
                  <a:pt x="878" y="1632"/>
                  <a:pt x="878" y="1632"/>
                  <a:pt x="878" y="1632"/>
                </a:cubicBezTo>
                <a:cubicBezTo>
                  <a:pt x="878" y="1631"/>
                  <a:pt x="878" y="1631"/>
                  <a:pt x="878" y="1631"/>
                </a:cubicBezTo>
                <a:cubicBezTo>
                  <a:pt x="876" y="1626"/>
                  <a:pt x="876" y="1626"/>
                  <a:pt x="876" y="1626"/>
                </a:cubicBezTo>
                <a:cubicBezTo>
                  <a:pt x="874" y="1623"/>
                  <a:pt x="874" y="1623"/>
                  <a:pt x="874" y="1623"/>
                </a:cubicBezTo>
                <a:cubicBezTo>
                  <a:pt x="874" y="1620"/>
                  <a:pt x="874" y="1620"/>
                  <a:pt x="874" y="1620"/>
                </a:cubicBezTo>
                <a:cubicBezTo>
                  <a:pt x="875" y="1616"/>
                  <a:pt x="875" y="1616"/>
                  <a:pt x="875" y="1616"/>
                </a:cubicBezTo>
                <a:cubicBezTo>
                  <a:pt x="878" y="1614"/>
                  <a:pt x="878" y="1614"/>
                  <a:pt x="878" y="1614"/>
                </a:cubicBezTo>
                <a:cubicBezTo>
                  <a:pt x="878" y="1613"/>
                  <a:pt x="878" y="1613"/>
                  <a:pt x="878" y="1613"/>
                </a:cubicBezTo>
                <a:cubicBezTo>
                  <a:pt x="878" y="1612"/>
                  <a:pt x="878" y="1612"/>
                  <a:pt x="878" y="1612"/>
                </a:cubicBezTo>
                <a:cubicBezTo>
                  <a:pt x="878" y="1610"/>
                  <a:pt x="878" y="1610"/>
                  <a:pt x="878" y="1610"/>
                </a:cubicBezTo>
                <a:cubicBezTo>
                  <a:pt x="877" y="1609"/>
                  <a:pt x="877" y="1609"/>
                  <a:pt x="877" y="1609"/>
                </a:cubicBezTo>
                <a:cubicBezTo>
                  <a:pt x="878" y="1610"/>
                  <a:pt x="878" y="1610"/>
                  <a:pt x="878" y="1610"/>
                </a:cubicBezTo>
                <a:cubicBezTo>
                  <a:pt x="879" y="1611"/>
                  <a:pt x="879" y="1611"/>
                  <a:pt x="879" y="1611"/>
                </a:cubicBezTo>
                <a:cubicBezTo>
                  <a:pt x="881" y="1612"/>
                  <a:pt x="881" y="1612"/>
                  <a:pt x="881" y="1612"/>
                </a:cubicBezTo>
                <a:cubicBezTo>
                  <a:pt x="883" y="1610"/>
                  <a:pt x="883" y="1610"/>
                  <a:pt x="883" y="1610"/>
                </a:cubicBezTo>
                <a:cubicBezTo>
                  <a:pt x="883" y="1608"/>
                  <a:pt x="883" y="1608"/>
                  <a:pt x="883" y="1608"/>
                </a:cubicBezTo>
                <a:cubicBezTo>
                  <a:pt x="885" y="1606"/>
                  <a:pt x="885" y="1606"/>
                  <a:pt x="885" y="1606"/>
                </a:cubicBezTo>
                <a:cubicBezTo>
                  <a:pt x="886" y="1605"/>
                  <a:pt x="886" y="1605"/>
                  <a:pt x="886" y="1605"/>
                </a:cubicBezTo>
                <a:cubicBezTo>
                  <a:pt x="885" y="1602"/>
                  <a:pt x="885" y="1602"/>
                  <a:pt x="885" y="1602"/>
                </a:cubicBezTo>
                <a:cubicBezTo>
                  <a:pt x="884" y="1601"/>
                  <a:pt x="884" y="1601"/>
                  <a:pt x="884" y="1601"/>
                </a:cubicBezTo>
                <a:cubicBezTo>
                  <a:pt x="883" y="1602"/>
                  <a:pt x="883" y="1602"/>
                  <a:pt x="883" y="1602"/>
                </a:cubicBezTo>
                <a:cubicBezTo>
                  <a:pt x="883" y="1601"/>
                  <a:pt x="883" y="1601"/>
                  <a:pt x="883" y="1601"/>
                </a:cubicBezTo>
                <a:cubicBezTo>
                  <a:pt x="885" y="1599"/>
                  <a:pt x="885" y="1599"/>
                  <a:pt x="885" y="1599"/>
                </a:cubicBezTo>
                <a:cubicBezTo>
                  <a:pt x="886" y="1597"/>
                  <a:pt x="886" y="1597"/>
                  <a:pt x="886" y="1597"/>
                </a:cubicBezTo>
                <a:cubicBezTo>
                  <a:pt x="886" y="1594"/>
                  <a:pt x="886" y="1594"/>
                  <a:pt x="886" y="1594"/>
                </a:cubicBezTo>
                <a:cubicBezTo>
                  <a:pt x="888" y="1592"/>
                  <a:pt x="888" y="1592"/>
                  <a:pt x="888" y="1592"/>
                </a:cubicBezTo>
                <a:cubicBezTo>
                  <a:pt x="890" y="1592"/>
                  <a:pt x="890" y="1592"/>
                  <a:pt x="890" y="1592"/>
                </a:cubicBezTo>
                <a:cubicBezTo>
                  <a:pt x="891" y="1590"/>
                  <a:pt x="891" y="1590"/>
                  <a:pt x="891" y="1590"/>
                </a:cubicBezTo>
                <a:cubicBezTo>
                  <a:pt x="892" y="1588"/>
                  <a:pt x="892" y="1588"/>
                  <a:pt x="892" y="1588"/>
                </a:cubicBezTo>
                <a:cubicBezTo>
                  <a:pt x="893" y="1587"/>
                  <a:pt x="893" y="1587"/>
                  <a:pt x="893" y="1587"/>
                </a:cubicBezTo>
                <a:cubicBezTo>
                  <a:pt x="894" y="1586"/>
                  <a:pt x="894" y="1586"/>
                  <a:pt x="894" y="1586"/>
                </a:cubicBezTo>
                <a:cubicBezTo>
                  <a:pt x="895" y="1585"/>
                  <a:pt x="895" y="1585"/>
                  <a:pt x="895" y="1585"/>
                </a:cubicBezTo>
                <a:cubicBezTo>
                  <a:pt x="897" y="1583"/>
                  <a:pt x="897" y="1583"/>
                  <a:pt x="897" y="1583"/>
                </a:cubicBezTo>
                <a:cubicBezTo>
                  <a:pt x="897" y="1582"/>
                  <a:pt x="897" y="1582"/>
                  <a:pt x="897" y="1582"/>
                </a:cubicBezTo>
                <a:cubicBezTo>
                  <a:pt x="897" y="1581"/>
                  <a:pt x="897" y="1581"/>
                  <a:pt x="897" y="1581"/>
                </a:cubicBezTo>
                <a:cubicBezTo>
                  <a:pt x="898" y="1580"/>
                  <a:pt x="898" y="1580"/>
                  <a:pt x="898" y="1580"/>
                </a:cubicBezTo>
                <a:cubicBezTo>
                  <a:pt x="896" y="1579"/>
                  <a:pt x="896" y="1579"/>
                  <a:pt x="896" y="1579"/>
                </a:cubicBezTo>
                <a:cubicBezTo>
                  <a:pt x="895" y="1579"/>
                  <a:pt x="895" y="1579"/>
                  <a:pt x="895" y="1579"/>
                </a:cubicBezTo>
                <a:cubicBezTo>
                  <a:pt x="897" y="1577"/>
                  <a:pt x="897" y="1577"/>
                  <a:pt x="897" y="1577"/>
                </a:cubicBezTo>
                <a:cubicBezTo>
                  <a:pt x="897" y="1575"/>
                  <a:pt x="897" y="1575"/>
                  <a:pt x="897" y="1575"/>
                </a:cubicBezTo>
                <a:cubicBezTo>
                  <a:pt x="896" y="1573"/>
                  <a:pt x="896" y="1573"/>
                  <a:pt x="896" y="1573"/>
                </a:cubicBezTo>
                <a:cubicBezTo>
                  <a:pt x="896" y="1572"/>
                  <a:pt x="896" y="1572"/>
                  <a:pt x="896" y="1572"/>
                </a:cubicBezTo>
                <a:cubicBezTo>
                  <a:pt x="896" y="1571"/>
                  <a:pt x="896" y="1571"/>
                  <a:pt x="896" y="1571"/>
                </a:cubicBezTo>
                <a:cubicBezTo>
                  <a:pt x="896" y="1570"/>
                  <a:pt x="896" y="1570"/>
                  <a:pt x="896" y="1570"/>
                </a:cubicBezTo>
                <a:cubicBezTo>
                  <a:pt x="894" y="1569"/>
                  <a:pt x="894" y="1569"/>
                  <a:pt x="894" y="1569"/>
                </a:cubicBezTo>
                <a:cubicBezTo>
                  <a:pt x="893" y="1570"/>
                  <a:pt x="893" y="1570"/>
                  <a:pt x="893" y="1570"/>
                </a:cubicBezTo>
                <a:cubicBezTo>
                  <a:pt x="891" y="1570"/>
                  <a:pt x="891" y="1570"/>
                  <a:pt x="891" y="1570"/>
                </a:cubicBezTo>
                <a:cubicBezTo>
                  <a:pt x="888" y="1570"/>
                  <a:pt x="888" y="1570"/>
                  <a:pt x="888" y="1570"/>
                </a:cubicBezTo>
                <a:cubicBezTo>
                  <a:pt x="884" y="1566"/>
                  <a:pt x="884" y="1566"/>
                  <a:pt x="884" y="1566"/>
                </a:cubicBezTo>
                <a:cubicBezTo>
                  <a:pt x="881" y="1564"/>
                  <a:pt x="881" y="1564"/>
                  <a:pt x="881" y="1564"/>
                </a:cubicBezTo>
                <a:cubicBezTo>
                  <a:pt x="880" y="1564"/>
                  <a:pt x="880" y="1564"/>
                  <a:pt x="880" y="1564"/>
                </a:cubicBezTo>
                <a:cubicBezTo>
                  <a:pt x="878" y="1562"/>
                  <a:pt x="878" y="1562"/>
                  <a:pt x="878" y="1562"/>
                </a:cubicBezTo>
                <a:cubicBezTo>
                  <a:pt x="876" y="1558"/>
                  <a:pt x="876" y="1558"/>
                  <a:pt x="876" y="1558"/>
                </a:cubicBezTo>
                <a:cubicBezTo>
                  <a:pt x="876" y="1556"/>
                  <a:pt x="876" y="1556"/>
                  <a:pt x="876" y="1556"/>
                </a:cubicBezTo>
                <a:cubicBezTo>
                  <a:pt x="875" y="1554"/>
                  <a:pt x="875" y="1554"/>
                  <a:pt x="875" y="1554"/>
                </a:cubicBezTo>
                <a:cubicBezTo>
                  <a:pt x="875" y="1553"/>
                  <a:pt x="875" y="1553"/>
                  <a:pt x="875" y="1553"/>
                </a:cubicBezTo>
                <a:cubicBezTo>
                  <a:pt x="877" y="1552"/>
                  <a:pt x="877" y="1552"/>
                  <a:pt x="877" y="1552"/>
                </a:cubicBezTo>
                <a:cubicBezTo>
                  <a:pt x="878" y="1550"/>
                  <a:pt x="878" y="1550"/>
                  <a:pt x="878" y="1550"/>
                </a:cubicBezTo>
                <a:cubicBezTo>
                  <a:pt x="879" y="1547"/>
                  <a:pt x="879" y="1547"/>
                  <a:pt x="879" y="1547"/>
                </a:cubicBezTo>
                <a:cubicBezTo>
                  <a:pt x="880" y="1547"/>
                  <a:pt x="880" y="1547"/>
                  <a:pt x="880" y="1547"/>
                </a:cubicBezTo>
                <a:cubicBezTo>
                  <a:pt x="881" y="1545"/>
                  <a:pt x="881" y="1545"/>
                  <a:pt x="881" y="1545"/>
                </a:cubicBezTo>
                <a:cubicBezTo>
                  <a:pt x="884" y="1545"/>
                  <a:pt x="884" y="1545"/>
                  <a:pt x="884" y="1545"/>
                </a:cubicBezTo>
                <a:cubicBezTo>
                  <a:pt x="886" y="1543"/>
                  <a:pt x="886" y="1543"/>
                  <a:pt x="886" y="1543"/>
                </a:cubicBezTo>
                <a:cubicBezTo>
                  <a:pt x="889" y="1542"/>
                  <a:pt x="889" y="1542"/>
                  <a:pt x="889" y="1542"/>
                </a:cubicBezTo>
                <a:cubicBezTo>
                  <a:pt x="890" y="1543"/>
                  <a:pt x="890" y="1543"/>
                  <a:pt x="890" y="1543"/>
                </a:cubicBezTo>
                <a:cubicBezTo>
                  <a:pt x="894" y="1542"/>
                  <a:pt x="894" y="1542"/>
                  <a:pt x="894" y="1542"/>
                </a:cubicBezTo>
                <a:cubicBezTo>
                  <a:pt x="894" y="1541"/>
                  <a:pt x="894" y="1541"/>
                  <a:pt x="894" y="1541"/>
                </a:cubicBezTo>
                <a:cubicBezTo>
                  <a:pt x="893" y="1540"/>
                  <a:pt x="893" y="1540"/>
                  <a:pt x="893" y="1540"/>
                </a:cubicBezTo>
                <a:cubicBezTo>
                  <a:pt x="891" y="1539"/>
                  <a:pt x="891" y="1539"/>
                  <a:pt x="891" y="1539"/>
                </a:cubicBezTo>
                <a:cubicBezTo>
                  <a:pt x="891" y="1539"/>
                  <a:pt x="891" y="1539"/>
                  <a:pt x="891" y="1539"/>
                </a:cubicBezTo>
                <a:cubicBezTo>
                  <a:pt x="891" y="1537"/>
                  <a:pt x="891" y="1537"/>
                  <a:pt x="891" y="1537"/>
                </a:cubicBezTo>
                <a:cubicBezTo>
                  <a:pt x="894" y="1535"/>
                  <a:pt x="894" y="1535"/>
                  <a:pt x="894" y="1535"/>
                </a:cubicBezTo>
                <a:cubicBezTo>
                  <a:pt x="894" y="1535"/>
                  <a:pt x="894" y="1535"/>
                  <a:pt x="894" y="1535"/>
                </a:cubicBezTo>
                <a:cubicBezTo>
                  <a:pt x="895" y="1533"/>
                  <a:pt x="895" y="1533"/>
                  <a:pt x="895" y="1533"/>
                </a:cubicBezTo>
                <a:cubicBezTo>
                  <a:pt x="895" y="1532"/>
                  <a:pt x="895" y="1532"/>
                  <a:pt x="895" y="1532"/>
                </a:cubicBezTo>
                <a:cubicBezTo>
                  <a:pt x="892" y="1530"/>
                  <a:pt x="892" y="1530"/>
                  <a:pt x="892" y="1530"/>
                </a:cubicBezTo>
                <a:cubicBezTo>
                  <a:pt x="893" y="1528"/>
                  <a:pt x="893" y="1528"/>
                  <a:pt x="893" y="1528"/>
                </a:cubicBezTo>
                <a:cubicBezTo>
                  <a:pt x="893" y="1527"/>
                  <a:pt x="893" y="1527"/>
                  <a:pt x="893" y="1527"/>
                </a:cubicBezTo>
                <a:cubicBezTo>
                  <a:pt x="892" y="1526"/>
                  <a:pt x="892" y="1526"/>
                  <a:pt x="892" y="1526"/>
                </a:cubicBezTo>
                <a:cubicBezTo>
                  <a:pt x="891" y="1523"/>
                  <a:pt x="891" y="1523"/>
                  <a:pt x="891" y="1523"/>
                </a:cubicBezTo>
                <a:cubicBezTo>
                  <a:pt x="893" y="1522"/>
                  <a:pt x="893" y="1522"/>
                  <a:pt x="893" y="1522"/>
                </a:cubicBezTo>
                <a:cubicBezTo>
                  <a:pt x="894" y="1520"/>
                  <a:pt x="894" y="1520"/>
                  <a:pt x="894" y="1520"/>
                </a:cubicBezTo>
                <a:cubicBezTo>
                  <a:pt x="893" y="1519"/>
                  <a:pt x="893" y="1519"/>
                  <a:pt x="893" y="1519"/>
                </a:cubicBezTo>
                <a:cubicBezTo>
                  <a:pt x="894" y="1518"/>
                  <a:pt x="894" y="1518"/>
                  <a:pt x="894" y="1518"/>
                </a:cubicBezTo>
                <a:cubicBezTo>
                  <a:pt x="897" y="1517"/>
                  <a:pt x="897" y="1517"/>
                  <a:pt x="897" y="1517"/>
                </a:cubicBezTo>
                <a:cubicBezTo>
                  <a:pt x="900" y="1514"/>
                  <a:pt x="900" y="1514"/>
                  <a:pt x="900" y="1514"/>
                </a:cubicBezTo>
                <a:cubicBezTo>
                  <a:pt x="899" y="1513"/>
                  <a:pt x="899" y="1513"/>
                  <a:pt x="899" y="1513"/>
                </a:cubicBezTo>
                <a:cubicBezTo>
                  <a:pt x="896" y="1513"/>
                  <a:pt x="896" y="1513"/>
                  <a:pt x="896" y="1513"/>
                </a:cubicBezTo>
                <a:cubicBezTo>
                  <a:pt x="894" y="1512"/>
                  <a:pt x="894" y="1512"/>
                  <a:pt x="894" y="1512"/>
                </a:cubicBezTo>
                <a:cubicBezTo>
                  <a:pt x="894" y="1511"/>
                  <a:pt x="894" y="1511"/>
                  <a:pt x="894" y="1511"/>
                </a:cubicBezTo>
                <a:cubicBezTo>
                  <a:pt x="894" y="1510"/>
                  <a:pt x="894" y="1510"/>
                  <a:pt x="894" y="1510"/>
                </a:cubicBezTo>
                <a:cubicBezTo>
                  <a:pt x="896" y="1509"/>
                  <a:pt x="896" y="1509"/>
                  <a:pt x="896" y="1509"/>
                </a:cubicBezTo>
                <a:cubicBezTo>
                  <a:pt x="898" y="1508"/>
                  <a:pt x="898" y="1508"/>
                  <a:pt x="898" y="1508"/>
                </a:cubicBezTo>
                <a:cubicBezTo>
                  <a:pt x="901" y="1509"/>
                  <a:pt x="901" y="1509"/>
                  <a:pt x="901" y="1509"/>
                </a:cubicBezTo>
                <a:cubicBezTo>
                  <a:pt x="901" y="1510"/>
                  <a:pt x="901" y="1510"/>
                  <a:pt x="901" y="1510"/>
                </a:cubicBezTo>
                <a:cubicBezTo>
                  <a:pt x="901" y="1511"/>
                  <a:pt x="901" y="1511"/>
                  <a:pt x="901" y="1511"/>
                </a:cubicBezTo>
                <a:cubicBezTo>
                  <a:pt x="901" y="1513"/>
                  <a:pt x="901" y="1513"/>
                  <a:pt x="901" y="1513"/>
                </a:cubicBezTo>
                <a:cubicBezTo>
                  <a:pt x="903" y="1513"/>
                  <a:pt x="903" y="1513"/>
                  <a:pt x="903" y="1513"/>
                </a:cubicBezTo>
                <a:cubicBezTo>
                  <a:pt x="907" y="1511"/>
                  <a:pt x="907" y="1511"/>
                  <a:pt x="907" y="1511"/>
                </a:cubicBezTo>
                <a:cubicBezTo>
                  <a:pt x="907" y="1509"/>
                  <a:pt x="907" y="1509"/>
                  <a:pt x="907" y="1509"/>
                </a:cubicBezTo>
                <a:cubicBezTo>
                  <a:pt x="906" y="1507"/>
                  <a:pt x="906" y="1507"/>
                  <a:pt x="906" y="1507"/>
                </a:cubicBezTo>
                <a:cubicBezTo>
                  <a:pt x="905" y="1505"/>
                  <a:pt x="905" y="1505"/>
                  <a:pt x="905" y="1505"/>
                </a:cubicBezTo>
                <a:cubicBezTo>
                  <a:pt x="906" y="1505"/>
                  <a:pt x="906" y="1505"/>
                  <a:pt x="906" y="1505"/>
                </a:cubicBezTo>
                <a:cubicBezTo>
                  <a:pt x="906" y="1503"/>
                  <a:pt x="906" y="1503"/>
                  <a:pt x="906" y="1503"/>
                </a:cubicBezTo>
                <a:cubicBezTo>
                  <a:pt x="905" y="1501"/>
                  <a:pt x="905" y="1501"/>
                  <a:pt x="905" y="1501"/>
                </a:cubicBezTo>
                <a:cubicBezTo>
                  <a:pt x="903" y="1501"/>
                  <a:pt x="903" y="1501"/>
                  <a:pt x="903" y="1501"/>
                </a:cubicBezTo>
                <a:cubicBezTo>
                  <a:pt x="901" y="1502"/>
                  <a:pt x="901" y="1502"/>
                  <a:pt x="901" y="1502"/>
                </a:cubicBezTo>
                <a:cubicBezTo>
                  <a:pt x="900" y="1502"/>
                  <a:pt x="900" y="1502"/>
                  <a:pt x="900" y="1502"/>
                </a:cubicBezTo>
                <a:cubicBezTo>
                  <a:pt x="899" y="1503"/>
                  <a:pt x="899" y="1503"/>
                  <a:pt x="899" y="1503"/>
                </a:cubicBezTo>
                <a:cubicBezTo>
                  <a:pt x="900" y="1503"/>
                  <a:pt x="900" y="1503"/>
                  <a:pt x="900" y="1503"/>
                </a:cubicBezTo>
                <a:cubicBezTo>
                  <a:pt x="901" y="1504"/>
                  <a:pt x="901" y="1504"/>
                  <a:pt x="901" y="1504"/>
                </a:cubicBezTo>
                <a:cubicBezTo>
                  <a:pt x="901" y="1505"/>
                  <a:pt x="901" y="1505"/>
                  <a:pt x="901" y="1505"/>
                </a:cubicBezTo>
                <a:cubicBezTo>
                  <a:pt x="898" y="1506"/>
                  <a:pt x="898" y="1506"/>
                  <a:pt x="898" y="1506"/>
                </a:cubicBezTo>
                <a:cubicBezTo>
                  <a:pt x="896" y="1505"/>
                  <a:pt x="896" y="1505"/>
                  <a:pt x="896" y="1505"/>
                </a:cubicBezTo>
                <a:cubicBezTo>
                  <a:pt x="897" y="1504"/>
                  <a:pt x="897" y="1504"/>
                  <a:pt x="897" y="1504"/>
                </a:cubicBezTo>
                <a:cubicBezTo>
                  <a:pt x="898" y="1504"/>
                  <a:pt x="898" y="1504"/>
                  <a:pt x="898" y="1504"/>
                </a:cubicBezTo>
                <a:cubicBezTo>
                  <a:pt x="897" y="1503"/>
                  <a:pt x="897" y="1503"/>
                  <a:pt x="897" y="1503"/>
                </a:cubicBezTo>
                <a:cubicBezTo>
                  <a:pt x="894" y="1503"/>
                  <a:pt x="894" y="1503"/>
                  <a:pt x="894" y="1503"/>
                </a:cubicBezTo>
                <a:cubicBezTo>
                  <a:pt x="892" y="1502"/>
                  <a:pt x="892" y="1502"/>
                  <a:pt x="892" y="1502"/>
                </a:cubicBezTo>
                <a:cubicBezTo>
                  <a:pt x="891" y="1500"/>
                  <a:pt x="891" y="1500"/>
                  <a:pt x="891" y="1500"/>
                </a:cubicBezTo>
                <a:cubicBezTo>
                  <a:pt x="891" y="1495"/>
                  <a:pt x="891" y="1495"/>
                  <a:pt x="891" y="1495"/>
                </a:cubicBezTo>
                <a:cubicBezTo>
                  <a:pt x="890" y="1492"/>
                  <a:pt x="890" y="1492"/>
                  <a:pt x="890" y="1492"/>
                </a:cubicBezTo>
                <a:cubicBezTo>
                  <a:pt x="888" y="1490"/>
                  <a:pt x="888" y="1490"/>
                  <a:pt x="888" y="1490"/>
                </a:cubicBezTo>
                <a:cubicBezTo>
                  <a:pt x="888" y="1486"/>
                  <a:pt x="888" y="1486"/>
                  <a:pt x="888" y="1486"/>
                </a:cubicBezTo>
                <a:cubicBezTo>
                  <a:pt x="890" y="1484"/>
                  <a:pt x="890" y="1484"/>
                  <a:pt x="890" y="1484"/>
                </a:cubicBezTo>
                <a:cubicBezTo>
                  <a:pt x="892" y="1484"/>
                  <a:pt x="892" y="1484"/>
                  <a:pt x="892" y="1484"/>
                </a:cubicBezTo>
                <a:cubicBezTo>
                  <a:pt x="891" y="1485"/>
                  <a:pt x="891" y="1485"/>
                  <a:pt x="891" y="1485"/>
                </a:cubicBezTo>
                <a:cubicBezTo>
                  <a:pt x="892" y="1486"/>
                  <a:pt x="892" y="1486"/>
                  <a:pt x="892" y="1486"/>
                </a:cubicBezTo>
                <a:cubicBezTo>
                  <a:pt x="894" y="1485"/>
                  <a:pt x="894" y="1485"/>
                  <a:pt x="894" y="1485"/>
                </a:cubicBezTo>
                <a:cubicBezTo>
                  <a:pt x="898" y="1487"/>
                  <a:pt x="898" y="1487"/>
                  <a:pt x="898" y="1487"/>
                </a:cubicBezTo>
                <a:cubicBezTo>
                  <a:pt x="901" y="1490"/>
                  <a:pt x="901" y="1490"/>
                  <a:pt x="901" y="1490"/>
                </a:cubicBezTo>
                <a:cubicBezTo>
                  <a:pt x="904" y="1490"/>
                  <a:pt x="904" y="1490"/>
                  <a:pt x="904" y="1490"/>
                </a:cubicBezTo>
                <a:cubicBezTo>
                  <a:pt x="910" y="1490"/>
                  <a:pt x="910" y="1490"/>
                  <a:pt x="910" y="1490"/>
                </a:cubicBezTo>
                <a:cubicBezTo>
                  <a:pt x="914" y="1488"/>
                  <a:pt x="914" y="1488"/>
                  <a:pt x="914" y="1488"/>
                </a:cubicBezTo>
                <a:cubicBezTo>
                  <a:pt x="913" y="1487"/>
                  <a:pt x="913" y="1487"/>
                  <a:pt x="913" y="1487"/>
                </a:cubicBezTo>
                <a:cubicBezTo>
                  <a:pt x="916" y="1486"/>
                  <a:pt x="916" y="1486"/>
                  <a:pt x="916" y="1486"/>
                </a:cubicBezTo>
                <a:cubicBezTo>
                  <a:pt x="916" y="1484"/>
                  <a:pt x="916" y="1484"/>
                  <a:pt x="916" y="1484"/>
                </a:cubicBezTo>
                <a:cubicBezTo>
                  <a:pt x="916" y="1482"/>
                  <a:pt x="916" y="1482"/>
                  <a:pt x="916" y="1482"/>
                </a:cubicBezTo>
                <a:cubicBezTo>
                  <a:pt x="916" y="1481"/>
                  <a:pt x="916" y="1481"/>
                  <a:pt x="916" y="1481"/>
                </a:cubicBezTo>
                <a:cubicBezTo>
                  <a:pt x="917" y="1480"/>
                  <a:pt x="917" y="1480"/>
                  <a:pt x="917" y="1480"/>
                </a:cubicBezTo>
                <a:cubicBezTo>
                  <a:pt x="915" y="1479"/>
                  <a:pt x="915" y="1479"/>
                  <a:pt x="915" y="1479"/>
                </a:cubicBezTo>
                <a:cubicBezTo>
                  <a:pt x="914" y="1477"/>
                  <a:pt x="914" y="1477"/>
                  <a:pt x="914" y="1477"/>
                </a:cubicBezTo>
                <a:cubicBezTo>
                  <a:pt x="914" y="1475"/>
                  <a:pt x="914" y="1475"/>
                  <a:pt x="914" y="1475"/>
                </a:cubicBezTo>
                <a:cubicBezTo>
                  <a:pt x="914" y="1474"/>
                  <a:pt x="914" y="1474"/>
                  <a:pt x="914" y="1474"/>
                </a:cubicBezTo>
                <a:cubicBezTo>
                  <a:pt x="914" y="1473"/>
                  <a:pt x="914" y="1473"/>
                  <a:pt x="914" y="1473"/>
                </a:cubicBezTo>
                <a:cubicBezTo>
                  <a:pt x="916" y="1471"/>
                  <a:pt x="916" y="1471"/>
                  <a:pt x="916" y="1471"/>
                </a:cubicBezTo>
                <a:cubicBezTo>
                  <a:pt x="916" y="1470"/>
                  <a:pt x="916" y="1470"/>
                  <a:pt x="916" y="1470"/>
                </a:cubicBezTo>
                <a:cubicBezTo>
                  <a:pt x="916" y="1470"/>
                  <a:pt x="916" y="1470"/>
                  <a:pt x="916" y="1470"/>
                </a:cubicBezTo>
                <a:cubicBezTo>
                  <a:pt x="917" y="1469"/>
                  <a:pt x="917" y="1469"/>
                  <a:pt x="917" y="1469"/>
                </a:cubicBezTo>
                <a:cubicBezTo>
                  <a:pt x="916" y="1467"/>
                  <a:pt x="916" y="1467"/>
                  <a:pt x="916" y="1467"/>
                </a:cubicBezTo>
                <a:cubicBezTo>
                  <a:pt x="915" y="1467"/>
                  <a:pt x="915" y="1467"/>
                  <a:pt x="915" y="1467"/>
                </a:cubicBezTo>
                <a:cubicBezTo>
                  <a:pt x="915" y="1466"/>
                  <a:pt x="915" y="1466"/>
                  <a:pt x="915" y="1466"/>
                </a:cubicBezTo>
                <a:cubicBezTo>
                  <a:pt x="914" y="1464"/>
                  <a:pt x="914" y="1464"/>
                  <a:pt x="914" y="1464"/>
                </a:cubicBezTo>
                <a:cubicBezTo>
                  <a:pt x="914" y="1461"/>
                  <a:pt x="914" y="1461"/>
                  <a:pt x="914" y="1461"/>
                </a:cubicBezTo>
                <a:cubicBezTo>
                  <a:pt x="914" y="1460"/>
                  <a:pt x="914" y="1460"/>
                  <a:pt x="914" y="1460"/>
                </a:cubicBezTo>
                <a:cubicBezTo>
                  <a:pt x="914" y="1458"/>
                  <a:pt x="914" y="1458"/>
                  <a:pt x="914" y="1458"/>
                </a:cubicBezTo>
                <a:cubicBezTo>
                  <a:pt x="914" y="1457"/>
                  <a:pt x="914" y="1457"/>
                  <a:pt x="914" y="1457"/>
                </a:cubicBezTo>
                <a:cubicBezTo>
                  <a:pt x="915" y="1458"/>
                  <a:pt x="915" y="1458"/>
                  <a:pt x="915" y="1458"/>
                </a:cubicBezTo>
                <a:cubicBezTo>
                  <a:pt x="916" y="1458"/>
                  <a:pt x="916" y="1458"/>
                  <a:pt x="916" y="1458"/>
                </a:cubicBezTo>
                <a:cubicBezTo>
                  <a:pt x="919" y="1459"/>
                  <a:pt x="919" y="1459"/>
                  <a:pt x="919" y="1459"/>
                </a:cubicBezTo>
                <a:cubicBezTo>
                  <a:pt x="922" y="1461"/>
                  <a:pt x="922" y="1461"/>
                  <a:pt x="922" y="1461"/>
                </a:cubicBezTo>
                <a:cubicBezTo>
                  <a:pt x="923" y="1461"/>
                  <a:pt x="923" y="1461"/>
                  <a:pt x="923" y="1461"/>
                </a:cubicBezTo>
                <a:cubicBezTo>
                  <a:pt x="927" y="1460"/>
                  <a:pt x="927" y="1460"/>
                  <a:pt x="927" y="1460"/>
                </a:cubicBezTo>
                <a:cubicBezTo>
                  <a:pt x="930" y="1461"/>
                  <a:pt x="930" y="1461"/>
                  <a:pt x="930" y="1461"/>
                </a:cubicBezTo>
                <a:cubicBezTo>
                  <a:pt x="934" y="1461"/>
                  <a:pt x="934" y="1461"/>
                  <a:pt x="934" y="1461"/>
                </a:cubicBezTo>
                <a:cubicBezTo>
                  <a:pt x="941" y="1459"/>
                  <a:pt x="941" y="1459"/>
                  <a:pt x="941" y="1459"/>
                </a:cubicBezTo>
                <a:cubicBezTo>
                  <a:pt x="947" y="1456"/>
                  <a:pt x="947" y="1456"/>
                  <a:pt x="947" y="1456"/>
                </a:cubicBezTo>
                <a:cubicBezTo>
                  <a:pt x="948" y="1455"/>
                  <a:pt x="948" y="1455"/>
                  <a:pt x="948" y="1455"/>
                </a:cubicBezTo>
                <a:cubicBezTo>
                  <a:pt x="949" y="1456"/>
                  <a:pt x="949" y="1456"/>
                  <a:pt x="949" y="1456"/>
                </a:cubicBezTo>
                <a:cubicBezTo>
                  <a:pt x="953" y="1455"/>
                  <a:pt x="953" y="1455"/>
                  <a:pt x="953" y="1455"/>
                </a:cubicBezTo>
                <a:cubicBezTo>
                  <a:pt x="958" y="1451"/>
                  <a:pt x="958" y="1451"/>
                  <a:pt x="958" y="1451"/>
                </a:cubicBezTo>
                <a:cubicBezTo>
                  <a:pt x="959" y="1449"/>
                  <a:pt x="959" y="1449"/>
                  <a:pt x="959" y="1449"/>
                </a:cubicBezTo>
                <a:cubicBezTo>
                  <a:pt x="959" y="1447"/>
                  <a:pt x="959" y="1447"/>
                  <a:pt x="959" y="1447"/>
                </a:cubicBezTo>
                <a:cubicBezTo>
                  <a:pt x="960" y="1444"/>
                  <a:pt x="960" y="1444"/>
                  <a:pt x="960" y="1444"/>
                </a:cubicBezTo>
                <a:cubicBezTo>
                  <a:pt x="960" y="1443"/>
                  <a:pt x="960" y="1443"/>
                  <a:pt x="960" y="1443"/>
                </a:cubicBezTo>
                <a:cubicBezTo>
                  <a:pt x="961" y="1444"/>
                  <a:pt x="961" y="1444"/>
                  <a:pt x="961" y="1444"/>
                </a:cubicBezTo>
                <a:cubicBezTo>
                  <a:pt x="961" y="1443"/>
                  <a:pt x="961" y="1443"/>
                  <a:pt x="961" y="1443"/>
                </a:cubicBezTo>
                <a:cubicBezTo>
                  <a:pt x="962" y="1440"/>
                  <a:pt x="962" y="1440"/>
                  <a:pt x="962" y="1440"/>
                </a:cubicBezTo>
                <a:cubicBezTo>
                  <a:pt x="964" y="1437"/>
                  <a:pt x="964" y="1437"/>
                  <a:pt x="964" y="1437"/>
                </a:cubicBezTo>
                <a:cubicBezTo>
                  <a:pt x="965" y="1435"/>
                  <a:pt x="965" y="1435"/>
                  <a:pt x="965" y="1435"/>
                </a:cubicBezTo>
                <a:cubicBezTo>
                  <a:pt x="965" y="1430"/>
                  <a:pt x="965" y="1430"/>
                  <a:pt x="965" y="1430"/>
                </a:cubicBezTo>
                <a:cubicBezTo>
                  <a:pt x="964" y="1429"/>
                  <a:pt x="964" y="1429"/>
                  <a:pt x="964" y="1429"/>
                </a:cubicBezTo>
                <a:cubicBezTo>
                  <a:pt x="964" y="1429"/>
                  <a:pt x="964" y="1429"/>
                  <a:pt x="964" y="1429"/>
                </a:cubicBezTo>
                <a:cubicBezTo>
                  <a:pt x="962" y="1430"/>
                  <a:pt x="962" y="1430"/>
                  <a:pt x="962" y="1430"/>
                </a:cubicBezTo>
                <a:cubicBezTo>
                  <a:pt x="960" y="1430"/>
                  <a:pt x="960" y="1430"/>
                  <a:pt x="960" y="1430"/>
                </a:cubicBezTo>
                <a:cubicBezTo>
                  <a:pt x="957" y="1428"/>
                  <a:pt x="957" y="1428"/>
                  <a:pt x="957" y="1428"/>
                </a:cubicBezTo>
                <a:cubicBezTo>
                  <a:pt x="956" y="1425"/>
                  <a:pt x="956" y="1425"/>
                  <a:pt x="956" y="1425"/>
                </a:cubicBezTo>
                <a:cubicBezTo>
                  <a:pt x="956" y="1424"/>
                  <a:pt x="956" y="1424"/>
                  <a:pt x="956" y="1424"/>
                </a:cubicBezTo>
                <a:cubicBezTo>
                  <a:pt x="959" y="1419"/>
                  <a:pt x="959" y="1419"/>
                  <a:pt x="959" y="1419"/>
                </a:cubicBezTo>
                <a:cubicBezTo>
                  <a:pt x="959" y="1417"/>
                  <a:pt x="959" y="1417"/>
                  <a:pt x="959" y="1417"/>
                </a:cubicBezTo>
                <a:cubicBezTo>
                  <a:pt x="958" y="1415"/>
                  <a:pt x="958" y="1415"/>
                  <a:pt x="958" y="1415"/>
                </a:cubicBezTo>
                <a:cubicBezTo>
                  <a:pt x="952" y="1411"/>
                  <a:pt x="952" y="1411"/>
                  <a:pt x="952" y="1411"/>
                </a:cubicBezTo>
                <a:cubicBezTo>
                  <a:pt x="948" y="1410"/>
                  <a:pt x="948" y="1410"/>
                  <a:pt x="948" y="1410"/>
                </a:cubicBezTo>
                <a:cubicBezTo>
                  <a:pt x="944" y="1406"/>
                  <a:pt x="944" y="1406"/>
                  <a:pt x="944" y="1406"/>
                </a:cubicBezTo>
                <a:cubicBezTo>
                  <a:pt x="943" y="1405"/>
                  <a:pt x="943" y="1405"/>
                  <a:pt x="943" y="1405"/>
                </a:cubicBezTo>
                <a:cubicBezTo>
                  <a:pt x="943" y="1404"/>
                  <a:pt x="943" y="1404"/>
                  <a:pt x="943" y="1404"/>
                </a:cubicBezTo>
                <a:cubicBezTo>
                  <a:pt x="943" y="1402"/>
                  <a:pt x="943" y="1402"/>
                  <a:pt x="943" y="1402"/>
                </a:cubicBezTo>
                <a:cubicBezTo>
                  <a:pt x="942" y="1401"/>
                  <a:pt x="942" y="1401"/>
                  <a:pt x="942" y="1401"/>
                </a:cubicBezTo>
                <a:cubicBezTo>
                  <a:pt x="943" y="1400"/>
                  <a:pt x="943" y="1400"/>
                  <a:pt x="943" y="1400"/>
                </a:cubicBezTo>
                <a:cubicBezTo>
                  <a:pt x="942" y="1396"/>
                  <a:pt x="942" y="1396"/>
                  <a:pt x="942" y="1396"/>
                </a:cubicBezTo>
                <a:cubicBezTo>
                  <a:pt x="942" y="1392"/>
                  <a:pt x="942" y="1392"/>
                  <a:pt x="942" y="1392"/>
                </a:cubicBezTo>
                <a:cubicBezTo>
                  <a:pt x="942" y="1392"/>
                  <a:pt x="942" y="1392"/>
                  <a:pt x="942" y="1392"/>
                </a:cubicBezTo>
                <a:cubicBezTo>
                  <a:pt x="942" y="1396"/>
                  <a:pt x="942" y="1396"/>
                  <a:pt x="942" y="1396"/>
                </a:cubicBezTo>
                <a:cubicBezTo>
                  <a:pt x="944" y="1400"/>
                  <a:pt x="944" y="1400"/>
                  <a:pt x="944" y="1400"/>
                </a:cubicBezTo>
                <a:cubicBezTo>
                  <a:pt x="947" y="1404"/>
                  <a:pt x="947" y="1404"/>
                  <a:pt x="947" y="1404"/>
                </a:cubicBezTo>
                <a:cubicBezTo>
                  <a:pt x="948" y="1404"/>
                  <a:pt x="948" y="1404"/>
                  <a:pt x="948" y="1404"/>
                </a:cubicBezTo>
                <a:cubicBezTo>
                  <a:pt x="951" y="1407"/>
                  <a:pt x="951" y="1407"/>
                  <a:pt x="951" y="1407"/>
                </a:cubicBezTo>
                <a:cubicBezTo>
                  <a:pt x="952" y="1408"/>
                  <a:pt x="952" y="1408"/>
                  <a:pt x="952" y="1408"/>
                </a:cubicBezTo>
                <a:cubicBezTo>
                  <a:pt x="957" y="1407"/>
                  <a:pt x="957" y="1407"/>
                  <a:pt x="957" y="1407"/>
                </a:cubicBezTo>
                <a:cubicBezTo>
                  <a:pt x="959" y="1407"/>
                  <a:pt x="959" y="1407"/>
                  <a:pt x="959" y="1407"/>
                </a:cubicBezTo>
                <a:cubicBezTo>
                  <a:pt x="962" y="1409"/>
                  <a:pt x="962" y="1409"/>
                  <a:pt x="962" y="1409"/>
                </a:cubicBezTo>
                <a:cubicBezTo>
                  <a:pt x="963" y="1409"/>
                  <a:pt x="963" y="1409"/>
                  <a:pt x="963" y="1409"/>
                </a:cubicBezTo>
                <a:cubicBezTo>
                  <a:pt x="965" y="1409"/>
                  <a:pt x="965" y="1409"/>
                  <a:pt x="965" y="1409"/>
                </a:cubicBezTo>
                <a:cubicBezTo>
                  <a:pt x="965" y="1410"/>
                  <a:pt x="965" y="1410"/>
                  <a:pt x="965" y="1410"/>
                </a:cubicBezTo>
                <a:cubicBezTo>
                  <a:pt x="965" y="1411"/>
                  <a:pt x="965" y="1411"/>
                  <a:pt x="965" y="1411"/>
                </a:cubicBezTo>
                <a:cubicBezTo>
                  <a:pt x="965" y="1412"/>
                  <a:pt x="965" y="1412"/>
                  <a:pt x="965" y="1412"/>
                </a:cubicBezTo>
                <a:cubicBezTo>
                  <a:pt x="967" y="1412"/>
                  <a:pt x="967" y="1412"/>
                  <a:pt x="967" y="1412"/>
                </a:cubicBezTo>
                <a:cubicBezTo>
                  <a:pt x="969" y="1410"/>
                  <a:pt x="969" y="1410"/>
                  <a:pt x="969" y="1410"/>
                </a:cubicBezTo>
                <a:cubicBezTo>
                  <a:pt x="972" y="1410"/>
                  <a:pt x="972" y="1410"/>
                  <a:pt x="972" y="1410"/>
                </a:cubicBezTo>
                <a:cubicBezTo>
                  <a:pt x="974" y="1411"/>
                  <a:pt x="974" y="1411"/>
                  <a:pt x="974" y="1411"/>
                </a:cubicBezTo>
                <a:cubicBezTo>
                  <a:pt x="975" y="1411"/>
                  <a:pt x="975" y="1411"/>
                  <a:pt x="975" y="1411"/>
                </a:cubicBezTo>
                <a:cubicBezTo>
                  <a:pt x="976" y="1411"/>
                  <a:pt x="976" y="1411"/>
                  <a:pt x="976" y="1411"/>
                </a:cubicBezTo>
                <a:cubicBezTo>
                  <a:pt x="978" y="1412"/>
                  <a:pt x="978" y="1412"/>
                  <a:pt x="978" y="1412"/>
                </a:cubicBezTo>
                <a:cubicBezTo>
                  <a:pt x="979" y="1412"/>
                  <a:pt x="979" y="1412"/>
                  <a:pt x="979" y="1412"/>
                </a:cubicBezTo>
                <a:cubicBezTo>
                  <a:pt x="980" y="1411"/>
                  <a:pt x="980" y="1411"/>
                  <a:pt x="980" y="1411"/>
                </a:cubicBezTo>
                <a:cubicBezTo>
                  <a:pt x="981" y="1410"/>
                  <a:pt x="981" y="1410"/>
                  <a:pt x="981" y="1410"/>
                </a:cubicBezTo>
                <a:cubicBezTo>
                  <a:pt x="981" y="1410"/>
                  <a:pt x="981" y="1410"/>
                  <a:pt x="981" y="1410"/>
                </a:cubicBezTo>
                <a:cubicBezTo>
                  <a:pt x="982" y="1410"/>
                  <a:pt x="982" y="1410"/>
                  <a:pt x="982" y="1410"/>
                </a:cubicBezTo>
                <a:cubicBezTo>
                  <a:pt x="986" y="1409"/>
                  <a:pt x="986" y="1409"/>
                  <a:pt x="986" y="1409"/>
                </a:cubicBezTo>
                <a:cubicBezTo>
                  <a:pt x="988" y="1406"/>
                  <a:pt x="988" y="1406"/>
                  <a:pt x="988" y="1406"/>
                </a:cubicBezTo>
                <a:cubicBezTo>
                  <a:pt x="989" y="1405"/>
                  <a:pt x="989" y="1405"/>
                  <a:pt x="989" y="1405"/>
                </a:cubicBezTo>
                <a:cubicBezTo>
                  <a:pt x="988" y="1405"/>
                  <a:pt x="988" y="1405"/>
                  <a:pt x="988" y="1405"/>
                </a:cubicBezTo>
                <a:cubicBezTo>
                  <a:pt x="989" y="1403"/>
                  <a:pt x="989" y="1403"/>
                  <a:pt x="989" y="1403"/>
                </a:cubicBezTo>
                <a:cubicBezTo>
                  <a:pt x="991" y="1401"/>
                  <a:pt x="991" y="1401"/>
                  <a:pt x="991" y="1401"/>
                </a:cubicBezTo>
                <a:cubicBezTo>
                  <a:pt x="991" y="1398"/>
                  <a:pt x="991" y="1398"/>
                  <a:pt x="991" y="1398"/>
                </a:cubicBezTo>
                <a:cubicBezTo>
                  <a:pt x="993" y="1397"/>
                  <a:pt x="993" y="1397"/>
                  <a:pt x="993" y="1397"/>
                </a:cubicBezTo>
                <a:cubicBezTo>
                  <a:pt x="994" y="1396"/>
                  <a:pt x="994" y="1396"/>
                  <a:pt x="994" y="1396"/>
                </a:cubicBezTo>
                <a:cubicBezTo>
                  <a:pt x="998" y="1393"/>
                  <a:pt x="998" y="1393"/>
                  <a:pt x="998" y="1393"/>
                </a:cubicBezTo>
                <a:cubicBezTo>
                  <a:pt x="999" y="1390"/>
                  <a:pt x="999" y="1390"/>
                  <a:pt x="999" y="1390"/>
                </a:cubicBezTo>
                <a:cubicBezTo>
                  <a:pt x="1001" y="1383"/>
                  <a:pt x="1001" y="1383"/>
                  <a:pt x="1001" y="1383"/>
                </a:cubicBezTo>
                <a:cubicBezTo>
                  <a:pt x="1002" y="1378"/>
                  <a:pt x="1002" y="1378"/>
                  <a:pt x="1002" y="1378"/>
                </a:cubicBezTo>
                <a:cubicBezTo>
                  <a:pt x="1003" y="1377"/>
                  <a:pt x="1003" y="1377"/>
                  <a:pt x="1003" y="1377"/>
                </a:cubicBezTo>
                <a:cubicBezTo>
                  <a:pt x="1002" y="1376"/>
                  <a:pt x="1002" y="1376"/>
                  <a:pt x="1002" y="1376"/>
                </a:cubicBezTo>
                <a:cubicBezTo>
                  <a:pt x="1000" y="1373"/>
                  <a:pt x="1000" y="1373"/>
                  <a:pt x="1000" y="1373"/>
                </a:cubicBezTo>
                <a:cubicBezTo>
                  <a:pt x="1001" y="1371"/>
                  <a:pt x="1001" y="1371"/>
                  <a:pt x="1001" y="1371"/>
                </a:cubicBezTo>
                <a:cubicBezTo>
                  <a:pt x="1003" y="1371"/>
                  <a:pt x="1003" y="1371"/>
                  <a:pt x="1003" y="1371"/>
                </a:cubicBezTo>
                <a:cubicBezTo>
                  <a:pt x="1003" y="1369"/>
                  <a:pt x="1003" y="1369"/>
                  <a:pt x="1003" y="1369"/>
                </a:cubicBezTo>
                <a:cubicBezTo>
                  <a:pt x="1004" y="1367"/>
                  <a:pt x="1004" y="1367"/>
                  <a:pt x="1004" y="1367"/>
                </a:cubicBezTo>
                <a:cubicBezTo>
                  <a:pt x="1004" y="1366"/>
                  <a:pt x="1004" y="1366"/>
                  <a:pt x="1004" y="1366"/>
                </a:cubicBezTo>
                <a:cubicBezTo>
                  <a:pt x="1005" y="1367"/>
                  <a:pt x="1005" y="1367"/>
                  <a:pt x="1005" y="1367"/>
                </a:cubicBezTo>
                <a:cubicBezTo>
                  <a:pt x="1007" y="1367"/>
                  <a:pt x="1007" y="1367"/>
                  <a:pt x="1007" y="1367"/>
                </a:cubicBezTo>
                <a:cubicBezTo>
                  <a:pt x="1008" y="1365"/>
                  <a:pt x="1008" y="1365"/>
                  <a:pt x="1008" y="1365"/>
                </a:cubicBezTo>
                <a:cubicBezTo>
                  <a:pt x="1009" y="1363"/>
                  <a:pt x="1009" y="1363"/>
                  <a:pt x="1009" y="1363"/>
                </a:cubicBezTo>
                <a:cubicBezTo>
                  <a:pt x="1009" y="1362"/>
                  <a:pt x="1009" y="1362"/>
                  <a:pt x="1009" y="1362"/>
                </a:cubicBezTo>
                <a:cubicBezTo>
                  <a:pt x="1009" y="1360"/>
                  <a:pt x="1009" y="1360"/>
                  <a:pt x="1009" y="1360"/>
                </a:cubicBezTo>
                <a:cubicBezTo>
                  <a:pt x="1010" y="1359"/>
                  <a:pt x="1010" y="1359"/>
                  <a:pt x="1010" y="1359"/>
                </a:cubicBezTo>
                <a:cubicBezTo>
                  <a:pt x="1011" y="1359"/>
                  <a:pt x="1011" y="1359"/>
                  <a:pt x="1011" y="1359"/>
                </a:cubicBezTo>
                <a:cubicBezTo>
                  <a:pt x="1012" y="1357"/>
                  <a:pt x="1012" y="1357"/>
                  <a:pt x="1012" y="1357"/>
                </a:cubicBezTo>
                <a:cubicBezTo>
                  <a:pt x="1011" y="1356"/>
                  <a:pt x="1011" y="1356"/>
                  <a:pt x="1011" y="1356"/>
                </a:cubicBezTo>
                <a:cubicBezTo>
                  <a:pt x="1010" y="1354"/>
                  <a:pt x="1010" y="1354"/>
                  <a:pt x="1010" y="1354"/>
                </a:cubicBezTo>
                <a:cubicBezTo>
                  <a:pt x="1010" y="1351"/>
                  <a:pt x="1010" y="1351"/>
                  <a:pt x="1010" y="1351"/>
                </a:cubicBezTo>
                <a:cubicBezTo>
                  <a:pt x="1010" y="1350"/>
                  <a:pt x="1010" y="1350"/>
                  <a:pt x="1010" y="1350"/>
                </a:cubicBezTo>
                <a:cubicBezTo>
                  <a:pt x="1011" y="1351"/>
                  <a:pt x="1011" y="1351"/>
                  <a:pt x="1011" y="1351"/>
                </a:cubicBezTo>
                <a:cubicBezTo>
                  <a:pt x="1012" y="1353"/>
                  <a:pt x="1012" y="1353"/>
                  <a:pt x="1012" y="1353"/>
                </a:cubicBezTo>
                <a:cubicBezTo>
                  <a:pt x="1014" y="1356"/>
                  <a:pt x="1014" y="1356"/>
                  <a:pt x="1014" y="1356"/>
                </a:cubicBezTo>
                <a:cubicBezTo>
                  <a:pt x="1015" y="1356"/>
                  <a:pt x="1015" y="1356"/>
                  <a:pt x="1015" y="1356"/>
                </a:cubicBezTo>
                <a:cubicBezTo>
                  <a:pt x="1016" y="1355"/>
                  <a:pt x="1016" y="1355"/>
                  <a:pt x="1016" y="1355"/>
                </a:cubicBezTo>
                <a:cubicBezTo>
                  <a:pt x="1017" y="1356"/>
                  <a:pt x="1017" y="1356"/>
                  <a:pt x="1017" y="1356"/>
                </a:cubicBezTo>
                <a:cubicBezTo>
                  <a:pt x="1017" y="1358"/>
                  <a:pt x="1017" y="1358"/>
                  <a:pt x="1017" y="1358"/>
                </a:cubicBezTo>
                <a:cubicBezTo>
                  <a:pt x="1016" y="1358"/>
                  <a:pt x="1016" y="1358"/>
                  <a:pt x="1016" y="1358"/>
                </a:cubicBezTo>
                <a:cubicBezTo>
                  <a:pt x="1015" y="1361"/>
                  <a:pt x="1015" y="1361"/>
                  <a:pt x="1015" y="1361"/>
                </a:cubicBezTo>
                <a:cubicBezTo>
                  <a:pt x="1013" y="1365"/>
                  <a:pt x="1013" y="1365"/>
                  <a:pt x="1013" y="1365"/>
                </a:cubicBezTo>
                <a:cubicBezTo>
                  <a:pt x="1011" y="1365"/>
                  <a:pt x="1011" y="1365"/>
                  <a:pt x="1011" y="1365"/>
                </a:cubicBezTo>
                <a:cubicBezTo>
                  <a:pt x="1011" y="1368"/>
                  <a:pt x="1011" y="1368"/>
                  <a:pt x="1011" y="1368"/>
                </a:cubicBezTo>
                <a:cubicBezTo>
                  <a:pt x="1010" y="1369"/>
                  <a:pt x="1010" y="1369"/>
                  <a:pt x="1010" y="1369"/>
                </a:cubicBezTo>
                <a:cubicBezTo>
                  <a:pt x="1009" y="1369"/>
                  <a:pt x="1009" y="1369"/>
                  <a:pt x="1009" y="1369"/>
                </a:cubicBezTo>
                <a:cubicBezTo>
                  <a:pt x="1007" y="1370"/>
                  <a:pt x="1007" y="1370"/>
                  <a:pt x="1007" y="1370"/>
                </a:cubicBezTo>
                <a:cubicBezTo>
                  <a:pt x="1006" y="1372"/>
                  <a:pt x="1006" y="1372"/>
                  <a:pt x="1006" y="1372"/>
                </a:cubicBezTo>
                <a:cubicBezTo>
                  <a:pt x="1005" y="1373"/>
                  <a:pt x="1005" y="1373"/>
                  <a:pt x="1005" y="1373"/>
                </a:cubicBezTo>
                <a:cubicBezTo>
                  <a:pt x="1004" y="1373"/>
                  <a:pt x="1004" y="1373"/>
                  <a:pt x="1004" y="1373"/>
                </a:cubicBezTo>
                <a:cubicBezTo>
                  <a:pt x="1003" y="1374"/>
                  <a:pt x="1003" y="1374"/>
                  <a:pt x="1003" y="1374"/>
                </a:cubicBezTo>
                <a:cubicBezTo>
                  <a:pt x="1003" y="1375"/>
                  <a:pt x="1003" y="1375"/>
                  <a:pt x="1003" y="1375"/>
                </a:cubicBezTo>
                <a:cubicBezTo>
                  <a:pt x="1005" y="1375"/>
                  <a:pt x="1005" y="1375"/>
                  <a:pt x="1005" y="1375"/>
                </a:cubicBezTo>
                <a:cubicBezTo>
                  <a:pt x="1011" y="1370"/>
                  <a:pt x="1011" y="1370"/>
                  <a:pt x="1011" y="1370"/>
                </a:cubicBezTo>
                <a:cubicBezTo>
                  <a:pt x="1015" y="1367"/>
                  <a:pt x="1015" y="1367"/>
                  <a:pt x="1015" y="1367"/>
                </a:cubicBezTo>
                <a:cubicBezTo>
                  <a:pt x="1019" y="1359"/>
                  <a:pt x="1019" y="1359"/>
                  <a:pt x="1019" y="1359"/>
                </a:cubicBezTo>
                <a:cubicBezTo>
                  <a:pt x="1021" y="1355"/>
                  <a:pt x="1021" y="1355"/>
                  <a:pt x="1021" y="1355"/>
                </a:cubicBezTo>
                <a:cubicBezTo>
                  <a:pt x="1023" y="1349"/>
                  <a:pt x="1023" y="1349"/>
                  <a:pt x="1023" y="1349"/>
                </a:cubicBezTo>
                <a:cubicBezTo>
                  <a:pt x="1028" y="1341"/>
                  <a:pt x="1028" y="1341"/>
                  <a:pt x="1028" y="1341"/>
                </a:cubicBezTo>
                <a:cubicBezTo>
                  <a:pt x="1032" y="1335"/>
                  <a:pt x="1032" y="1335"/>
                  <a:pt x="1032" y="1335"/>
                </a:cubicBezTo>
                <a:cubicBezTo>
                  <a:pt x="1033" y="1334"/>
                  <a:pt x="1033" y="1334"/>
                  <a:pt x="1033" y="1334"/>
                </a:cubicBezTo>
                <a:cubicBezTo>
                  <a:pt x="1032" y="1333"/>
                  <a:pt x="1032" y="1333"/>
                  <a:pt x="1032" y="1333"/>
                </a:cubicBezTo>
                <a:cubicBezTo>
                  <a:pt x="1033" y="1332"/>
                  <a:pt x="1033" y="1332"/>
                  <a:pt x="1033" y="1332"/>
                </a:cubicBezTo>
                <a:cubicBezTo>
                  <a:pt x="1034" y="1331"/>
                  <a:pt x="1034" y="1331"/>
                  <a:pt x="1034" y="1331"/>
                </a:cubicBezTo>
                <a:cubicBezTo>
                  <a:pt x="1034" y="1329"/>
                  <a:pt x="1034" y="1329"/>
                  <a:pt x="1034" y="1329"/>
                </a:cubicBezTo>
                <a:cubicBezTo>
                  <a:pt x="1036" y="1328"/>
                  <a:pt x="1036" y="1328"/>
                  <a:pt x="1036" y="1328"/>
                </a:cubicBezTo>
                <a:cubicBezTo>
                  <a:pt x="1035" y="1326"/>
                  <a:pt x="1035" y="1326"/>
                  <a:pt x="1035" y="1326"/>
                </a:cubicBezTo>
                <a:cubicBezTo>
                  <a:pt x="1036" y="1325"/>
                  <a:pt x="1036" y="1325"/>
                  <a:pt x="1036" y="1325"/>
                </a:cubicBezTo>
                <a:cubicBezTo>
                  <a:pt x="1035" y="1325"/>
                  <a:pt x="1035" y="1325"/>
                  <a:pt x="1035" y="1325"/>
                </a:cubicBezTo>
                <a:cubicBezTo>
                  <a:pt x="1034" y="1324"/>
                  <a:pt x="1034" y="1324"/>
                  <a:pt x="1034" y="1324"/>
                </a:cubicBezTo>
                <a:cubicBezTo>
                  <a:pt x="1035" y="1322"/>
                  <a:pt x="1035" y="1322"/>
                  <a:pt x="1035" y="1322"/>
                </a:cubicBezTo>
                <a:cubicBezTo>
                  <a:pt x="1033" y="1319"/>
                  <a:pt x="1033" y="1319"/>
                  <a:pt x="1033" y="1319"/>
                </a:cubicBezTo>
                <a:cubicBezTo>
                  <a:pt x="1033" y="1318"/>
                  <a:pt x="1033" y="1318"/>
                  <a:pt x="1033" y="1318"/>
                </a:cubicBezTo>
                <a:cubicBezTo>
                  <a:pt x="1033" y="1317"/>
                  <a:pt x="1033" y="1317"/>
                  <a:pt x="1033" y="1317"/>
                </a:cubicBezTo>
                <a:cubicBezTo>
                  <a:pt x="1033" y="1315"/>
                  <a:pt x="1033" y="1315"/>
                  <a:pt x="1033" y="1315"/>
                </a:cubicBezTo>
                <a:cubicBezTo>
                  <a:pt x="1032" y="1312"/>
                  <a:pt x="1032" y="1312"/>
                  <a:pt x="1032" y="1312"/>
                </a:cubicBezTo>
                <a:cubicBezTo>
                  <a:pt x="1031" y="1309"/>
                  <a:pt x="1031" y="1309"/>
                  <a:pt x="1031" y="1309"/>
                </a:cubicBezTo>
                <a:cubicBezTo>
                  <a:pt x="1032" y="1309"/>
                  <a:pt x="1032" y="1309"/>
                  <a:pt x="1032" y="1309"/>
                </a:cubicBezTo>
                <a:cubicBezTo>
                  <a:pt x="1034" y="1308"/>
                  <a:pt x="1034" y="1308"/>
                  <a:pt x="1034" y="1308"/>
                </a:cubicBezTo>
                <a:cubicBezTo>
                  <a:pt x="1034" y="1306"/>
                  <a:pt x="1034" y="1306"/>
                  <a:pt x="1034" y="1306"/>
                </a:cubicBezTo>
                <a:cubicBezTo>
                  <a:pt x="1032" y="1306"/>
                  <a:pt x="1032" y="1306"/>
                  <a:pt x="1032" y="1306"/>
                </a:cubicBezTo>
                <a:cubicBezTo>
                  <a:pt x="1035" y="1305"/>
                  <a:pt x="1035" y="1305"/>
                  <a:pt x="1035" y="1305"/>
                </a:cubicBezTo>
                <a:cubicBezTo>
                  <a:pt x="1035" y="1303"/>
                  <a:pt x="1035" y="1303"/>
                  <a:pt x="1035" y="1303"/>
                </a:cubicBezTo>
                <a:cubicBezTo>
                  <a:pt x="1032" y="1302"/>
                  <a:pt x="1032" y="1302"/>
                  <a:pt x="1032" y="1302"/>
                </a:cubicBezTo>
                <a:cubicBezTo>
                  <a:pt x="1034" y="1301"/>
                  <a:pt x="1034" y="1301"/>
                  <a:pt x="1034" y="1301"/>
                </a:cubicBezTo>
                <a:cubicBezTo>
                  <a:pt x="1036" y="1300"/>
                  <a:pt x="1036" y="1300"/>
                  <a:pt x="1036" y="1300"/>
                </a:cubicBezTo>
                <a:cubicBezTo>
                  <a:pt x="1037" y="1300"/>
                  <a:pt x="1037" y="1300"/>
                  <a:pt x="1037" y="1300"/>
                </a:cubicBezTo>
                <a:cubicBezTo>
                  <a:pt x="1040" y="1297"/>
                  <a:pt x="1040" y="1297"/>
                  <a:pt x="1040" y="1297"/>
                </a:cubicBezTo>
                <a:cubicBezTo>
                  <a:pt x="1042" y="1296"/>
                  <a:pt x="1042" y="1296"/>
                  <a:pt x="1042" y="1296"/>
                </a:cubicBezTo>
                <a:cubicBezTo>
                  <a:pt x="1042" y="1295"/>
                  <a:pt x="1042" y="1295"/>
                  <a:pt x="1042" y="1295"/>
                </a:cubicBezTo>
                <a:cubicBezTo>
                  <a:pt x="1044" y="1293"/>
                  <a:pt x="1044" y="1293"/>
                  <a:pt x="1044" y="1293"/>
                </a:cubicBezTo>
                <a:cubicBezTo>
                  <a:pt x="1048" y="1291"/>
                  <a:pt x="1048" y="1291"/>
                  <a:pt x="1048" y="1291"/>
                </a:cubicBezTo>
                <a:cubicBezTo>
                  <a:pt x="1052" y="1286"/>
                  <a:pt x="1052" y="1286"/>
                  <a:pt x="1052" y="1286"/>
                </a:cubicBezTo>
                <a:cubicBezTo>
                  <a:pt x="1055" y="1286"/>
                  <a:pt x="1055" y="1286"/>
                  <a:pt x="1055" y="1286"/>
                </a:cubicBezTo>
                <a:cubicBezTo>
                  <a:pt x="1057" y="1284"/>
                  <a:pt x="1057" y="1284"/>
                  <a:pt x="1057" y="1284"/>
                </a:cubicBezTo>
                <a:cubicBezTo>
                  <a:pt x="1060" y="1282"/>
                  <a:pt x="1060" y="1282"/>
                  <a:pt x="1060" y="1282"/>
                </a:cubicBezTo>
                <a:cubicBezTo>
                  <a:pt x="1062" y="1282"/>
                  <a:pt x="1062" y="1282"/>
                  <a:pt x="1062" y="1282"/>
                </a:cubicBezTo>
                <a:cubicBezTo>
                  <a:pt x="1063" y="1283"/>
                  <a:pt x="1063" y="1283"/>
                  <a:pt x="1063" y="1283"/>
                </a:cubicBezTo>
                <a:cubicBezTo>
                  <a:pt x="1064" y="1283"/>
                  <a:pt x="1064" y="1283"/>
                  <a:pt x="1064" y="1283"/>
                </a:cubicBezTo>
                <a:cubicBezTo>
                  <a:pt x="1065" y="1282"/>
                  <a:pt x="1065" y="1282"/>
                  <a:pt x="1065" y="1282"/>
                </a:cubicBezTo>
                <a:cubicBezTo>
                  <a:pt x="1066" y="1279"/>
                  <a:pt x="1066" y="1279"/>
                  <a:pt x="1066" y="1279"/>
                </a:cubicBezTo>
                <a:cubicBezTo>
                  <a:pt x="1070" y="1276"/>
                  <a:pt x="1070" y="1276"/>
                  <a:pt x="1070" y="1276"/>
                </a:cubicBezTo>
                <a:cubicBezTo>
                  <a:pt x="1072" y="1276"/>
                  <a:pt x="1072" y="1276"/>
                  <a:pt x="1072" y="1276"/>
                </a:cubicBezTo>
                <a:cubicBezTo>
                  <a:pt x="1072" y="1275"/>
                  <a:pt x="1072" y="1275"/>
                  <a:pt x="1072" y="1275"/>
                </a:cubicBezTo>
                <a:cubicBezTo>
                  <a:pt x="1071" y="1275"/>
                  <a:pt x="1071" y="1275"/>
                  <a:pt x="1071" y="1275"/>
                </a:cubicBezTo>
                <a:cubicBezTo>
                  <a:pt x="1070" y="1274"/>
                  <a:pt x="1070" y="1274"/>
                  <a:pt x="1070" y="1274"/>
                </a:cubicBezTo>
                <a:cubicBezTo>
                  <a:pt x="1069" y="1273"/>
                  <a:pt x="1069" y="1273"/>
                  <a:pt x="1069" y="1273"/>
                </a:cubicBezTo>
                <a:cubicBezTo>
                  <a:pt x="1070" y="1273"/>
                  <a:pt x="1070" y="1273"/>
                  <a:pt x="1070" y="1273"/>
                </a:cubicBezTo>
                <a:cubicBezTo>
                  <a:pt x="1073" y="1271"/>
                  <a:pt x="1073" y="1271"/>
                  <a:pt x="1073" y="1271"/>
                </a:cubicBezTo>
                <a:cubicBezTo>
                  <a:pt x="1075" y="1271"/>
                  <a:pt x="1075" y="1271"/>
                  <a:pt x="1075" y="1271"/>
                </a:cubicBezTo>
                <a:cubicBezTo>
                  <a:pt x="1076" y="1271"/>
                  <a:pt x="1076" y="1271"/>
                  <a:pt x="1076" y="1271"/>
                </a:cubicBezTo>
                <a:cubicBezTo>
                  <a:pt x="1078" y="1270"/>
                  <a:pt x="1078" y="1270"/>
                  <a:pt x="1078" y="1270"/>
                </a:cubicBezTo>
                <a:cubicBezTo>
                  <a:pt x="1079" y="1270"/>
                  <a:pt x="1079" y="1270"/>
                  <a:pt x="1079" y="1270"/>
                </a:cubicBezTo>
                <a:cubicBezTo>
                  <a:pt x="1079" y="1271"/>
                  <a:pt x="1079" y="1271"/>
                  <a:pt x="1079" y="1271"/>
                </a:cubicBezTo>
                <a:cubicBezTo>
                  <a:pt x="1077" y="1273"/>
                  <a:pt x="1077" y="1273"/>
                  <a:pt x="1077" y="1273"/>
                </a:cubicBezTo>
                <a:cubicBezTo>
                  <a:pt x="1074" y="1273"/>
                  <a:pt x="1074" y="1273"/>
                  <a:pt x="1074" y="1273"/>
                </a:cubicBezTo>
                <a:cubicBezTo>
                  <a:pt x="1074" y="1274"/>
                  <a:pt x="1074" y="1274"/>
                  <a:pt x="1074" y="1274"/>
                </a:cubicBezTo>
                <a:cubicBezTo>
                  <a:pt x="1075" y="1274"/>
                  <a:pt x="1075" y="1274"/>
                  <a:pt x="1075" y="1274"/>
                </a:cubicBezTo>
                <a:cubicBezTo>
                  <a:pt x="1078" y="1273"/>
                  <a:pt x="1078" y="1273"/>
                  <a:pt x="1078" y="1273"/>
                </a:cubicBezTo>
                <a:cubicBezTo>
                  <a:pt x="1083" y="1271"/>
                  <a:pt x="1083" y="1271"/>
                  <a:pt x="1083" y="1271"/>
                </a:cubicBezTo>
                <a:cubicBezTo>
                  <a:pt x="1083" y="1270"/>
                  <a:pt x="1083" y="1270"/>
                  <a:pt x="1083" y="1270"/>
                </a:cubicBezTo>
                <a:cubicBezTo>
                  <a:pt x="1084" y="1269"/>
                  <a:pt x="1084" y="1269"/>
                  <a:pt x="1084" y="1269"/>
                </a:cubicBezTo>
                <a:cubicBezTo>
                  <a:pt x="1085" y="1269"/>
                  <a:pt x="1085" y="1269"/>
                  <a:pt x="1085" y="1269"/>
                </a:cubicBezTo>
                <a:cubicBezTo>
                  <a:pt x="1085" y="1271"/>
                  <a:pt x="1085" y="1271"/>
                  <a:pt x="1085" y="1271"/>
                </a:cubicBezTo>
                <a:cubicBezTo>
                  <a:pt x="1085" y="1271"/>
                  <a:pt x="1085" y="1272"/>
                  <a:pt x="1085" y="1272"/>
                </a:cubicBezTo>
                <a:cubicBezTo>
                  <a:pt x="1085" y="1272"/>
                  <a:pt x="1088" y="1273"/>
                  <a:pt x="1088" y="1273"/>
                </a:cubicBezTo>
                <a:cubicBezTo>
                  <a:pt x="1090" y="1272"/>
                  <a:pt x="1090" y="1272"/>
                  <a:pt x="1090" y="1272"/>
                </a:cubicBezTo>
                <a:cubicBezTo>
                  <a:pt x="1092" y="1272"/>
                  <a:pt x="1092" y="1272"/>
                  <a:pt x="1092" y="1272"/>
                </a:cubicBezTo>
                <a:cubicBezTo>
                  <a:pt x="1096" y="1272"/>
                  <a:pt x="1096" y="1272"/>
                  <a:pt x="1096" y="1272"/>
                </a:cubicBezTo>
                <a:cubicBezTo>
                  <a:pt x="1098" y="1271"/>
                  <a:pt x="1098" y="1271"/>
                  <a:pt x="1098" y="1271"/>
                </a:cubicBezTo>
                <a:cubicBezTo>
                  <a:pt x="1098" y="1270"/>
                  <a:pt x="1098" y="1270"/>
                  <a:pt x="1098" y="1270"/>
                </a:cubicBezTo>
                <a:cubicBezTo>
                  <a:pt x="1097" y="1269"/>
                  <a:pt x="1097" y="1269"/>
                  <a:pt x="1097" y="1269"/>
                </a:cubicBezTo>
                <a:cubicBezTo>
                  <a:pt x="1098" y="1268"/>
                  <a:pt x="1098" y="1268"/>
                  <a:pt x="1098" y="1268"/>
                </a:cubicBezTo>
                <a:cubicBezTo>
                  <a:pt x="1102" y="1265"/>
                  <a:pt x="1102" y="1265"/>
                  <a:pt x="1102" y="1265"/>
                </a:cubicBezTo>
                <a:cubicBezTo>
                  <a:pt x="1106" y="1264"/>
                  <a:pt x="1106" y="1264"/>
                  <a:pt x="1106" y="1264"/>
                </a:cubicBezTo>
                <a:cubicBezTo>
                  <a:pt x="1108" y="1263"/>
                  <a:pt x="1108" y="1263"/>
                  <a:pt x="1108" y="1263"/>
                </a:cubicBezTo>
                <a:cubicBezTo>
                  <a:pt x="1109" y="1261"/>
                  <a:pt x="1109" y="1261"/>
                  <a:pt x="1109" y="1261"/>
                </a:cubicBezTo>
                <a:cubicBezTo>
                  <a:pt x="1108" y="1261"/>
                  <a:pt x="1108" y="1261"/>
                  <a:pt x="1108" y="1261"/>
                </a:cubicBezTo>
                <a:cubicBezTo>
                  <a:pt x="1106" y="1257"/>
                  <a:pt x="1106" y="1257"/>
                  <a:pt x="1106" y="1257"/>
                </a:cubicBezTo>
                <a:cubicBezTo>
                  <a:pt x="1108" y="1254"/>
                  <a:pt x="1108" y="1254"/>
                  <a:pt x="1108" y="1254"/>
                </a:cubicBezTo>
                <a:cubicBezTo>
                  <a:pt x="1109" y="1252"/>
                  <a:pt x="1109" y="1252"/>
                  <a:pt x="1109" y="1252"/>
                </a:cubicBezTo>
                <a:cubicBezTo>
                  <a:pt x="1109" y="1250"/>
                  <a:pt x="1109" y="1250"/>
                  <a:pt x="1109" y="1250"/>
                </a:cubicBezTo>
                <a:cubicBezTo>
                  <a:pt x="1110" y="1250"/>
                  <a:pt x="1110" y="1250"/>
                  <a:pt x="1110" y="1250"/>
                </a:cubicBezTo>
                <a:cubicBezTo>
                  <a:pt x="1112" y="1248"/>
                  <a:pt x="1112" y="1248"/>
                  <a:pt x="1112" y="1248"/>
                </a:cubicBezTo>
                <a:cubicBezTo>
                  <a:pt x="1112" y="1246"/>
                  <a:pt x="1112" y="1246"/>
                  <a:pt x="1112" y="1246"/>
                </a:cubicBezTo>
                <a:cubicBezTo>
                  <a:pt x="1112" y="1246"/>
                  <a:pt x="1112" y="1246"/>
                  <a:pt x="1112" y="1246"/>
                </a:cubicBezTo>
                <a:cubicBezTo>
                  <a:pt x="1114" y="1241"/>
                  <a:pt x="1114" y="1241"/>
                  <a:pt x="1114" y="1241"/>
                </a:cubicBezTo>
                <a:cubicBezTo>
                  <a:pt x="1118" y="1237"/>
                  <a:pt x="1118" y="1237"/>
                  <a:pt x="1118" y="1237"/>
                </a:cubicBezTo>
                <a:cubicBezTo>
                  <a:pt x="1118" y="1235"/>
                  <a:pt x="1118" y="1235"/>
                  <a:pt x="1118" y="1235"/>
                </a:cubicBezTo>
                <a:cubicBezTo>
                  <a:pt x="1118" y="1229"/>
                  <a:pt x="1118" y="1229"/>
                  <a:pt x="1118" y="1229"/>
                </a:cubicBezTo>
                <a:cubicBezTo>
                  <a:pt x="1117" y="1227"/>
                  <a:pt x="1117" y="1227"/>
                  <a:pt x="1117" y="1227"/>
                </a:cubicBezTo>
                <a:cubicBezTo>
                  <a:pt x="1118" y="1223"/>
                  <a:pt x="1118" y="1223"/>
                  <a:pt x="1118" y="1223"/>
                </a:cubicBezTo>
                <a:cubicBezTo>
                  <a:pt x="1119" y="1222"/>
                  <a:pt x="1119" y="1222"/>
                  <a:pt x="1119" y="1222"/>
                </a:cubicBezTo>
                <a:cubicBezTo>
                  <a:pt x="1119" y="1221"/>
                  <a:pt x="1119" y="1221"/>
                  <a:pt x="1119" y="1221"/>
                </a:cubicBezTo>
                <a:cubicBezTo>
                  <a:pt x="1122" y="1218"/>
                  <a:pt x="1122" y="1218"/>
                  <a:pt x="1122" y="1218"/>
                </a:cubicBezTo>
                <a:cubicBezTo>
                  <a:pt x="1123" y="1217"/>
                  <a:pt x="1123" y="1217"/>
                  <a:pt x="1123" y="1217"/>
                </a:cubicBezTo>
                <a:cubicBezTo>
                  <a:pt x="1122" y="1213"/>
                  <a:pt x="1122" y="1213"/>
                  <a:pt x="1122" y="1213"/>
                </a:cubicBezTo>
                <a:cubicBezTo>
                  <a:pt x="1124" y="1209"/>
                  <a:pt x="1124" y="1209"/>
                  <a:pt x="1124" y="1209"/>
                </a:cubicBezTo>
                <a:cubicBezTo>
                  <a:pt x="1123" y="1205"/>
                  <a:pt x="1123" y="1205"/>
                  <a:pt x="1123" y="1205"/>
                </a:cubicBezTo>
                <a:cubicBezTo>
                  <a:pt x="1124" y="1203"/>
                  <a:pt x="1124" y="1203"/>
                  <a:pt x="1124" y="1203"/>
                </a:cubicBezTo>
                <a:cubicBezTo>
                  <a:pt x="1124" y="1201"/>
                  <a:pt x="1124" y="1201"/>
                  <a:pt x="1124" y="1201"/>
                </a:cubicBezTo>
                <a:cubicBezTo>
                  <a:pt x="1125" y="1197"/>
                  <a:pt x="1125" y="1197"/>
                  <a:pt x="1125" y="1197"/>
                </a:cubicBezTo>
                <a:cubicBezTo>
                  <a:pt x="1123" y="1184"/>
                  <a:pt x="1123" y="1184"/>
                  <a:pt x="1123" y="1184"/>
                </a:cubicBezTo>
                <a:cubicBezTo>
                  <a:pt x="1123" y="1181"/>
                  <a:pt x="1123" y="1181"/>
                  <a:pt x="1123" y="1181"/>
                </a:cubicBezTo>
                <a:cubicBezTo>
                  <a:pt x="1124" y="1179"/>
                  <a:pt x="1124" y="1179"/>
                  <a:pt x="1124" y="1179"/>
                </a:cubicBezTo>
                <a:cubicBezTo>
                  <a:pt x="1124" y="1177"/>
                  <a:pt x="1124" y="1177"/>
                  <a:pt x="1124" y="1177"/>
                </a:cubicBezTo>
                <a:cubicBezTo>
                  <a:pt x="1123" y="1178"/>
                  <a:pt x="1123" y="1178"/>
                  <a:pt x="1123" y="1178"/>
                </a:cubicBezTo>
                <a:cubicBezTo>
                  <a:pt x="1122" y="1177"/>
                  <a:pt x="1122" y="1177"/>
                  <a:pt x="1122" y="1177"/>
                </a:cubicBezTo>
                <a:cubicBezTo>
                  <a:pt x="1122" y="1176"/>
                  <a:pt x="1122" y="1176"/>
                  <a:pt x="1122" y="1176"/>
                </a:cubicBezTo>
                <a:cubicBezTo>
                  <a:pt x="1123" y="1174"/>
                  <a:pt x="1123" y="1174"/>
                  <a:pt x="1123" y="1174"/>
                </a:cubicBezTo>
                <a:cubicBezTo>
                  <a:pt x="1123" y="1171"/>
                  <a:pt x="1123" y="1171"/>
                  <a:pt x="1123" y="1171"/>
                </a:cubicBezTo>
                <a:cubicBezTo>
                  <a:pt x="1123" y="1170"/>
                  <a:pt x="1123" y="1170"/>
                  <a:pt x="1123" y="1170"/>
                </a:cubicBezTo>
                <a:cubicBezTo>
                  <a:pt x="1125" y="1170"/>
                  <a:pt x="1125" y="1170"/>
                  <a:pt x="1125" y="1170"/>
                </a:cubicBezTo>
                <a:cubicBezTo>
                  <a:pt x="1125" y="1167"/>
                  <a:pt x="1125" y="1167"/>
                  <a:pt x="1125" y="1167"/>
                </a:cubicBezTo>
                <a:cubicBezTo>
                  <a:pt x="1123" y="1165"/>
                  <a:pt x="1123" y="1165"/>
                  <a:pt x="1123" y="1165"/>
                </a:cubicBezTo>
                <a:cubicBezTo>
                  <a:pt x="1121" y="1164"/>
                  <a:pt x="1121" y="1164"/>
                  <a:pt x="1121" y="1164"/>
                </a:cubicBezTo>
                <a:cubicBezTo>
                  <a:pt x="1122" y="1163"/>
                  <a:pt x="1122" y="1163"/>
                  <a:pt x="1122" y="1163"/>
                </a:cubicBezTo>
                <a:cubicBezTo>
                  <a:pt x="1122" y="1162"/>
                  <a:pt x="1122" y="1162"/>
                  <a:pt x="1122" y="1162"/>
                </a:cubicBezTo>
                <a:cubicBezTo>
                  <a:pt x="1122" y="1164"/>
                  <a:pt x="1122" y="1164"/>
                  <a:pt x="1122" y="1164"/>
                </a:cubicBezTo>
                <a:cubicBezTo>
                  <a:pt x="1124" y="1164"/>
                  <a:pt x="1124" y="1164"/>
                  <a:pt x="1124" y="1164"/>
                </a:cubicBezTo>
                <a:cubicBezTo>
                  <a:pt x="1125" y="1165"/>
                  <a:pt x="1125" y="1165"/>
                  <a:pt x="1125" y="1165"/>
                </a:cubicBezTo>
                <a:cubicBezTo>
                  <a:pt x="1126" y="1163"/>
                  <a:pt x="1126" y="1163"/>
                  <a:pt x="1126" y="1163"/>
                </a:cubicBezTo>
                <a:cubicBezTo>
                  <a:pt x="1127" y="1163"/>
                  <a:pt x="1127" y="1163"/>
                  <a:pt x="1127" y="1163"/>
                </a:cubicBezTo>
                <a:cubicBezTo>
                  <a:pt x="1128" y="1164"/>
                  <a:pt x="1128" y="1164"/>
                  <a:pt x="1128" y="1164"/>
                </a:cubicBezTo>
                <a:cubicBezTo>
                  <a:pt x="1129" y="1165"/>
                  <a:pt x="1129" y="1165"/>
                  <a:pt x="1129" y="1165"/>
                </a:cubicBezTo>
                <a:cubicBezTo>
                  <a:pt x="1128" y="1166"/>
                  <a:pt x="1128" y="1166"/>
                  <a:pt x="1128" y="1166"/>
                </a:cubicBezTo>
                <a:cubicBezTo>
                  <a:pt x="1126" y="1167"/>
                  <a:pt x="1126" y="1167"/>
                  <a:pt x="1126" y="1167"/>
                </a:cubicBezTo>
                <a:cubicBezTo>
                  <a:pt x="1126" y="1169"/>
                  <a:pt x="1126" y="1169"/>
                  <a:pt x="1126" y="1169"/>
                </a:cubicBezTo>
                <a:cubicBezTo>
                  <a:pt x="1127" y="1169"/>
                  <a:pt x="1127" y="1169"/>
                  <a:pt x="1127" y="1169"/>
                </a:cubicBezTo>
                <a:cubicBezTo>
                  <a:pt x="1129" y="1167"/>
                  <a:pt x="1129" y="1167"/>
                  <a:pt x="1129" y="1167"/>
                </a:cubicBezTo>
                <a:cubicBezTo>
                  <a:pt x="1132" y="1165"/>
                  <a:pt x="1132" y="1165"/>
                  <a:pt x="1132" y="1165"/>
                </a:cubicBezTo>
                <a:cubicBezTo>
                  <a:pt x="1135" y="1160"/>
                  <a:pt x="1135" y="1160"/>
                  <a:pt x="1135" y="1160"/>
                </a:cubicBezTo>
                <a:cubicBezTo>
                  <a:pt x="1137" y="1156"/>
                  <a:pt x="1137" y="1156"/>
                  <a:pt x="1137" y="1156"/>
                </a:cubicBezTo>
                <a:cubicBezTo>
                  <a:pt x="1137" y="1154"/>
                  <a:pt x="1137" y="1154"/>
                  <a:pt x="1137" y="1154"/>
                </a:cubicBezTo>
                <a:cubicBezTo>
                  <a:pt x="1139" y="1153"/>
                  <a:pt x="1139" y="1153"/>
                  <a:pt x="1139" y="1153"/>
                </a:cubicBezTo>
                <a:cubicBezTo>
                  <a:pt x="1140" y="1149"/>
                  <a:pt x="1140" y="1149"/>
                  <a:pt x="1140" y="1149"/>
                </a:cubicBezTo>
                <a:cubicBezTo>
                  <a:pt x="1141" y="1146"/>
                  <a:pt x="1141" y="1146"/>
                  <a:pt x="1141" y="1146"/>
                </a:cubicBezTo>
                <a:cubicBezTo>
                  <a:pt x="1147" y="1143"/>
                  <a:pt x="1147" y="1143"/>
                  <a:pt x="1147" y="1143"/>
                </a:cubicBezTo>
                <a:cubicBezTo>
                  <a:pt x="1147" y="1141"/>
                  <a:pt x="1147" y="1141"/>
                  <a:pt x="1147" y="1141"/>
                </a:cubicBezTo>
                <a:cubicBezTo>
                  <a:pt x="1149" y="1140"/>
                  <a:pt x="1149" y="1140"/>
                  <a:pt x="1149" y="1140"/>
                </a:cubicBezTo>
                <a:cubicBezTo>
                  <a:pt x="1150" y="1138"/>
                  <a:pt x="1150" y="1138"/>
                  <a:pt x="1150" y="1138"/>
                </a:cubicBezTo>
                <a:cubicBezTo>
                  <a:pt x="1155" y="1134"/>
                  <a:pt x="1155" y="1134"/>
                  <a:pt x="1155" y="1134"/>
                </a:cubicBezTo>
                <a:cubicBezTo>
                  <a:pt x="1159" y="1129"/>
                  <a:pt x="1159" y="1129"/>
                  <a:pt x="1159" y="1129"/>
                </a:cubicBezTo>
                <a:cubicBezTo>
                  <a:pt x="1160" y="1128"/>
                  <a:pt x="1160" y="1128"/>
                  <a:pt x="1160" y="1128"/>
                </a:cubicBezTo>
                <a:cubicBezTo>
                  <a:pt x="1162" y="1122"/>
                  <a:pt x="1162" y="1122"/>
                  <a:pt x="1162" y="1122"/>
                </a:cubicBezTo>
                <a:cubicBezTo>
                  <a:pt x="1163" y="1120"/>
                  <a:pt x="1163" y="1120"/>
                  <a:pt x="1163" y="1120"/>
                </a:cubicBezTo>
                <a:cubicBezTo>
                  <a:pt x="1164" y="1118"/>
                  <a:pt x="1164" y="1118"/>
                  <a:pt x="1164" y="1118"/>
                </a:cubicBezTo>
                <a:cubicBezTo>
                  <a:pt x="1164" y="1116"/>
                  <a:pt x="1164" y="1116"/>
                  <a:pt x="1164" y="1116"/>
                </a:cubicBezTo>
                <a:cubicBezTo>
                  <a:pt x="1163" y="1114"/>
                  <a:pt x="1163" y="1114"/>
                  <a:pt x="1163" y="1114"/>
                </a:cubicBezTo>
                <a:cubicBezTo>
                  <a:pt x="1163" y="1112"/>
                  <a:pt x="1163" y="1112"/>
                  <a:pt x="1163" y="1112"/>
                </a:cubicBezTo>
                <a:lnTo>
                  <a:pt x="1164" y="1111"/>
                </a:lnTo>
                <a:close/>
                <a:moveTo>
                  <a:pt x="503" y="0"/>
                </a:moveTo>
                <a:cubicBezTo>
                  <a:pt x="501" y="0"/>
                  <a:pt x="501" y="0"/>
                  <a:pt x="501" y="0"/>
                </a:cubicBezTo>
                <a:cubicBezTo>
                  <a:pt x="502" y="1"/>
                  <a:pt x="502" y="1"/>
                  <a:pt x="502" y="1"/>
                </a:cubicBezTo>
                <a:lnTo>
                  <a:pt x="503" y="0"/>
                </a:lnTo>
                <a:close/>
                <a:moveTo>
                  <a:pt x="3030" y="1049"/>
                </a:moveTo>
                <a:cubicBezTo>
                  <a:pt x="3032" y="1051"/>
                  <a:pt x="3032" y="1051"/>
                  <a:pt x="3032" y="1051"/>
                </a:cubicBezTo>
                <a:cubicBezTo>
                  <a:pt x="3032" y="1049"/>
                  <a:pt x="3032" y="1049"/>
                  <a:pt x="3032" y="1049"/>
                </a:cubicBezTo>
                <a:cubicBezTo>
                  <a:pt x="3031" y="1048"/>
                  <a:pt x="3031" y="1048"/>
                  <a:pt x="3031" y="1048"/>
                </a:cubicBezTo>
                <a:cubicBezTo>
                  <a:pt x="3029" y="1048"/>
                  <a:pt x="3029" y="1048"/>
                  <a:pt x="3029" y="1048"/>
                </a:cubicBezTo>
                <a:lnTo>
                  <a:pt x="3030" y="1049"/>
                </a:lnTo>
                <a:close/>
                <a:moveTo>
                  <a:pt x="3164" y="1265"/>
                </a:moveTo>
                <a:cubicBezTo>
                  <a:pt x="3167" y="1270"/>
                  <a:pt x="3167" y="1270"/>
                  <a:pt x="3167" y="1270"/>
                </a:cubicBezTo>
                <a:cubicBezTo>
                  <a:pt x="3169" y="1271"/>
                  <a:pt x="3169" y="1271"/>
                  <a:pt x="3169" y="1271"/>
                </a:cubicBezTo>
                <a:cubicBezTo>
                  <a:pt x="3169" y="1273"/>
                  <a:pt x="3169" y="1273"/>
                  <a:pt x="3169" y="1273"/>
                </a:cubicBezTo>
                <a:cubicBezTo>
                  <a:pt x="3170" y="1275"/>
                  <a:pt x="3170" y="1275"/>
                  <a:pt x="3170" y="1275"/>
                </a:cubicBezTo>
                <a:cubicBezTo>
                  <a:pt x="3172" y="1275"/>
                  <a:pt x="3172" y="1275"/>
                  <a:pt x="3172" y="1275"/>
                </a:cubicBezTo>
                <a:cubicBezTo>
                  <a:pt x="3172" y="1276"/>
                  <a:pt x="3172" y="1276"/>
                  <a:pt x="3172" y="1276"/>
                </a:cubicBezTo>
                <a:cubicBezTo>
                  <a:pt x="3175" y="1278"/>
                  <a:pt x="3175" y="1278"/>
                  <a:pt x="3175" y="1278"/>
                </a:cubicBezTo>
                <a:cubicBezTo>
                  <a:pt x="3176" y="1281"/>
                  <a:pt x="3176" y="1281"/>
                  <a:pt x="3176" y="1281"/>
                </a:cubicBezTo>
                <a:cubicBezTo>
                  <a:pt x="3177" y="1281"/>
                  <a:pt x="3177" y="1281"/>
                  <a:pt x="3177" y="1281"/>
                </a:cubicBezTo>
                <a:cubicBezTo>
                  <a:pt x="3178" y="1281"/>
                  <a:pt x="3178" y="1281"/>
                  <a:pt x="3178" y="1281"/>
                </a:cubicBezTo>
                <a:cubicBezTo>
                  <a:pt x="3179" y="1284"/>
                  <a:pt x="3179" y="1284"/>
                  <a:pt x="3179" y="1284"/>
                </a:cubicBezTo>
                <a:cubicBezTo>
                  <a:pt x="3181" y="1284"/>
                  <a:pt x="3181" y="1284"/>
                  <a:pt x="3181" y="1284"/>
                </a:cubicBezTo>
                <a:cubicBezTo>
                  <a:pt x="3182" y="1286"/>
                  <a:pt x="3182" y="1286"/>
                  <a:pt x="3182" y="1286"/>
                </a:cubicBezTo>
                <a:cubicBezTo>
                  <a:pt x="3184" y="1288"/>
                  <a:pt x="3184" y="1288"/>
                  <a:pt x="3184" y="1288"/>
                </a:cubicBezTo>
                <a:cubicBezTo>
                  <a:pt x="3186" y="1287"/>
                  <a:pt x="3186" y="1287"/>
                  <a:pt x="3186" y="1287"/>
                </a:cubicBezTo>
                <a:cubicBezTo>
                  <a:pt x="3187" y="1288"/>
                  <a:pt x="3187" y="1288"/>
                  <a:pt x="3187" y="1288"/>
                </a:cubicBezTo>
                <a:cubicBezTo>
                  <a:pt x="3188" y="1288"/>
                  <a:pt x="3188" y="1288"/>
                  <a:pt x="3188" y="1288"/>
                </a:cubicBezTo>
                <a:cubicBezTo>
                  <a:pt x="3190" y="1289"/>
                  <a:pt x="3190" y="1289"/>
                  <a:pt x="3190" y="1289"/>
                </a:cubicBezTo>
                <a:cubicBezTo>
                  <a:pt x="3190" y="1286"/>
                  <a:pt x="3190" y="1286"/>
                  <a:pt x="3190" y="1286"/>
                </a:cubicBezTo>
                <a:cubicBezTo>
                  <a:pt x="3188" y="1285"/>
                  <a:pt x="3188" y="1285"/>
                  <a:pt x="3188" y="1285"/>
                </a:cubicBezTo>
                <a:cubicBezTo>
                  <a:pt x="3185" y="1283"/>
                  <a:pt x="3185" y="1283"/>
                  <a:pt x="3185" y="1283"/>
                </a:cubicBezTo>
                <a:cubicBezTo>
                  <a:pt x="3182" y="1278"/>
                  <a:pt x="3182" y="1278"/>
                  <a:pt x="3182" y="1278"/>
                </a:cubicBezTo>
                <a:cubicBezTo>
                  <a:pt x="3181" y="1277"/>
                  <a:pt x="3181" y="1277"/>
                  <a:pt x="3181" y="1277"/>
                </a:cubicBezTo>
                <a:cubicBezTo>
                  <a:pt x="3179" y="1278"/>
                  <a:pt x="3179" y="1278"/>
                  <a:pt x="3179" y="1278"/>
                </a:cubicBezTo>
                <a:cubicBezTo>
                  <a:pt x="3177" y="1274"/>
                  <a:pt x="3177" y="1274"/>
                  <a:pt x="3177" y="1274"/>
                </a:cubicBezTo>
                <a:cubicBezTo>
                  <a:pt x="3173" y="1269"/>
                  <a:pt x="3173" y="1269"/>
                  <a:pt x="3173" y="1269"/>
                </a:cubicBezTo>
                <a:cubicBezTo>
                  <a:pt x="3172" y="1268"/>
                  <a:pt x="3172" y="1268"/>
                  <a:pt x="3172" y="1268"/>
                </a:cubicBezTo>
                <a:cubicBezTo>
                  <a:pt x="3171" y="1266"/>
                  <a:pt x="3171" y="1266"/>
                  <a:pt x="3171" y="1266"/>
                </a:cubicBezTo>
                <a:cubicBezTo>
                  <a:pt x="3169" y="1265"/>
                  <a:pt x="3169" y="1265"/>
                  <a:pt x="3169" y="1265"/>
                </a:cubicBezTo>
                <a:cubicBezTo>
                  <a:pt x="3168" y="1263"/>
                  <a:pt x="3168" y="1263"/>
                  <a:pt x="3168" y="1263"/>
                </a:cubicBezTo>
                <a:cubicBezTo>
                  <a:pt x="3167" y="1262"/>
                  <a:pt x="3167" y="1262"/>
                  <a:pt x="3167" y="1262"/>
                </a:cubicBezTo>
                <a:cubicBezTo>
                  <a:pt x="3166" y="1263"/>
                  <a:pt x="3166" y="1263"/>
                  <a:pt x="3166" y="1263"/>
                </a:cubicBezTo>
                <a:cubicBezTo>
                  <a:pt x="3164" y="1260"/>
                  <a:pt x="3164" y="1260"/>
                  <a:pt x="3164" y="1260"/>
                </a:cubicBezTo>
                <a:cubicBezTo>
                  <a:pt x="3163" y="1262"/>
                  <a:pt x="3163" y="1262"/>
                  <a:pt x="3163" y="1262"/>
                </a:cubicBezTo>
                <a:cubicBezTo>
                  <a:pt x="3164" y="1263"/>
                  <a:pt x="3164" y="1263"/>
                  <a:pt x="3164" y="1263"/>
                </a:cubicBezTo>
                <a:lnTo>
                  <a:pt x="3164" y="1265"/>
                </a:lnTo>
                <a:close/>
                <a:moveTo>
                  <a:pt x="3198" y="1566"/>
                </a:moveTo>
                <a:cubicBezTo>
                  <a:pt x="3198" y="1565"/>
                  <a:pt x="3198" y="1565"/>
                  <a:pt x="3198" y="1565"/>
                </a:cubicBezTo>
                <a:cubicBezTo>
                  <a:pt x="3197" y="1565"/>
                  <a:pt x="3197" y="1565"/>
                  <a:pt x="3197" y="1565"/>
                </a:cubicBezTo>
                <a:cubicBezTo>
                  <a:pt x="3196" y="1566"/>
                  <a:pt x="3196" y="1566"/>
                  <a:pt x="3196" y="1566"/>
                </a:cubicBezTo>
                <a:cubicBezTo>
                  <a:pt x="3196" y="1568"/>
                  <a:pt x="3196" y="1568"/>
                  <a:pt x="3196" y="1568"/>
                </a:cubicBezTo>
                <a:cubicBezTo>
                  <a:pt x="3195" y="1568"/>
                  <a:pt x="3195" y="1568"/>
                  <a:pt x="3195" y="1568"/>
                </a:cubicBezTo>
                <a:cubicBezTo>
                  <a:pt x="3196" y="1568"/>
                  <a:pt x="3196" y="1568"/>
                  <a:pt x="3196" y="1568"/>
                </a:cubicBezTo>
                <a:cubicBezTo>
                  <a:pt x="3197" y="1567"/>
                  <a:pt x="3197" y="1567"/>
                  <a:pt x="3197" y="1567"/>
                </a:cubicBezTo>
                <a:lnTo>
                  <a:pt x="3198" y="1566"/>
                </a:lnTo>
                <a:close/>
                <a:moveTo>
                  <a:pt x="3260" y="1520"/>
                </a:moveTo>
                <a:cubicBezTo>
                  <a:pt x="3257" y="1519"/>
                  <a:pt x="3257" y="1519"/>
                  <a:pt x="3257" y="1519"/>
                </a:cubicBezTo>
                <a:cubicBezTo>
                  <a:pt x="3256" y="1518"/>
                  <a:pt x="3256" y="1518"/>
                  <a:pt x="3256" y="1518"/>
                </a:cubicBezTo>
                <a:cubicBezTo>
                  <a:pt x="3257" y="1518"/>
                  <a:pt x="3257" y="1518"/>
                  <a:pt x="3257" y="1518"/>
                </a:cubicBezTo>
                <a:cubicBezTo>
                  <a:pt x="3257" y="1517"/>
                  <a:pt x="3257" y="1517"/>
                  <a:pt x="3257" y="1517"/>
                </a:cubicBezTo>
                <a:cubicBezTo>
                  <a:pt x="3255" y="1517"/>
                  <a:pt x="3255" y="1517"/>
                  <a:pt x="3255" y="1517"/>
                </a:cubicBezTo>
                <a:cubicBezTo>
                  <a:pt x="3253" y="1518"/>
                  <a:pt x="3253" y="1518"/>
                  <a:pt x="3253" y="1518"/>
                </a:cubicBezTo>
                <a:cubicBezTo>
                  <a:pt x="3249" y="1522"/>
                  <a:pt x="3249" y="1522"/>
                  <a:pt x="3249" y="1522"/>
                </a:cubicBezTo>
                <a:cubicBezTo>
                  <a:pt x="3247" y="1522"/>
                  <a:pt x="3247" y="1522"/>
                  <a:pt x="3247" y="1522"/>
                </a:cubicBezTo>
                <a:cubicBezTo>
                  <a:pt x="3245" y="1523"/>
                  <a:pt x="3245" y="1523"/>
                  <a:pt x="3245" y="1523"/>
                </a:cubicBezTo>
                <a:cubicBezTo>
                  <a:pt x="3244" y="1522"/>
                  <a:pt x="3244" y="1522"/>
                  <a:pt x="3244" y="1522"/>
                </a:cubicBezTo>
                <a:cubicBezTo>
                  <a:pt x="3239" y="1518"/>
                  <a:pt x="3239" y="1518"/>
                  <a:pt x="3239" y="1518"/>
                </a:cubicBezTo>
                <a:cubicBezTo>
                  <a:pt x="3238" y="1518"/>
                  <a:pt x="3238" y="1518"/>
                  <a:pt x="3238" y="1518"/>
                </a:cubicBezTo>
                <a:cubicBezTo>
                  <a:pt x="3237" y="1516"/>
                  <a:pt x="3237" y="1516"/>
                  <a:pt x="3237" y="1516"/>
                </a:cubicBezTo>
                <a:cubicBezTo>
                  <a:pt x="3236" y="1515"/>
                  <a:pt x="3236" y="1515"/>
                  <a:pt x="3236" y="1515"/>
                </a:cubicBezTo>
                <a:cubicBezTo>
                  <a:pt x="3237" y="1514"/>
                  <a:pt x="3237" y="1514"/>
                  <a:pt x="3237" y="1514"/>
                </a:cubicBezTo>
                <a:cubicBezTo>
                  <a:pt x="3237" y="1511"/>
                  <a:pt x="3237" y="1511"/>
                  <a:pt x="3237" y="1511"/>
                </a:cubicBezTo>
                <a:cubicBezTo>
                  <a:pt x="3236" y="1508"/>
                  <a:pt x="3236" y="1508"/>
                  <a:pt x="3236" y="1508"/>
                </a:cubicBezTo>
                <a:cubicBezTo>
                  <a:pt x="3236" y="1507"/>
                  <a:pt x="3236" y="1507"/>
                  <a:pt x="3236" y="1507"/>
                </a:cubicBezTo>
                <a:cubicBezTo>
                  <a:pt x="3235" y="1506"/>
                  <a:pt x="3235" y="1506"/>
                  <a:pt x="3235" y="1506"/>
                </a:cubicBezTo>
                <a:cubicBezTo>
                  <a:pt x="3236" y="1504"/>
                  <a:pt x="3236" y="1504"/>
                  <a:pt x="3236" y="1504"/>
                </a:cubicBezTo>
                <a:cubicBezTo>
                  <a:pt x="3236" y="1502"/>
                  <a:pt x="3236" y="1502"/>
                  <a:pt x="3236" y="1502"/>
                </a:cubicBezTo>
                <a:cubicBezTo>
                  <a:pt x="3235" y="1502"/>
                  <a:pt x="3235" y="1502"/>
                  <a:pt x="3235" y="1502"/>
                </a:cubicBezTo>
                <a:cubicBezTo>
                  <a:pt x="3235" y="1500"/>
                  <a:pt x="3235" y="1500"/>
                  <a:pt x="3235" y="1500"/>
                </a:cubicBezTo>
                <a:cubicBezTo>
                  <a:pt x="3234" y="1498"/>
                  <a:pt x="3234" y="1498"/>
                  <a:pt x="3234" y="1498"/>
                </a:cubicBezTo>
                <a:cubicBezTo>
                  <a:pt x="3233" y="1499"/>
                  <a:pt x="3233" y="1499"/>
                  <a:pt x="3233" y="1499"/>
                </a:cubicBezTo>
                <a:cubicBezTo>
                  <a:pt x="3232" y="1498"/>
                  <a:pt x="3232" y="1498"/>
                  <a:pt x="3232" y="1498"/>
                </a:cubicBezTo>
                <a:cubicBezTo>
                  <a:pt x="3231" y="1499"/>
                  <a:pt x="3231" y="1499"/>
                  <a:pt x="3231" y="1499"/>
                </a:cubicBezTo>
                <a:cubicBezTo>
                  <a:pt x="3233" y="1500"/>
                  <a:pt x="3233" y="1500"/>
                  <a:pt x="3233" y="1500"/>
                </a:cubicBezTo>
                <a:cubicBezTo>
                  <a:pt x="3233" y="1502"/>
                  <a:pt x="3233" y="1502"/>
                  <a:pt x="3233" y="1502"/>
                </a:cubicBezTo>
                <a:cubicBezTo>
                  <a:pt x="3233" y="1503"/>
                  <a:pt x="3233" y="1503"/>
                  <a:pt x="3233" y="1503"/>
                </a:cubicBezTo>
                <a:cubicBezTo>
                  <a:pt x="3232" y="1504"/>
                  <a:pt x="3232" y="1504"/>
                  <a:pt x="3232" y="1504"/>
                </a:cubicBezTo>
                <a:cubicBezTo>
                  <a:pt x="3232" y="1506"/>
                  <a:pt x="3232" y="1506"/>
                  <a:pt x="3232" y="1506"/>
                </a:cubicBezTo>
                <a:cubicBezTo>
                  <a:pt x="3233" y="1508"/>
                  <a:pt x="3233" y="1508"/>
                  <a:pt x="3233" y="1508"/>
                </a:cubicBezTo>
                <a:cubicBezTo>
                  <a:pt x="3233" y="1509"/>
                  <a:pt x="3233" y="1509"/>
                  <a:pt x="3233" y="1509"/>
                </a:cubicBezTo>
                <a:cubicBezTo>
                  <a:pt x="3231" y="1509"/>
                  <a:pt x="3231" y="1509"/>
                  <a:pt x="3231" y="1509"/>
                </a:cubicBezTo>
                <a:cubicBezTo>
                  <a:pt x="3230" y="1508"/>
                  <a:pt x="3230" y="1508"/>
                  <a:pt x="3230" y="1508"/>
                </a:cubicBezTo>
                <a:cubicBezTo>
                  <a:pt x="3230" y="1506"/>
                  <a:pt x="3230" y="1506"/>
                  <a:pt x="3230" y="1506"/>
                </a:cubicBezTo>
                <a:cubicBezTo>
                  <a:pt x="3228" y="1506"/>
                  <a:pt x="3228" y="1506"/>
                  <a:pt x="3228" y="1506"/>
                </a:cubicBezTo>
                <a:cubicBezTo>
                  <a:pt x="3228" y="1505"/>
                  <a:pt x="3228" y="1505"/>
                  <a:pt x="3228" y="1505"/>
                </a:cubicBezTo>
                <a:cubicBezTo>
                  <a:pt x="3226" y="1504"/>
                  <a:pt x="3226" y="1504"/>
                  <a:pt x="3226" y="1504"/>
                </a:cubicBezTo>
                <a:cubicBezTo>
                  <a:pt x="3225" y="1504"/>
                  <a:pt x="3225" y="1504"/>
                  <a:pt x="3225" y="1504"/>
                </a:cubicBezTo>
                <a:cubicBezTo>
                  <a:pt x="3225" y="1503"/>
                  <a:pt x="3225" y="1503"/>
                  <a:pt x="3225" y="1503"/>
                </a:cubicBezTo>
                <a:cubicBezTo>
                  <a:pt x="3226" y="1503"/>
                  <a:pt x="3226" y="1503"/>
                  <a:pt x="3226" y="1503"/>
                </a:cubicBezTo>
                <a:cubicBezTo>
                  <a:pt x="3227" y="1501"/>
                  <a:pt x="3227" y="1501"/>
                  <a:pt x="3227" y="1501"/>
                </a:cubicBezTo>
                <a:cubicBezTo>
                  <a:pt x="3225" y="1500"/>
                  <a:pt x="3225" y="1500"/>
                  <a:pt x="3225" y="1500"/>
                </a:cubicBezTo>
                <a:cubicBezTo>
                  <a:pt x="3227" y="1498"/>
                  <a:pt x="3227" y="1498"/>
                  <a:pt x="3227" y="1498"/>
                </a:cubicBezTo>
                <a:cubicBezTo>
                  <a:pt x="3228" y="1497"/>
                  <a:pt x="3228" y="1497"/>
                  <a:pt x="3228" y="1497"/>
                </a:cubicBezTo>
                <a:cubicBezTo>
                  <a:pt x="3229" y="1495"/>
                  <a:pt x="3229" y="1495"/>
                  <a:pt x="3229" y="1495"/>
                </a:cubicBezTo>
                <a:cubicBezTo>
                  <a:pt x="3228" y="1494"/>
                  <a:pt x="3228" y="1494"/>
                  <a:pt x="3228" y="1494"/>
                </a:cubicBezTo>
                <a:cubicBezTo>
                  <a:pt x="3228" y="1493"/>
                  <a:pt x="3228" y="1493"/>
                  <a:pt x="3228" y="1493"/>
                </a:cubicBezTo>
                <a:cubicBezTo>
                  <a:pt x="3228" y="1491"/>
                  <a:pt x="3228" y="1491"/>
                  <a:pt x="3228" y="1491"/>
                </a:cubicBezTo>
                <a:cubicBezTo>
                  <a:pt x="3228" y="1489"/>
                  <a:pt x="3228" y="1489"/>
                  <a:pt x="3228" y="1489"/>
                </a:cubicBezTo>
                <a:cubicBezTo>
                  <a:pt x="3226" y="1487"/>
                  <a:pt x="3226" y="1487"/>
                  <a:pt x="3226" y="1487"/>
                </a:cubicBezTo>
                <a:cubicBezTo>
                  <a:pt x="3226" y="1486"/>
                  <a:pt x="3226" y="1486"/>
                  <a:pt x="3226" y="1486"/>
                </a:cubicBezTo>
                <a:cubicBezTo>
                  <a:pt x="3227" y="1487"/>
                  <a:pt x="3227" y="1487"/>
                  <a:pt x="3227" y="1487"/>
                </a:cubicBezTo>
                <a:cubicBezTo>
                  <a:pt x="3229" y="1486"/>
                  <a:pt x="3229" y="1486"/>
                  <a:pt x="3229" y="1486"/>
                </a:cubicBezTo>
                <a:cubicBezTo>
                  <a:pt x="3229" y="1484"/>
                  <a:pt x="3229" y="1484"/>
                  <a:pt x="3229" y="1484"/>
                </a:cubicBezTo>
                <a:cubicBezTo>
                  <a:pt x="3230" y="1484"/>
                  <a:pt x="3230" y="1484"/>
                  <a:pt x="3230" y="1484"/>
                </a:cubicBezTo>
                <a:cubicBezTo>
                  <a:pt x="3230" y="1481"/>
                  <a:pt x="3230" y="1481"/>
                  <a:pt x="3230" y="1481"/>
                </a:cubicBezTo>
                <a:cubicBezTo>
                  <a:pt x="3229" y="1478"/>
                  <a:pt x="3229" y="1478"/>
                  <a:pt x="3229" y="1478"/>
                </a:cubicBezTo>
                <a:cubicBezTo>
                  <a:pt x="3229" y="1476"/>
                  <a:pt x="3229" y="1476"/>
                  <a:pt x="3229" y="1476"/>
                </a:cubicBezTo>
                <a:cubicBezTo>
                  <a:pt x="3229" y="1477"/>
                  <a:pt x="3229" y="1477"/>
                  <a:pt x="3229" y="1477"/>
                </a:cubicBezTo>
                <a:cubicBezTo>
                  <a:pt x="3226" y="1478"/>
                  <a:pt x="3226" y="1478"/>
                  <a:pt x="3226" y="1478"/>
                </a:cubicBezTo>
                <a:cubicBezTo>
                  <a:pt x="3224" y="1476"/>
                  <a:pt x="3224" y="1476"/>
                  <a:pt x="3224" y="1476"/>
                </a:cubicBezTo>
                <a:cubicBezTo>
                  <a:pt x="3225" y="1475"/>
                  <a:pt x="3225" y="1475"/>
                  <a:pt x="3225" y="1475"/>
                </a:cubicBezTo>
                <a:cubicBezTo>
                  <a:pt x="3224" y="1474"/>
                  <a:pt x="3224" y="1474"/>
                  <a:pt x="3224" y="1474"/>
                </a:cubicBezTo>
                <a:cubicBezTo>
                  <a:pt x="3224" y="1474"/>
                  <a:pt x="3224" y="1474"/>
                  <a:pt x="3224" y="1474"/>
                </a:cubicBezTo>
                <a:cubicBezTo>
                  <a:pt x="3224" y="1473"/>
                  <a:pt x="3224" y="1473"/>
                  <a:pt x="3224" y="1473"/>
                </a:cubicBezTo>
                <a:cubicBezTo>
                  <a:pt x="3226" y="1472"/>
                  <a:pt x="3226" y="1472"/>
                  <a:pt x="3226" y="1472"/>
                </a:cubicBezTo>
                <a:cubicBezTo>
                  <a:pt x="3226" y="1471"/>
                  <a:pt x="3226" y="1471"/>
                  <a:pt x="3226" y="1471"/>
                </a:cubicBezTo>
                <a:cubicBezTo>
                  <a:pt x="3224" y="1470"/>
                  <a:pt x="3224" y="1470"/>
                  <a:pt x="3224" y="1470"/>
                </a:cubicBezTo>
                <a:cubicBezTo>
                  <a:pt x="3222" y="1469"/>
                  <a:pt x="3222" y="1469"/>
                  <a:pt x="3222" y="1469"/>
                </a:cubicBezTo>
                <a:cubicBezTo>
                  <a:pt x="3221" y="1470"/>
                  <a:pt x="3221" y="1470"/>
                  <a:pt x="3221" y="1470"/>
                </a:cubicBezTo>
                <a:cubicBezTo>
                  <a:pt x="3221" y="1468"/>
                  <a:pt x="3221" y="1468"/>
                  <a:pt x="3221" y="1468"/>
                </a:cubicBezTo>
                <a:cubicBezTo>
                  <a:pt x="3222" y="1468"/>
                  <a:pt x="3222" y="1468"/>
                  <a:pt x="3222" y="1468"/>
                </a:cubicBezTo>
                <a:cubicBezTo>
                  <a:pt x="3222" y="1467"/>
                  <a:pt x="3222" y="1467"/>
                  <a:pt x="3222" y="1467"/>
                </a:cubicBezTo>
                <a:cubicBezTo>
                  <a:pt x="3221" y="1467"/>
                  <a:pt x="3221" y="1467"/>
                  <a:pt x="3221" y="1467"/>
                </a:cubicBezTo>
                <a:cubicBezTo>
                  <a:pt x="3220" y="1467"/>
                  <a:pt x="3220" y="1467"/>
                  <a:pt x="3220" y="1467"/>
                </a:cubicBezTo>
                <a:cubicBezTo>
                  <a:pt x="3220" y="1468"/>
                  <a:pt x="3220" y="1468"/>
                  <a:pt x="3220" y="1468"/>
                </a:cubicBezTo>
                <a:cubicBezTo>
                  <a:pt x="3220" y="1470"/>
                  <a:pt x="3220" y="1470"/>
                  <a:pt x="3220" y="1470"/>
                </a:cubicBezTo>
                <a:cubicBezTo>
                  <a:pt x="3218" y="1469"/>
                  <a:pt x="3218" y="1469"/>
                  <a:pt x="3218" y="1469"/>
                </a:cubicBezTo>
                <a:cubicBezTo>
                  <a:pt x="3219" y="1468"/>
                  <a:pt x="3219" y="1468"/>
                  <a:pt x="3219" y="1468"/>
                </a:cubicBezTo>
                <a:cubicBezTo>
                  <a:pt x="3218" y="1466"/>
                  <a:pt x="3218" y="1466"/>
                  <a:pt x="3218" y="1466"/>
                </a:cubicBezTo>
                <a:cubicBezTo>
                  <a:pt x="3217" y="1464"/>
                  <a:pt x="3217" y="1464"/>
                  <a:pt x="3217" y="1464"/>
                </a:cubicBezTo>
                <a:cubicBezTo>
                  <a:pt x="3218" y="1462"/>
                  <a:pt x="3218" y="1462"/>
                  <a:pt x="3218" y="1462"/>
                </a:cubicBezTo>
                <a:cubicBezTo>
                  <a:pt x="3218" y="1461"/>
                  <a:pt x="3218" y="1461"/>
                  <a:pt x="3218" y="1461"/>
                </a:cubicBezTo>
                <a:cubicBezTo>
                  <a:pt x="3218" y="1461"/>
                  <a:pt x="3218" y="1461"/>
                  <a:pt x="3218" y="1461"/>
                </a:cubicBezTo>
                <a:cubicBezTo>
                  <a:pt x="3217" y="1460"/>
                  <a:pt x="3217" y="1460"/>
                  <a:pt x="3217" y="1460"/>
                </a:cubicBezTo>
                <a:cubicBezTo>
                  <a:pt x="3216" y="1461"/>
                  <a:pt x="3216" y="1461"/>
                  <a:pt x="3216" y="1461"/>
                </a:cubicBezTo>
                <a:cubicBezTo>
                  <a:pt x="3213" y="1461"/>
                  <a:pt x="3213" y="1461"/>
                  <a:pt x="3213" y="1461"/>
                </a:cubicBezTo>
                <a:cubicBezTo>
                  <a:pt x="3213" y="1461"/>
                  <a:pt x="3213" y="1461"/>
                  <a:pt x="3213" y="1461"/>
                </a:cubicBezTo>
                <a:cubicBezTo>
                  <a:pt x="3215" y="1463"/>
                  <a:pt x="3215" y="1463"/>
                  <a:pt x="3215" y="1463"/>
                </a:cubicBezTo>
                <a:cubicBezTo>
                  <a:pt x="3217" y="1468"/>
                  <a:pt x="3217" y="1468"/>
                  <a:pt x="3217" y="1468"/>
                </a:cubicBezTo>
                <a:cubicBezTo>
                  <a:pt x="3217" y="1470"/>
                  <a:pt x="3217" y="1470"/>
                  <a:pt x="3217" y="1470"/>
                </a:cubicBezTo>
                <a:cubicBezTo>
                  <a:pt x="3217" y="1473"/>
                  <a:pt x="3217" y="1473"/>
                  <a:pt x="3217" y="1473"/>
                </a:cubicBezTo>
                <a:cubicBezTo>
                  <a:pt x="3216" y="1474"/>
                  <a:pt x="3216" y="1474"/>
                  <a:pt x="3216" y="1474"/>
                </a:cubicBezTo>
                <a:cubicBezTo>
                  <a:pt x="3215" y="1474"/>
                  <a:pt x="3215" y="1474"/>
                  <a:pt x="3215" y="1474"/>
                </a:cubicBezTo>
                <a:cubicBezTo>
                  <a:pt x="3215" y="1475"/>
                  <a:pt x="3215" y="1475"/>
                  <a:pt x="3215" y="1475"/>
                </a:cubicBezTo>
                <a:cubicBezTo>
                  <a:pt x="3216" y="1479"/>
                  <a:pt x="3216" y="1479"/>
                  <a:pt x="3216" y="1479"/>
                </a:cubicBezTo>
                <a:cubicBezTo>
                  <a:pt x="3217" y="1479"/>
                  <a:pt x="3217" y="1479"/>
                  <a:pt x="3217" y="1479"/>
                </a:cubicBezTo>
                <a:cubicBezTo>
                  <a:pt x="3218" y="1478"/>
                  <a:pt x="3218" y="1478"/>
                  <a:pt x="3218" y="1478"/>
                </a:cubicBezTo>
                <a:cubicBezTo>
                  <a:pt x="3220" y="1478"/>
                  <a:pt x="3220" y="1478"/>
                  <a:pt x="3220" y="1478"/>
                </a:cubicBezTo>
                <a:cubicBezTo>
                  <a:pt x="3219" y="1479"/>
                  <a:pt x="3219" y="1479"/>
                  <a:pt x="3219" y="1479"/>
                </a:cubicBezTo>
                <a:cubicBezTo>
                  <a:pt x="3217" y="1480"/>
                  <a:pt x="3217" y="1480"/>
                  <a:pt x="3217" y="1480"/>
                </a:cubicBezTo>
                <a:cubicBezTo>
                  <a:pt x="3218" y="1483"/>
                  <a:pt x="3218" y="1483"/>
                  <a:pt x="3218" y="1483"/>
                </a:cubicBezTo>
                <a:cubicBezTo>
                  <a:pt x="3219" y="1486"/>
                  <a:pt x="3219" y="1486"/>
                  <a:pt x="3219" y="1486"/>
                </a:cubicBezTo>
                <a:cubicBezTo>
                  <a:pt x="3220" y="1491"/>
                  <a:pt x="3220" y="1491"/>
                  <a:pt x="3220" y="1491"/>
                </a:cubicBezTo>
                <a:cubicBezTo>
                  <a:pt x="3220" y="1494"/>
                  <a:pt x="3220" y="1494"/>
                  <a:pt x="3220" y="1494"/>
                </a:cubicBezTo>
                <a:cubicBezTo>
                  <a:pt x="3220" y="1496"/>
                  <a:pt x="3220" y="1496"/>
                  <a:pt x="3220" y="1496"/>
                </a:cubicBezTo>
                <a:cubicBezTo>
                  <a:pt x="3221" y="1495"/>
                  <a:pt x="3221" y="1495"/>
                  <a:pt x="3221" y="1495"/>
                </a:cubicBezTo>
                <a:cubicBezTo>
                  <a:pt x="3221" y="1494"/>
                  <a:pt x="3221" y="1494"/>
                  <a:pt x="3221" y="1494"/>
                </a:cubicBezTo>
                <a:cubicBezTo>
                  <a:pt x="3221" y="1492"/>
                  <a:pt x="3221" y="1492"/>
                  <a:pt x="3221" y="1492"/>
                </a:cubicBezTo>
                <a:cubicBezTo>
                  <a:pt x="3221" y="1492"/>
                  <a:pt x="3221" y="1492"/>
                  <a:pt x="3221" y="1492"/>
                </a:cubicBezTo>
                <a:cubicBezTo>
                  <a:pt x="3222" y="1493"/>
                  <a:pt x="3222" y="1493"/>
                  <a:pt x="3222" y="1493"/>
                </a:cubicBezTo>
                <a:cubicBezTo>
                  <a:pt x="3222" y="1495"/>
                  <a:pt x="3222" y="1495"/>
                  <a:pt x="3222" y="1495"/>
                </a:cubicBezTo>
                <a:cubicBezTo>
                  <a:pt x="3223" y="1495"/>
                  <a:pt x="3223" y="1495"/>
                  <a:pt x="3223" y="1495"/>
                </a:cubicBezTo>
                <a:cubicBezTo>
                  <a:pt x="3223" y="1494"/>
                  <a:pt x="3223" y="1494"/>
                  <a:pt x="3223" y="1494"/>
                </a:cubicBezTo>
                <a:cubicBezTo>
                  <a:pt x="3223" y="1493"/>
                  <a:pt x="3223" y="1493"/>
                  <a:pt x="3223" y="1493"/>
                </a:cubicBezTo>
                <a:cubicBezTo>
                  <a:pt x="3224" y="1493"/>
                  <a:pt x="3224" y="1493"/>
                  <a:pt x="3224" y="1493"/>
                </a:cubicBezTo>
                <a:cubicBezTo>
                  <a:pt x="3224" y="1494"/>
                  <a:pt x="3224" y="1494"/>
                  <a:pt x="3224" y="1494"/>
                </a:cubicBezTo>
                <a:cubicBezTo>
                  <a:pt x="3223" y="1496"/>
                  <a:pt x="3223" y="1496"/>
                  <a:pt x="3223" y="1496"/>
                </a:cubicBezTo>
                <a:cubicBezTo>
                  <a:pt x="3222" y="1498"/>
                  <a:pt x="3222" y="1498"/>
                  <a:pt x="3222" y="1498"/>
                </a:cubicBezTo>
                <a:cubicBezTo>
                  <a:pt x="3222" y="1499"/>
                  <a:pt x="3222" y="1499"/>
                  <a:pt x="3222" y="1499"/>
                </a:cubicBezTo>
                <a:cubicBezTo>
                  <a:pt x="3221" y="1499"/>
                  <a:pt x="3221" y="1499"/>
                  <a:pt x="3221" y="1499"/>
                </a:cubicBezTo>
                <a:cubicBezTo>
                  <a:pt x="3221" y="1498"/>
                  <a:pt x="3221" y="1498"/>
                  <a:pt x="3221" y="1498"/>
                </a:cubicBezTo>
                <a:cubicBezTo>
                  <a:pt x="3220" y="1498"/>
                  <a:pt x="3220" y="1498"/>
                  <a:pt x="3220" y="1498"/>
                </a:cubicBezTo>
                <a:cubicBezTo>
                  <a:pt x="3220" y="1501"/>
                  <a:pt x="3220" y="1501"/>
                  <a:pt x="3220" y="1501"/>
                </a:cubicBezTo>
                <a:cubicBezTo>
                  <a:pt x="3222" y="1505"/>
                  <a:pt x="3222" y="1505"/>
                  <a:pt x="3222" y="1505"/>
                </a:cubicBezTo>
                <a:cubicBezTo>
                  <a:pt x="3222" y="1505"/>
                  <a:pt x="3222" y="1505"/>
                  <a:pt x="3222" y="1505"/>
                </a:cubicBezTo>
                <a:cubicBezTo>
                  <a:pt x="3223" y="1505"/>
                  <a:pt x="3223" y="1505"/>
                  <a:pt x="3223" y="1505"/>
                </a:cubicBezTo>
                <a:cubicBezTo>
                  <a:pt x="3224" y="1506"/>
                  <a:pt x="3224" y="1506"/>
                  <a:pt x="3224" y="1506"/>
                </a:cubicBezTo>
                <a:cubicBezTo>
                  <a:pt x="3224" y="1507"/>
                  <a:pt x="3224" y="1507"/>
                  <a:pt x="3224" y="1507"/>
                </a:cubicBezTo>
                <a:cubicBezTo>
                  <a:pt x="3225" y="1508"/>
                  <a:pt x="3225" y="1508"/>
                  <a:pt x="3225" y="1508"/>
                </a:cubicBezTo>
                <a:cubicBezTo>
                  <a:pt x="3223" y="1509"/>
                  <a:pt x="3223" y="1509"/>
                  <a:pt x="3223" y="1509"/>
                </a:cubicBezTo>
                <a:cubicBezTo>
                  <a:pt x="3223" y="1510"/>
                  <a:pt x="3223" y="1510"/>
                  <a:pt x="3223" y="1510"/>
                </a:cubicBezTo>
                <a:cubicBezTo>
                  <a:pt x="3224" y="1511"/>
                  <a:pt x="3224" y="1511"/>
                  <a:pt x="3224" y="1511"/>
                </a:cubicBezTo>
                <a:cubicBezTo>
                  <a:pt x="3223" y="1512"/>
                  <a:pt x="3223" y="1512"/>
                  <a:pt x="3223" y="1512"/>
                </a:cubicBezTo>
                <a:cubicBezTo>
                  <a:pt x="3222" y="1515"/>
                  <a:pt x="3222" y="1515"/>
                  <a:pt x="3222" y="1515"/>
                </a:cubicBezTo>
                <a:cubicBezTo>
                  <a:pt x="3222" y="1517"/>
                  <a:pt x="3222" y="1517"/>
                  <a:pt x="3222" y="1517"/>
                </a:cubicBezTo>
                <a:cubicBezTo>
                  <a:pt x="3221" y="1518"/>
                  <a:pt x="3221" y="1518"/>
                  <a:pt x="3221" y="1518"/>
                </a:cubicBezTo>
                <a:cubicBezTo>
                  <a:pt x="3222" y="1519"/>
                  <a:pt x="3222" y="1519"/>
                  <a:pt x="3222" y="1519"/>
                </a:cubicBezTo>
                <a:cubicBezTo>
                  <a:pt x="3222" y="1520"/>
                  <a:pt x="3222" y="1520"/>
                  <a:pt x="3222" y="1520"/>
                </a:cubicBezTo>
                <a:cubicBezTo>
                  <a:pt x="3220" y="1520"/>
                  <a:pt x="3220" y="1520"/>
                  <a:pt x="3220" y="1520"/>
                </a:cubicBezTo>
                <a:cubicBezTo>
                  <a:pt x="3220" y="1521"/>
                  <a:pt x="3220" y="1521"/>
                  <a:pt x="3220" y="1521"/>
                </a:cubicBezTo>
                <a:cubicBezTo>
                  <a:pt x="3220" y="1522"/>
                  <a:pt x="3220" y="1522"/>
                  <a:pt x="3220" y="1522"/>
                </a:cubicBezTo>
                <a:cubicBezTo>
                  <a:pt x="3221" y="1523"/>
                  <a:pt x="3221" y="1523"/>
                  <a:pt x="3221" y="1523"/>
                </a:cubicBezTo>
                <a:cubicBezTo>
                  <a:pt x="3220" y="1524"/>
                  <a:pt x="3220" y="1524"/>
                  <a:pt x="3220" y="1524"/>
                </a:cubicBezTo>
                <a:cubicBezTo>
                  <a:pt x="3218" y="1524"/>
                  <a:pt x="3218" y="1524"/>
                  <a:pt x="3218" y="1524"/>
                </a:cubicBezTo>
                <a:cubicBezTo>
                  <a:pt x="3217" y="1526"/>
                  <a:pt x="3217" y="1526"/>
                  <a:pt x="3217" y="1526"/>
                </a:cubicBezTo>
                <a:cubicBezTo>
                  <a:pt x="3216" y="1534"/>
                  <a:pt x="3216" y="1534"/>
                  <a:pt x="3216" y="1534"/>
                </a:cubicBezTo>
                <a:cubicBezTo>
                  <a:pt x="3216" y="1535"/>
                  <a:pt x="3216" y="1535"/>
                  <a:pt x="3216" y="1535"/>
                </a:cubicBezTo>
                <a:cubicBezTo>
                  <a:pt x="3214" y="1536"/>
                  <a:pt x="3214" y="1536"/>
                  <a:pt x="3214" y="1536"/>
                </a:cubicBezTo>
                <a:cubicBezTo>
                  <a:pt x="3213" y="1536"/>
                  <a:pt x="3213" y="1536"/>
                  <a:pt x="3213" y="1536"/>
                </a:cubicBezTo>
                <a:cubicBezTo>
                  <a:pt x="3211" y="1536"/>
                  <a:pt x="3211" y="1536"/>
                  <a:pt x="3211" y="1536"/>
                </a:cubicBezTo>
                <a:cubicBezTo>
                  <a:pt x="3209" y="1536"/>
                  <a:pt x="3209" y="1536"/>
                  <a:pt x="3209" y="1536"/>
                </a:cubicBezTo>
                <a:cubicBezTo>
                  <a:pt x="3206" y="1538"/>
                  <a:pt x="3206" y="1538"/>
                  <a:pt x="3206" y="1538"/>
                </a:cubicBezTo>
                <a:cubicBezTo>
                  <a:pt x="3204" y="1540"/>
                  <a:pt x="3204" y="1540"/>
                  <a:pt x="3204" y="1540"/>
                </a:cubicBezTo>
                <a:cubicBezTo>
                  <a:pt x="3203" y="1542"/>
                  <a:pt x="3203" y="1542"/>
                  <a:pt x="3203" y="1542"/>
                </a:cubicBezTo>
                <a:cubicBezTo>
                  <a:pt x="3204" y="1545"/>
                  <a:pt x="3204" y="1545"/>
                  <a:pt x="3204" y="1545"/>
                </a:cubicBezTo>
                <a:cubicBezTo>
                  <a:pt x="3205" y="1547"/>
                  <a:pt x="3205" y="1547"/>
                  <a:pt x="3205" y="1547"/>
                </a:cubicBezTo>
                <a:cubicBezTo>
                  <a:pt x="3208" y="1549"/>
                  <a:pt x="3208" y="1549"/>
                  <a:pt x="3208" y="1549"/>
                </a:cubicBezTo>
                <a:cubicBezTo>
                  <a:pt x="3210" y="1551"/>
                  <a:pt x="3210" y="1551"/>
                  <a:pt x="3210" y="1551"/>
                </a:cubicBezTo>
                <a:cubicBezTo>
                  <a:pt x="3212" y="1552"/>
                  <a:pt x="3212" y="1552"/>
                  <a:pt x="3212" y="1552"/>
                </a:cubicBezTo>
                <a:cubicBezTo>
                  <a:pt x="3213" y="1553"/>
                  <a:pt x="3213" y="1553"/>
                  <a:pt x="3213" y="1553"/>
                </a:cubicBezTo>
                <a:cubicBezTo>
                  <a:pt x="3214" y="1557"/>
                  <a:pt x="3214" y="1557"/>
                  <a:pt x="3214" y="1557"/>
                </a:cubicBezTo>
                <a:cubicBezTo>
                  <a:pt x="3214" y="1558"/>
                  <a:pt x="3214" y="1558"/>
                  <a:pt x="3214" y="1558"/>
                </a:cubicBezTo>
                <a:cubicBezTo>
                  <a:pt x="3214" y="1558"/>
                  <a:pt x="3214" y="1558"/>
                  <a:pt x="3214" y="1558"/>
                </a:cubicBezTo>
                <a:cubicBezTo>
                  <a:pt x="3214" y="1561"/>
                  <a:pt x="3214" y="1561"/>
                  <a:pt x="3214" y="1561"/>
                </a:cubicBezTo>
                <a:cubicBezTo>
                  <a:pt x="3213" y="1563"/>
                  <a:pt x="3213" y="1563"/>
                  <a:pt x="3213" y="1563"/>
                </a:cubicBezTo>
                <a:cubicBezTo>
                  <a:pt x="3209" y="1568"/>
                  <a:pt x="3209" y="1568"/>
                  <a:pt x="3209" y="1568"/>
                </a:cubicBezTo>
                <a:cubicBezTo>
                  <a:pt x="3206" y="1571"/>
                  <a:pt x="3206" y="1571"/>
                  <a:pt x="3206" y="1571"/>
                </a:cubicBezTo>
                <a:cubicBezTo>
                  <a:pt x="3203" y="1573"/>
                  <a:pt x="3203" y="1573"/>
                  <a:pt x="3203" y="1573"/>
                </a:cubicBezTo>
                <a:cubicBezTo>
                  <a:pt x="3202" y="1575"/>
                  <a:pt x="3202" y="1575"/>
                  <a:pt x="3202" y="1575"/>
                </a:cubicBezTo>
                <a:cubicBezTo>
                  <a:pt x="3202" y="1576"/>
                  <a:pt x="3202" y="1576"/>
                  <a:pt x="3202" y="1576"/>
                </a:cubicBezTo>
                <a:cubicBezTo>
                  <a:pt x="3204" y="1576"/>
                  <a:pt x="3204" y="1576"/>
                  <a:pt x="3204" y="1576"/>
                </a:cubicBezTo>
                <a:cubicBezTo>
                  <a:pt x="3205" y="1575"/>
                  <a:pt x="3205" y="1575"/>
                  <a:pt x="3205" y="1575"/>
                </a:cubicBezTo>
                <a:cubicBezTo>
                  <a:pt x="3205" y="1575"/>
                  <a:pt x="3205" y="1575"/>
                  <a:pt x="3205" y="1575"/>
                </a:cubicBezTo>
                <a:cubicBezTo>
                  <a:pt x="3206" y="1577"/>
                  <a:pt x="3206" y="1577"/>
                  <a:pt x="3206" y="1577"/>
                </a:cubicBezTo>
                <a:cubicBezTo>
                  <a:pt x="3205" y="1578"/>
                  <a:pt x="3205" y="1578"/>
                  <a:pt x="3205" y="1578"/>
                </a:cubicBezTo>
                <a:cubicBezTo>
                  <a:pt x="3206" y="1578"/>
                  <a:pt x="3206" y="1578"/>
                  <a:pt x="3206" y="1578"/>
                </a:cubicBezTo>
                <a:cubicBezTo>
                  <a:pt x="3207" y="1578"/>
                  <a:pt x="3207" y="1578"/>
                  <a:pt x="3207" y="1578"/>
                </a:cubicBezTo>
                <a:cubicBezTo>
                  <a:pt x="3207" y="1578"/>
                  <a:pt x="3207" y="1578"/>
                  <a:pt x="3207" y="1578"/>
                </a:cubicBezTo>
                <a:cubicBezTo>
                  <a:pt x="3207" y="1580"/>
                  <a:pt x="3207" y="1580"/>
                  <a:pt x="3207" y="1580"/>
                </a:cubicBezTo>
                <a:cubicBezTo>
                  <a:pt x="3208" y="1580"/>
                  <a:pt x="3208" y="1580"/>
                  <a:pt x="3208" y="1580"/>
                </a:cubicBezTo>
                <a:cubicBezTo>
                  <a:pt x="3209" y="1580"/>
                  <a:pt x="3209" y="1580"/>
                  <a:pt x="3209" y="1580"/>
                </a:cubicBezTo>
                <a:cubicBezTo>
                  <a:pt x="3213" y="1578"/>
                  <a:pt x="3213" y="1578"/>
                  <a:pt x="3213" y="1578"/>
                </a:cubicBezTo>
                <a:cubicBezTo>
                  <a:pt x="3216" y="1575"/>
                  <a:pt x="3216" y="1575"/>
                  <a:pt x="3216" y="1575"/>
                </a:cubicBezTo>
                <a:cubicBezTo>
                  <a:pt x="3219" y="1572"/>
                  <a:pt x="3219" y="1572"/>
                  <a:pt x="3219" y="1572"/>
                </a:cubicBezTo>
                <a:cubicBezTo>
                  <a:pt x="3222" y="1569"/>
                  <a:pt x="3222" y="1569"/>
                  <a:pt x="3222" y="1569"/>
                </a:cubicBezTo>
                <a:cubicBezTo>
                  <a:pt x="3225" y="1564"/>
                  <a:pt x="3225" y="1564"/>
                  <a:pt x="3225" y="1564"/>
                </a:cubicBezTo>
                <a:cubicBezTo>
                  <a:pt x="3227" y="1563"/>
                  <a:pt x="3227" y="1563"/>
                  <a:pt x="3227" y="1563"/>
                </a:cubicBezTo>
                <a:cubicBezTo>
                  <a:pt x="3228" y="1563"/>
                  <a:pt x="3228" y="1563"/>
                  <a:pt x="3228" y="1563"/>
                </a:cubicBezTo>
                <a:cubicBezTo>
                  <a:pt x="3229" y="1562"/>
                  <a:pt x="3229" y="1562"/>
                  <a:pt x="3229" y="1562"/>
                </a:cubicBezTo>
                <a:cubicBezTo>
                  <a:pt x="3229" y="1560"/>
                  <a:pt x="3229" y="1560"/>
                  <a:pt x="3229" y="1560"/>
                </a:cubicBezTo>
                <a:cubicBezTo>
                  <a:pt x="3230" y="1559"/>
                  <a:pt x="3230" y="1559"/>
                  <a:pt x="3230" y="1559"/>
                </a:cubicBezTo>
                <a:cubicBezTo>
                  <a:pt x="3232" y="1559"/>
                  <a:pt x="3232" y="1559"/>
                  <a:pt x="3232" y="1559"/>
                </a:cubicBezTo>
                <a:cubicBezTo>
                  <a:pt x="3233" y="1555"/>
                  <a:pt x="3233" y="1555"/>
                  <a:pt x="3233" y="1555"/>
                </a:cubicBezTo>
                <a:cubicBezTo>
                  <a:pt x="3236" y="1552"/>
                  <a:pt x="3236" y="1552"/>
                  <a:pt x="3236" y="1552"/>
                </a:cubicBezTo>
                <a:cubicBezTo>
                  <a:pt x="3236" y="1551"/>
                  <a:pt x="3236" y="1551"/>
                  <a:pt x="3236" y="1551"/>
                </a:cubicBezTo>
                <a:cubicBezTo>
                  <a:pt x="3237" y="1550"/>
                  <a:pt x="3237" y="1550"/>
                  <a:pt x="3237" y="1550"/>
                </a:cubicBezTo>
                <a:cubicBezTo>
                  <a:pt x="3235" y="1548"/>
                  <a:pt x="3235" y="1548"/>
                  <a:pt x="3235" y="1548"/>
                </a:cubicBezTo>
                <a:cubicBezTo>
                  <a:pt x="3233" y="1548"/>
                  <a:pt x="3233" y="1548"/>
                  <a:pt x="3233" y="1548"/>
                </a:cubicBezTo>
                <a:cubicBezTo>
                  <a:pt x="3232" y="1548"/>
                  <a:pt x="3232" y="1548"/>
                  <a:pt x="3232" y="1548"/>
                </a:cubicBezTo>
                <a:cubicBezTo>
                  <a:pt x="3233" y="1547"/>
                  <a:pt x="3233" y="1547"/>
                  <a:pt x="3233" y="1547"/>
                </a:cubicBezTo>
                <a:cubicBezTo>
                  <a:pt x="3235" y="1547"/>
                  <a:pt x="3235" y="1547"/>
                  <a:pt x="3235" y="1547"/>
                </a:cubicBezTo>
                <a:cubicBezTo>
                  <a:pt x="3239" y="1542"/>
                  <a:pt x="3239" y="1542"/>
                  <a:pt x="3239" y="1542"/>
                </a:cubicBezTo>
                <a:cubicBezTo>
                  <a:pt x="3241" y="1541"/>
                  <a:pt x="3241" y="1541"/>
                  <a:pt x="3241" y="1541"/>
                </a:cubicBezTo>
                <a:cubicBezTo>
                  <a:pt x="3244" y="1542"/>
                  <a:pt x="3244" y="1542"/>
                  <a:pt x="3244" y="1542"/>
                </a:cubicBezTo>
                <a:cubicBezTo>
                  <a:pt x="3246" y="1542"/>
                  <a:pt x="3246" y="1542"/>
                  <a:pt x="3246" y="1542"/>
                </a:cubicBezTo>
                <a:cubicBezTo>
                  <a:pt x="3246" y="1543"/>
                  <a:pt x="3246" y="1543"/>
                  <a:pt x="3246" y="1543"/>
                </a:cubicBezTo>
                <a:cubicBezTo>
                  <a:pt x="3246" y="1544"/>
                  <a:pt x="3246" y="1544"/>
                  <a:pt x="3246" y="1544"/>
                </a:cubicBezTo>
                <a:cubicBezTo>
                  <a:pt x="3248" y="1543"/>
                  <a:pt x="3248" y="1543"/>
                  <a:pt x="3248" y="1543"/>
                </a:cubicBezTo>
                <a:cubicBezTo>
                  <a:pt x="3249" y="1542"/>
                  <a:pt x="3249" y="1542"/>
                  <a:pt x="3249" y="1542"/>
                </a:cubicBezTo>
                <a:cubicBezTo>
                  <a:pt x="3246" y="1541"/>
                  <a:pt x="3246" y="1541"/>
                  <a:pt x="3246" y="1541"/>
                </a:cubicBezTo>
                <a:cubicBezTo>
                  <a:pt x="3247" y="1539"/>
                  <a:pt x="3247" y="1539"/>
                  <a:pt x="3247" y="1539"/>
                </a:cubicBezTo>
                <a:cubicBezTo>
                  <a:pt x="3248" y="1536"/>
                  <a:pt x="3248" y="1536"/>
                  <a:pt x="3248" y="1536"/>
                </a:cubicBezTo>
                <a:cubicBezTo>
                  <a:pt x="3249" y="1535"/>
                  <a:pt x="3249" y="1535"/>
                  <a:pt x="3249" y="1535"/>
                </a:cubicBezTo>
                <a:cubicBezTo>
                  <a:pt x="3251" y="1535"/>
                  <a:pt x="3251" y="1535"/>
                  <a:pt x="3251" y="1535"/>
                </a:cubicBezTo>
                <a:cubicBezTo>
                  <a:pt x="3251" y="1535"/>
                  <a:pt x="3251" y="1535"/>
                  <a:pt x="3251" y="1535"/>
                </a:cubicBezTo>
                <a:cubicBezTo>
                  <a:pt x="3252" y="1535"/>
                  <a:pt x="3252" y="1535"/>
                  <a:pt x="3252" y="1535"/>
                </a:cubicBezTo>
                <a:cubicBezTo>
                  <a:pt x="3253" y="1533"/>
                  <a:pt x="3253" y="1533"/>
                  <a:pt x="3253" y="1533"/>
                </a:cubicBezTo>
                <a:cubicBezTo>
                  <a:pt x="3256" y="1529"/>
                  <a:pt x="3256" y="1529"/>
                  <a:pt x="3256" y="1529"/>
                </a:cubicBezTo>
                <a:cubicBezTo>
                  <a:pt x="3256" y="1527"/>
                  <a:pt x="3256" y="1527"/>
                  <a:pt x="3256" y="1527"/>
                </a:cubicBezTo>
                <a:cubicBezTo>
                  <a:pt x="3256" y="1526"/>
                  <a:pt x="3256" y="1526"/>
                  <a:pt x="3256" y="1526"/>
                </a:cubicBezTo>
                <a:cubicBezTo>
                  <a:pt x="3257" y="1524"/>
                  <a:pt x="3257" y="1524"/>
                  <a:pt x="3257" y="1524"/>
                </a:cubicBezTo>
                <a:cubicBezTo>
                  <a:pt x="3258" y="1522"/>
                  <a:pt x="3258" y="1522"/>
                  <a:pt x="3258" y="1522"/>
                </a:cubicBezTo>
                <a:cubicBezTo>
                  <a:pt x="3260" y="1521"/>
                  <a:pt x="3260" y="1521"/>
                  <a:pt x="3260" y="1521"/>
                </a:cubicBezTo>
                <a:lnTo>
                  <a:pt x="3260" y="1520"/>
                </a:lnTo>
                <a:close/>
                <a:moveTo>
                  <a:pt x="3190" y="1266"/>
                </a:moveTo>
                <a:cubicBezTo>
                  <a:pt x="3190" y="1265"/>
                  <a:pt x="3190" y="1265"/>
                  <a:pt x="3190" y="1265"/>
                </a:cubicBezTo>
                <a:cubicBezTo>
                  <a:pt x="3188" y="1265"/>
                  <a:pt x="3188" y="1265"/>
                  <a:pt x="3188" y="1265"/>
                </a:cubicBezTo>
                <a:cubicBezTo>
                  <a:pt x="3188" y="1266"/>
                  <a:pt x="3188" y="1266"/>
                  <a:pt x="3188" y="1266"/>
                </a:cubicBezTo>
                <a:cubicBezTo>
                  <a:pt x="3187" y="1268"/>
                  <a:pt x="3187" y="1268"/>
                  <a:pt x="3187" y="1268"/>
                </a:cubicBezTo>
                <a:cubicBezTo>
                  <a:pt x="3189" y="1268"/>
                  <a:pt x="3189" y="1268"/>
                  <a:pt x="3189" y="1268"/>
                </a:cubicBezTo>
                <a:lnTo>
                  <a:pt x="3190" y="1266"/>
                </a:lnTo>
                <a:close/>
                <a:moveTo>
                  <a:pt x="3194" y="1273"/>
                </a:moveTo>
                <a:cubicBezTo>
                  <a:pt x="3196" y="1274"/>
                  <a:pt x="3196" y="1274"/>
                  <a:pt x="3196" y="1274"/>
                </a:cubicBezTo>
                <a:cubicBezTo>
                  <a:pt x="3197" y="1273"/>
                  <a:pt x="3197" y="1273"/>
                  <a:pt x="3197" y="1273"/>
                </a:cubicBezTo>
                <a:cubicBezTo>
                  <a:pt x="3195" y="1271"/>
                  <a:pt x="3195" y="1271"/>
                  <a:pt x="3195" y="1271"/>
                </a:cubicBezTo>
                <a:cubicBezTo>
                  <a:pt x="3196" y="1270"/>
                  <a:pt x="3196" y="1270"/>
                  <a:pt x="3196" y="1270"/>
                </a:cubicBezTo>
                <a:cubicBezTo>
                  <a:pt x="3196" y="1268"/>
                  <a:pt x="3196" y="1268"/>
                  <a:pt x="3196" y="1268"/>
                </a:cubicBezTo>
                <a:cubicBezTo>
                  <a:pt x="3195" y="1267"/>
                  <a:pt x="3195" y="1267"/>
                  <a:pt x="3195" y="1267"/>
                </a:cubicBezTo>
                <a:cubicBezTo>
                  <a:pt x="3193" y="1269"/>
                  <a:pt x="3193" y="1269"/>
                  <a:pt x="3193" y="1269"/>
                </a:cubicBezTo>
                <a:cubicBezTo>
                  <a:pt x="3193" y="1270"/>
                  <a:pt x="3193" y="1270"/>
                  <a:pt x="3193" y="1270"/>
                </a:cubicBezTo>
                <a:cubicBezTo>
                  <a:pt x="3193" y="1271"/>
                  <a:pt x="3193" y="1271"/>
                  <a:pt x="3193" y="1271"/>
                </a:cubicBezTo>
                <a:lnTo>
                  <a:pt x="3194" y="1273"/>
                </a:lnTo>
                <a:close/>
                <a:moveTo>
                  <a:pt x="3192" y="1152"/>
                </a:moveTo>
                <a:cubicBezTo>
                  <a:pt x="3194" y="1151"/>
                  <a:pt x="3194" y="1151"/>
                  <a:pt x="3194" y="1151"/>
                </a:cubicBezTo>
                <a:cubicBezTo>
                  <a:pt x="3193" y="1150"/>
                  <a:pt x="3193" y="1150"/>
                  <a:pt x="3193" y="1150"/>
                </a:cubicBezTo>
                <a:cubicBezTo>
                  <a:pt x="3191" y="1150"/>
                  <a:pt x="3191" y="1150"/>
                  <a:pt x="3191" y="1150"/>
                </a:cubicBezTo>
                <a:cubicBezTo>
                  <a:pt x="3190" y="1151"/>
                  <a:pt x="3190" y="1151"/>
                  <a:pt x="3190" y="1151"/>
                </a:cubicBezTo>
                <a:cubicBezTo>
                  <a:pt x="3190" y="1152"/>
                  <a:pt x="3190" y="1152"/>
                  <a:pt x="3190" y="1152"/>
                </a:cubicBezTo>
                <a:lnTo>
                  <a:pt x="3192" y="1152"/>
                </a:lnTo>
                <a:close/>
                <a:moveTo>
                  <a:pt x="3212" y="1201"/>
                </a:moveTo>
                <a:cubicBezTo>
                  <a:pt x="3211" y="1197"/>
                  <a:pt x="3211" y="1197"/>
                  <a:pt x="3211" y="1197"/>
                </a:cubicBezTo>
                <a:cubicBezTo>
                  <a:pt x="3211" y="1201"/>
                  <a:pt x="3211" y="1201"/>
                  <a:pt x="3211" y="1201"/>
                </a:cubicBezTo>
                <a:cubicBezTo>
                  <a:pt x="3211" y="1203"/>
                  <a:pt x="3211" y="1203"/>
                  <a:pt x="3211" y="1203"/>
                </a:cubicBezTo>
                <a:lnTo>
                  <a:pt x="3212" y="1201"/>
                </a:lnTo>
                <a:close/>
                <a:moveTo>
                  <a:pt x="3207" y="1216"/>
                </a:moveTo>
                <a:cubicBezTo>
                  <a:pt x="3208" y="1217"/>
                  <a:pt x="3208" y="1217"/>
                  <a:pt x="3208" y="1217"/>
                </a:cubicBezTo>
                <a:cubicBezTo>
                  <a:pt x="3209" y="1217"/>
                  <a:pt x="3209" y="1217"/>
                  <a:pt x="3209" y="1217"/>
                </a:cubicBezTo>
                <a:cubicBezTo>
                  <a:pt x="3210" y="1216"/>
                  <a:pt x="3210" y="1216"/>
                  <a:pt x="3210" y="1216"/>
                </a:cubicBezTo>
                <a:cubicBezTo>
                  <a:pt x="3211" y="1216"/>
                  <a:pt x="3211" y="1216"/>
                  <a:pt x="3211" y="1216"/>
                </a:cubicBezTo>
                <a:cubicBezTo>
                  <a:pt x="3211" y="1215"/>
                  <a:pt x="3211" y="1215"/>
                  <a:pt x="3211" y="1215"/>
                </a:cubicBezTo>
                <a:cubicBezTo>
                  <a:pt x="3210" y="1214"/>
                  <a:pt x="3210" y="1214"/>
                  <a:pt x="3210" y="1214"/>
                </a:cubicBezTo>
                <a:cubicBezTo>
                  <a:pt x="3210" y="1213"/>
                  <a:pt x="3210" y="1213"/>
                  <a:pt x="3210" y="1213"/>
                </a:cubicBezTo>
                <a:cubicBezTo>
                  <a:pt x="3207" y="1215"/>
                  <a:pt x="3207" y="1215"/>
                  <a:pt x="3207" y="1215"/>
                </a:cubicBezTo>
                <a:lnTo>
                  <a:pt x="3207" y="1216"/>
                </a:lnTo>
                <a:close/>
                <a:moveTo>
                  <a:pt x="3217" y="1255"/>
                </a:moveTo>
                <a:cubicBezTo>
                  <a:pt x="3218" y="1253"/>
                  <a:pt x="3218" y="1253"/>
                  <a:pt x="3218" y="1253"/>
                </a:cubicBezTo>
                <a:cubicBezTo>
                  <a:pt x="3217" y="1251"/>
                  <a:pt x="3217" y="1251"/>
                  <a:pt x="3217" y="1251"/>
                </a:cubicBezTo>
                <a:cubicBezTo>
                  <a:pt x="3217" y="1253"/>
                  <a:pt x="3217" y="1253"/>
                  <a:pt x="3217" y="1253"/>
                </a:cubicBezTo>
                <a:lnTo>
                  <a:pt x="3217" y="1255"/>
                </a:lnTo>
                <a:close/>
                <a:moveTo>
                  <a:pt x="3209" y="1203"/>
                </a:moveTo>
                <a:cubicBezTo>
                  <a:pt x="3209" y="1202"/>
                  <a:pt x="3209" y="1202"/>
                  <a:pt x="3209" y="1202"/>
                </a:cubicBezTo>
                <a:cubicBezTo>
                  <a:pt x="3207" y="1203"/>
                  <a:pt x="3207" y="1203"/>
                  <a:pt x="3207" y="1203"/>
                </a:cubicBezTo>
                <a:cubicBezTo>
                  <a:pt x="3207" y="1203"/>
                  <a:pt x="3206" y="1204"/>
                  <a:pt x="3206" y="1204"/>
                </a:cubicBezTo>
                <a:cubicBezTo>
                  <a:pt x="3207" y="1204"/>
                  <a:pt x="3207" y="1204"/>
                  <a:pt x="3207" y="1204"/>
                </a:cubicBezTo>
                <a:lnTo>
                  <a:pt x="3209" y="1203"/>
                </a:lnTo>
                <a:close/>
                <a:moveTo>
                  <a:pt x="3216" y="1247"/>
                </a:moveTo>
                <a:cubicBezTo>
                  <a:pt x="3217" y="1244"/>
                  <a:pt x="3217" y="1244"/>
                  <a:pt x="3217" y="1244"/>
                </a:cubicBezTo>
                <a:cubicBezTo>
                  <a:pt x="3215" y="1242"/>
                  <a:pt x="3215" y="1242"/>
                  <a:pt x="3215" y="1242"/>
                </a:cubicBezTo>
                <a:cubicBezTo>
                  <a:pt x="3215" y="1243"/>
                  <a:pt x="3215" y="1243"/>
                  <a:pt x="3215" y="1243"/>
                </a:cubicBezTo>
                <a:cubicBezTo>
                  <a:pt x="3215" y="1245"/>
                  <a:pt x="3215" y="1245"/>
                  <a:pt x="3215" y="1245"/>
                </a:cubicBezTo>
                <a:lnTo>
                  <a:pt x="3216" y="1247"/>
                </a:lnTo>
                <a:close/>
                <a:moveTo>
                  <a:pt x="3212" y="1220"/>
                </a:moveTo>
                <a:cubicBezTo>
                  <a:pt x="3210" y="1219"/>
                  <a:pt x="3210" y="1219"/>
                  <a:pt x="3210" y="1219"/>
                </a:cubicBezTo>
                <a:cubicBezTo>
                  <a:pt x="3209" y="1221"/>
                  <a:pt x="3209" y="1221"/>
                  <a:pt x="3209" y="1221"/>
                </a:cubicBezTo>
                <a:cubicBezTo>
                  <a:pt x="3210" y="1221"/>
                  <a:pt x="3210" y="1221"/>
                  <a:pt x="3210" y="1221"/>
                </a:cubicBezTo>
                <a:cubicBezTo>
                  <a:pt x="3212" y="1221"/>
                  <a:pt x="3212" y="1221"/>
                  <a:pt x="3212" y="1221"/>
                </a:cubicBezTo>
                <a:lnTo>
                  <a:pt x="3212" y="1220"/>
                </a:lnTo>
                <a:close/>
                <a:moveTo>
                  <a:pt x="3208" y="1231"/>
                </a:moveTo>
                <a:cubicBezTo>
                  <a:pt x="3210" y="1233"/>
                  <a:pt x="3210" y="1233"/>
                  <a:pt x="3210" y="1233"/>
                </a:cubicBezTo>
                <a:cubicBezTo>
                  <a:pt x="3212" y="1232"/>
                  <a:pt x="3212" y="1232"/>
                  <a:pt x="3212" y="1232"/>
                </a:cubicBezTo>
                <a:cubicBezTo>
                  <a:pt x="3212" y="1230"/>
                  <a:pt x="3212" y="1230"/>
                  <a:pt x="3212" y="1230"/>
                </a:cubicBezTo>
                <a:cubicBezTo>
                  <a:pt x="3211" y="1229"/>
                  <a:pt x="3211" y="1229"/>
                  <a:pt x="3211" y="1229"/>
                </a:cubicBezTo>
                <a:cubicBezTo>
                  <a:pt x="3208" y="1230"/>
                  <a:pt x="3208" y="1230"/>
                  <a:pt x="3208" y="1230"/>
                </a:cubicBezTo>
                <a:lnTo>
                  <a:pt x="3208" y="1231"/>
                </a:lnTo>
                <a:close/>
                <a:moveTo>
                  <a:pt x="2794" y="661"/>
                </a:moveTo>
                <a:cubicBezTo>
                  <a:pt x="2794" y="660"/>
                  <a:pt x="2794" y="660"/>
                  <a:pt x="2794" y="660"/>
                </a:cubicBezTo>
                <a:cubicBezTo>
                  <a:pt x="2793" y="660"/>
                  <a:pt x="2793" y="660"/>
                  <a:pt x="2793" y="660"/>
                </a:cubicBezTo>
                <a:cubicBezTo>
                  <a:pt x="2793" y="661"/>
                  <a:pt x="2793" y="661"/>
                  <a:pt x="2793" y="661"/>
                </a:cubicBezTo>
                <a:cubicBezTo>
                  <a:pt x="2793" y="663"/>
                  <a:pt x="2793" y="663"/>
                  <a:pt x="2793" y="663"/>
                </a:cubicBezTo>
                <a:cubicBezTo>
                  <a:pt x="2794" y="664"/>
                  <a:pt x="2794" y="664"/>
                  <a:pt x="2794" y="664"/>
                </a:cubicBezTo>
                <a:cubicBezTo>
                  <a:pt x="2795" y="664"/>
                  <a:pt x="2795" y="664"/>
                  <a:pt x="2795" y="664"/>
                </a:cubicBezTo>
                <a:cubicBezTo>
                  <a:pt x="2795" y="663"/>
                  <a:pt x="2795" y="663"/>
                  <a:pt x="2795" y="663"/>
                </a:cubicBezTo>
                <a:lnTo>
                  <a:pt x="2794" y="661"/>
                </a:lnTo>
                <a:close/>
                <a:moveTo>
                  <a:pt x="3212" y="1210"/>
                </a:moveTo>
                <a:cubicBezTo>
                  <a:pt x="3212" y="1208"/>
                  <a:pt x="3212" y="1208"/>
                  <a:pt x="3212" y="1208"/>
                </a:cubicBezTo>
                <a:cubicBezTo>
                  <a:pt x="3212" y="1206"/>
                  <a:pt x="3212" y="1206"/>
                  <a:pt x="3212" y="1206"/>
                </a:cubicBezTo>
                <a:cubicBezTo>
                  <a:pt x="3211" y="1205"/>
                  <a:pt x="3211" y="1205"/>
                  <a:pt x="3211" y="1205"/>
                </a:cubicBezTo>
                <a:cubicBezTo>
                  <a:pt x="3211" y="1205"/>
                  <a:pt x="3210" y="1208"/>
                  <a:pt x="3210" y="1208"/>
                </a:cubicBezTo>
                <a:cubicBezTo>
                  <a:pt x="3211" y="1210"/>
                  <a:pt x="3211" y="1210"/>
                  <a:pt x="3211" y="1210"/>
                </a:cubicBezTo>
                <a:lnTo>
                  <a:pt x="3212" y="1210"/>
                </a:lnTo>
                <a:close/>
                <a:moveTo>
                  <a:pt x="3057" y="1088"/>
                </a:moveTo>
                <a:cubicBezTo>
                  <a:pt x="3059" y="1086"/>
                  <a:pt x="3059" y="1086"/>
                  <a:pt x="3059" y="1086"/>
                </a:cubicBezTo>
                <a:cubicBezTo>
                  <a:pt x="3059" y="1081"/>
                  <a:pt x="3059" y="1081"/>
                  <a:pt x="3059" y="1081"/>
                </a:cubicBezTo>
                <a:cubicBezTo>
                  <a:pt x="3057" y="1079"/>
                  <a:pt x="3057" y="1079"/>
                  <a:pt x="3057" y="1079"/>
                </a:cubicBezTo>
                <a:cubicBezTo>
                  <a:pt x="3056" y="1080"/>
                  <a:pt x="3056" y="1080"/>
                  <a:pt x="3056" y="1080"/>
                </a:cubicBezTo>
                <a:cubicBezTo>
                  <a:pt x="3055" y="1081"/>
                  <a:pt x="3055" y="1081"/>
                  <a:pt x="3055" y="1081"/>
                </a:cubicBezTo>
                <a:cubicBezTo>
                  <a:pt x="3054" y="1080"/>
                  <a:pt x="3054" y="1080"/>
                  <a:pt x="3054" y="1080"/>
                </a:cubicBezTo>
                <a:cubicBezTo>
                  <a:pt x="3051" y="1080"/>
                  <a:pt x="3051" y="1080"/>
                  <a:pt x="3051" y="1080"/>
                </a:cubicBezTo>
                <a:cubicBezTo>
                  <a:pt x="3050" y="1081"/>
                  <a:pt x="3050" y="1081"/>
                  <a:pt x="3050" y="1081"/>
                </a:cubicBezTo>
                <a:cubicBezTo>
                  <a:pt x="3051" y="1086"/>
                  <a:pt x="3051" y="1086"/>
                  <a:pt x="3051" y="1086"/>
                </a:cubicBezTo>
                <a:cubicBezTo>
                  <a:pt x="3052" y="1087"/>
                  <a:pt x="3052" y="1087"/>
                  <a:pt x="3052" y="1087"/>
                </a:cubicBezTo>
                <a:cubicBezTo>
                  <a:pt x="3051" y="1088"/>
                  <a:pt x="3051" y="1088"/>
                  <a:pt x="3051" y="1088"/>
                </a:cubicBezTo>
                <a:cubicBezTo>
                  <a:pt x="3049" y="1088"/>
                  <a:pt x="3049" y="1088"/>
                  <a:pt x="3049" y="1088"/>
                </a:cubicBezTo>
                <a:cubicBezTo>
                  <a:pt x="3045" y="1091"/>
                  <a:pt x="3045" y="1091"/>
                  <a:pt x="3045" y="1091"/>
                </a:cubicBezTo>
                <a:cubicBezTo>
                  <a:pt x="3045" y="1093"/>
                  <a:pt x="3045" y="1093"/>
                  <a:pt x="3045" y="1093"/>
                </a:cubicBezTo>
                <a:cubicBezTo>
                  <a:pt x="3043" y="1094"/>
                  <a:pt x="3043" y="1094"/>
                  <a:pt x="3043" y="1094"/>
                </a:cubicBezTo>
                <a:cubicBezTo>
                  <a:pt x="3042" y="1093"/>
                  <a:pt x="3042" y="1093"/>
                  <a:pt x="3042" y="1093"/>
                </a:cubicBezTo>
                <a:cubicBezTo>
                  <a:pt x="3041" y="1094"/>
                  <a:pt x="3041" y="1094"/>
                  <a:pt x="3041" y="1094"/>
                </a:cubicBezTo>
                <a:cubicBezTo>
                  <a:pt x="3040" y="1093"/>
                  <a:pt x="3040" y="1093"/>
                  <a:pt x="3040" y="1093"/>
                </a:cubicBezTo>
                <a:cubicBezTo>
                  <a:pt x="3038" y="1093"/>
                  <a:pt x="3038" y="1093"/>
                  <a:pt x="3038" y="1093"/>
                </a:cubicBezTo>
                <a:cubicBezTo>
                  <a:pt x="3037" y="1095"/>
                  <a:pt x="3037" y="1095"/>
                  <a:pt x="3037" y="1095"/>
                </a:cubicBezTo>
                <a:cubicBezTo>
                  <a:pt x="3036" y="1094"/>
                  <a:pt x="3036" y="1094"/>
                  <a:pt x="3036" y="1094"/>
                </a:cubicBezTo>
                <a:cubicBezTo>
                  <a:pt x="3035" y="1092"/>
                  <a:pt x="3035" y="1092"/>
                  <a:pt x="3035" y="1092"/>
                </a:cubicBezTo>
                <a:cubicBezTo>
                  <a:pt x="3035" y="1090"/>
                  <a:pt x="3035" y="1090"/>
                  <a:pt x="3035" y="1090"/>
                </a:cubicBezTo>
                <a:cubicBezTo>
                  <a:pt x="3034" y="1089"/>
                  <a:pt x="3034" y="1089"/>
                  <a:pt x="3034" y="1089"/>
                </a:cubicBezTo>
                <a:cubicBezTo>
                  <a:pt x="3033" y="1090"/>
                  <a:pt x="3033" y="1090"/>
                  <a:pt x="3033" y="1090"/>
                </a:cubicBezTo>
                <a:cubicBezTo>
                  <a:pt x="3033" y="1092"/>
                  <a:pt x="3033" y="1092"/>
                  <a:pt x="3033" y="1092"/>
                </a:cubicBezTo>
                <a:cubicBezTo>
                  <a:pt x="3032" y="1093"/>
                  <a:pt x="3032" y="1093"/>
                  <a:pt x="3032" y="1093"/>
                </a:cubicBezTo>
                <a:cubicBezTo>
                  <a:pt x="3030" y="1092"/>
                  <a:pt x="3030" y="1092"/>
                  <a:pt x="3030" y="1092"/>
                </a:cubicBezTo>
                <a:cubicBezTo>
                  <a:pt x="3027" y="1093"/>
                  <a:pt x="3027" y="1093"/>
                  <a:pt x="3027" y="1093"/>
                </a:cubicBezTo>
                <a:cubicBezTo>
                  <a:pt x="3026" y="1093"/>
                  <a:pt x="3026" y="1093"/>
                  <a:pt x="3026" y="1093"/>
                </a:cubicBezTo>
                <a:cubicBezTo>
                  <a:pt x="3024" y="1093"/>
                  <a:pt x="3024" y="1093"/>
                  <a:pt x="3024" y="1093"/>
                </a:cubicBezTo>
                <a:cubicBezTo>
                  <a:pt x="3022" y="1093"/>
                  <a:pt x="3022" y="1093"/>
                  <a:pt x="3022" y="1093"/>
                </a:cubicBezTo>
                <a:cubicBezTo>
                  <a:pt x="3020" y="1093"/>
                  <a:pt x="3020" y="1093"/>
                  <a:pt x="3020" y="1093"/>
                </a:cubicBezTo>
                <a:cubicBezTo>
                  <a:pt x="3018" y="1092"/>
                  <a:pt x="3018" y="1092"/>
                  <a:pt x="3018" y="1092"/>
                </a:cubicBezTo>
                <a:cubicBezTo>
                  <a:pt x="3016" y="1095"/>
                  <a:pt x="3016" y="1095"/>
                  <a:pt x="3016" y="1095"/>
                </a:cubicBezTo>
                <a:cubicBezTo>
                  <a:pt x="3018" y="1097"/>
                  <a:pt x="3018" y="1097"/>
                  <a:pt x="3018" y="1097"/>
                </a:cubicBezTo>
                <a:cubicBezTo>
                  <a:pt x="3020" y="1097"/>
                  <a:pt x="3020" y="1097"/>
                  <a:pt x="3020" y="1097"/>
                </a:cubicBezTo>
                <a:cubicBezTo>
                  <a:pt x="3024" y="1100"/>
                  <a:pt x="3024" y="1100"/>
                  <a:pt x="3024" y="1100"/>
                </a:cubicBezTo>
                <a:cubicBezTo>
                  <a:pt x="3024" y="1101"/>
                  <a:pt x="3024" y="1101"/>
                  <a:pt x="3024" y="1101"/>
                </a:cubicBezTo>
                <a:cubicBezTo>
                  <a:pt x="3025" y="1100"/>
                  <a:pt x="3025" y="1100"/>
                  <a:pt x="3025" y="1100"/>
                </a:cubicBezTo>
                <a:cubicBezTo>
                  <a:pt x="3029" y="1100"/>
                  <a:pt x="3029" y="1100"/>
                  <a:pt x="3029" y="1100"/>
                </a:cubicBezTo>
                <a:cubicBezTo>
                  <a:pt x="3030" y="1102"/>
                  <a:pt x="3030" y="1102"/>
                  <a:pt x="3030" y="1102"/>
                </a:cubicBezTo>
                <a:cubicBezTo>
                  <a:pt x="3032" y="1102"/>
                  <a:pt x="3032" y="1102"/>
                  <a:pt x="3032" y="1102"/>
                </a:cubicBezTo>
                <a:cubicBezTo>
                  <a:pt x="3034" y="1102"/>
                  <a:pt x="3034" y="1102"/>
                  <a:pt x="3034" y="1102"/>
                </a:cubicBezTo>
                <a:cubicBezTo>
                  <a:pt x="3037" y="1101"/>
                  <a:pt x="3037" y="1101"/>
                  <a:pt x="3037" y="1101"/>
                </a:cubicBezTo>
                <a:cubicBezTo>
                  <a:pt x="3039" y="1102"/>
                  <a:pt x="3039" y="1102"/>
                  <a:pt x="3039" y="1102"/>
                </a:cubicBezTo>
                <a:cubicBezTo>
                  <a:pt x="3041" y="1101"/>
                  <a:pt x="3041" y="1101"/>
                  <a:pt x="3041" y="1101"/>
                </a:cubicBezTo>
                <a:cubicBezTo>
                  <a:pt x="3044" y="1102"/>
                  <a:pt x="3044" y="1102"/>
                  <a:pt x="3044" y="1102"/>
                </a:cubicBezTo>
                <a:cubicBezTo>
                  <a:pt x="3044" y="1101"/>
                  <a:pt x="3044" y="1101"/>
                  <a:pt x="3044" y="1101"/>
                </a:cubicBezTo>
                <a:cubicBezTo>
                  <a:pt x="3044" y="1099"/>
                  <a:pt x="3044" y="1099"/>
                  <a:pt x="3044" y="1099"/>
                </a:cubicBezTo>
                <a:cubicBezTo>
                  <a:pt x="3047" y="1099"/>
                  <a:pt x="3047" y="1099"/>
                  <a:pt x="3047" y="1099"/>
                </a:cubicBezTo>
                <a:cubicBezTo>
                  <a:pt x="3051" y="1095"/>
                  <a:pt x="3051" y="1095"/>
                  <a:pt x="3051" y="1095"/>
                </a:cubicBezTo>
                <a:cubicBezTo>
                  <a:pt x="3051" y="1094"/>
                  <a:pt x="3051" y="1094"/>
                  <a:pt x="3051" y="1094"/>
                </a:cubicBezTo>
                <a:cubicBezTo>
                  <a:pt x="3052" y="1093"/>
                  <a:pt x="3052" y="1093"/>
                  <a:pt x="3052" y="1093"/>
                </a:cubicBezTo>
                <a:cubicBezTo>
                  <a:pt x="3053" y="1094"/>
                  <a:pt x="3053" y="1094"/>
                  <a:pt x="3053" y="1094"/>
                </a:cubicBezTo>
                <a:cubicBezTo>
                  <a:pt x="3056" y="1093"/>
                  <a:pt x="3056" y="1093"/>
                  <a:pt x="3056" y="1093"/>
                </a:cubicBezTo>
                <a:cubicBezTo>
                  <a:pt x="3057" y="1092"/>
                  <a:pt x="3057" y="1092"/>
                  <a:pt x="3057" y="1092"/>
                </a:cubicBezTo>
                <a:cubicBezTo>
                  <a:pt x="3055" y="1090"/>
                  <a:pt x="3055" y="1090"/>
                  <a:pt x="3055" y="1090"/>
                </a:cubicBezTo>
                <a:cubicBezTo>
                  <a:pt x="3055" y="1088"/>
                  <a:pt x="3055" y="1088"/>
                  <a:pt x="3055" y="1088"/>
                </a:cubicBezTo>
                <a:cubicBezTo>
                  <a:pt x="3056" y="1087"/>
                  <a:pt x="3056" y="1087"/>
                  <a:pt x="3056" y="1087"/>
                </a:cubicBezTo>
                <a:lnTo>
                  <a:pt x="3057" y="1088"/>
                </a:lnTo>
                <a:close/>
                <a:moveTo>
                  <a:pt x="2699" y="948"/>
                </a:moveTo>
                <a:cubicBezTo>
                  <a:pt x="2699" y="947"/>
                  <a:pt x="2699" y="947"/>
                  <a:pt x="2699" y="947"/>
                </a:cubicBezTo>
                <a:cubicBezTo>
                  <a:pt x="2698" y="948"/>
                  <a:pt x="2698" y="948"/>
                  <a:pt x="2698" y="948"/>
                </a:cubicBezTo>
                <a:lnTo>
                  <a:pt x="2699" y="948"/>
                </a:lnTo>
                <a:close/>
                <a:moveTo>
                  <a:pt x="2695" y="950"/>
                </a:moveTo>
                <a:cubicBezTo>
                  <a:pt x="2695" y="952"/>
                  <a:pt x="2695" y="952"/>
                  <a:pt x="2695" y="952"/>
                </a:cubicBezTo>
                <a:cubicBezTo>
                  <a:pt x="2696" y="954"/>
                  <a:pt x="2696" y="954"/>
                  <a:pt x="2696" y="954"/>
                </a:cubicBezTo>
                <a:cubicBezTo>
                  <a:pt x="2697" y="954"/>
                  <a:pt x="2697" y="954"/>
                  <a:pt x="2697" y="954"/>
                </a:cubicBezTo>
                <a:cubicBezTo>
                  <a:pt x="2697" y="951"/>
                  <a:pt x="2697" y="951"/>
                  <a:pt x="2697" y="951"/>
                </a:cubicBezTo>
                <a:cubicBezTo>
                  <a:pt x="2698" y="950"/>
                  <a:pt x="2698" y="950"/>
                  <a:pt x="2698" y="950"/>
                </a:cubicBezTo>
                <a:cubicBezTo>
                  <a:pt x="2697" y="950"/>
                  <a:pt x="2697" y="950"/>
                  <a:pt x="2697" y="950"/>
                </a:cubicBezTo>
                <a:lnTo>
                  <a:pt x="2695" y="950"/>
                </a:lnTo>
                <a:close/>
                <a:moveTo>
                  <a:pt x="2700" y="949"/>
                </a:moveTo>
                <a:cubicBezTo>
                  <a:pt x="2700" y="947"/>
                  <a:pt x="2700" y="947"/>
                  <a:pt x="2700" y="947"/>
                </a:cubicBezTo>
                <a:cubicBezTo>
                  <a:pt x="2699" y="948"/>
                  <a:pt x="2699" y="948"/>
                  <a:pt x="2699" y="948"/>
                </a:cubicBezTo>
                <a:lnTo>
                  <a:pt x="2700" y="949"/>
                </a:lnTo>
                <a:close/>
                <a:moveTo>
                  <a:pt x="2732" y="833"/>
                </a:moveTo>
                <a:cubicBezTo>
                  <a:pt x="2734" y="832"/>
                  <a:pt x="2734" y="832"/>
                  <a:pt x="2734" y="832"/>
                </a:cubicBezTo>
                <a:cubicBezTo>
                  <a:pt x="2731" y="832"/>
                  <a:pt x="2731" y="832"/>
                  <a:pt x="2731" y="832"/>
                </a:cubicBezTo>
                <a:lnTo>
                  <a:pt x="2732" y="833"/>
                </a:lnTo>
                <a:close/>
                <a:moveTo>
                  <a:pt x="2691" y="1073"/>
                </a:moveTo>
                <a:cubicBezTo>
                  <a:pt x="2691" y="1073"/>
                  <a:pt x="2691" y="1073"/>
                  <a:pt x="2691" y="1073"/>
                </a:cubicBezTo>
                <a:cubicBezTo>
                  <a:pt x="2690" y="1073"/>
                  <a:pt x="2690" y="1073"/>
                  <a:pt x="2690" y="1073"/>
                </a:cubicBezTo>
                <a:cubicBezTo>
                  <a:pt x="2691" y="1076"/>
                  <a:pt x="2691" y="1076"/>
                  <a:pt x="2691" y="1076"/>
                </a:cubicBezTo>
                <a:cubicBezTo>
                  <a:pt x="2691" y="1076"/>
                  <a:pt x="2691" y="1076"/>
                  <a:pt x="2691" y="1076"/>
                </a:cubicBezTo>
                <a:lnTo>
                  <a:pt x="2691" y="1073"/>
                </a:lnTo>
                <a:close/>
                <a:moveTo>
                  <a:pt x="2729" y="829"/>
                </a:moveTo>
                <a:cubicBezTo>
                  <a:pt x="2731" y="829"/>
                  <a:pt x="2731" y="829"/>
                  <a:pt x="2731" y="829"/>
                </a:cubicBezTo>
                <a:cubicBezTo>
                  <a:pt x="2730" y="828"/>
                  <a:pt x="2730" y="828"/>
                  <a:pt x="2730" y="828"/>
                </a:cubicBezTo>
                <a:lnTo>
                  <a:pt x="2729" y="829"/>
                </a:lnTo>
                <a:close/>
                <a:moveTo>
                  <a:pt x="2695" y="960"/>
                </a:moveTo>
                <a:cubicBezTo>
                  <a:pt x="2697" y="959"/>
                  <a:pt x="2697" y="959"/>
                  <a:pt x="2697" y="959"/>
                </a:cubicBezTo>
                <a:cubicBezTo>
                  <a:pt x="2697" y="958"/>
                  <a:pt x="2697" y="958"/>
                  <a:pt x="2697" y="958"/>
                </a:cubicBezTo>
                <a:cubicBezTo>
                  <a:pt x="2694" y="960"/>
                  <a:pt x="2694" y="960"/>
                  <a:pt x="2694" y="960"/>
                </a:cubicBezTo>
                <a:lnTo>
                  <a:pt x="2695" y="960"/>
                </a:lnTo>
                <a:close/>
                <a:moveTo>
                  <a:pt x="2686" y="1112"/>
                </a:moveTo>
                <a:cubicBezTo>
                  <a:pt x="2685" y="1112"/>
                  <a:pt x="2685" y="1112"/>
                  <a:pt x="2685" y="1112"/>
                </a:cubicBezTo>
                <a:cubicBezTo>
                  <a:pt x="2684" y="1112"/>
                  <a:pt x="2684" y="1112"/>
                  <a:pt x="2684" y="1112"/>
                </a:cubicBezTo>
                <a:cubicBezTo>
                  <a:pt x="2684" y="1113"/>
                  <a:pt x="2684" y="1113"/>
                  <a:pt x="2684" y="1113"/>
                </a:cubicBezTo>
                <a:cubicBezTo>
                  <a:pt x="2685" y="1113"/>
                  <a:pt x="2685" y="1113"/>
                  <a:pt x="2685" y="1113"/>
                </a:cubicBezTo>
                <a:lnTo>
                  <a:pt x="2686" y="1112"/>
                </a:lnTo>
                <a:close/>
                <a:moveTo>
                  <a:pt x="2692" y="1124"/>
                </a:moveTo>
                <a:cubicBezTo>
                  <a:pt x="2689" y="1123"/>
                  <a:pt x="2689" y="1123"/>
                  <a:pt x="2689" y="1123"/>
                </a:cubicBezTo>
                <a:cubicBezTo>
                  <a:pt x="2687" y="1125"/>
                  <a:pt x="2687" y="1125"/>
                  <a:pt x="2687" y="1125"/>
                </a:cubicBezTo>
                <a:cubicBezTo>
                  <a:pt x="2686" y="1127"/>
                  <a:pt x="2686" y="1127"/>
                  <a:pt x="2686" y="1127"/>
                </a:cubicBezTo>
                <a:cubicBezTo>
                  <a:pt x="2685" y="1127"/>
                  <a:pt x="2685" y="1127"/>
                  <a:pt x="2685" y="1127"/>
                </a:cubicBezTo>
                <a:cubicBezTo>
                  <a:pt x="2684" y="1128"/>
                  <a:pt x="2684" y="1128"/>
                  <a:pt x="2684" y="1128"/>
                </a:cubicBezTo>
                <a:cubicBezTo>
                  <a:pt x="2684" y="1129"/>
                  <a:pt x="2684" y="1129"/>
                  <a:pt x="2684" y="1129"/>
                </a:cubicBezTo>
                <a:cubicBezTo>
                  <a:pt x="2688" y="1130"/>
                  <a:pt x="2688" y="1130"/>
                  <a:pt x="2688" y="1130"/>
                </a:cubicBezTo>
                <a:cubicBezTo>
                  <a:pt x="2690" y="1129"/>
                  <a:pt x="2690" y="1129"/>
                  <a:pt x="2690" y="1129"/>
                </a:cubicBezTo>
                <a:cubicBezTo>
                  <a:pt x="2691" y="1130"/>
                  <a:pt x="2691" y="1130"/>
                  <a:pt x="2691" y="1130"/>
                </a:cubicBezTo>
                <a:cubicBezTo>
                  <a:pt x="2691" y="1128"/>
                  <a:pt x="2691" y="1128"/>
                  <a:pt x="2691" y="1128"/>
                </a:cubicBezTo>
                <a:cubicBezTo>
                  <a:pt x="2692" y="1127"/>
                  <a:pt x="2692" y="1127"/>
                  <a:pt x="2692" y="1127"/>
                </a:cubicBezTo>
                <a:lnTo>
                  <a:pt x="2692" y="1124"/>
                </a:lnTo>
                <a:close/>
                <a:moveTo>
                  <a:pt x="2690" y="1076"/>
                </a:moveTo>
                <a:cubicBezTo>
                  <a:pt x="2690" y="1073"/>
                  <a:pt x="2690" y="1073"/>
                  <a:pt x="2690" y="1073"/>
                </a:cubicBezTo>
                <a:cubicBezTo>
                  <a:pt x="2689" y="1072"/>
                  <a:pt x="2689" y="1072"/>
                  <a:pt x="2689" y="1072"/>
                </a:cubicBezTo>
                <a:cubicBezTo>
                  <a:pt x="2689" y="1073"/>
                  <a:pt x="2689" y="1073"/>
                  <a:pt x="2689" y="1073"/>
                </a:cubicBezTo>
                <a:cubicBezTo>
                  <a:pt x="2687" y="1075"/>
                  <a:pt x="2687" y="1075"/>
                  <a:pt x="2687" y="1075"/>
                </a:cubicBezTo>
                <a:cubicBezTo>
                  <a:pt x="2687" y="1078"/>
                  <a:pt x="2687" y="1078"/>
                  <a:pt x="2687" y="1078"/>
                </a:cubicBezTo>
                <a:cubicBezTo>
                  <a:pt x="2688" y="1079"/>
                  <a:pt x="2688" y="1079"/>
                  <a:pt x="2688" y="1079"/>
                </a:cubicBezTo>
                <a:cubicBezTo>
                  <a:pt x="2690" y="1078"/>
                  <a:pt x="2690" y="1078"/>
                  <a:pt x="2690" y="1078"/>
                </a:cubicBezTo>
                <a:lnTo>
                  <a:pt x="2690" y="1076"/>
                </a:lnTo>
                <a:close/>
                <a:moveTo>
                  <a:pt x="2704" y="1002"/>
                </a:moveTo>
                <a:cubicBezTo>
                  <a:pt x="2704" y="1002"/>
                  <a:pt x="2704" y="1002"/>
                  <a:pt x="2704" y="1002"/>
                </a:cubicBezTo>
                <a:cubicBezTo>
                  <a:pt x="2704" y="1000"/>
                  <a:pt x="2704" y="1000"/>
                  <a:pt x="2704" y="1000"/>
                </a:cubicBezTo>
                <a:cubicBezTo>
                  <a:pt x="2703" y="1000"/>
                  <a:pt x="2703" y="1000"/>
                  <a:pt x="2703" y="1000"/>
                </a:cubicBezTo>
                <a:lnTo>
                  <a:pt x="2704" y="1002"/>
                </a:lnTo>
                <a:close/>
                <a:moveTo>
                  <a:pt x="2704" y="994"/>
                </a:moveTo>
                <a:cubicBezTo>
                  <a:pt x="2705" y="994"/>
                  <a:pt x="2705" y="994"/>
                  <a:pt x="2705" y="994"/>
                </a:cubicBezTo>
                <a:cubicBezTo>
                  <a:pt x="2704" y="993"/>
                  <a:pt x="2704" y="993"/>
                  <a:pt x="2704" y="993"/>
                </a:cubicBezTo>
                <a:lnTo>
                  <a:pt x="2704" y="994"/>
                </a:lnTo>
                <a:close/>
                <a:moveTo>
                  <a:pt x="2706" y="998"/>
                </a:moveTo>
                <a:cubicBezTo>
                  <a:pt x="2704" y="998"/>
                  <a:pt x="2704" y="998"/>
                  <a:pt x="2704" y="998"/>
                </a:cubicBezTo>
                <a:cubicBezTo>
                  <a:pt x="2705" y="999"/>
                  <a:pt x="2705" y="999"/>
                  <a:pt x="2705" y="999"/>
                </a:cubicBezTo>
                <a:lnTo>
                  <a:pt x="2706" y="998"/>
                </a:lnTo>
                <a:close/>
                <a:moveTo>
                  <a:pt x="2707" y="993"/>
                </a:moveTo>
                <a:cubicBezTo>
                  <a:pt x="2707" y="993"/>
                  <a:pt x="2707" y="993"/>
                  <a:pt x="2707" y="993"/>
                </a:cubicBezTo>
                <a:cubicBezTo>
                  <a:pt x="2704" y="992"/>
                  <a:pt x="2704" y="992"/>
                  <a:pt x="2704" y="992"/>
                </a:cubicBezTo>
                <a:cubicBezTo>
                  <a:pt x="2704" y="992"/>
                  <a:pt x="2704" y="992"/>
                  <a:pt x="2704" y="992"/>
                </a:cubicBezTo>
                <a:cubicBezTo>
                  <a:pt x="2705" y="993"/>
                  <a:pt x="2705" y="993"/>
                  <a:pt x="2705" y="993"/>
                </a:cubicBezTo>
                <a:lnTo>
                  <a:pt x="2707" y="993"/>
                </a:lnTo>
                <a:close/>
                <a:moveTo>
                  <a:pt x="2734" y="827"/>
                </a:moveTo>
                <a:cubicBezTo>
                  <a:pt x="2734" y="825"/>
                  <a:pt x="2734" y="825"/>
                  <a:pt x="2734" y="825"/>
                </a:cubicBezTo>
                <a:cubicBezTo>
                  <a:pt x="2733" y="826"/>
                  <a:pt x="2733" y="826"/>
                  <a:pt x="2733" y="826"/>
                </a:cubicBezTo>
                <a:lnTo>
                  <a:pt x="2734" y="827"/>
                </a:lnTo>
                <a:close/>
                <a:moveTo>
                  <a:pt x="2785" y="924"/>
                </a:moveTo>
                <a:cubicBezTo>
                  <a:pt x="2784" y="925"/>
                  <a:pt x="2784" y="925"/>
                  <a:pt x="2784" y="925"/>
                </a:cubicBezTo>
                <a:cubicBezTo>
                  <a:pt x="2783" y="927"/>
                  <a:pt x="2783" y="927"/>
                  <a:pt x="2783" y="927"/>
                </a:cubicBezTo>
                <a:cubicBezTo>
                  <a:pt x="2784" y="929"/>
                  <a:pt x="2784" y="929"/>
                  <a:pt x="2784" y="929"/>
                </a:cubicBezTo>
                <a:cubicBezTo>
                  <a:pt x="2784" y="930"/>
                  <a:pt x="2784" y="930"/>
                  <a:pt x="2784" y="930"/>
                </a:cubicBezTo>
                <a:cubicBezTo>
                  <a:pt x="2784" y="931"/>
                  <a:pt x="2784" y="931"/>
                  <a:pt x="2784" y="931"/>
                </a:cubicBezTo>
                <a:cubicBezTo>
                  <a:pt x="2785" y="932"/>
                  <a:pt x="2785" y="932"/>
                  <a:pt x="2785" y="932"/>
                </a:cubicBezTo>
                <a:cubicBezTo>
                  <a:pt x="2786" y="929"/>
                  <a:pt x="2786" y="929"/>
                  <a:pt x="2786" y="929"/>
                </a:cubicBezTo>
                <a:cubicBezTo>
                  <a:pt x="2784" y="928"/>
                  <a:pt x="2784" y="928"/>
                  <a:pt x="2784" y="928"/>
                </a:cubicBezTo>
                <a:cubicBezTo>
                  <a:pt x="2784" y="926"/>
                  <a:pt x="2784" y="926"/>
                  <a:pt x="2784" y="926"/>
                </a:cubicBezTo>
                <a:cubicBezTo>
                  <a:pt x="2785" y="925"/>
                  <a:pt x="2785" y="925"/>
                  <a:pt x="2785" y="925"/>
                </a:cubicBezTo>
                <a:lnTo>
                  <a:pt x="2785" y="924"/>
                </a:lnTo>
                <a:close/>
                <a:moveTo>
                  <a:pt x="2785" y="919"/>
                </a:moveTo>
                <a:cubicBezTo>
                  <a:pt x="2785" y="920"/>
                  <a:pt x="2785" y="920"/>
                  <a:pt x="2785" y="920"/>
                </a:cubicBezTo>
                <a:cubicBezTo>
                  <a:pt x="2786" y="920"/>
                  <a:pt x="2786" y="920"/>
                  <a:pt x="2786" y="920"/>
                </a:cubicBezTo>
                <a:cubicBezTo>
                  <a:pt x="2786" y="919"/>
                  <a:pt x="2786" y="919"/>
                  <a:pt x="2786" y="919"/>
                </a:cubicBezTo>
                <a:lnTo>
                  <a:pt x="2785" y="919"/>
                </a:lnTo>
                <a:close/>
                <a:moveTo>
                  <a:pt x="2784" y="932"/>
                </a:moveTo>
                <a:cubicBezTo>
                  <a:pt x="2784" y="932"/>
                  <a:pt x="2784" y="932"/>
                  <a:pt x="2784" y="932"/>
                </a:cubicBezTo>
                <a:cubicBezTo>
                  <a:pt x="2782" y="932"/>
                  <a:pt x="2782" y="932"/>
                  <a:pt x="2782" y="932"/>
                </a:cubicBezTo>
                <a:cubicBezTo>
                  <a:pt x="2782" y="934"/>
                  <a:pt x="2782" y="934"/>
                  <a:pt x="2782" y="934"/>
                </a:cubicBezTo>
                <a:cubicBezTo>
                  <a:pt x="2783" y="938"/>
                  <a:pt x="2783" y="938"/>
                  <a:pt x="2783" y="938"/>
                </a:cubicBezTo>
                <a:cubicBezTo>
                  <a:pt x="2783" y="939"/>
                  <a:pt x="2783" y="939"/>
                  <a:pt x="2783" y="939"/>
                </a:cubicBezTo>
                <a:cubicBezTo>
                  <a:pt x="2781" y="938"/>
                  <a:pt x="2781" y="938"/>
                  <a:pt x="2781" y="938"/>
                </a:cubicBezTo>
                <a:cubicBezTo>
                  <a:pt x="2780" y="938"/>
                  <a:pt x="2780" y="938"/>
                  <a:pt x="2780" y="938"/>
                </a:cubicBezTo>
                <a:cubicBezTo>
                  <a:pt x="2780" y="941"/>
                  <a:pt x="2780" y="941"/>
                  <a:pt x="2780" y="941"/>
                </a:cubicBezTo>
                <a:cubicBezTo>
                  <a:pt x="2780" y="941"/>
                  <a:pt x="2780" y="941"/>
                  <a:pt x="2780" y="941"/>
                </a:cubicBezTo>
                <a:cubicBezTo>
                  <a:pt x="2779" y="941"/>
                  <a:pt x="2779" y="941"/>
                  <a:pt x="2779" y="941"/>
                </a:cubicBezTo>
                <a:cubicBezTo>
                  <a:pt x="2777" y="940"/>
                  <a:pt x="2777" y="940"/>
                  <a:pt x="2777" y="940"/>
                </a:cubicBezTo>
                <a:cubicBezTo>
                  <a:pt x="2776" y="944"/>
                  <a:pt x="2776" y="944"/>
                  <a:pt x="2776" y="944"/>
                </a:cubicBezTo>
                <a:cubicBezTo>
                  <a:pt x="2776" y="944"/>
                  <a:pt x="2776" y="944"/>
                  <a:pt x="2776" y="944"/>
                </a:cubicBezTo>
                <a:cubicBezTo>
                  <a:pt x="2776" y="946"/>
                  <a:pt x="2776" y="946"/>
                  <a:pt x="2776" y="946"/>
                </a:cubicBezTo>
                <a:cubicBezTo>
                  <a:pt x="2775" y="946"/>
                  <a:pt x="2775" y="946"/>
                  <a:pt x="2775" y="946"/>
                </a:cubicBezTo>
                <a:cubicBezTo>
                  <a:pt x="2774" y="944"/>
                  <a:pt x="2774" y="944"/>
                  <a:pt x="2774" y="944"/>
                </a:cubicBezTo>
                <a:cubicBezTo>
                  <a:pt x="2772" y="945"/>
                  <a:pt x="2772" y="945"/>
                  <a:pt x="2772" y="945"/>
                </a:cubicBezTo>
                <a:cubicBezTo>
                  <a:pt x="2771" y="948"/>
                  <a:pt x="2771" y="948"/>
                  <a:pt x="2771" y="948"/>
                </a:cubicBezTo>
                <a:cubicBezTo>
                  <a:pt x="2768" y="950"/>
                  <a:pt x="2768" y="950"/>
                  <a:pt x="2768" y="950"/>
                </a:cubicBezTo>
                <a:cubicBezTo>
                  <a:pt x="2766" y="950"/>
                  <a:pt x="2766" y="950"/>
                  <a:pt x="2766" y="950"/>
                </a:cubicBezTo>
                <a:cubicBezTo>
                  <a:pt x="2765" y="952"/>
                  <a:pt x="2765" y="952"/>
                  <a:pt x="2765" y="952"/>
                </a:cubicBezTo>
                <a:cubicBezTo>
                  <a:pt x="2767" y="949"/>
                  <a:pt x="2767" y="949"/>
                  <a:pt x="2767" y="949"/>
                </a:cubicBezTo>
                <a:cubicBezTo>
                  <a:pt x="2767" y="945"/>
                  <a:pt x="2767" y="945"/>
                  <a:pt x="2767" y="945"/>
                </a:cubicBezTo>
                <a:cubicBezTo>
                  <a:pt x="2764" y="943"/>
                  <a:pt x="2764" y="943"/>
                  <a:pt x="2764" y="943"/>
                </a:cubicBezTo>
                <a:cubicBezTo>
                  <a:pt x="2762" y="943"/>
                  <a:pt x="2762" y="943"/>
                  <a:pt x="2762" y="943"/>
                </a:cubicBezTo>
                <a:cubicBezTo>
                  <a:pt x="2761" y="945"/>
                  <a:pt x="2761" y="945"/>
                  <a:pt x="2761" y="945"/>
                </a:cubicBezTo>
                <a:cubicBezTo>
                  <a:pt x="2759" y="946"/>
                  <a:pt x="2759" y="946"/>
                  <a:pt x="2759" y="946"/>
                </a:cubicBezTo>
                <a:cubicBezTo>
                  <a:pt x="2758" y="948"/>
                  <a:pt x="2758" y="948"/>
                  <a:pt x="2758" y="948"/>
                </a:cubicBezTo>
                <a:cubicBezTo>
                  <a:pt x="2759" y="950"/>
                  <a:pt x="2759" y="950"/>
                  <a:pt x="2759" y="950"/>
                </a:cubicBezTo>
                <a:cubicBezTo>
                  <a:pt x="2756" y="950"/>
                  <a:pt x="2756" y="950"/>
                  <a:pt x="2756" y="950"/>
                </a:cubicBezTo>
                <a:cubicBezTo>
                  <a:pt x="2754" y="950"/>
                  <a:pt x="2754" y="950"/>
                  <a:pt x="2754" y="950"/>
                </a:cubicBezTo>
                <a:cubicBezTo>
                  <a:pt x="2752" y="951"/>
                  <a:pt x="2752" y="951"/>
                  <a:pt x="2752" y="951"/>
                </a:cubicBezTo>
                <a:cubicBezTo>
                  <a:pt x="2750" y="951"/>
                  <a:pt x="2750" y="951"/>
                  <a:pt x="2750" y="951"/>
                </a:cubicBezTo>
                <a:cubicBezTo>
                  <a:pt x="2749" y="954"/>
                  <a:pt x="2749" y="954"/>
                  <a:pt x="2749" y="954"/>
                </a:cubicBezTo>
                <a:cubicBezTo>
                  <a:pt x="2749" y="955"/>
                  <a:pt x="2749" y="955"/>
                  <a:pt x="2749" y="955"/>
                </a:cubicBezTo>
                <a:cubicBezTo>
                  <a:pt x="2749" y="958"/>
                  <a:pt x="2749" y="958"/>
                  <a:pt x="2749" y="958"/>
                </a:cubicBezTo>
                <a:cubicBezTo>
                  <a:pt x="2747" y="961"/>
                  <a:pt x="2747" y="961"/>
                  <a:pt x="2747" y="961"/>
                </a:cubicBezTo>
                <a:cubicBezTo>
                  <a:pt x="2749" y="963"/>
                  <a:pt x="2749" y="963"/>
                  <a:pt x="2749" y="963"/>
                </a:cubicBezTo>
                <a:cubicBezTo>
                  <a:pt x="2750" y="962"/>
                  <a:pt x="2750" y="962"/>
                  <a:pt x="2750" y="962"/>
                </a:cubicBezTo>
                <a:cubicBezTo>
                  <a:pt x="2752" y="958"/>
                  <a:pt x="2752" y="958"/>
                  <a:pt x="2752" y="958"/>
                </a:cubicBezTo>
                <a:cubicBezTo>
                  <a:pt x="2753" y="957"/>
                  <a:pt x="2753" y="957"/>
                  <a:pt x="2753" y="957"/>
                </a:cubicBezTo>
                <a:cubicBezTo>
                  <a:pt x="2754" y="954"/>
                  <a:pt x="2754" y="954"/>
                  <a:pt x="2754" y="954"/>
                </a:cubicBezTo>
                <a:cubicBezTo>
                  <a:pt x="2755" y="954"/>
                  <a:pt x="2755" y="954"/>
                  <a:pt x="2755" y="954"/>
                </a:cubicBezTo>
                <a:cubicBezTo>
                  <a:pt x="2757" y="955"/>
                  <a:pt x="2757" y="955"/>
                  <a:pt x="2757" y="955"/>
                </a:cubicBezTo>
                <a:cubicBezTo>
                  <a:pt x="2756" y="957"/>
                  <a:pt x="2756" y="957"/>
                  <a:pt x="2756" y="957"/>
                </a:cubicBezTo>
                <a:cubicBezTo>
                  <a:pt x="2757" y="957"/>
                  <a:pt x="2757" y="957"/>
                  <a:pt x="2757" y="957"/>
                </a:cubicBezTo>
                <a:cubicBezTo>
                  <a:pt x="2758" y="957"/>
                  <a:pt x="2758" y="957"/>
                  <a:pt x="2758" y="957"/>
                </a:cubicBezTo>
                <a:cubicBezTo>
                  <a:pt x="2759" y="958"/>
                  <a:pt x="2759" y="958"/>
                  <a:pt x="2759" y="958"/>
                </a:cubicBezTo>
                <a:cubicBezTo>
                  <a:pt x="2759" y="956"/>
                  <a:pt x="2759" y="956"/>
                  <a:pt x="2759" y="956"/>
                </a:cubicBezTo>
                <a:cubicBezTo>
                  <a:pt x="2760" y="955"/>
                  <a:pt x="2760" y="955"/>
                  <a:pt x="2760" y="955"/>
                </a:cubicBezTo>
                <a:cubicBezTo>
                  <a:pt x="2761" y="956"/>
                  <a:pt x="2761" y="956"/>
                  <a:pt x="2761" y="956"/>
                </a:cubicBezTo>
                <a:cubicBezTo>
                  <a:pt x="2760" y="957"/>
                  <a:pt x="2760" y="957"/>
                  <a:pt x="2760" y="957"/>
                </a:cubicBezTo>
                <a:cubicBezTo>
                  <a:pt x="2761" y="957"/>
                  <a:pt x="2761" y="957"/>
                  <a:pt x="2761" y="957"/>
                </a:cubicBezTo>
                <a:cubicBezTo>
                  <a:pt x="2763" y="958"/>
                  <a:pt x="2763" y="958"/>
                  <a:pt x="2763" y="958"/>
                </a:cubicBezTo>
                <a:cubicBezTo>
                  <a:pt x="2764" y="958"/>
                  <a:pt x="2764" y="958"/>
                  <a:pt x="2764" y="958"/>
                </a:cubicBezTo>
                <a:cubicBezTo>
                  <a:pt x="2762" y="956"/>
                  <a:pt x="2762" y="956"/>
                  <a:pt x="2762" y="956"/>
                </a:cubicBezTo>
                <a:cubicBezTo>
                  <a:pt x="2763" y="955"/>
                  <a:pt x="2763" y="955"/>
                  <a:pt x="2763" y="955"/>
                </a:cubicBezTo>
                <a:cubicBezTo>
                  <a:pt x="2763" y="955"/>
                  <a:pt x="2763" y="955"/>
                  <a:pt x="2763" y="955"/>
                </a:cubicBezTo>
                <a:cubicBezTo>
                  <a:pt x="2763" y="954"/>
                  <a:pt x="2763" y="954"/>
                  <a:pt x="2763" y="954"/>
                </a:cubicBezTo>
                <a:cubicBezTo>
                  <a:pt x="2764" y="954"/>
                  <a:pt x="2764" y="954"/>
                  <a:pt x="2764" y="954"/>
                </a:cubicBezTo>
                <a:cubicBezTo>
                  <a:pt x="2766" y="955"/>
                  <a:pt x="2766" y="955"/>
                  <a:pt x="2766" y="955"/>
                </a:cubicBezTo>
                <a:cubicBezTo>
                  <a:pt x="2768" y="956"/>
                  <a:pt x="2768" y="956"/>
                  <a:pt x="2768" y="956"/>
                </a:cubicBezTo>
                <a:cubicBezTo>
                  <a:pt x="2770" y="957"/>
                  <a:pt x="2770" y="957"/>
                  <a:pt x="2770" y="957"/>
                </a:cubicBezTo>
                <a:cubicBezTo>
                  <a:pt x="2770" y="959"/>
                  <a:pt x="2770" y="959"/>
                  <a:pt x="2770" y="959"/>
                </a:cubicBezTo>
                <a:cubicBezTo>
                  <a:pt x="2772" y="961"/>
                  <a:pt x="2772" y="961"/>
                  <a:pt x="2772" y="961"/>
                </a:cubicBezTo>
                <a:cubicBezTo>
                  <a:pt x="2770" y="960"/>
                  <a:pt x="2770" y="960"/>
                  <a:pt x="2770" y="960"/>
                </a:cubicBezTo>
                <a:cubicBezTo>
                  <a:pt x="2769" y="960"/>
                  <a:pt x="2769" y="960"/>
                  <a:pt x="2769" y="960"/>
                </a:cubicBezTo>
                <a:cubicBezTo>
                  <a:pt x="2770" y="961"/>
                  <a:pt x="2770" y="961"/>
                  <a:pt x="2770" y="961"/>
                </a:cubicBezTo>
                <a:cubicBezTo>
                  <a:pt x="2769" y="963"/>
                  <a:pt x="2769" y="963"/>
                  <a:pt x="2769" y="963"/>
                </a:cubicBezTo>
                <a:cubicBezTo>
                  <a:pt x="2770" y="964"/>
                  <a:pt x="2770" y="964"/>
                  <a:pt x="2770" y="964"/>
                </a:cubicBezTo>
                <a:cubicBezTo>
                  <a:pt x="2770" y="965"/>
                  <a:pt x="2770" y="965"/>
                  <a:pt x="2770" y="965"/>
                </a:cubicBezTo>
                <a:cubicBezTo>
                  <a:pt x="2769" y="967"/>
                  <a:pt x="2769" y="967"/>
                  <a:pt x="2769" y="967"/>
                </a:cubicBezTo>
                <a:cubicBezTo>
                  <a:pt x="2771" y="968"/>
                  <a:pt x="2771" y="968"/>
                  <a:pt x="2771" y="968"/>
                </a:cubicBezTo>
                <a:cubicBezTo>
                  <a:pt x="2771" y="970"/>
                  <a:pt x="2771" y="970"/>
                  <a:pt x="2771" y="970"/>
                </a:cubicBezTo>
                <a:cubicBezTo>
                  <a:pt x="2773" y="972"/>
                  <a:pt x="2773" y="972"/>
                  <a:pt x="2773" y="972"/>
                </a:cubicBezTo>
                <a:cubicBezTo>
                  <a:pt x="2775" y="972"/>
                  <a:pt x="2775" y="972"/>
                  <a:pt x="2775" y="972"/>
                </a:cubicBezTo>
                <a:cubicBezTo>
                  <a:pt x="2777" y="974"/>
                  <a:pt x="2777" y="974"/>
                  <a:pt x="2777" y="974"/>
                </a:cubicBezTo>
                <a:cubicBezTo>
                  <a:pt x="2779" y="975"/>
                  <a:pt x="2779" y="975"/>
                  <a:pt x="2779" y="975"/>
                </a:cubicBezTo>
                <a:cubicBezTo>
                  <a:pt x="2781" y="974"/>
                  <a:pt x="2781" y="974"/>
                  <a:pt x="2781" y="974"/>
                </a:cubicBezTo>
                <a:cubicBezTo>
                  <a:pt x="2781" y="973"/>
                  <a:pt x="2781" y="973"/>
                  <a:pt x="2781" y="973"/>
                </a:cubicBezTo>
                <a:cubicBezTo>
                  <a:pt x="2782" y="972"/>
                  <a:pt x="2782" y="972"/>
                  <a:pt x="2782" y="972"/>
                </a:cubicBezTo>
                <a:cubicBezTo>
                  <a:pt x="2783" y="973"/>
                  <a:pt x="2783" y="973"/>
                  <a:pt x="2783" y="973"/>
                </a:cubicBezTo>
                <a:cubicBezTo>
                  <a:pt x="2782" y="974"/>
                  <a:pt x="2782" y="974"/>
                  <a:pt x="2782" y="974"/>
                </a:cubicBezTo>
                <a:cubicBezTo>
                  <a:pt x="2783" y="976"/>
                  <a:pt x="2783" y="976"/>
                  <a:pt x="2783" y="976"/>
                </a:cubicBezTo>
                <a:cubicBezTo>
                  <a:pt x="2783" y="977"/>
                  <a:pt x="2783" y="977"/>
                  <a:pt x="2783" y="977"/>
                </a:cubicBezTo>
                <a:cubicBezTo>
                  <a:pt x="2785" y="976"/>
                  <a:pt x="2785" y="976"/>
                  <a:pt x="2785" y="976"/>
                </a:cubicBezTo>
                <a:cubicBezTo>
                  <a:pt x="2787" y="972"/>
                  <a:pt x="2787" y="972"/>
                  <a:pt x="2787" y="972"/>
                </a:cubicBezTo>
                <a:cubicBezTo>
                  <a:pt x="2788" y="970"/>
                  <a:pt x="2788" y="970"/>
                  <a:pt x="2788" y="970"/>
                </a:cubicBezTo>
                <a:cubicBezTo>
                  <a:pt x="2787" y="969"/>
                  <a:pt x="2787" y="969"/>
                  <a:pt x="2787" y="969"/>
                </a:cubicBezTo>
                <a:cubicBezTo>
                  <a:pt x="2786" y="966"/>
                  <a:pt x="2786" y="966"/>
                  <a:pt x="2786" y="966"/>
                </a:cubicBezTo>
                <a:cubicBezTo>
                  <a:pt x="2784" y="965"/>
                  <a:pt x="2784" y="965"/>
                  <a:pt x="2784" y="965"/>
                </a:cubicBezTo>
                <a:cubicBezTo>
                  <a:pt x="2784" y="963"/>
                  <a:pt x="2784" y="963"/>
                  <a:pt x="2784" y="963"/>
                </a:cubicBezTo>
                <a:cubicBezTo>
                  <a:pt x="2787" y="959"/>
                  <a:pt x="2787" y="959"/>
                  <a:pt x="2787" y="959"/>
                </a:cubicBezTo>
                <a:cubicBezTo>
                  <a:pt x="2788" y="958"/>
                  <a:pt x="2788" y="958"/>
                  <a:pt x="2788" y="958"/>
                </a:cubicBezTo>
                <a:cubicBezTo>
                  <a:pt x="2789" y="960"/>
                  <a:pt x="2789" y="960"/>
                  <a:pt x="2789" y="960"/>
                </a:cubicBezTo>
                <a:cubicBezTo>
                  <a:pt x="2790" y="962"/>
                  <a:pt x="2790" y="962"/>
                  <a:pt x="2790" y="962"/>
                </a:cubicBezTo>
                <a:cubicBezTo>
                  <a:pt x="2791" y="964"/>
                  <a:pt x="2791" y="964"/>
                  <a:pt x="2791" y="964"/>
                </a:cubicBezTo>
                <a:cubicBezTo>
                  <a:pt x="2791" y="965"/>
                  <a:pt x="2791" y="965"/>
                  <a:pt x="2791" y="965"/>
                </a:cubicBezTo>
                <a:cubicBezTo>
                  <a:pt x="2792" y="968"/>
                  <a:pt x="2792" y="968"/>
                  <a:pt x="2792" y="968"/>
                </a:cubicBezTo>
                <a:cubicBezTo>
                  <a:pt x="2792" y="970"/>
                  <a:pt x="2792" y="970"/>
                  <a:pt x="2792" y="970"/>
                </a:cubicBezTo>
                <a:cubicBezTo>
                  <a:pt x="2792" y="968"/>
                  <a:pt x="2792" y="968"/>
                  <a:pt x="2792" y="968"/>
                </a:cubicBezTo>
                <a:cubicBezTo>
                  <a:pt x="2793" y="966"/>
                  <a:pt x="2793" y="966"/>
                  <a:pt x="2793" y="966"/>
                </a:cubicBezTo>
                <a:cubicBezTo>
                  <a:pt x="2792" y="963"/>
                  <a:pt x="2792" y="963"/>
                  <a:pt x="2792" y="963"/>
                </a:cubicBezTo>
                <a:cubicBezTo>
                  <a:pt x="2792" y="962"/>
                  <a:pt x="2792" y="962"/>
                  <a:pt x="2792" y="962"/>
                </a:cubicBezTo>
                <a:cubicBezTo>
                  <a:pt x="2793" y="962"/>
                  <a:pt x="2793" y="962"/>
                  <a:pt x="2793" y="962"/>
                </a:cubicBezTo>
                <a:cubicBezTo>
                  <a:pt x="2794" y="963"/>
                  <a:pt x="2794" y="963"/>
                  <a:pt x="2794" y="963"/>
                </a:cubicBezTo>
                <a:cubicBezTo>
                  <a:pt x="2794" y="962"/>
                  <a:pt x="2794" y="962"/>
                  <a:pt x="2794" y="962"/>
                </a:cubicBezTo>
                <a:cubicBezTo>
                  <a:pt x="2795" y="962"/>
                  <a:pt x="2795" y="962"/>
                  <a:pt x="2795" y="962"/>
                </a:cubicBezTo>
                <a:cubicBezTo>
                  <a:pt x="2796" y="959"/>
                  <a:pt x="2796" y="959"/>
                  <a:pt x="2796" y="959"/>
                </a:cubicBezTo>
                <a:cubicBezTo>
                  <a:pt x="2796" y="956"/>
                  <a:pt x="2796" y="956"/>
                  <a:pt x="2796" y="956"/>
                </a:cubicBezTo>
                <a:cubicBezTo>
                  <a:pt x="2794" y="954"/>
                  <a:pt x="2794" y="954"/>
                  <a:pt x="2794" y="954"/>
                </a:cubicBezTo>
                <a:cubicBezTo>
                  <a:pt x="2793" y="952"/>
                  <a:pt x="2793" y="952"/>
                  <a:pt x="2793" y="952"/>
                </a:cubicBezTo>
                <a:cubicBezTo>
                  <a:pt x="2793" y="950"/>
                  <a:pt x="2793" y="950"/>
                  <a:pt x="2793" y="950"/>
                </a:cubicBezTo>
                <a:cubicBezTo>
                  <a:pt x="2793" y="948"/>
                  <a:pt x="2793" y="948"/>
                  <a:pt x="2793" y="948"/>
                </a:cubicBezTo>
                <a:cubicBezTo>
                  <a:pt x="2792" y="949"/>
                  <a:pt x="2792" y="949"/>
                  <a:pt x="2792" y="949"/>
                </a:cubicBezTo>
                <a:cubicBezTo>
                  <a:pt x="2792" y="947"/>
                  <a:pt x="2792" y="947"/>
                  <a:pt x="2792" y="947"/>
                </a:cubicBezTo>
                <a:cubicBezTo>
                  <a:pt x="2792" y="945"/>
                  <a:pt x="2792" y="945"/>
                  <a:pt x="2792" y="945"/>
                </a:cubicBezTo>
                <a:cubicBezTo>
                  <a:pt x="2792" y="945"/>
                  <a:pt x="2792" y="945"/>
                  <a:pt x="2792" y="945"/>
                </a:cubicBezTo>
                <a:cubicBezTo>
                  <a:pt x="2790" y="944"/>
                  <a:pt x="2790" y="944"/>
                  <a:pt x="2790" y="944"/>
                </a:cubicBezTo>
                <a:cubicBezTo>
                  <a:pt x="2791" y="943"/>
                  <a:pt x="2791" y="943"/>
                  <a:pt x="2791" y="943"/>
                </a:cubicBezTo>
                <a:cubicBezTo>
                  <a:pt x="2792" y="943"/>
                  <a:pt x="2792" y="943"/>
                  <a:pt x="2792" y="943"/>
                </a:cubicBezTo>
                <a:cubicBezTo>
                  <a:pt x="2792" y="940"/>
                  <a:pt x="2792" y="940"/>
                  <a:pt x="2792" y="940"/>
                </a:cubicBezTo>
                <a:cubicBezTo>
                  <a:pt x="2791" y="938"/>
                  <a:pt x="2791" y="938"/>
                  <a:pt x="2791" y="938"/>
                </a:cubicBezTo>
                <a:cubicBezTo>
                  <a:pt x="2791" y="937"/>
                  <a:pt x="2791" y="937"/>
                  <a:pt x="2791" y="937"/>
                </a:cubicBezTo>
                <a:cubicBezTo>
                  <a:pt x="2789" y="938"/>
                  <a:pt x="2789" y="938"/>
                  <a:pt x="2789" y="938"/>
                </a:cubicBezTo>
                <a:cubicBezTo>
                  <a:pt x="2787" y="936"/>
                  <a:pt x="2787" y="936"/>
                  <a:pt x="2787" y="936"/>
                </a:cubicBezTo>
                <a:cubicBezTo>
                  <a:pt x="2785" y="934"/>
                  <a:pt x="2785" y="934"/>
                  <a:pt x="2785" y="934"/>
                </a:cubicBezTo>
                <a:lnTo>
                  <a:pt x="2784" y="932"/>
                </a:lnTo>
                <a:close/>
                <a:moveTo>
                  <a:pt x="2785" y="652"/>
                </a:moveTo>
                <a:cubicBezTo>
                  <a:pt x="2785" y="652"/>
                  <a:pt x="2785" y="652"/>
                  <a:pt x="2785" y="652"/>
                </a:cubicBezTo>
                <a:cubicBezTo>
                  <a:pt x="2786" y="653"/>
                  <a:pt x="2786" y="653"/>
                  <a:pt x="2786" y="653"/>
                </a:cubicBezTo>
                <a:cubicBezTo>
                  <a:pt x="2787" y="653"/>
                  <a:pt x="2787" y="653"/>
                  <a:pt x="2787" y="653"/>
                </a:cubicBezTo>
                <a:cubicBezTo>
                  <a:pt x="2785" y="652"/>
                  <a:pt x="2785" y="652"/>
                  <a:pt x="2785" y="652"/>
                </a:cubicBezTo>
                <a:close/>
                <a:moveTo>
                  <a:pt x="2787" y="933"/>
                </a:moveTo>
                <a:cubicBezTo>
                  <a:pt x="2788" y="934"/>
                  <a:pt x="2788" y="934"/>
                  <a:pt x="2788" y="934"/>
                </a:cubicBezTo>
                <a:cubicBezTo>
                  <a:pt x="2788" y="933"/>
                  <a:pt x="2788" y="933"/>
                  <a:pt x="2788" y="933"/>
                </a:cubicBezTo>
                <a:cubicBezTo>
                  <a:pt x="2787" y="932"/>
                  <a:pt x="2787" y="932"/>
                  <a:pt x="2787" y="932"/>
                </a:cubicBezTo>
                <a:lnTo>
                  <a:pt x="2787" y="933"/>
                </a:lnTo>
                <a:close/>
                <a:moveTo>
                  <a:pt x="2797" y="661"/>
                </a:moveTo>
                <a:cubicBezTo>
                  <a:pt x="2796" y="660"/>
                  <a:pt x="2796" y="660"/>
                  <a:pt x="2796" y="660"/>
                </a:cubicBezTo>
                <a:cubicBezTo>
                  <a:pt x="2796" y="661"/>
                  <a:pt x="2796" y="661"/>
                  <a:pt x="2796" y="661"/>
                </a:cubicBezTo>
                <a:cubicBezTo>
                  <a:pt x="2796" y="662"/>
                  <a:pt x="2796" y="662"/>
                  <a:pt x="2796" y="662"/>
                </a:cubicBezTo>
                <a:cubicBezTo>
                  <a:pt x="2797" y="662"/>
                  <a:pt x="2797" y="662"/>
                  <a:pt x="2797" y="662"/>
                </a:cubicBezTo>
                <a:lnTo>
                  <a:pt x="2797" y="661"/>
                </a:lnTo>
                <a:close/>
                <a:moveTo>
                  <a:pt x="2789" y="928"/>
                </a:moveTo>
                <a:cubicBezTo>
                  <a:pt x="2789" y="930"/>
                  <a:pt x="2789" y="930"/>
                  <a:pt x="2789" y="930"/>
                </a:cubicBezTo>
                <a:cubicBezTo>
                  <a:pt x="2788" y="931"/>
                  <a:pt x="2788" y="931"/>
                  <a:pt x="2788" y="931"/>
                </a:cubicBezTo>
                <a:cubicBezTo>
                  <a:pt x="2789" y="932"/>
                  <a:pt x="2789" y="932"/>
                  <a:pt x="2789" y="932"/>
                </a:cubicBezTo>
                <a:cubicBezTo>
                  <a:pt x="2791" y="932"/>
                  <a:pt x="2791" y="932"/>
                  <a:pt x="2791" y="932"/>
                </a:cubicBezTo>
                <a:cubicBezTo>
                  <a:pt x="2790" y="930"/>
                  <a:pt x="2790" y="930"/>
                  <a:pt x="2790" y="930"/>
                </a:cubicBezTo>
                <a:lnTo>
                  <a:pt x="2789" y="928"/>
                </a:lnTo>
                <a:close/>
                <a:moveTo>
                  <a:pt x="2781" y="641"/>
                </a:moveTo>
                <a:cubicBezTo>
                  <a:pt x="2782" y="641"/>
                  <a:pt x="2782" y="641"/>
                  <a:pt x="2782" y="641"/>
                </a:cubicBezTo>
                <a:cubicBezTo>
                  <a:pt x="2783" y="640"/>
                  <a:pt x="2783" y="640"/>
                  <a:pt x="2783" y="640"/>
                </a:cubicBezTo>
                <a:cubicBezTo>
                  <a:pt x="2783" y="639"/>
                  <a:pt x="2783" y="639"/>
                  <a:pt x="2783" y="639"/>
                </a:cubicBezTo>
                <a:cubicBezTo>
                  <a:pt x="2781" y="639"/>
                  <a:pt x="2781" y="639"/>
                  <a:pt x="2781" y="639"/>
                </a:cubicBezTo>
                <a:cubicBezTo>
                  <a:pt x="2781" y="640"/>
                  <a:pt x="2781" y="640"/>
                  <a:pt x="2781" y="640"/>
                </a:cubicBezTo>
                <a:lnTo>
                  <a:pt x="2781" y="641"/>
                </a:lnTo>
                <a:close/>
                <a:moveTo>
                  <a:pt x="2782" y="657"/>
                </a:moveTo>
                <a:cubicBezTo>
                  <a:pt x="2783" y="656"/>
                  <a:pt x="2783" y="656"/>
                  <a:pt x="2783" y="656"/>
                </a:cubicBezTo>
                <a:cubicBezTo>
                  <a:pt x="2782" y="656"/>
                  <a:pt x="2782" y="656"/>
                  <a:pt x="2782" y="656"/>
                </a:cubicBezTo>
                <a:lnTo>
                  <a:pt x="2782" y="657"/>
                </a:lnTo>
                <a:close/>
                <a:moveTo>
                  <a:pt x="2478" y="862"/>
                </a:moveTo>
                <a:cubicBezTo>
                  <a:pt x="2480" y="862"/>
                  <a:pt x="2480" y="862"/>
                  <a:pt x="2480" y="862"/>
                </a:cubicBezTo>
                <a:cubicBezTo>
                  <a:pt x="2482" y="861"/>
                  <a:pt x="2482" y="861"/>
                  <a:pt x="2482" y="861"/>
                </a:cubicBezTo>
                <a:cubicBezTo>
                  <a:pt x="2480" y="861"/>
                  <a:pt x="2480" y="861"/>
                  <a:pt x="2480" y="861"/>
                </a:cubicBezTo>
                <a:cubicBezTo>
                  <a:pt x="2480" y="860"/>
                  <a:pt x="2480" y="860"/>
                  <a:pt x="2480" y="860"/>
                </a:cubicBezTo>
                <a:cubicBezTo>
                  <a:pt x="2480" y="858"/>
                  <a:pt x="2480" y="858"/>
                  <a:pt x="2480" y="858"/>
                </a:cubicBezTo>
                <a:cubicBezTo>
                  <a:pt x="2480" y="858"/>
                  <a:pt x="2480" y="858"/>
                  <a:pt x="2480" y="858"/>
                </a:cubicBezTo>
                <a:cubicBezTo>
                  <a:pt x="2481" y="860"/>
                  <a:pt x="2481" y="860"/>
                  <a:pt x="2481" y="860"/>
                </a:cubicBezTo>
                <a:cubicBezTo>
                  <a:pt x="2483" y="860"/>
                  <a:pt x="2483" y="860"/>
                  <a:pt x="2483" y="860"/>
                </a:cubicBezTo>
                <a:cubicBezTo>
                  <a:pt x="2486" y="858"/>
                  <a:pt x="2486" y="858"/>
                  <a:pt x="2486" y="858"/>
                </a:cubicBezTo>
                <a:cubicBezTo>
                  <a:pt x="2485" y="857"/>
                  <a:pt x="2485" y="857"/>
                  <a:pt x="2485" y="857"/>
                </a:cubicBezTo>
                <a:cubicBezTo>
                  <a:pt x="2486" y="856"/>
                  <a:pt x="2486" y="856"/>
                  <a:pt x="2486" y="856"/>
                </a:cubicBezTo>
                <a:cubicBezTo>
                  <a:pt x="2486" y="854"/>
                  <a:pt x="2486" y="854"/>
                  <a:pt x="2486" y="854"/>
                </a:cubicBezTo>
                <a:cubicBezTo>
                  <a:pt x="2485" y="853"/>
                  <a:pt x="2485" y="853"/>
                  <a:pt x="2485" y="853"/>
                </a:cubicBezTo>
                <a:cubicBezTo>
                  <a:pt x="2485" y="852"/>
                  <a:pt x="2485" y="852"/>
                  <a:pt x="2485" y="852"/>
                </a:cubicBezTo>
                <a:cubicBezTo>
                  <a:pt x="2486" y="851"/>
                  <a:pt x="2486" y="851"/>
                  <a:pt x="2486" y="851"/>
                </a:cubicBezTo>
                <a:cubicBezTo>
                  <a:pt x="2485" y="850"/>
                  <a:pt x="2485" y="850"/>
                  <a:pt x="2485" y="850"/>
                </a:cubicBezTo>
                <a:cubicBezTo>
                  <a:pt x="2487" y="851"/>
                  <a:pt x="2487" y="851"/>
                  <a:pt x="2487" y="851"/>
                </a:cubicBezTo>
                <a:cubicBezTo>
                  <a:pt x="2487" y="852"/>
                  <a:pt x="2487" y="852"/>
                  <a:pt x="2487" y="852"/>
                </a:cubicBezTo>
                <a:cubicBezTo>
                  <a:pt x="2488" y="852"/>
                  <a:pt x="2488" y="852"/>
                  <a:pt x="2488" y="852"/>
                </a:cubicBezTo>
                <a:cubicBezTo>
                  <a:pt x="2488" y="853"/>
                  <a:pt x="2488" y="853"/>
                  <a:pt x="2488" y="853"/>
                </a:cubicBezTo>
                <a:cubicBezTo>
                  <a:pt x="2490" y="857"/>
                  <a:pt x="2490" y="857"/>
                  <a:pt x="2490" y="857"/>
                </a:cubicBezTo>
                <a:cubicBezTo>
                  <a:pt x="2491" y="858"/>
                  <a:pt x="2491" y="858"/>
                  <a:pt x="2491" y="858"/>
                </a:cubicBezTo>
                <a:cubicBezTo>
                  <a:pt x="2491" y="861"/>
                  <a:pt x="2491" y="861"/>
                  <a:pt x="2491" y="861"/>
                </a:cubicBezTo>
                <a:cubicBezTo>
                  <a:pt x="2493" y="861"/>
                  <a:pt x="2493" y="861"/>
                  <a:pt x="2493" y="861"/>
                </a:cubicBezTo>
                <a:cubicBezTo>
                  <a:pt x="2494" y="860"/>
                  <a:pt x="2494" y="860"/>
                  <a:pt x="2494" y="860"/>
                </a:cubicBezTo>
                <a:cubicBezTo>
                  <a:pt x="2495" y="859"/>
                  <a:pt x="2495" y="859"/>
                  <a:pt x="2495" y="859"/>
                </a:cubicBezTo>
                <a:cubicBezTo>
                  <a:pt x="2495" y="860"/>
                  <a:pt x="2495" y="860"/>
                  <a:pt x="2495" y="860"/>
                </a:cubicBezTo>
                <a:cubicBezTo>
                  <a:pt x="2494" y="861"/>
                  <a:pt x="2494" y="861"/>
                  <a:pt x="2494" y="861"/>
                </a:cubicBezTo>
                <a:cubicBezTo>
                  <a:pt x="2496" y="863"/>
                  <a:pt x="2496" y="863"/>
                  <a:pt x="2496" y="863"/>
                </a:cubicBezTo>
                <a:cubicBezTo>
                  <a:pt x="2496" y="864"/>
                  <a:pt x="2496" y="864"/>
                  <a:pt x="2496" y="864"/>
                </a:cubicBezTo>
                <a:cubicBezTo>
                  <a:pt x="2495" y="865"/>
                  <a:pt x="2495" y="865"/>
                  <a:pt x="2495" y="865"/>
                </a:cubicBezTo>
                <a:cubicBezTo>
                  <a:pt x="2495" y="867"/>
                  <a:pt x="2495" y="867"/>
                  <a:pt x="2495" y="867"/>
                </a:cubicBezTo>
                <a:cubicBezTo>
                  <a:pt x="2497" y="868"/>
                  <a:pt x="2497" y="868"/>
                  <a:pt x="2497" y="868"/>
                </a:cubicBezTo>
                <a:cubicBezTo>
                  <a:pt x="2497" y="875"/>
                  <a:pt x="2497" y="875"/>
                  <a:pt x="2497" y="875"/>
                </a:cubicBezTo>
                <a:cubicBezTo>
                  <a:pt x="2498" y="875"/>
                  <a:pt x="2498" y="875"/>
                  <a:pt x="2498" y="875"/>
                </a:cubicBezTo>
                <a:cubicBezTo>
                  <a:pt x="2498" y="879"/>
                  <a:pt x="2498" y="879"/>
                  <a:pt x="2498" y="879"/>
                </a:cubicBezTo>
                <a:cubicBezTo>
                  <a:pt x="2501" y="880"/>
                  <a:pt x="2501" y="880"/>
                  <a:pt x="2501" y="880"/>
                </a:cubicBezTo>
                <a:cubicBezTo>
                  <a:pt x="2500" y="881"/>
                  <a:pt x="2500" y="881"/>
                  <a:pt x="2500" y="881"/>
                </a:cubicBezTo>
                <a:cubicBezTo>
                  <a:pt x="2500" y="883"/>
                  <a:pt x="2500" y="883"/>
                  <a:pt x="2500" y="883"/>
                </a:cubicBezTo>
                <a:cubicBezTo>
                  <a:pt x="2502" y="885"/>
                  <a:pt x="2502" y="885"/>
                  <a:pt x="2502" y="885"/>
                </a:cubicBezTo>
                <a:cubicBezTo>
                  <a:pt x="2501" y="889"/>
                  <a:pt x="2501" y="889"/>
                  <a:pt x="2501" y="889"/>
                </a:cubicBezTo>
                <a:cubicBezTo>
                  <a:pt x="2502" y="891"/>
                  <a:pt x="2502" y="891"/>
                  <a:pt x="2502" y="891"/>
                </a:cubicBezTo>
                <a:cubicBezTo>
                  <a:pt x="2502" y="893"/>
                  <a:pt x="2502" y="893"/>
                  <a:pt x="2502" y="893"/>
                </a:cubicBezTo>
                <a:cubicBezTo>
                  <a:pt x="2503" y="892"/>
                  <a:pt x="2503" y="892"/>
                  <a:pt x="2503" y="892"/>
                </a:cubicBezTo>
                <a:cubicBezTo>
                  <a:pt x="2503" y="889"/>
                  <a:pt x="2503" y="889"/>
                  <a:pt x="2503" y="889"/>
                </a:cubicBezTo>
                <a:cubicBezTo>
                  <a:pt x="2505" y="891"/>
                  <a:pt x="2505" y="891"/>
                  <a:pt x="2505" y="891"/>
                </a:cubicBezTo>
                <a:cubicBezTo>
                  <a:pt x="2505" y="894"/>
                  <a:pt x="2505" y="894"/>
                  <a:pt x="2505" y="894"/>
                </a:cubicBezTo>
                <a:cubicBezTo>
                  <a:pt x="2507" y="895"/>
                  <a:pt x="2507" y="895"/>
                  <a:pt x="2507" y="895"/>
                </a:cubicBezTo>
                <a:cubicBezTo>
                  <a:pt x="2507" y="901"/>
                  <a:pt x="2507" y="901"/>
                  <a:pt x="2507" y="901"/>
                </a:cubicBezTo>
                <a:cubicBezTo>
                  <a:pt x="2508" y="902"/>
                  <a:pt x="2508" y="902"/>
                  <a:pt x="2508" y="902"/>
                </a:cubicBezTo>
                <a:cubicBezTo>
                  <a:pt x="2509" y="904"/>
                  <a:pt x="2509" y="904"/>
                  <a:pt x="2509" y="904"/>
                </a:cubicBezTo>
                <a:cubicBezTo>
                  <a:pt x="2508" y="905"/>
                  <a:pt x="2508" y="905"/>
                  <a:pt x="2508" y="905"/>
                </a:cubicBezTo>
                <a:cubicBezTo>
                  <a:pt x="2508" y="907"/>
                  <a:pt x="2508" y="907"/>
                  <a:pt x="2508" y="907"/>
                </a:cubicBezTo>
                <a:cubicBezTo>
                  <a:pt x="2509" y="909"/>
                  <a:pt x="2509" y="909"/>
                  <a:pt x="2509" y="909"/>
                </a:cubicBezTo>
                <a:cubicBezTo>
                  <a:pt x="2511" y="910"/>
                  <a:pt x="2511" y="910"/>
                  <a:pt x="2511" y="910"/>
                </a:cubicBezTo>
                <a:cubicBezTo>
                  <a:pt x="2509" y="911"/>
                  <a:pt x="2509" y="911"/>
                  <a:pt x="2509" y="911"/>
                </a:cubicBezTo>
                <a:cubicBezTo>
                  <a:pt x="2510" y="914"/>
                  <a:pt x="2510" y="914"/>
                  <a:pt x="2510" y="914"/>
                </a:cubicBezTo>
                <a:cubicBezTo>
                  <a:pt x="2510" y="915"/>
                  <a:pt x="2510" y="915"/>
                  <a:pt x="2510" y="915"/>
                </a:cubicBezTo>
                <a:cubicBezTo>
                  <a:pt x="2509" y="916"/>
                  <a:pt x="2509" y="916"/>
                  <a:pt x="2509" y="916"/>
                </a:cubicBezTo>
                <a:cubicBezTo>
                  <a:pt x="2509" y="918"/>
                  <a:pt x="2509" y="918"/>
                  <a:pt x="2509" y="918"/>
                </a:cubicBezTo>
                <a:cubicBezTo>
                  <a:pt x="2509" y="919"/>
                  <a:pt x="2509" y="919"/>
                  <a:pt x="2509" y="919"/>
                </a:cubicBezTo>
                <a:cubicBezTo>
                  <a:pt x="2509" y="921"/>
                  <a:pt x="2509" y="921"/>
                  <a:pt x="2509" y="921"/>
                </a:cubicBezTo>
                <a:cubicBezTo>
                  <a:pt x="2508" y="923"/>
                  <a:pt x="2508" y="923"/>
                  <a:pt x="2508" y="923"/>
                </a:cubicBezTo>
                <a:cubicBezTo>
                  <a:pt x="2507" y="923"/>
                  <a:pt x="2507" y="923"/>
                  <a:pt x="2507" y="923"/>
                </a:cubicBezTo>
                <a:cubicBezTo>
                  <a:pt x="2507" y="923"/>
                  <a:pt x="2507" y="923"/>
                  <a:pt x="2507" y="923"/>
                </a:cubicBezTo>
                <a:cubicBezTo>
                  <a:pt x="2507" y="924"/>
                  <a:pt x="2507" y="924"/>
                  <a:pt x="2507" y="924"/>
                </a:cubicBezTo>
                <a:cubicBezTo>
                  <a:pt x="2507" y="925"/>
                  <a:pt x="2507" y="925"/>
                  <a:pt x="2507" y="925"/>
                </a:cubicBezTo>
                <a:cubicBezTo>
                  <a:pt x="2507" y="928"/>
                  <a:pt x="2507" y="928"/>
                  <a:pt x="2507" y="928"/>
                </a:cubicBezTo>
                <a:cubicBezTo>
                  <a:pt x="2508" y="931"/>
                  <a:pt x="2508" y="931"/>
                  <a:pt x="2508" y="931"/>
                </a:cubicBezTo>
                <a:cubicBezTo>
                  <a:pt x="2509" y="928"/>
                  <a:pt x="2509" y="928"/>
                  <a:pt x="2509" y="928"/>
                </a:cubicBezTo>
                <a:cubicBezTo>
                  <a:pt x="2510" y="926"/>
                  <a:pt x="2510" y="926"/>
                  <a:pt x="2510" y="926"/>
                </a:cubicBezTo>
                <a:cubicBezTo>
                  <a:pt x="2510" y="926"/>
                  <a:pt x="2510" y="926"/>
                  <a:pt x="2510" y="926"/>
                </a:cubicBezTo>
                <a:cubicBezTo>
                  <a:pt x="2509" y="930"/>
                  <a:pt x="2509" y="930"/>
                  <a:pt x="2509" y="930"/>
                </a:cubicBezTo>
                <a:cubicBezTo>
                  <a:pt x="2510" y="930"/>
                  <a:pt x="2510" y="930"/>
                  <a:pt x="2510" y="930"/>
                </a:cubicBezTo>
                <a:cubicBezTo>
                  <a:pt x="2509" y="932"/>
                  <a:pt x="2509" y="932"/>
                  <a:pt x="2509" y="932"/>
                </a:cubicBezTo>
                <a:cubicBezTo>
                  <a:pt x="2509" y="933"/>
                  <a:pt x="2509" y="933"/>
                  <a:pt x="2509" y="933"/>
                </a:cubicBezTo>
                <a:cubicBezTo>
                  <a:pt x="2508" y="935"/>
                  <a:pt x="2508" y="935"/>
                  <a:pt x="2508" y="935"/>
                </a:cubicBezTo>
                <a:cubicBezTo>
                  <a:pt x="2509" y="935"/>
                  <a:pt x="2509" y="935"/>
                  <a:pt x="2509" y="935"/>
                </a:cubicBezTo>
                <a:cubicBezTo>
                  <a:pt x="2508" y="937"/>
                  <a:pt x="2508" y="937"/>
                  <a:pt x="2508" y="937"/>
                </a:cubicBezTo>
                <a:cubicBezTo>
                  <a:pt x="2507" y="936"/>
                  <a:pt x="2507" y="936"/>
                  <a:pt x="2507" y="936"/>
                </a:cubicBezTo>
                <a:cubicBezTo>
                  <a:pt x="2507" y="940"/>
                  <a:pt x="2507" y="940"/>
                  <a:pt x="2507" y="940"/>
                </a:cubicBezTo>
                <a:cubicBezTo>
                  <a:pt x="2506" y="941"/>
                  <a:pt x="2506" y="941"/>
                  <a:pt x="2506" y="941"/>
                </a:cubicBezTo>
                <a:cubicBezTo>
                  <a:pt x="2506" y="944"/>
                  <a:pt x="2506" y="944"/>
                  <a:pt x="2506" y="944"/>
                </a:cubicBezTo>
                <a:cubicBezTo>
                  <a:pt x="2506" y="945"/>
                  <a:pt x="2506" y="945"/>
                  <a:pt x="2506" y="945"/>
                </a:cubicBezTo>
                <a:cubicBezTo>
                  <a:pt x="2506" y="948"/>
                  <a:pt x="2506" y="948"/>
                  <a:pt x="2506" y="948"/>
                </a:cubicBezTo>
                <a:cubicBezTo>
                  <a:pt x="2507" y="949"/>
                  <a:pt x="2507" y="949"/>
                  <a:pt x="2507" y="949"/>
                </a:cubicBezTo>
                <a:cubicBezTo>
                  <a:pt x="2509" y="950"/>
                  <a:pt x="2509" y="950"/>
                  <a:pt x="2509" y="950"/>
                </a:cubicBezTo>
                <a:cubicBezTo>
                  <a:pt x="2509" y="948"/>
                  <a:pt x="2509" y="948"/>
                  <a:pt x="2509" y="948"/>
                </a:cubicBezTo>
                <a:cubicBezTo>
                  <a:pt x="2510" y="947"/>
                  <a:pt x="2510" y="947"/>
                  <a:pt x="2510" y="947"/>
                </a:cubicBezTo>
                <a:cubicBezTo>
                  <a:pt x="2510" y="948"/>
                  <a:pt x="2510" y="948"/>
                  <a:pt x="2510" y="948"/>
                </a:cubicBezTo>
                <a:cubicBezTo>
                  <a:pt x="2512" y="949"/>
                  <a:pt x="2512" y="949"/>
                  <a:pt x="2512" y="949"/>
                </a:cubicBezTo>
                <a:cubicBezTo>
                  <a:pt x="2512" y="950"/>
                  <a:pt x="2512" y="950"/>
                  <a:pt x="2512" y="950"/>
                </a:cubicBezTo>
                <a:cubicBezTo>
                  <a:pt x="2513" y="950"/>
                  <a:pt x="2513" y="950"/>
                  <a:pt x="2513" y="950"/>
                </a:cubicBezTo>
                <a:cubicBezTo>
                  <a:pt x="2515" y="954"/>
                  <a:pt x="2515" y="954"/>
                  <a:pt x="2515" y="954"/>
                </a:cubicBezTo>
                <a:cubicBezTo>
                  <a:pt x="2516" y="954"/>
                  <a:pt x="2516" y="954"/>
                  <a:pt x="2516" y="954"/>
                </a:cubicBezTo>
                <a:cubicBezTo>
                  <a:pt x="2518" y="957"/>
                  <a:pt x="2518" y="957"/>
                  <a:pt x="2518" y="957"/>
                </a:cubicBezTo>
                <a:cubicBezTo>
                  <a:pt x="2518" y="959"/>
                  <a:pt x="2518" y="959"/>
                  <a:pt x="2518" y="959"/>
                </a:cubicBezTo>
                <a:cubicBezTo>
                  <a:pt x="2520" y="959"/>
                  <a:pt x="2520" y="959"/>
                  <a:pt x="2520" y="959"/>
                </a:cubicBezTo>
                <a:cubicBezTo>
                  <a:pt x="2521" y="961"/>
                  <a:pt x="2521" y="961"/>
                  <a:pt x="2521" y="961"/>
                </a:cubicBezTo>
                <a:cubicBezTo>
                  <a:pt x="2522" y="961"/>
                  <a:pt x="2522" y="961"/>
                  <a:pt x="2522" y="961"/>
                </a:cubicBezTo>
                <a:cubicBezTo>
                  <a:pt x="2522" y="962"/>
                  <a:pt x="2522" y="962"/>
                  <a:pt x="2522" y="962"/>
                </a:cubicBezTo>
                <a:cubicBezTo>
                  <a:pt x="2521" y="963"/>
                  <a:pt x="2521" y="963"/>
                  <a:pt x="2521" y="963"/>
                </a:cubicBezTo>
                <a:cubicBezTo>
                  <a:pt x="2521" y="964"/>
                  <a:pt x="2521" y="964"/>
                  <a:pt x="2521" y="964"/>
                </a:cubicBezTo>
                <a:cubicBezTo>
                  <a:pt x="2526" y="967"/>
                  <a:pt x="2526" y="967"/>
                  <a:pt x="2526" y="967"/>
                </a:cubicBezTo>
                <a:cubicBezTo>
                  <a:pt x="2526" y="968"/>
                  <a:pt x="2526" y="968"/>
                  <a:pt x="2526" y="968"/>
                </a:cubicBezTo>
                <a:cubicBezTo>
                  <a:pt x="2529" y="972"/>
                  <a:pt x="2529" y="972"/>
                  <a:pt x="2529" y="972"/>
                </a:cubicBezTo>
                <a:cubicBezTo>
                  <a:pt x="2530" y="980"/>
                  <a:pt x="2530" y="980"/>
                  <a:pt x="2530" y="980"/>
                </a:cubicBezTo>
                <a:cubicBezTo>
                  <a:pt x="2531" y="983"/>
                  <a:pt x="2531" y="983"/>
                  <a:pt x="2531" y="983"/>
                </a:cubicBezTo>
                <a:cubicBezTo>
                  <a:pt x="2532" y="985"/>
                  <a:pt x="2532" y="985"/>
                  <a:pt x="2532" y="985"/>
                </a:cubicBezTo>
                <a:cubicBezTo>
                  <a:pt x="2532" y="988"/>
                  <a:pt x="2532" y="988"/>
                  <a:pt x="2532" y="988"/>
                </a:cubicBezTo>
                <a:cubicBezTo>
                  <a:pt x="2531" y="989"/>
                  <a:pt x="2531" y="989"/>
                  <a:pt x="2531" y="989"/>
                </a:cubicBezTo>
                <a:cubicBezTo>
                  <a:pt x="2531" y="991"/>
                  <a:pt x="2531" y="991"/>
                  <a:pt x="2531" y="991"/>
                </a:cubicBezTo>
                <a:cubicBezTo>
                  <a:pt x="2533" y="993"/>
                  <a:pt x="2533" y="993"/>
                  <a:pt x="2533" y="993"/>
                </a:cubicBezTo>
                <a:cubicBezTo>
                  <a:pt x="2532" y="994"/>
                  <a:pt x="2532" y="994"/>
                  <a:pt x="2532" y="994"/>
                </a:cubicBezTo>
                <a:cubicBezTo>
                  <a:pt x="2533" y="995"/>
                  <a:pt x="2533" y="995"/>
                  <a:pt x="2533" y="995"/>
                </a:cubicBezTo>
                <a:cubicBezTo>
                  <a:pt x="2536" y="997"/>
                  <a:pt x="2536" y="997"/>
                  <a:pt x="2536" y="997"/>
                </a:cubicBezTo>
                <a:cubicBezTo>
                  <a:pt x="2538" y="1000"/>
                  <a:pt x="2538" y="1000"/>
                  <a:pt x="2538" y="1000"/>
                </a:cubicBezTo>
                <a:cubicBezTo>
                  <a:pt x="2540" y="1001"/>
                  <a:pt x="2540" y="1001"/>
                  <a:pt x="2540" y="1001"/>
                </a:cubicBezTo>
                <a:cubicBezTo>
                  <a:pt x="2541" y="1003"/>
                  <a:pt x="2541" y="1003"/>
                  <a:pt x="2541" y="1003"/>
                </a:cubicBezTo>
                <a:cubicBezTo>
                  <a:pt x="2539" y="1004"/>
                  <a:pt x="2539" y="1004"/>
                  <a:pt x="2539" y="1004"/>
                </a:cubicBezTo>
                <a:cubicBezTo>
                  <a:pt x="2539" y="1005"/>
                  <a:pt x="2539" y="1005"/>
                  <a:pt x="2539" y="1005"/>
                </a:cubicBezTo>
                <a:cubicBezTo>
                  <a:pt x="2541" y="1007"/>
                  <a:pt x="2541" y="1007"/>
                  <a:pt x="2541" y="1007"/>
                </a:cubicBezTo>
                <a:cubicBezTo>
                  <a:pt x="2544" y="1008"/>
                  <a:pt x="2544" y="1008"/>
                  <a:pt x="2544" y="1008"/>
                </a:cubicBezTo>
                <a:cubicBezTo>
                  <a:pt x="2547" y="1010"/>
                  <a:pt x="2547" y="1010"/>
                  <a:pt x="2547" y="1010"/>
                </a:cubicBezTo>
                <a:cubicBezTo>
                  <a:pt x="2547" y="1012"/>
                  <a:pt x="2547" y="1012"/>
                  <a:pt x="2547" y="1012"/>
                </a:cubicBezTo>
                <a:cubicBezTo>
                  <a:pt x="2549" y="1015"/>
                  <a:pt x="2549" y="1015"/>
                  <a:pt x="2549" y="1015"/>
                </a:cubicBezTo>
                <a:cubicBezTo>
                  <a:pt x="2551" y="1015"/>
                  <a:pt x="2551" y="1015"/>
                  <a:pt x="2551" y="1015"/>
                </a:cubicBezTo>
                <a:cubicBezTo>
                  <a:pt x="2552" y="1015"/>
                  <a:pt x="2552" y="1015"/>
                  <a:pt x="2552" y="1015"/>
                </a:cubicBezTo>
                <a:cubicBezTo>
                  <a:pt x="2553" y="1016"/>
                  <a:pt x="2553" y="1016"/>
                  <a:pt x="2553" y="1016"/>
                </a:cubicBezTo>
                <a:cubicBezTo>
                  <a:pt x="2555" y="1017"/>
                  <a:pt x="2555" y="1017"/>
                  <a:pt x="2555" y="1017"/>
                </a:cubicBezTo>
                <a:cubicBezTo>
                  <a:pt x="2558" y="1019"/>
                  <a:pt x="2558" y="1019"/>
                  <a:pt x="2558" y="1019"/>
                </a:cubicBezTo>
                <a:cubicBezTo>
                  <a:pt x="2561" y="1019"/>
                  <a:pt x="2561" y="1019"/>
                  <a:pt x="2561" y="1019"/>
                </a:cubicBezTo>
                <a:cubicBezTo>
                  <a:pt x="2563" y="1021"/>
                  <a:pt x="2563" y="1021"/>
                  <a:pt x="2563" y="1021"/>
                </a:cubicBezTo>
                <a:cubicBezTo>
                  <a:pt x="2565" y="1022"/>
                  <a:pt x="2565" y="1022"/>
                  <a:pt x="2565" y="1022"/>
                </a:cubicBezTo>
                <a:cubicBezTo>
                  <a:pt x="2565" y="1021"/>
                  <a:pt x="2565" y="1021"/>
                  <a:pt x="2565" y="1021"/>
                </a:cubicBezTo>
                <a:cubicBezTo>
                  <a:pt x="2566" y="1022"/>
                  <a:pt x="2566" y="1022"/>
                  <a:pt x="2566" y="1022"/>
                </a:cubicBezTo>
                <a:cubicBezTo>
                  <a:pt x="2568" y="1021"/>
                  <a:pt x="2568" y="1021"/>
                  <a:pt x="2568" y="1021"/>
                </a:cubicBezTo>
                <a:cubicBezTo>
                  <a:pt x="2568" y="1021"/>
                  <a:pt x="2568" y="1021"/>
                  <a:pt x="2568" y="1021"/>
                </a:cubicBezTo>
                <a:cubicBezTo>
                  <a:pt x="2567" y="1020"/>
                  <a:pt x="2567" y="1020"/>
                  <a:pt x="2567" y="1020"/>
                </a:cubicBezTo>
                <a:cubicBezTo>
                  <a:pt x="2568" y="1020"/>
                  <a:pt x="2568" y="1020"/>
                  <a:pt x="2568" y="1020"/>
                </a:cubicBezTo>
                <a:cubicBezTo>
                  <a:pt x="2568" y="1019"/>
                  <a:pt x="2568" y="1019"/>
                  <a:pt x="2568" y="1019"/>
                </a:cubicBezTo>
                <a:cubicBezTo>
                  <a:pt x="2567" y="1018"/>
                  <a:pt x="2567" y="1018"/>
                  <a:pt x="2567" y="1018"/>
                </a:cubicBezTo>
                <a:cubicBezTo>
                  <a:pt x="2568" y="1019"/>
                  <a:pt x="2568" y="1019"/>
                  <a:pt x="2568" y="1019"/>
                </a:cubicBezTo>
                <a:cubicBezTo>
                  <a:pt x="2568" y="1020"/>
                  <a:pt x="2568" y="1020"/>
                  <a:pt x="2568" y="1020"/>
                </a:cubicBezTo>
                <a:cubicBezTo>
                  <a:pt x="2569" y="1021"/>
                  <a:pt x="2569" y="1021"/>
                  <a:pt x="2569" y="1021"/>
                </a:cubicBezTo>
                <a:cubicBezTo>
                  <a:pt x="2570" y="1021"/>
                  <a:pt x="2570" y="1021"/>
                  <a:pt x="2570" y="1021"/>
                </a:cubicBezTo>
                <a:cubicBezTo>
                  <a:pt x="2570" y="1019"/>
                  <a:pt x="2570" y="1019"/>
                  <a:pt x="2570" y="1019"/>
                </a:cubicBezTo>
                <a:cubicBezTo>
                  <a:pt x="2568" y="1015"/>
                  <a:pt x="2568" y="1015"/>
                  <a:pt x="2568" y="1015"/>
                </a:cubicBezTo>
                <a:cubicBezTo>
                  <a:pt x="2567" y="1014"/>
                  <a:pt x="2567" y="1014"/>
                  <a:pt x="2567" y="1014"/>
                </a:cubicBezTo>
                <a:cubicBezTo>
                  <a:pt x="2567" y="1014"/>
                  <a:pt x="2567" y="1014"/>
                  <a:pt x="2567" y="1014"/>
                </a:cubicBezTo>
                <a:cubicBezTo>
                  <a:pt x="2567" y="1013"/>
                  <a:pt x="2567" y="1013"/>
                  <a:pt x="2567" y="1013"/>
                </a:cubicBezTo>
                <a:cubicBezTo>
                  <a:pt x="2566" y="1012"/>
                  <a:pt x="2566" y="1012"/>
                  <a:pt x="2566" y="1012"/>
                </a:cubicBezTo>
                <a:cubicBezTo>
                  <a:pt x="2566" y="1009"/>
                  <a:pt x="2566" y="1009"/>
                  <a:pt x="2566" y="1009"/>
                </a:cubicBezTo>
                <a:cubicBezTo>
                  <a:pt x="2566" y="1009"/>
                  <a:pt x="2566" y="1009"/>
                  <a:pt x="2566" y="1009"/>
                </a:cubicBezTo>
                <a:cubicBezTo>
                  <a:pt x="2566" y="1008"/>
                  <a:pt x="2566" y="1008"/>
                  <a:pt x="2566" y="1008"/>
                </a:cubicBezTo>
                <a:cubicBezTo>
                  <a:pt x="2564" y="1008"/>
                  <a:pt x="2564" y="1008"/>
                  <a:pt x="2564" y="1008"/>
                </a:cubicBezTo>
                <a:cubicBezTo>
                  <a:pt x="2562" y="1006"/>
                  <a:pt x="2562" y="1006"/>
                  <a:pt x="2562" y="1006"/>
                </a:cubicBezTo>
                <a:cubicBezTo>
                  <a:pt x="2561" y="1003"/>
                  <a:pt x="2561" y="1003"/>
                  <a:pt x="2561" y="1003"/>
                </a:cubicBezTo>
                <a:cubicBezTo>
                  <a:pt x="2561" y="998"/>
                  <a:pt x="2561" y="998"/>
                  <a:pt x="2561" y="998"/>
                </a:cubicBezTo>
                <a:cubicBezTo>
                  <a:pt x="2560" y="997"/>
                  <a:pt x="2560" y="997"/>
                  <a:pt x="2560" y="997"/>
                </a:cubicBezTo>
                <a:cubicBezTo>
                  <a:pt x="2560" y="995"/>
                  <a:pt x="2560" y="995"/>
                  <a:pt x="2560" y="995"/>
                </a:cubicBezTo>
                <a:cubicBezTo>
                  <a:pt x="2560" y="994"/>
                  <a:pt x="2560" y="994"/>
                  <a:pt x="2560" y="994"/>
                </a:cubicBezTo>
                <a:cubicBezTo>
                  <a:pt x="2560" y="989"/>
                  <a:pt x="2560" y="989"/>
                  <a:pt x="2560" y="989"/>
                </a:cubicBezTo>
                <a:cubicBezTo>
                  <a:pt x="2561" y="988"/>
                  <a:pt x="2561" y="988"/>
                  <a:pt x="2561" y="988"/>
                </a:cubicBezTo>
                <a:cubicBezTo>
                  <a:pt x="2560" y="984"/>
                  <a:pt x="2560" y="984"/>
                  <a:pt x="2560" y="984"/>
                </a:cubicBezTo>
                <a:cubicBezTo>
                  <a:pt x="2558" y="980"/>
                  <a:pt x="2558" y="980"/>
                  <a:pt x="2558" y="980"/>
                </a:cubicBezTo>
                <a:cubicBezTo>
                  <a:pt x="2550" y="973"/>
                  <a:pt x="2550" y="973"/>
                  <a:pt x="2550" y="973"/>
                </a:cubicBezTo>
                <a:cubicBezTo>
                  <a:pt x="2549" y="970"/>
                  <a:pt x="2549" y="970"/>
                  <a:pt x="2549" y="970"/>
                </a:cubicBezTo>
                <a:cubicBezTo>
                  <a:pt x="2548" y="970"/>
                  <a:pt x="2548" y="970"/>
                  <a:pt x="2548" y="970"/>
                </a:cubicBezTo>
                <a:cubicBezTo>
                  <a:pt x="2547" y="971"/>
                  <a:pt x="2547" y="971"/>
                  <a:pt x="2547" y="971"/>
                </a:cubicBezTo>
                <a:cubicBezTo>
                  <a:pt x="2546" y="971"/>
                  <a:pt x="2546" y="971"/>
                  <a:pt x="2546" y="971"/>
                </a:cubicBezTo>
                <a:cubicBezTo>
                  <a:pt x="2546" y="971"/>
                  <a:pt x="2546" y="971"/>
                  <a:pt x="2546" y="971"/>
                </a:cubicBezTo>
                <a:cubicBezTo>
                  <a:pt x="2545" y="970"/>
                  <a:pt x="2545" y="970"/>
                  <a:pt x="2545" y="970"/>
                </a:cubicBezTo>
                <a:cubicBezTo>
                  <a:pt x="2543" y="969"/>
                  <a:pt x="2543" y="969"/>
                  <a:pt x="2543" y="969"/>
                </a:cubicBezTo>
                <a:cubicBezTo>
                  <a:pt x="2542" y="968"/>
                  <a:pt x="2542" y="968"/>
                  <a:pt x="2542" y="968"/>
                </a:cubicBezTo>
                <a:cubicBezTo>
                  <a:pt x="2541" y="965"/>
                  <a:pt x="2541" y="965"/>
                  <a:pt x="2541" y="965"/>
                </a:cubicBezTo>
                <a:cubicBezTo>
                  <a:pt x="2539" y="964"/>
                  <a:pt x="2539" y="964"/>
                  <a:pt x="2539" y="964"/>
                </a:cubicBezTo>
                <a:cubicBezTo>
                  <a:pt x="2537" y="964"/>
                  <a:pt x="2537" y="964"/>
                  <a:pt x="2537" y="964"/>
                </a:cubicBezTo>
                <a:cubicBezTo>
                  <a:pt x="2536" y="964"/>
                  <a:pt x="2536" y="964"/>
                  <a:pt x="2536" y="964"/>
                </a:cubicBezTo>
                <a:cubicBezTo>
                  <a:pt x="2535" y="963"/>
                  <a:pt x="2535" y="963"/>
                  <a:pt x="2535" y="963"/>
                </a:cubicBezTo>
                <a:cubicBezTo>
                  <a:pt x="2532" y="961"/>
                  <a:pt x="2532" y="961"/>
                  <a:pt x="2532" y="961"/>
                </a:cubicBezTo>
                <a:cubicBezTo>
                  <a:pt x="2531" y="959"/>
                  <a:pt x="2531" y="959"/>
                  <a:pt x="2531" y="959"/>
                </a:cubicBezTo>
                <a:cubicBezTo>
                  <a:pt x="2531" y="958"/>
                  <a:pt x="2531" y="958"/>
                  <a:pt x="2531" y="958"/>
                </a:cubicBezTo>
                <a:cubicBezTo>
                  <a:pt x="2530" y="957"/>
                  <a:pt x="2530" y="957"/>
                  <a:pt x="2530" y="957"/>
                </a:cubicBezTo>
                <a:cubicBezTo>
                  <a:pt x="2530" y="959"/>
                  <a:pt x="2530" y="959"/>
                  <a:pt x="2530" y="959"/>
                </a:cubicBezTo>
                <a:cubicBezTo>
                  <a:pt x="2527" y="958"/>
                  <a:pt x="2527" y="958"/>
                  <a:pt x="2527" y="958"/>
                </a:cubicBezTo>
                <a:cubicBezTo>
                  <a:pt x="2527" y="956"/>
                  <a:pt x="2527" y="956"/>
                  <a:pt x="2527" y="956"/>
                </a:cubicBezTo>
                <a:cubicBezTo>
                  <a:pt x="2529" y="955"/>
                  <a:pt x="2529" y="955"/>
                  <a:pt x="2529" y="955"/>
                </a:cubicBezTo>
                <a:cubicBezTo>
                  <a:pt x="2529" y="956"/>
                  <a:pt x="2529" y="956"/>
                  <a:pt x="2529" y="956"/>
                </a:cubicBezTo>
                <a:cubicBezTo>
                  <a:pt x="2529" y="955"/>
                  <a:pt x="2529" y="955"/>
                  <a:pt x="2529" y="955"/>
                </a:cubicBezTo>
                <a:cubicBezTo>
                  <a:pt x="2530" y="954"/>
                  <a:pt x="2530" y="954"/>
                  <a:pt x="2530" y="954"/>
                </a:cubicBezTo>
                <a:cubicBezTo>
                  <a:pt x="2529" y="950"/>
                  <a:pt x="2529" y="950"/>
                  <a:pt x="2529" y="950"/>
                </a:cubicBezTo>
                <a:cubicBezTo>
                  <a:pt x="2528" y="950"/>
                  <a:pt x="2528" y="950"/>
                  <a:pt x="2528" y="950"/>
                </a:cubicBezTo>
                <a:cubicBezTo>
                  <a:pt x="2528" y="948"/>
                  <a:pt x="2528" y="948"/>
                  <a:pt x="2528" y="948"/>
                </a:cubicBezTo>
                <a:cubicBezTo>
                  <a:pt x="2527" y="946"/>
                  <a:pt x="2527" y="946"/>
                  <a:pt x="2527" y="946"/>
                </a:cubicBezTo>
                <a:cubicBezTo>
                  <a:pt x="2526" y="945"/>
                  <a:pt x="2526" y="945"/>
                  <a:pt x="2526" y="945"/>
                </a:cubicBezTo>
                <a:cubicBezTo>
                  <a:pt x="2526" y="946"/>
                  <a:pt x="2526" y="946"/>
                  <a:pt x="2526" y="946"/>
                </a:cubicBezTo>
                <a:cubicBezTo>
                  <a:pt x="2526" y="947"/>
                  <a:pt x="2526" y="947"/>
                  <a:pt x="2526" y="947"/>
                </a:cubicBezTo>
                <a:cubicBezTo>
                  <a:pt x="2525" y="947"/>
                  <a:pt x="2525" y="947"/>
                  <a:pt x="2525" y="947"/>
                </a:cubicBezTo>
                <a:cubicBezTo>
                  <a:pt x="2524" y="945"/>
                  <a:pt x="2524" y="945"/>
                  <a:pt x="2524" y="945"/>
                </a:cubicBezTo>
                <a:cubicBezTo>
                  <a:pt x="2523" y="944"/>
                  <a:pt x="2523" y="944"/>
                  <a:pt x="2523" y="944"/>
                </a:cubicBezTo>
                <a:cubicBezTo>
                  <a:pt x="2523" y="942"/>
                  <a:pt x="2523" y="942"/>
                  <a:pt x="2523" y="942"/>
                </a:cubicBezTo>
                <a:cubicBezTo>
                  <a:pt x="2522" y="941"/>
                  <a:pt x="2522" y="941"/>
                  <a:pt x="2522" y="941"/>
                </a:cubicBezTo>
                <a:cubicBezTo>
                  <a:pt x="2522" y="939"/>
                  <a:pt x="2522" y="939"/>
                  <a:pt x="2522" y="939"/>
                </a:cubicBezTo>
                <a:cubicBezTo>
                  <a:pt x="2521" y="938"/>
                  <a:pt x="2521" y="938"/>
                  <a:pt x="2521" y="938"/>
                </a:cubicBezTo>
                <a:cubicBezTo>
                  <a:pt x="2520" y="938"/>
                  <a:pt x="2520" y="938"/>
                  <a:pt x="2520" y="938"/>
                </a:cubicBezTo>
                <a:cubicBezTo>
                  <a:pt x="2519" y="937"/>
                  <a:pt x="2519" y="937"/>
                  <a:pt x="2519" y="937"/>
                </a:cubicBezTo>
                <a:cubicBezTo>
                  <a:pt x="2518" y="938"/>
                  <a:pt x="2518" y="938"/>
                  <a:pt x="2518" y="938"/>
                </a:cubicBezTo>
                <a:cubicBezTo>
                  <a:pt x="2518" y="939"/>
                  <a:pt x="2518" y="939"/>
                  <a:pt x="2518" y="939"/>
                </a:cubicBezTo>
                <a:cubicBezTo>
                  <a:pt x="2517" y="939"/>
                  <a:pt x="2517" y="939"/>
                  <a:pt x="2517" y="939"/>
                </a:cubicBezTo>
                <a:cubicBezTo>
                  <a:pt x="2516" y="939"/>
                  <a:pt x="2516" y="939"/>
                  <a:pt x="2516" y="939"/>
                </a:cubicBezTo>
                <a:cubicBezTo>
                  <a:pt x="2517" y="937"/>
                  <a:pt x="2517" y="937"/>
                  <a:pt x="2517" y="937"/>
                </a:cubicBezTo>
                <a:cubicBezTo>
                  <a:pt x="2515" y="934"/>
                  <a:pt x="2515" y="934"/>
                  <a:pt x="2515" y="934"/>
                </a:cubicBezTo>
                <a:cubicBezTo>
                  <a:pt x="2515" y="933"/>
                  <a:pt x="2515" y="933"/>
                  <a:pt x="2515" y="933"/>
                </a:cubicBezTo>
                <a:cubicBezTo>
                  <a:pt x="2515" y="930"/>
                  <a:pt x="2515" y="930"/>
                  <a:pt x="2515" y="930"/>
                </a:cubicBezTo>
                <a:cubicBezTo>
                  <a:pt x="2515" y="930"/>
                  <a:pt x="2515" y="930"/>
                  <a:pt x="2515" y="930"/>
                </a:cubicBezTo>
                <a:cubicBezTo>
                  <a:pt x="2516" y="928"/>
                  <a:pt x="2516" y="928"/>
                  <a:pt x="2516" y="928"/>
                </a:cubicBezTo>
                <a:cubicBezTo>
                  <a:pt x="2515" y="928"/>
                  <a:pt x="2515" y="928"/>
                  <a:pt x="2515" y="928"/>
                </a:cubicBezTo>
                <a:cubicBezTo>
                  <a:pt x="2514" y="928"/>
                  <a:pt x="2514" y="928"/>
                  <a:pt x="2514" y="928"/>
                </a:cubicBezTo>
                <a:cubicBezTo>
                  <a:pt x="2515" y="926"/>
                  <a:pt x="2515" y="926"/>
                  <a:pt x="2515" y="926"/>
                </a:cubicBezTo>
                <a:cubicBezTo>
                  <a:pt x="2515" y="923"/>
                  <a:pt x="2515" y="923"/>
                  <a:pt x="2515" y="923"/>
                </a:cubicBezTo>
                <a:cubicBezTo>
                  <a:pt x="2518" y="920"/>
                  <a:pt x="2518" y="920"/>
                  <a:pt x="2518" y="920"/>
                </a:cubicBezTo>
                <a:cubicBezTo>
                  <a:pt x="2518" y="913"/>
                  <a:pt x="2518" y="913"/>
                  <a:pt x="2518" y="913"/>
                </a:cubicBezTo>
                <a:cubicBezTo>
                  <a:pt x="2520" y="911"/>
                  <a:pt x="2520" y="911"/>
                  <a:pt x="2520" y="911"/>
                </a:cubicBezTo>
                <a:cubicBezTo>
                  <a:pt x="2520" y="908"/>
                  <a:pt x="2520" y="908"/>
                  <a:pt x="2520" y="908"/>
                </a:cubicBezTo>
                <a:cubicBezTo>
                  <a:pt x="2521" y="907"/>
                  <a:pt x="2521" y="907"/>
                  <a:pt x="2521" y="907"/>
                </a:cubicBezTo>
                <a:cubicBezTo>
                  <a:pt x="2522" y="904"/>
                  <a:pt x="2522" y="904"/>
                  <a:pt x="2522" y="904"/>
                </a:cubicBezTo>
                <a:cubicBezTo>
                  <a:pt x="2521" y="903"/>
                  <a:pt x="2521" y="903"/>
                  <a:pt x="2521" y="903"/>
                </a:cubicBezTo>
                <a:cubicBezTo>
                  <a:pt x="2521" y="902"/>
                  <a:pt x="2521" y="902"/>
                  <a:pt x="2521" y="902"/>
                </a:cubicBezTo>
                <a:cubicBezTo>
                  <a:pt x="2521" y="900"/>
                  <a:pt x="2521" y="900"/>
                  <a:pt x="2521" y="900"/>
                </a:cubicBezTo>
                <a:cubicBezTo>
                  <a:pt x="2522" y="898"/>
                  <a:pt x="2522" y="898"/>
                  <a:pt x="2522" y="898"/>
                </a:cubicBezTo>
                <a:cubicBezTo>
                  <a:pt x="2522" y="896"/>
                  <a:pt x="2522" y="896"/>
                  <a:pt x="2522" y="896"/>
                </a:cubicBezTo>
                <a:cubicBezTo>
                  <a:pt x="2520" y="895"/>
                  <a:pt x="2520" y="895"/>
                  <a:pt x="2520" y="895"/>
                </a:cubicBezTo>
                <a:cubicBezTo>
                  <a:pt x="2521" y="894"/>
                  <a:pt x="2521" y="894"/>
                  <a:pt x="2521" y="894"/>
                </a:cubicBezTo>
                <a:cubicBezTo>
                  <a:pt x="2521" y="893"/>
                  <a:pt x="2521" y="893"/>
                  <a:pt x="2521" y="893"/>
                </a:cubicBezTo>
                <a:cubicBezTo>
                  <a:pt x="2521" y="894"/>
                  <a:pt x="2521" y="894"/>
                  <a:pt x="2521" y="894"/>
                </a:cubicBezTo>
                <a:cubicBezTo>
                  <a:pt x="2522" y="894"/>
                  <a:pt x="2522" y="894"/>
                  <a:pt x="2522" y="894"/>
                </a:cubicBezTo>
                <a:cubicBezTo>
                  <a:pt x="2523" y="893"/>
                  <a:pt x="2523" y="893"/>
                  <a:pt x="2523" y="893"/>
                </a:cubicBezTo>
                <a:cubicBezTo>
                  <a:pt x="2524" y="894"/>
                  <a:pt x="2524" y="894"/>
                  <a:pt x="2524" y="894"/>
                </a:cubicBezTo>
                <a:cubicBezTo>
                  <a:pt x="2525" y="893"/>
                  <a:pt x="2525" y="893"/>
                  <a:pt x="2525" y="893"/>
                </a:cubicBezTo>
                <a:cubicBezTo>
                  <a:pt x="2527" y="893"/>
                  <a:pt x="2527" y="893"/>
                  <a:pt x="2527" y="893"/>
                </a:cubicBezTo>
                <a:cubicBezTo>
                  <a:pt x="2527" y="893"/>
                  <a:pt x="2527" y="893"/>
                  <a:pt x="2527" y="893"/>
                </a:cubicBezTo>
                <a:cubicBezTo>
                  <a:pt x="2528" y="893"/>
                  <a:pt x="2528" y="893"/>
                  <a:pt x="2528" y="893"/>
                </a:cubicBezTo>
                <a:cubicBezTo>
                  <a:pt x="2528" y="893"/>
                  <a:pt x="2528" y="893"/>
                  <a:pt x="2528" y="893"/>
                </a:cubicBezTo>
                <a:cubicBezTo>
                  <a:pt x="2530" y="894"/>
                  <a:pt x="2530" y="894"/>
                  <a:pt x="2530" y="894"/>
                </a:cubicBezTo>
                <a:cubicBezTo>
                  <a:pt x="2531" y="895"/>
                  <a:pt x="2531" y="895"/>
                  <a:pt x="2531" y="895"/>
                </a:cubicBezTo>
                <a:cubicBezTo>
                  <a:pt x="2530" y="896"/>
                  <a:pt x="2530" y="896"/>
                  <a:pt x="2530" y="896"/>
                </a:cubicBezTo>
                <a:cubicBezTo>
                  <a:pt x="2530" y="898"/>
                  <a:pt x="2530" y="898"/>
                  <a:pt x="2530" y="898"/>
                </a:cubicBezTo>
                <a:cubicBezTo>
                  <a:pt x="2531" y="900"/>
                  <a:pt x="2531" y="900"/>
                  <a:pt x="2531" y="900"/>
                </a:cubicBezTo>
                <a:cubicBezTo>
                  <a:pt x="2530" y="901"/>
                  <a:pt x="2530" y="901"/>
                  <a:pt x="2530" y="901"/>
                </a:cubicBezTo>
                <a:cubicBezTo>
                  <a:pt x="2530" y="902"/>
                  <a:pt x="2530" y="902"/>
                  <a:pt x="2530" y="902"/>
                </a:cubicBezTo>
                <a:cubicBezTo>
                  <a:pt x="2531" y="902"/>
                  <a:pt x="2531" y="902"/>
                  <a:pt x="2531" y="902"/>
                </a:cubicBezTo>
                <a:cubicBezTo>
                  <a:pt x="2533" y="903"/>
                  <a:pt x="2533" y="903"/>
                  <a:pt x="2533" y="903"/>
                </a:cubicBezTo>
                <a:cubicBezTo>
                  <a:pt x="2535" y="902"/>
                  <a:pt x="2535" y="902"/>
                  <a:pt x="2535" y="902"/>
                </a:cubicBezTo>
                <a:cubicBezTo>
                  <a:pt x="2537" y="903"/>
                  <a:pt x="2537" y="903"/>
                  <a:pt x="2537" y="903"/>
                </a:cubicBezTo>
                <a:cubicBezTo>
                  <a:pt x="2538" y="903"/>
                  <a:pt x="2538" y="903"/>
                  <a:pt x="2538" y="903"/>
                </a:cubicBezTo>
                <a:cubicBezTo>
                  <a:pt x="2538" y="903"/>
                  <a:pt x="2538" y="903"/>
                  <a:pt x="2538" y="903"/>
                </a:cubicBezTo>
                <a:cubicBezTo>
                  <a:pt x="2538" y="902"/>
                  <a:pt x="2538" y="902"/>
                  <a:pt x="2538" y="902"/>
                </a:cubicBezTo>
                <a:cubicBezTo>
                  <a:pt x="2539" y="901"/>
                  <a:pt x="2539" y="901"/>
                  <a:pt x="2539" y="901"/>
                </a:cubicBezTo>
                <a:cubicBezTo>
                  <a:pt x="2540" y="902"/>
                  <a:pt x="2540" y="902"/>
                  <a:pt x="2540" y="902"/>
                </a:cubicBezTo>
                <a:cubicBezTo>
                  <a:pt x="2543" y="905"/>
                  <a:pt x="2543" y="905"/>
                  <a:pt x="2543" y="905"/>
                </a:cubicBezTo>
                <a:cubicBezTo>
                  <a:pt x="2544" y="905"/>
                  <a:pt x="2544" y="905"/>
                  <a:pt x="2544" y="905"/>
                </a:cubicBezTo>
                <a:cubicBezTo>
                  <a:pt x="2544" y="906"/>
                  <a:pt x="2544" y="906"/>
                  <a:pt x="2544" y="906"/>
                </a:cubicBezTo>
                <a:cubicBezTo>
                  <a:pt x="2545" y="906"/>
                  <a:pt x="2545" y="906"/>
                  <a:pt x="2545" y="906"/>
                </a:cubicBezTo>
                <a:cubicBezTo>
                  <a:pt x="2547" y="908"/>
                  <a:pt x="2547" y="908"/>
                  <a:pt x="2547" y="908"/>
                </a:cubicBezTo>
                <a:cubicBezTo>
                  <a:pt x="2547" y="908"/>
                  <a:pt x="2547" y="908"/>
                  <a:pt x="2547" y="908"/>
                </a:cubicBezTo>
                <a:cubicBezTo>
                  <a:pt x="2548" y="908"/>
                  <a:pt x="2548" y="908"/>
                  <a:pt x="2548" y="908"/>
                </a:cubicBezTo>
                <a:cubicBezTo>
                  <a:pt x="2548" y="907"/>
                  <a:pt x="2548" y="907"/>
                  <a:pt x="2548" y="907"/>
                </a:cubicBezTo>
                <a:cubicBezTo>
                  <a:pt x="2549" y="907"/>
                  <a:pt x="2549" y="907"/>
                  <a:pt x="2549" y="907"/>
                </a:cubicBezTo>
                <a:cubicBezTo>
                  <a:pt x="2549" y="907"/>
                  <a:pt x="2549" y="907"/>
                  <a:pt x="2549" y="907"/>
                </a:cubicBezTo>
                <a:cubicBezTo>
                  <a:pt x="2550" y="909"/>
                  <a:pt x="2550" y="909"/>
                  <a:pt x="2550" y="909"/>
                </a:cubicBezTo>
                <a:cubicBezTo>
                  <a:pt x="2550" y="910"/>
                  <a:pt x="2550" y="910"/>
                  <a:pt x="2550" y="910"/>
                </a:cubicBezTo>
                <a:cubicBezTo>
                  <a:pt x="2552" y="912"/>
                  <a:pt x="2552" y="912"/>
                  <a:pt x="2552" y="912"/>
                </a:cubicBezTo>
                <a:cubicBezTo>
                  <a:pt x="2552" y="914"/>
                  <a:pt x="2552" y="914"/>
                  <a:pt x="2552" y="914"/>
                </a:cubicBezTo>
                <a:cubicBezTo>
                  <a:pt x="2553" y="916"/>
                  <a:pt x="2553" y="916"/>
                  <a:pt x="2553" y="916"/>
                </a:cubicBezTo>
                <a:cubicBezTo>
                  <a:pt x="2554" y="915"/>
                  <a:pt x="2554" y="915"/>
                  <a:pt x="2554" y="915"/>
                </a:cubicBezTo>
                <a:cubicBezTo>
                  <a:pt x="2555" y="917"/>
                  <a:pt x="2555" y="917"/>
                  <a:pt x="2555" y="917"/>
                </a:cubicBezTo>
                <a:cubicBezTo>
                  <a:pt x="2554" y="918"/>
                  <a:pt x="2554" y="918"/>
                  <a:pt x="2554" y="918"/>
                </a:cubicBezTo>
                <a:cubicBezTo>
                  <a:pt x="2555" y="920"/>
                  <a:pt x="2555" y="920"/>
                  <a:pt x="2555" y="920"/>
                </a:cubicBezTo>
                <a:cubicBezTo>
                  <a:pt x="2555" y="921"/>
                  <a:pt x="2555" y="921"/>
                  <a:pt x="2555" y="921"/>
                </a:cubicBezTo>
                <a:cubicBezTo>
                  <a:pt x="2557" y="921"/>
                  <a:pt x="2557" y="921"/>
                  <a:pt x="2557" y="921"/>
                </a:cubicBezTo>
                <a:cubicBezTo>
                  <a:pt x="2558" y="921"/>
                  <a:pt x="2558" y="921"/>
                  <a:pt x="2558" y="921"/>
                </a:cubicBezTo>
                <a:cubicBezTo>
                  <a:pt x="2558" y="919"/>
                  <a:pt x="2558" y="919"/>
                  <a:pt x="2558" y="919"/>
                </a:cubicBezTo>
                <a:cubicBezTo>
                  <a:pt x="2559" y="918"/>
                  <a:pt x="2559" y="918"/>
                  <a:pt x="2559" y="918"/>
                </a:cubicBezTo>
                <a:cubicBezTo>
                  <a:pt x="2560" y="918"/>
                  <a:pt x="2560" y="918"/>
                  <a:pt x="2560" y="918"/>
                </a:cubicBezTo>
                <a:cubicBezTo>
                  <a:pt x="2560" y="919"/>
                  <a:pt x="2560" y="919"/>
                  <a:pt x="2560" y="919"/>
                </a:cubicBezTo>
                <a:cubicBezTo>
                  <a:pt x="2561" y="920"/>
                  <a:pt x="2561" y="920"/>
                  <a:pt x="2561" y="920"/>
                </a:cubicBezTo>
                <a:cubicBezTo>
                  <a:pt x="2561" y="922"/>
                  <a:pt x="2561" y="922"/>
                  <a:pt x="2561" y="922"/>
                </a:cubicBezTo>
                <a:cubicBezTo>
                  <a:pt x="2560" y="923"/>
                  <a:pt x="2560" y="923"/>
                  <a:pt x="2560" y="923"/>
                </a:cubicBezTo>
                <a:cubicBezTo>
                  <a:pt x="2560" y="924"/>
                  <a:pt x="2560" y="924"/>
                  <a:pt x="2560" y="924"/>
                </a:cubicBezTo>
                <a:cubicBezTo>
                  <a:pt x="2560" y="925"/>
                  <a:pt x="2560" y="925"/>
                  <a:pt x="2560" y="925"/>
                </a:cubicBezTo>
                <a:cubicBezTo>
                  <a:pt x="2562" y="925"/>
                  <a:pt x="2562" y="925"/>
                  <a:pt x="2562" y="925"/>
                </a:cubicBezTo>
                <a:cubicBezTo>
                  <a:pt x="2563" y="923"/>
                  <a:pt x="2563" y="923"/>
                  <a:pt x="2563" y="923"/>
                </a:cubicBezTo>
                <a:cubicBezTo>
                  <a:pt x="2563" y="923"/>
                  <a:pt x="2563" y="923"/>
                  <a:pt x="2563" y="923"/>
                </a:cubicBezTo>
                <a:cubicBezTo>
                  <a:pt x="2565" y="924"/>
                  <a:pt x="2565" y="924"/>
                  <a:pt x="2565" y="924"/>
                </a:cubicBezTo>
                <a:cubicBezTo>
                  <a:pt x="2567" y="924"/>
                  <a:pt x="2567" y="924"/>
                  <a:pt x="2567" y="924"/>
                </a:cubicBezTo>
                <a:cubicBezTo>
                  <a:pt x="2567" y="924"/>
                  <a:pt x="2567" y="924"/>
                  <a:pt x="2567" y="924"/>
                </a:cubicBezTo>
                <a:cubicBezTo>
                  <a:pt x="2569" y="925"/>
                  <a:pt x="2569" y="925"/>
                  <a:pt x="2569" y="925"/>
                </a:cubicBezTo>
                <a:cubicBezTo>
                  <a:pt x="2569" y="926"/>
                  <a:pt x="2569" y="926"/>
                  <a:pt x="2569" y="926"/>
                </a:cubicBezTo>
                <a:cubicBezTo>
                  <a:pt x="2570" y="927"/>
                  <a:pt x="2570" y="927"/>
                  <a:pt x="2570" y="927"/>
                </a:cubicBezTo>
                <a:cubicBezTo>
                  <a:pt x="2569" y="928"/>
                  <a:pt x="2569" y="928"/>
                  <a:pt x="2569" y="928"/>
                </a:cubicBezTo>
                <a:cubicBezTo>
                  <a:pt x="2571" y="928"/>
                  <a:pt x="2571" y="928"/>
                  <a:pt x="2571" y="928"/>
                </a:cubicBezTo>
                <a:cubicBezTo>
                  <a:pt x="2572" y="928"/>
                  <a:pt x="2572" y="928"/>
                  <a:pt x="2572" y="928"/>
                </a:cubicBezTo>
                <a:cubicBezTo>
                  <a:pt x="2573" y="929"/>
                  <a:pt x="2573" y="929"/>
                  <a:pt x="2573" y="929"/>
                </a:cubicBezTo>
                <a:cubicBezTo>
                  <a:pt x="2575" y="928"/>
                  <a:pt x="2575" y="928"/>
                  <a:pt x="2575" y="928"/>
                </a:cubicBezTo>
                <a:cubicBezTo>
                  <a:pt x="2577" y="928"/>
                  <a:pt x="2577" y="928"/>
                  <a:pt x="2577" y="928"/>
                </a:cubicBezTo>
                <a:cubicBezTo>
                  <a:pt x="2578" y="928"/>
                  <a:pt x="2578" y="928"/>
                  <a:pt x="2578" y="928"/>
                </a:cubicBezTo>
                <a:cubicBezTo>
                  <a:pt x="2577" y="929"/>
                  <a:pt x="2577" y="929"/>
                  <a:pt x="2577" y="929"/>
                </a:cubicBezTo>
                <a:cubicBezTo>
                  <a:pt x="2575" y="931"/>
                  <a:pt x="2575" y="931"/>
                  <a:pt x="2575" y="931"/>
                </a:cubicBezTo>
                <a:cubicBezTo>
                  <a:pt x="2573" y="934"/>
                  <a:pt x="2573" y="934"/>
                  <a:pt x="2573" y="934"/>
                </a:cubicBezTo>
                <a:cubicBezTo>
                  <a:pt x="2573" y="937"/>
                  <a:pt x="2573" y="937"/>
                  <a:pt x="2573" y="937"/>
                </a:cubicBezTo>
                <a:cubicBezTo>
                  <a:pt x="2573" y="938"/>
                  <a:pt x="2573" y="938"/>
                  <a:pt x="2573" y="938"/>
                </a:cubicBezTo>
                <a:cubicBezTo>
                  <a:pt x="2573" y="938"/>
                  <a:pt x="2573" y="938"/>
                  <a:pt x="2573" y="938"/>
                </a:cubicBezTo>
                <a:cubicBezTo>
                  <a:pt x="2573" y="939"/>
                  <a:pt x="2573" y="939"/>
                  <a:pt x="2573" y="939"/>
                </a:cubicBezTo>
                <a:cubicBezTo>
                  <a:pt x="2573" y="942"/>
                  <a:pt x="2573" y="942"/>
                  <a:pt x="2573" y="942"/>
                </a:cubicBezTo>
                <a:cubicBezTo>
                  <a:pt x="2574" y="942"/>
                  <a:pt x="2574" y="942"/>
                  <a:pt x="2574" y="942"/>
                </a:cubicBezTo>
                <a:cubicBezTo>
                  <a:pt x="2575" y="942"/>
                  <a:pt x="2575" y="942"/>
                  <a:pt x="2575" y="942"/>
                </a:cubicBezTo>
                <a:cubicBezTo>
                  <a:pt x="2574" y="943"/>
                  <a:pt x="2574" y="943"/>
                  <a:pt x="2574" y="943"/>
                </a:cubicBezTo>
                <a:cubicBezTo>
                  <a:pt x="2573" y="944"/>
                  <a:pt x="2573" y="944"/>
                  <a:pt x="2573" y="944"/>
                </a:cubicBezTo>
                <a:cubicBezTo>
                  <a:pt x="2571" y="945"/>
                  <a:pt x="2571" y="945"/>
                  <a:pt x="2571" y="945"/>
                </a:cubicBezTo>
                <a:cubicBezTo>
                  <a:pt x="2573" y="945"/>
                  <a:pt x="2573" y="945"/>
                  <a:pt x="2573" y="945"/>
                </a:cubicBezTo>
                <a:cubicBezTo>
                  <a:pt x="2578" y="943"/>
                  <a:pt x="2578" y="943"/>
                  <a:pt x="2578" y="943"/>
                </a:cubicBezTo>
                <a:cubicBezTo>
                  <a:pt x="2578" y="943"/>
                  <a:pt x="2578" y="943"/>
                  <a:pt x="2578" y="943"/>
                </a:cubicBezTo>
                <a:cubicBezTo>
                  <a:pt x="2578" y="943"/>
                  <a:pt x="2578" y="943"/>
                  <a:pt x="2578" y="943"/>
                </a:cubicBezTo>
                <a:cubicBezTo>
                  <a:pt x="2580" y="942"/>
                  <a:pt x="2580" y="942"/>
                  <a:pt x="2580" y="942"/>
                </a:cubicBezTo>
                <a:cubicBezTo>
                  <a:pt x="2580" y="939"/>
                  <a:pt x="2580" y="939"/>
                  <a:pt x="2580" y="939"/>
                </a:cubicBezTo>
                <a:cubicBezTo>
                  <a:pt x="2580" y="938"/>
                  <a:pt x="2580" y="938"/>
                  <a:pt x="2580" y="938"/>
                </a:cubicBezTo>
                <a:cubicBezTo>
                  <a:pt x="2582" y="939"/>
                  <a:pt x="2582" y="939"/>
                  <a:pt x="2582" y="939"/>
                </a:cubicBezTo>
                <a:cubicBezTo>
                  <a:pt x="2582" y="938"/>
                  <a:pt x="2582" y="938"/>
                  <a:pt x="2582" y="938"/>
                </a:cubicBezTo>
                <a:cubicBezTo>
                  <a:pt x="2584" y="936"/>
                  <a:pt x="2584" y="936"/>
                  <a:pt x="2584" y="936"/>
                </a:cubicBezTo>
                <a:cubicBezTo>
                  <a:pt x="2585" y="936"/>
                  <a:pt x="2585" y="936"/>
                  <a:pt x="2585" y="936"/>
                </a:cubicBezTo>
                <a:cubicBezTo>
                  <a:pt x="2586" y="935"/>
                  <a:pt x="2586" y="935"/>
                  <a:pt x="2586" y="935"/>
                </a:cubicBezTo>
                <a:cubicBezTo>
                  <a:pt x="2587" y="935"/>
                  <a:pt x="2587" y="935"/>
                  <a:pt x="2587" y="935"/>
                </a:cubicBezTo>
                <a:cubicBezTo>
                  <a:pt x="2586" y="934"/>
                  <a:pt x="2586" y="934"/>
                  <a:pt x="2586" y="934"/>
                </a:cubicBezTo>
                <a:cubicBezTo>
                  <a:pt x="2586" y="934"/>
                  <a:pt x="2586" y="934"/>
                  <a:pt x="2586" y="934"/>
                </a:cubicBezTo>
                <a:cubicBezTo>
                  <a:pt x="2586" y="932"/>
                  <a:pt x="2586" y="932"/>
                  <a:pt x="2586" y="932"/>
                </a:cubicBezTo>
                <a:cubicBezTo>
                  <a:pt x="2587" y="932"/>
                  <a:pt x="2587" y="932"/>
                  <a:pt x="2587" y="932"/>
                </a:cubicBezTo>
                <a:cubicBezTo>
                  <a:pt x="2588" y="933"/>
                  <a:pt x="2588" y="933"/>
                  <a:pt x="2588" y="933"/>
                </a:cubicBezTo>
                <a:cubicBezTo>
                  <a:pt x="2589" y="934"/>
                  <a:pt x="2589" y="934"/>
                  <a:pt x="2589" y="934"/>
                </a:cubicBezTo>
                <a:cubicBezTo>
                  <a:pt x="2590" y="932"/>
                  <a:pt x="2590" y="932"/>
                  <a:pt x="2590" y="932"/>
                </a:cubicBezTo>
                <a:cubicBezTo>
                  <a:pt x="2590" y="931"/>
                  <a:pt x="2590" y="931"/>
                  <a:pt x="2590" y="931"/>
                </a:cubicBezTo>
                <a:cubicBezTo>
                  <a:pt x="2588" y="929"/>
                  <a:pt x="2588" y="929"/>
                  <a:pt x="2588" y="929"/>
                </a:cubicBezTo>
                <a:cubicBezTo>
                  <a:pt x="2590" y="931"/>
                  <a:pt x="2590" y="931"/>
                  <a:pt x="2590" y="931"/>
                </a:cubicBezTo>
                <a:cubicBezTo>
                  <a:pt x="2592" y="930"/>
                  <a:pt x="2592" y="930"/>
                  <a:pt x="2592" y="930"/>
                </a:cubicBezTo>
                <a:cubicBezTo>
                  <a:pt x="2591" y="929"/>
                  <a:pt x="2591" y="929"/>
                  <a:pt x="2591" y="929"/>
                </a:cubicBezTo>
                <a:cubicBezTo>
                  <a:pt x="2591" y="928"/>
                  <a:pt x="2591" y="928"/>
                  <a:pt x="2591" y="928"/>
                </a:cubicBezTo>
                <a:cubicBezTo>
                  <a:pt x="2589" y="927"/>
                  <a:pt x="2589" y="927"/>
                  <a:pt x="2589" y="927"/>
                </a:cubicBezTo>
                <a:cubicBezTo>
                  <a:pt x="2590" y="927"/>
                  <a:pt x="2590" y="927"/>
                  <a:pt x="2590" y="927"/>
                </a:cubicBezTo>
                <a:cubicBezTo>
                  <a:pt x="2591" y="926"/>
                  <a:pt x="2591" y="926"/>
                  <a:pt x="2591" y="926"/>
                </a:cubicBezTo>
                <a:cubicBezTo>
                  <a:pt x="2591" y="926"/>
                  <a:pt x="2591" y="926"/>
                  <a:pt x="2591" y="926"/>
                </a:cubicBezTo>
                <a:cubicBezTo>
                  <a:pt x="2590" y="925"/>
                  <a:pt x="2590" y="925"/>
                  <a:pt x="2590" y="925"/>
                </a:cubicBezTo>
                <a:cubicBezTo>
                  <a:pt x="2591" y="925"/>
                  <a:pt x="2591" y="925"/>
                  <a:pt x="2591" y="925"/>
                </a:cubicBezTo>
                <a:cubicBezTo>
                  <a:pt x="2592" y="925"/>
                  <a:pt x="2592" y="925"/>
                  <a:pt x="2592" y="925"/>
                </a:cubicBezTo>
                <a:cubicBezTo>
                  <a:pt x="2592" y="924"/>
                  <a:pt x="2592" y="924"/>
                  <a:pt x="2592" y="924"/>
                </a:cubicBezTo>
                <a:cubicBezTo>
                  <a:pt x="2592" y="925"/>
                  <a:pt x="2592" y="925"/>
                  <a:pt x="2592" y="925"/>
                </a:cubicBezTo>
                <a:cubicBezTo>
                  <a:pt x="2592" y="926"/>
                  <a:pt x="2592" y="926"/>
                  <a:pt x="2592" y="926"/>
                </a:cubicBezTo>
                <a:cubicBezTo>
                  <a:pt x="2592" y="926"/>
                  <a:pt x="2592" y="926"/>
                  <a:pt x="2592" y="926"/>
                </a:cubicBezTo>
                <a:cubicBezTo>
                  <a:pt x="2594" y="926"/>
                  <a:pt x="2594" y="926"/>
                  <a:pt x="2594" y="926"/>
                </a:cubicBezTo>
                <a:cubicBezTo>
                  <a:pt x="2595" y="926"/>
                  <a:pt x="2595" y="926"/>
                  <a:pt x="2595" y="926"/>
                </a:cubicBezTo>
                <a:cubicBezTo>
                  <a:pt x="2598" y="926"/>
                  <a:pt x="2598" y="926"/>
                  <a:pt x="2598" y="926"/>
                </a:cubicBezTo>
                <a:cubicBezTo>
                  <a:pt x="2602" y="924"/>
                  <a:pt x="2602" y="924"/>
                  <a:pt x="2602" y="924"/>
                </a:cubicBezTo>
                <a:cubicBezTo>
                  <a:pt x="2604" y="922"/>
                  <a:pt x="2604" y="922"/>
                  <a:pt x="2604" y="922"/>
                </a:cubicBezTo>
                <a:cubicBezTo>
                  <a:pt x="2605" y="922"/>
                  <a:pt x="2605" y="922"/>
                  <a:pt x="2605" y="922"/>
                </a:cubicBezTo>
                <a:cubicBezTo>
                  <a:pt x="2606" y="921"/>
                  <a:pt x="2606" y="921"/>
                  <a:pt x="2606" y="921"/>
                </a:cubicBezTo>
                <a:cubicBezTo>
                  <a:pt x="2608" y="919"/>
                  <a:pt x="2608" y="919"/>
                  <a:pt x="2608" y="919"/>
                </a:cubicBezTo>
                <a:cubicBezTo>
                  <a:pt x="2609" y="918"/>
                  <a:pt x="2609" y="918"/>
                  <a:pt x="2609" y="918"/>
                </a:cubicBezTo>
                <a:cubicBezTo>
                  <a:pt x="2612" y="916"/>
                  <a:pt x="2612" y="916"/>
                  <a:pt x="2612" y="916"/>
                </a:cubicBezTo>
                <a:cubicBezTo>
                  <a:pt x="2613" y="916"/>
                  <a:pt x="2613" y="916"/>
                  <a:pt x="2613" y="916"/>
                </a:cubicBezTo>
                <a:cubicBezTo>
                  <a:pt x="2613" y="913"/>
                  <a:pt x="2613" y="913"/>
                  <a:pt x="2613" y="913"/>
                </a:cubicBezTo>
                <a:cubicBezTo>
                  <a:pt x="2614" y="913"/>
                  <a:pt x="2614" y="913"/>
                  <a:pt x="2614" y="913"/>
                </a:cubicBezTo>
                <a:cubicBezTo>
                  <a:pt x="2615" y="912"/>
                  <a:pt x="2615" y="912"/>
                  <a:pt x="2615" y="912"/>
                </a:cubicBezTo>
                <a:cubicBezTo>
                  <a:pt x="2615" y="911"/>
                  <a:pt x="2615" y="911"/>
                  <a:pt x="2615" y="911"/>
                </a:cubicBezTo>
                <a:cubicBezTo>
                  <a:pt x="2615" y="909"/>
                  <a:pt x="2615" y="909"/>
                  <a:pt x="2615" y="909"/>
                </a:cubicBezTo>
                <a:cubicBezTo>
                  <a:pt x="2614" y="907"/>
                  <a:pt x="2614" y="907"/>
                  <a:pt x="2614" y="907"/>
                </a:cubicBezTo>
                <a:cubicBezTo>
                  <a:pt x="2616" y="906"/>
                  <a:pt x="2616" y="906"/>
                  <a:pt x="2616" y="906"/>
                </a:cubicBezTo>
                <a:cubicBezTo>
                  <a:pt x="2616" y="904"/>
                  <a:pt x="2616" y="904"/>
                  <a:pt x="2616" y="904"/>
                </a:cubicBezTo>
                <a:cubicBezTo>
                  <a:pt x="2617" y="904"/>
                  <a:pt x="2617" y="904"/>
                  <a:pt x="2617" y="904"/>
                </a:cubicBezTo>
                <a:cubicBezTo>
                  <a:pt x="2617" y="903"/>
                  <a:pt x="2617" y="903"/>
                  <a:pt x="2617" y="903"/>
                </a:cubicBezTo>
                <a:cubicBezTo>
                  <a:pt x="2616" y="902"/>
                  <a:pt x="2616" y="902"/>
                  <a:pt x="2616" y="902"/>
                </a:cubicBezTo>
                <a:cubicBezTo>
                  <a:pt x="2616" y="900"/>
                  <a:pt x="2616" y="900"/>
                  <a:pt x="2616" y="900"/>
                </a:cubicBezTo>
                <a:cubicBezTo>
                  <a:pt x="2617" y="900"/>
                  <a:pt x="2617" y="900"/>
                  <a:pt x="2617" y="900"/>
                </a:cubicBezTo>
                <a:cubicBezTo>
                  <a:pt x="2617" y="900"/>
                  <a:pt x="2617" y="900"/>
                  <a:pt x="2617" y="900"/>
                </a:cubicBezTo>
                <a:cubicBezTo>
                  <a:pt x="2617" y="901"/>
                  <a:pt x="2617" y="901"/>
                  <a:pt x="2617" y="901"/>
                </a:cubicBezTo>
                <a:cubicBezTo>
                  <a:pt x="2618" y="901"/>
                  <a:pt x="2618" y="901"/>
                  <a:pt x="2618" y="901"/>
                </a:cubicBezTo>
                <a:cubicBezTo>
                  <a:pt x="2618" y="900"/>
                  <a:pt x="2618" y="900"/>
                  <a:pt x="2618" y="900"/>
                </a:cubicBezTo>
                <a:cubicBezTo>
                  <a:pt x="2617" y="897"/>
                  <a:pt x="2617" y="897"/>
                  <a:pt x="2617" y="897"/>
                </a:cubicBezTo>
                <a:cubicBezTo>
                  <a:pt x="2616" y="896"/>
                  <a:pt x="2616" y="896"/>
                  <a:pt x="2616" y="896"/>
                </a:cubicBezTo>
                <a:cubicBezTo>
                  <a:pt x="2616" y="895"/>
                  <a:pt x="2616" y="895"/>
                  <a:pt x="2616" y="895"/>
                </a:cubicBezTo>
                <a:cubicBezTo>
                  <a:pt x="2615" y="895"/>
                  <a:pt x="2615" y="895"/>
                  <a:pt x="2615" y="895"/>
                </a:cubicBezTo>
                <a:cubicBezTo>
                  <a:pt x="2615" y="892"/>
                  <a:pt x="2615" y="892"/>
                  <a:pt x="2615" y="892"/>
                </a:cubicBezTo>
                <a:cubicBezTo>
                  <a:pt x="2615" y="891"/>
                  <a:pt x="2615" y="891"/>
                  <a:pt x="2615" y="891"/>
                </a:cubicBezTo>
                <a:cubicBezTo>
                  <a:pt x="2615" y="890"/>
                  <a:pt x="2615" y="890"/>
                  <a:pt x="2615" y="890"/>
                </a:cubicBezTo>
                <a:cubicBezTo>
                  <a:pt x="2615" y="888"/>
                  <a:pt x="2615" y="888"/>
                  <a:pt x="2615" y="888"/>
                </a:cubicBezTo>
                <a:cubicBezTo>
                  <a:pt x="2615" y="887"/>
                  <a:pt x="2615" y="887"/>
                  <a:pt x="2615" y="887"/>
                </a:cubicBezTo>
                <a:cubicBezTo>
                  <a:pt x="2614" y="886"/>
                  <a:pt x="2614" y="886"/>
                  <a:pt x="2614" y="886"/>
                </a:cubicBezTo>
                <a:cubicBezTo>
                  <a:pt x="2613" y="883"/>
                  <a:pt x="2613" y="883"/>
                  <a:pt x="2613" y="883"/>
                </a:cubicBezTo>
                <a:cubicBezTo>
                  <a:pt x="2613" y="882"/>
                  <a:pt x="2613" y="882"/>
                  <a:pt x="2613" y="882"/>
                </a:cubicBezTo>
                <a:cubicBezTo>
                  <a:pt x="2612" y="878"/>
                  <a:pt x="2612" y="878"/>
                  <a:pt x="2612" y="878"/>
                </a:cubicBezTo>
                <a:cubicBezTo>
                  <a:pt x="2610" y="876"/>
                  <a:pt x="2610" y="876"/>
                  <a:pt x="2610" y="876"/>
                </a:cubicBezTo>
                <a:cubicBezTo>
                  <a:pt x="2611" y="875"/>
                  <a:pt x="2611" y="875"/>
                  <a:pt x="2611" y="875"/>
                </a:cubicBezTo>
                <a:cubicBezTo>
                  <a:pt x="2610" y="875"/>
                  <a:pt x="2610" y="875"/>
                  <a:pt x="2610" y="875"/>
                </a:cubicBezTo>
                <a:cubicBezTo>
                  <a:pt x="2610" y="873"/>
                  <a:pt x="2610" y="873"/>
                  <a:pt x="2610" y="873"/>
                </a:cubicBezTo>
                <a:cubicBezTo>
                  <a:pt x="2608" y="871"/>
                  <a:pt x="2608" y="871"/>
                  <a:pt x="2608" y="871"/>
                </a:cubicBezTo>
                <a:cubicBezTo>
                  <a:pt x="2608" y="870"/>
                  <a:pt x="2608" y="870"/>
                  <a:pt x="2608" y="870"/>
                </a:cubicBezTo>
                <a:cubicBezTo>
                  <a:pt x="2607" y="870"/>
                  <a:pt x="2607" y="870"/>
                  <a:pt x="2607" y="870"/>
                </a:cubicBezTo>
                <a:cubicBezTo>
                  <a:pt x="2607" y="868"/>
                  <a:pt x="2607" y="868"/>
                  <a:pt x="2607" y="868"/>
                </a:cubicBezTo>
                <a:cubicBezTo>
                  <a:pt x="2606" y="866"/>
                  <a:pt x="2606" y="866"/>
                  <a:pt x="2606" y="866"/>
                </a:cubicBezTo>
                <a:cubicBezTo>
                  <a:pt x="2601" y="862"/>
                  <a:pt x="2601" y="862"/>
                  <a:pt x="2601" y="862"/>
                </a:cubicBezTo>
                <a:cubicBezTo>
                  <a:pt x="2600" y="860"/>
                  <a:pt x="2600" y="860"/>
                  <a:pt x="2600" y="860"/>
                </a:cubicBezTo>
                <a:cubicBezTo>
                  <a:pt x="2595" y="857"/>
                  <a:pt x="2595" y="857"/>
                  <a:pt x="2595" y="857"/>
                </a:cubicBezTo>
                <a:cubicBezTo>
                  <a:pt x="2590" y="854"/>
                  <a:pt x="2590" y="854"/>
                  <a:pt x="2590" y="854"/>
                </a:cubicBezTo>
                <a:cubicBezTo>
                  <a:pt x="2590" y="853"/>
                  <a:pt x="2590" y="853"/>
                  <a:pt x="2590" y="853"/>
                </a:cubicBezTo>
                <a:cubicBezTo>
                  <a:pt x="2587" y="852"/>
                  <a:pt x="2587" y="852"/>
                  <a:pt x="2587" y="852"/>
                </a:cubicBezTo>
                <a:cubicBezTo>
                  <a:pt x="2583" y="848"/>
                  <a:pt x="2583" y="848"/>
                  <a:pt x="2583" y="848"/>
                </a:cubicBezTo>
                <a:cubicBezTo>
                  <a:pt x="2583" y="847"/>
                  <a:pt x="2583" y="847"/>
                  <a:pt x="2583" y="847"/>
                </a:cubicBezTo>
                <a:cubicBezTo>
                  <a:pt x="2582" y="845"/>
                  <a:pt x="2582" y="845"/>
                  <a:pt x="2582" y="845"/>
                </a:cubicBezTo>
                <a:cubicBezTo>
                  <a:pt x="2583" y="844"/>
                  <a:pt x="2583" y="844"/>
                  <a:pt x="2583" y="844"/>
                </a:cubicBezTo>
                <a:cubicBezTo>
                  <a:pt x="2583" y="843"/>
                  <a:pt x="2583" y="843"/>
                  <a:pt x="2583" y="843"/>
                </a:cubicBezTo>
                <a:cubicBezTo>
                  <a:pt x="2581" y="841"/>
                  <a:pt x="2581" y="841"/>
                  <a:pt x="2581" y="841"/>
                </a:cubicBezTo>
                <a:cubicBezTo>
                  <a:pt x="2580" y="841"/>
                  <a:pt x="2580" y="841"/>
                  <a:pt x="2580" y="841"/>
                </a:cubicBezTo>
                <a:cubicBezTo>
                  <a:pt x="2578" y="838"/>
                  <a:pt x="2578" y="838"/>
                  <a:pt x="2578" y="838"/>
                </a:cubicBezTo>
                <a:cubicBezTo>
                  <a:pt x="2575" y="837"/>
                  <a:pt x="2575" y="837"/>
                  <a:pt x="2575" y="837"/>
                </a:cubicBezTo>
                <a:cubicBezTo>
                  <a:pt x="2573" y="836"/>
                  <a:pt x="2573" y="836"/>
                  <a:pt x="2573" y="836"/>
                </a:cubicBezTo>
                <a:cubicBezTo>
                  <a:pt x="2574" y="836"/>
                  <a:pt x="2574" y="836"/>
                  <a:pt x="2574" y="836"/>
                </a:cubicBezTo>
                <a:cubicBezTo>
                  <a:pt x="2575" y="834"/>
                  <a:pt x="2575" y="834"/>
                  <a:pt x="2575" y="834"/>
                </a:cubicBezTo>
                <a:cubicBezTo>
                  <a:pt x="2573" y="833"/>
                  <a:pt x="2573" y="833"/>
                  <a:pt x="2573" y="833"/>
                </a:cubicBezTo>
                <a:cubicBezTo>
                  <a:pt x="2574" y="831"/>
                  <a:pt x="2574" y="831"/>
                  <a:pt x="2574" y="831"/>
                </a:cubicBezTo>
                <a:cubicBezTo>
                  <a:pt x="2575" y="828"/>
                  <a:pt x="2575" y="828"/>
                  <a:pt x="2575" y="828"/>
                </a:cubicBezTo>
                <a:cubicBezTo>
                  <a:pt x="2574" y="827"/>
                  <a:pt x="2574" y="827"/>
                  <a:pt x="2574" y="827"/>
                </a:cubicBezTo>
                <a:cubicBezTo>
                  <a:pt x="2573" y="826"/>
                  <a:pt x="2573" y="826"/>
                  <a:pt x="2573" y="826"/>
                </a:cubicBezTo>
                <a:cubicBezTo>
                  <a:pt x="2573" y="825"/>
                  <a:pt x="2573" y="825"/>
                  <a:pt x="2573" y="825"/>
                </a:cubicBezTo>
                <a:cubicBezTo>
                  <a:pt x="2574" y="824"/>
                  <a:pt x="2574" y="824"/>
                  <a:pt x="2574" y="824"/>
                </a:cubicBezTo>
                <a:cubicBezTo>
                  <a:pt x="2575" y="822"/>
                  <a:pt x="2575" y="822"/>
                  <a:pt x="2575" y="822"/>
                </a:cubicBezTo>
                <a:cubicBezTo>
                  <a:pt x="2576" y="821"/>
                  <a:pt x="2576" y="821"/>
                  <a:pt x="2576" y="821"/>
                </a:cubicBezTo>
                <a:cubicBezTo>
                  <a:pt x="2576" y="821"/>
                  <a:pt x="2576" y="821"/>
                  <a:pt x="2576" y="821"/>
                </a:cubicBezTo>
                <a:cubicBezTo>
                  <a:pt x="2576" y="821"/>
                  <a:pt x="2576" y="821"/>
                  <a:pt x="2576" y="821"/>
                </a:cubicBezTo>
                <a:cubicBezTo>
                  <a:pt x="2577" y="821"/>
                  <a:pt x="2577" y="821"/>
                  <a:pt x="2577" y="821"/>
                </a:cubicBezTo>
                <a:cubicBezTo>
                  <a:pt x="2579" y="819"/>
                  <a:pt x="2579" y="819"/>
                  <a:pt x="2579" y="819"/>
                </a:cubicBezTo>
                <a:cubicBezTo>
                  <a:pt x="2580" y="819"/>
                  <a:pt x="2580" y="819"/>
                  <a:pt x="2580" y="819"/>
                </a:cubicBezTo>
                <a:cubicBezTo>
                  <a:pt x="2580" y="818"/>
                  <a:pt x="2580" y="818"/>
                  <a:pt x="2580" y="818"/>
                </a:cubicBezTo>
                <a:cubicBezTo>
                  <a:pt x="2580" y="817"/>
                  <a:pt x="2580" y="817"/>
                  <a:pt x="2580" y="817"/>
                </a:cubicBezTo>
                <a:cubicBezTo>
                  <a:pt x="2580" y="816"/>
                  <a:pt x="2580" y="816"/>
                  <a:pt x="2580" y="816"/>
                </a:cubicBezTo>
                <a:cubicBezTo>
                  <a:pt x="2580" y="815"/>
                  <a:pt x="2580" y="815"/>
                  <a:pt x="2580" y="815"/>
                </a:cubicBezTo>
                <a:cubicBezTo>
                  <a:pt x="2580" y="813"/>
                  <a:pt x="2580" y="813"/>
                  <a:pt x="2580" y="813"/>
                </a:cubicBezTo>
                <a:cubicBezTo>
                  <a:pt x="2580" y="812"/>
                  <a:pt x="2580" y="812"/>
                  <a:pt x="2580" y="812"/>
                </a:cubicBezTo>
                <a:cubicBezTo>
                  <a:pt x="2580" y="811"/>
                  <a:pt x="2580" y="811"/>
                  <a:pt x="2580" y="811"/>
                </a:cubicBezTo>
                <a:cubicBezTo>
                  <a:pt x="2580" y="810"/>
                  <a:pt x="2580" y="810"/>
                  <a:pt x="2580" y="810"/>
                </a:cubicBezTo>
                <a:cubicBezTo>
                  <a:pt x="2581" y="810"/>
                  <a:pt x="2581" y="810"/>
                  <a:pt x="2581" y="810"/>
                </a:cubicBezTo>
                <a:cubicBezTo>
                  <a:pt x="2582" y="811"/>
                  <a:pt x="2582" y="811"/>
                  <a:pt x="2582" y="811"/>
                </a:cubicBezTo>
                <a:cubicBezTo>
                  <a:pt x="2583" y="811"/>
                  <a:pt x="2583" y="811"/>
                  <a:pt x="2583" y="811"/>
                </a:cubicBezTo>
                <a:cubicBezTo>
                  <a:pt x="2583" y="810"/>
                  <a:pt x="2583" y="810"/>
                  <a:pt x="2583" y="810"/>
                </a:cubicBezTo>
                <a:cubicBezTo>
                  <a:pt x="2585" y="810"/>
                  <a:pt x="2585" y="810"/>
                  <a:pt x="2585" y="810"/>
                </a:cubicBezTo>
                <a:cubicBezTo>
                  <a:pt x="2586" y="810"/>
                  <a:pt x="2586" y="810"/>
                  <a:pt x="2586" y="810"/>
                </a:cubicBezTo>
                <a:cubicBezTo>
                  <a:pt x="2586" y="809"/>
                  <a:pt x="2586" y="809"/>
                  <a:pt x="2586" y="809"/>
                </a:cubicBezTo>
                <a:cubicBezTo>
                  <a:pt x="2587" y="809"/>
                  <a:pt x="2587" y="809"/>
                  <a:pt x="2587" y="809"/>
                </a:cubicBezTo>
                <a:cubicBezTo>
                  <a:pt x="2587" y="807"/>
                  <a:pt x="2587" y="807"/>
                  <a:pt x="2587" y="807"/>
                </a:cubicBezTo>
                <a:cubicBezTo>
                  <a:pt x="2587" y="806"/>
                  <a:pt x="2587" y="806"/>
                  <a:pt x="2587" y="806"/>
                </a:cubicBezTo>
                <a:cubicBezTo>
                  <a:pt x="2589" y="806"/>
                  <a:pt x="2589" y="806"/>
                  <a:pt x="2589" y="806"/>
                </a:cubicBezTo>
                <a:cubicBezTo>
                  <a:pt x="2591" y="806"/>
                  <a:pt x="2591" y="806"/>
                  <a:pt x="2591" y="806"/>
                </a:cubicBezTo>
                <a:cubicBezTo>
                  <a:pt x="2593" y="805"/>
                  <a:pt x="2593" y="805"/>
                  <a:pt x="2593" y="805"/>
                </a:cubicBezTo>
                <a:cubicBezTo>
                  <a:pt x="2594" y="805"/>
                  <a:pt x="2594" y="805"/>
                  <a:pt x="2594" y="805"/>
                </a:cubicBezTo>
                <a:cubicBezTo>
                  <a:pt x="2595" y="805"/>
                  <a:pt x="2595" y="805"/>
                  <a:pt x="2595" y="805"/>
                </a:cubicBezTo>
                <a:cubicBezTo>
                  <a:pt x="2595" y="804"/>
                  <a:pt x="2595" y="804"/>
                  <a:pt x="2595" y="804"/>
                </a:cubicBezTo>
                <a:cubicBezTo>
                  <a:pt x="2595" y="803"/>
                  <a:pt x="2595" y="803"/>
                  <a:pt x="2595" y="803"/>
                </a:cubicBezTo>
                <a:cubicBezTo>
                  <a:pt x="2595" y="803"/>
                  <a:pt x="2595" y="803"/>
                  <a:pt x="2595" y="803"/>
                </a:cubicBezTo>
                <a:cubicBezTo>
                  <a:pt x="2595" y="803"/>
                  <a:pt x="2595" y="803"/>
                  <a:pt x="2595" y="803"/>
                </a:cubicBezTo>
                <a:cubicBezTo>
                  <a:pt x="2595" y="803"/>
                  <a:pt x="2595" y="803"/>
                  <a:pt x="2595" y="803"/>
                </a:cubicBezTo>
                <a:cubicBezTo>
                  <a:pt x="2595" y="803"/>
                  <a:pt x="2595" y="803"/>
                  <a:pt x="2595" y="803"/>
                </a:cubicBezTo>
                <a:cubicBezTo>
                  <a:pt x="2596" y="803"/>
                  <a:pt x="2596" y="803"/>
                  <a:pt x="2596" y="803"/>
                </a:cubicBezTo>
                <a:cubicBezTo>
                  <a:pt x="2596" y="802"/>
                  <a:pt x="2596" y="802"/>
                  <a:pt x="2596" y="802"/>
                </a:cubicBezTo>
                <a:cubicBezTo>
                  <a:pt x="2598" y="803"/>
                  <a:pt x="2598" y="803"/>
                  <a:pt x="2598" y="803"/>
                </a:cubicBezTo>
                <a:cubicBezTo>
                  <a:pt x="2599" y="802"/>
                  <a:pt x="2599" y="802"/>
                  <a:pt x="2599" y="802"/>
                </a:cubicBezTo>
                <a:cubicBezTo>
                  <a:pt x="2599" y="801"/>
                  <a:pt x="2599" y="801"/>
                  <a:pt x="2599" y="801"/>
                </a:cubicBezTo>
                <a:cubicBezTo>
                  <a:pt x="2600" y="799"/>
                  <a:pt x="2600" y="799"/>
                  <a:pt x="2600" y="799"/>
                </a:cubicBezTo>
                <a:cubicBezTo>
                  <a:pt x="2601" y="801"/>
                  <a:pt x="2601" y="801"/>
                  <a:pt x="2601" y="801"/>
                </a:cubicBezTo>
                <a:cubicBezTo>
                  <a:pt x="2603" y="803"/>
                  <a:pt x="2603" y="803"/>
                  <a:pt x="2603" y="803"/>
                </a:cubicBezTo>
                <a:cubicBezTo>
                  <a:pt x="2604" y="803"/>
                  <a:pt x="2604" y="803"/>
                  <a:pt x="2604" y="803"/>
                </a:cubicBezTo>
                <a:cubicBezTo>
                  <a:pt x="2606" y="805"/>
                  <a:pt x="2606" y="805"/>
                  <a:pt x="2606" y="805"/>
                </a:cubicBezTo>
                <a:cubicBezTo>
                  <a:pt x="2607" y="804"/>
                  <a:pt x="2607" y="804"/>
                  <a:pt x="2607" y="804"/>
                </a:cubicBezTo>
                <a:cubicBezTo>
                  <a:pt x="2608" y="804"/>
                  <a:pt x="2608" y="804"/>
                  <a:pt x="2608" y="804"/>
                </a:cubicBezTo>
                <a:cubicBezTo>
                  <a:pt x="2609" y="803"/>
                  <a:pt x="2609" y="803"/>
                  <a:pt x="2609" y="803"/>
                </a:cubicBezTo>
                <a:cubicBezTo>
                  <a:pt x="2611" y="804"/>
                  <a:pt x="2611" y="804"/>
                  <a:pt x="2611" y="804"/>
                </a:cubicBezTo>
                <a:cubicBezTo>
                  <a:pt x="2612" y="804"/>
                  <a:pt x="2612" y="804"/>
                  <a:pt x="2612" y="804"/>
                </a:cubicBezTo>
                <a:cubicBezTo>
                  <a:pt x="2613" y="804"/>
                  <a:pt x="2613" y="804"/>
                  <a:pt x="2613" y="804"/>
                </a:cubicBezTo>
                <a:cubicBezTo>
                  <a:pt x="2614" y="805"/>
                  <a:pt x="2614" y="805"/>
                  <a:pt x="2614" y="805"/>
                </a:cubicBezTo>
                <a:cubicBezTo>
                  <a:pt x="2612" y="805"/>
                  <a:pt x="2612" y="805"/>
                  <a:pt x="2612" y="805"/>
                </a:cubicBezTo>
                <a:cubicBezTo>
                  <a:pt x="2612" y="807"/>
                  <a:pt x="2612" y="807"/>
                  <a:pt x="2612" y="807"/>
                </a:cubicBezTo>
                <a:cubicBezTo>
                  <a:pt x="2610" y="808"/>
                  <a:pt x="2610" y="808"/>
                  <a:pt x="2610" y="808"/>
                </a:cubicBezTo>
                <a:cubicBezTo>
                  <a:pt x="2610" y="810"/>
                  <a:pt x="2610" y="810"/>
                  <a:pt x="2610" y="810"/>
                </a:cubicBezTo>
                <a:cubicBezTo>
                  <a:pt x="2613" y="813"/>
                  <a:pt x="2613" y="813"/>
                  <a:pt x="2613" y="813"/>
                </a:cubicBezTo>
                <a:cubicBezTo>
                  <a:pt x="2614" y="814"/>
                  <a:pt x="2614" y="814"/>
                  <a:pt x="2614" y="814"/>
                </a:cubicBezTo>
                <a:cubicBezTo>
                  <a:pt x="2614" y="815"/>
                  <a:pt x="2614" y="815"/>
                  <a:pt x="2614" y="815"/>
                </a:cubicBezTo>
                <a:cubicBezTo>
                  <a:pt x="2614" y="817"/>
                  <a:pt x="2614" y="817"/>
                  <a:pt x="2614" y="817"/>
                </a:cubicBezTo>
                <a:cubicBezTo>
                  <a:pt x="2615" y="817"/>
                  <a:pt x="2615" y="817"/>
                  <a:pt x="2615" y="817"/>
                </a:cubicBezTo>
                <a:cubicBezTo>
                  <a:pt x="2616" y="815"/>
                  <a:pt x="2616" y="815"/>
                  <a:pt x="2616" y="815"/>
                </a:cubicBezTo>
                <a:cubicBezTo>
                  <a:pt x="2618" y="816"/>
                  <a:pt x="2618" y="816"/>
                  <a:pt x="2618" y="816"/>
                </a:cubicBezTo>
                <a:cubicBezTo>
                  <a:pt x="2618" y="816"/>
                  <a:pt x="2618" y="816"/>
                  <a:pt x="2618" y="816"/>
                </a:cubicBezTo>
                <a:cubicBezTo>
                  <a:pt x="2619" y="816"/>
                  <a:pt x="2619" y="816"/>
                  <a:pt x="2619" y="816"/>
                </a:cubicBezTo>
                <a:cubicBezTo>
                  <a:pt x="2621" y="814"/>
                  <a:pt x="2621" y="814"/>
                  <a:pt x="2621" y="814"/>
                </a:cubicBezTo>
                <a:cubicBezTo>
                  <a:pt x="2620" y="813"/>
                  <a:pt x="2620" y="813"/>
                  <a:pt x="2620" y="813"/>
                </a:cubicBezTo>
                <a:cubicBezTo>
                  <a:pt x="2620" y="813"/>
                  <a:pt x="2620" y="813"/>
                  <a:pt x="2620" y="813"/>
                </a:cubicBezTo>
                <a:cubicBezTo>
                  <a:pt x="2620" y="812"/>
                  <a:pt x="2620" y="812"/>
                  <a:pt x="2620" y="812"/>
                </a:cubicBezTo>
                <a:cubicBezTo>
                  <a:pt x="2618" y="810"/>
                  <a:pt x="2618" y="810"/>
                  <a:pt x="2618" y="810"/>
                </a:cubicBezTo>
                <a:cubicBezTo>
                  <a:pt x="2617" y="810"/>
                  <a:pt x="2617" y="810"/>
                  <a:pt x="2617" y="810"/>
                </a:cubicBezTo>
                <a:cubicBezTo>
                  <a:pt x="2616" y="808"/>
                  <a:pt x="2616" y="808"/>
                  <a:pt x="2616" y="808"/>
                </a:cubicBezTo>
                <a:cubicBezTo>
                  <a:pt x="2617" y="808"/>
                  <a:pt x="2617" y="808"/>
                  <a:pt x="2617" y="808"/>
                </a:cubicBezTo>
                <a:cubicBezTo>
                  <a:pt x="2618" y="807"/>
                  <a:pt x="2618" y="807"/>
                  <a:pt x="2618" y="807"/>
                </a:cubicBezTo>
                <a:cubicBezTo>
                  <a:pt x="2619" y="805"/>
                  <a:pt x="2619" y="805"/>
                  <a:pt x="2619" y="805"/>
                </a:cubicBezTo>
                <a:cubicBezTo>
                  <a:pt x="2618" y="804"/>
                  <a:pt x="2618" y="804"/>
                  <a:pt x="2618" y="804"/>
                </a:cubicBezTo>
                <a:cubicBezTo>
                  <a:pt x="2619" y="804"/>
                  <a:pt x="2619" y="804"/>
                  <a:pt x="2619" y="804"/>
                </a:cubicBezTo>
                <a:cubicBezTo>
                  <a:pt x="2620" y="803"/>
                  <a:pt x="2620" y="803"/>
                  <a:pt x="2620" y="803"/>
                </a:cubicBezTo>
                <a:cubicBezTo>
                  <a:pt x="2620" y="804"/>
                  <a:pt x="2620" y="804"/>
                  <a:pt x="2620" y="804"/>
                </a:cubicBezTo>
                <a:cubicBezTo>
                  <a:pt x="2620" y="805"/>
                  <a:pt x="2620" y="805"/>
                  <a:pt x="2620" y="805"/>
                </a:cubicBezTo>
                <a:cubicBezTo>
                  <a:pt x="2621" y="805"/>
                  <a:pt x="2621" y="805"/>
                  <a:pt x="2621" y="805"/>
                </a:cubicBezTo>
                <a:cubicBezTo>
                  <a:pt x="2620" y="805"/>
                  <a:pt x="2620" y="805"/>
                  <a:pt x="2620" y="805"/>
                </a:cubicBezTo>
                <a:cubicBezTo>
                  <a:pt x="2621" y="805"/>
                  <a:pt x="2621" y="805"/>
                  <a:pt x="2621" y="805"/>
                </a:cubicBezTo>
                <a:cubicBezTo>
                  <a:pt x="2621" y="806"/>
                  <a:pt x="2621" y="806"/>
                  <a:pt x="2621" y="806"/>
                </a:cubicBezTo>
                <a:cubicBezTo>
                  <a:pt x="2621" y="806"/>
                  <a:pt x="2621" y="806"/>
                  <a:pt x="2621" y="806"/>
                </a:cubicBezTo>
                <a:cubicBezTo>
                  <a:pt x="2622" y="806"/>
                  <a:pt x="2622" y="806"/>
                  <a:pt x="2622" y="806"/>
                </a:cubicBezTo>
                <a:cubicBezTo>
                  <a:pt x="2623" y="805"/>
                  <a:pt x="2623" y="805"/>
                  <a:pt x="2623" y="805"/>
                </a:cubicBezTo>
                <a:cubicBezTo>
                  <a:pt x="2625" y="805"/>
                  <a:pt x="2625" y="805"/>
                  <a:pt x="2625" y="805"/>
                </a:cubicBezTo>
                <a:cubicBezTo>
                  <a:pt x="2625" y="803"/>
                  <a:pt x="2625" y="803"/>
                  <a:pt x="2625" y="803"/>
                </a:cubicBezTo>
                <a:cubicBezTo>
                  <a:pt x="2627" y="804"/>
                  <a:pt x="2627" y="804"/>
                  <a:pt x="2627" y="804"/>
                </a:cubicBezTo>
                <a:cubicBezTo>
                  <a:pt x="2629" y="803"/>
                  <a:pt x="2629" y="803"/>
                  <a:pt x="2629" y="803"/>
                </a:cubicBezTo>
                <a:cubicBezTo>
                  <a:pt x="2631" y="802"/>
                  <a:pt x="2631" y="802"/>
                  <a:pt x="2631" y="802"/>
                </a:cubicBezTo>
                <a:cubicBezTo>
                  <a:pt x="2630" y="801"/>
                  <a:pt x="2630" y="801"/>
                  <a:pt x="2630" y="801"/>
                </a:cubicBezTo>
                <a:cubicBezTo>
                  <a:pt x="2632" y="801"/>
                  <a:pt x="2632" y="801"/>
                  <a:pt x="2632" y="801"/>
                </a:cubicBezTo>
                <a:cubicBezTo>
                  <a:pt x="2634" y="800"/>
                  <a:pt x="2634" y="800"/>
                  <a:pt x="2634" y="800"/>
                </a:cubicBezTo>
                <a:cubicBezTo>
                  <a:pt x="2636" y="801"/>
                  <a:pt x="2636" y="801"/>
                  <a:pt x="2636" y="801"/>
                </a:cubicBezTo>
                <a:cubicBezTo>
                  <a:pt x="2637" y="801"/>
                  <a:pt x="2637" y="801"/>
                  <a:pt x="2637" y="801"/>
                </a:cubicBezTo>
                <a:cubicBezTo>
                  <a:pt x="2639" y="799"/>
                  <a:pt x="2639" y="799"/>
                  <a:pt x="2639" y="799"/>
                </a:cubicBezTo>
                <a:cubicBezTo>
                  <a:pt x="2641" y="797"/>
                  <a:pt x="2641" y="797"/>
                  <a:pt x="2641" y="797"/>
                </a:cubicBezTo>
                <a:cubicBezTo>
                  <a:pt x="2643" y="796"/>
                  <a:pt x="2643" y="796"/>
                  <a:pt x="2643" y="796"/>
                </a:cubicBezTo>
                <a:cubicBezTo>
                  <a:pt x="2643" y="795"/>
                  <a:pt x="2643" y="795"/>
                  <a:pt x="2643" y="795"/>
                </a:cubicBezTo>
                <a:cubicBezTo>
                  <a:pt x="2643" y="795"/>
                  <a:pt x="2643" y="795"/>
                  <a:pt x="2643" y="795"/>
                </a:cubicBezTo>
                <a:cubicBezTo>
                  <a:pt x="2644" y="796"/>
                  <a:pt x="2644" y="796"/>
                  <a:pt x="2644" y="796"/>
                </a:cubicBezTo>
                <a:cubicBezTo>
                  <a:pt x="2645" y="795"/>
                  <a:pt x="2645" y="795"/>
                  <a:pt x="2645" y="795"/>
                </a:cubicBezTo>
                <a:cubicBezTo>
                  <a:pt x="2646" y="794"/>
                  <a:pt x="2646" y="794"/>
                  <a:pt x="2646" y="794"/>
                </a:cubicBezTo>
                <a:cubicBezTo>
                  <a:pt x="2648" y="793"/>
                  <a:pt x="2648" y="793"/>
                  <a:pt x="2648" y="793"/>
                </a:cubicBezTo>
                <a:cubicBezTo>
                  <a:pt x="2647" y="791"/>
                  <a:pt x="2647" y="791"/>
                  <a:pt x="2647" y="791"/>
                </a:cubicBezTo>
                <a:cubicBezTo>
                  <a:pt x="2647" y="789"/>
                  <a:pt x="2647" y="789"/>
                  <a:pt x="2647" y="789"/>
                </a:cubicBezTo>
                <a:cubicBezTo>
                  <a:pt x="2647" y="787"/>
                  <a:pt x="2647" y="787"/>
                  <a:pt x="2647" y="787"/>
                </a:cubicBezTo>
                <a:cubicBezTo>
                  <a:pt x="2646" y="786"/>
                  <a:pt x="2646" y="786"/>
                  <a:pt x="2646" y="786"/>
                </a:cubicBezTo>
                <a:cubicBezTo>
                  <a:pt x="2647" y="787"/>
                  <a:pt x="2647" y="787"/>
                  <a:pt x="2647" y="787"/>
                </a:cubicBezTo>
                <a:cubicBezTo>
                  <a:pt x="2650" y="788"/>
                  <a:pt x="2650" y="788"/>
                  <a:pt x="2650" y="788"/>
                </a:cubicBezTo>
                <a:cubicBezTo>
                  <a:pt x="2650" y="790"/>
                  <a:pt x="2650" y="790"/>
                  <a:pt x="2650" y="790"/>
                </a:cubicBezTo>
                <a:cubicBezTo>
                  <a:pt x="2652" y="792"/>
                  <a:pt x="2652" y="792"/>
                  <a:pt x="2652" y="792"/>
                </a:cubicBezTo>
                <a:cubicBezTo>
                  <a:pt x="2654" y="791"/>
                  <a:pt x="2654" y="791"/>
                  <a:pt x="2654" y="791"/>
                </a:cubicBezTo>
                <a:cubicBezTo>
                  <a:pt x="2653" y="793"/>
                  <a:pt x="2653" y="793"/>
                  <a:pt x="2653" y="793"/>
                </a:cubicBezTo>
                <a:cubicBezTo>
                  <a:pt x="2651" y="793"/>
                  <a:pt x="2651" y="793"/>
                  <a:pt x="2651" y="793"/>
                </a:cubicBezTo>
                <a:cubicBezTo>
                  <a:pt x="2652" y="794"/>
                  <a:pt x="2652" y="794"/>
                  <a:pt x="2652" y="794"/>
                </a:cubicBezTo>
                <a:cubicBezTo>
                  <a:pt x="2655" y="792"/>
                  <a:pt x="2655" y="792"/>
                  <a:pt x="2655" y="792"/>
                </a:cubicBezTo>
                <a:cubicBezTo>
                  <a:pt x="2655" y="790"/>
                  <a:pt x="2655" y="790"/>
                  <a:pt x="2655" y="790"/>
                </a:cubicBezTo>
                <a:cubicBezTo>
                  <a:pt x="2657" y="790"/>
                  <a:pt x="2657" y="790"/>
                  <a:pt x="2657" y="790"/>
                </a:cubicBezTo>
                <a:cubicBezTo>
                  <a:pt x="2658" y="789"/>
                  <a:pt x="2658" y="789"/>
                  <a:pt x="2658" y="789"/>
                </a:cubicBezTo>
                <a:cubicBezTo>
                  <a:pt x="2660" y="790"/>
                  <a:pt x="2660" y="790"/>
                  <a:pt x="2660" y="790"/>
                </a:cubicBezTo>
                <a:cubicBezTo>
                  <a:pt x="2661" y="790"/>
                  <a:pt x="2661" y="790"/>
                  <a:pt x="2661" y="790"/>
                </a:cubicBezTo>
                <a:cubicBezTo>
                  <a:pt x="2662" y="788"/>
                  <a:pt x="2662" y="788"/>
                  <a:pt x="2662" y="788"/>
                </a:cubicBezTo>
                <a:cubicBezTo>
                  <a:pt x="2663" y="788"/>
                  <a:pt x="2663" y="788"/>
                  <a:pt x="2663" y="788"/>
                </a:cubicBezTo>
                <a:cubicBezTo>
                  <a:pt x="2664" y="787"/>
                  <a:pt x="2664" y="787"/>
                  <a:pt x="2664" y="787"/>
                </a:cubicBezTo>
                <a:cubicBezTo>
                  <a:pt x="2664" y="788"/>
                  <a:pt x="2664" y="788"/>
                  <a:pt x="2664" y="788"/>
                </a:cubicBezTo>
                <a:cubicBezTo>
                  <a:pt x="2666" y="790"/>
                  <a:pt x="2666" y="790"/>
                  <a:pt x="2666" y="790"/>
                </a:cubicBezTo>
                <a:cubicBezTo>
                  <a:pt x="2667" y="789"/>
                  <a:pt x="2667" y="789"/>
                  <a:pt x="2667" y="789"/>
                </a:cubicBezTo>
                <a:cubicBezTo>
                  <a:pt x="2667" y="787"/>
                  <a:pt x="2667" y="787"/>
                  <a:pt x="2667" y="787"/>
                </a:cubicBezTo>
                <a:cubicBezTo>
                  <a:pt x="2668" y="787"/>
                  <a:pt x="2668" y="787"/>
                  <a:pt x="2668" y="787"/>
                </a:cubicBezTo>
                <a:cubicBezTo>
                  <a:pt x="2668" y="788"/>
                  <a:pt x="2668" y="788"/>
                  <a:pt x="2668" y="788"/>
                </a:cubicBezTo>
                <a:cubicBezTo>
                  <a:pt x="2670" y="788"/>
                  <a:pt x="2670" y="788"/>
                  <a:pt x="2670" y="788"/>
                </a:cubicBezTo>
                <a:cubicBezTo>
                  <a:pt x="2670" y="787"/>
                  <a:pt x="2670" y="787"/>
                  <a:pt x="2670" y="787"/>
                </a:cubicBezTo>
                <a:cubicBezTo>
                  <a:pt x="2673" y="786"/>
                  <a:pt x="2673" y="786"/>
                  <a:pt x="2673" y="786"/>
                </a:cubicBezTo>
                <a:cubicBezTo>
                  <a:pt x="2674" y="785"/>
                  <a:pt x="2674" y="785"/>
                  <a:pt x="2674" y="785"/>
                </a:cubicBezTo>
                <a:cubicBezTo>
                  <a:pt x="2675" y="784"/>
                  <a:pt x="2675" y="784"/>
                  <a:pt x="2675" y="784"/>
                </a:cubicBezTo>
                <a:cubicBezTo>
                  <a:pt x="2675" y="786"/>
                  <a:pt x="2675" y="786"/>
                  <a:pt x="2675" y="786"/>
                </a:cubicBezTo>
                <a:cubicBezTo>
                  <a:pt x="2676" y="785"/>
                  <a:pt x="2676" y="785"/>
                  <a:pt x="2676" y="785"/>
                </a:cubicBezTo>
                <a:cubicBezTo>
                  <a:pt x="2677" y="785"/>
                  <a:pt x="2677" y="785"/>
                  <a:pt x="2677" y="785"/>
                </a:cubicBezTo>
                <a:cubicBezTo>
                  <a:pt x="2678" y="784"/>
                  <a:pt x="2678" y="784"/>
                  <a:pt x="2678" y="784"/>
                </a:cubicBezTo>
                <a:cubicBezTo>
                  <a:pt x="2678" y="783"/>
                  <a:pt x="2678" y="783"/>
                  <a:pt x="2678" y="783"/>
                </a:cubicBezTo>
                <a:cubicBezTo>
                  <a:pt x="2679" y="782"/>
                  <a:pt x="2679" y="782"/>
                  <a:pt x="2679" y="782"/>
                </a:cubicBezTo>
                <a:cubicBezTo>
                  <a:pt x="2679" y="779"/>
                  <a:pt x="2679" y="779"/>
                  <a:pt x="2679" y="779"/>
                </a:cubicBezTo>
                <a:cubicBezTo>
                  <a:pt x="2678" y="777"/>
                  <a:pt x="2678" y="777"/>
                  <a:pt x="2678" y="777"/>
                </a:cubicBezTo>
                <a:cubicBezTo>
                  <a:pt x="2679" y="778"/>
                  <a:pt x="2679" y="778"/>
                  <a:pt x="2679" y="778"/>
                </a:cubicBezTo>
                <a:cubicBezTo>
                  <a:pt x="2680" y="777"/>
                  <a:pt x="2680" y="777"/>
                  <a:pt x="2680" y="777"/>
                </a:cubicBezTo>
                <a:cubicBezTo>
                  <a:pt x="2682" y="776"/>
                  <a:pt x="2682" y="776"/>
                  <a:pt x="2682" y="776"/>
                </a:cubicBezTo>
                <a:cubicBezTo>
                  <a:pt x="2683" y="777"/>
                  <a:pt x="2683" y="777"/>
                  <a:pt x="2683" y="777"/>
                </a:cubicBezTo>
                <a:cubicBezTo>
                  <a:pt x="2685" y="777"/>
                  <a:pt x="2685" y="777"/>
                  <a:pt x="2685" y="777"/>
                </a:cubicBezTo>
                <a:cubicBezTo>
                  <a:pt x="2685" y="775"/>
                  <a:pt x="2685" y="775"/>
                  <a:pt x="2685" y="775"/>
                </a:cubicBezTo>
                <a:cubicBezTo>
                  <a:pt x="2686" y="775"/>
                  <a:pt x="2686" y="775"/>
                  <a:pt x="2686" y="775"/>
                </a:cubicBezTo>
                <a:cubicBezTo>
                  <a:pt x="2686" y="773"/>
                  <a:pt x="2686" y="773"/>
                  <a:pt x="2686" y="773"/>
                </a:cubicBezTo>
                <a:cubicBezTo>
                  <a:pt x="2687" y="773"/>
                  <a:pt x="2687" y="773"/>
                  <a:pt x="2687" y="773"/>
                </a:cubicBezTo>
                <a:cubicBezTo>
                  <a:pt x="2687" y="774"/>
                  <a:pt x="2687" y="774"/>
                  <a:pt x="2687" y="774"/>
                </a:cubicBezTo>
                <a:cubicBezTo>
                  <a:pt x="2688" y="774"/>
                  <a:pt x="2688" y="774"/>
                  <a:pt x="2688" y="774"/>
                </a:cubicBezTo>
                <a:cubicBezTo>
                  <a:pt x="2689" y="772"/>
                  <a:pt x="2689" y="772"/>
                  <a:pt x="2689" y="772"/>
                </a:cubicBezTo>
                <a:cubicBezTo>
                  <a:pt x="2690" y="773"/>
                  <a:pt x="2690" y="773"/>
                  <a:pt x="2690" y="773"/>
                </a:cubicBezTo>
                <a:cubicBezTo>
                  <a:pt x="2691" y="771"/>
                  <a:pt x="2691" y="771"/>
                  <a:pt x="2691" y="771"/>
                </a:cubicBezTo>
                <a:cubicBezTo>
                  <a:pt x="2692" y="771"/>
                  <a:pt x="2692" y="771"/>
                  <a:pt x="2692" y="771"/>
                </a:cubicBezTo>
                <a:cubicBezTo>
                  <a:pt x="2693" y="769"/>
                  <a:pt x="2693" y="769"/>
                  <a:pt x="2693" y="769"/>
                </a:cubicBezTo>
                <a:cubicBezTo>
                  <a:pt x="2691" y="769"/>
                  <a:pt x="2691" y="769"/>
                  <a:pt x="2691" y="769"/>
                </a:cubicBezTo>
                <a:cubicBezTo>
                  <a:pt x="2689" y="769"/>
                  <a:pt x="2689" y="769"/>
                  <a:pt x="2689" y="769"/>
                </a:cubicBezTo>
                <a:cubicBezTo>
                  <a:pt x="2687" y="768"/>
                  <a:pt x="2687" y="768"/>
                  <a:pt x="2687" y="768"/>
                </a:cubicBezTo>
                <a:cubicBezTo>
                  <a:pt x="2690" y="767"/>
                  <a:pt x="2690" y="767"/>
                  <a:pt x="2690" y="767"/>
                </a:cubicBezTo>
                <a:cubicBezTo>
                  <a:pt x="2692" y="765"/>
                  <a:pt x="2692" y="765"/>
                  <a:pt x="2692" y="765"/>
                </a:cubicBezTo>
                <a:cubicBezTo>
                  <a:pt x="2693" y="766"/>
                  <a:pt x="2693" y="766"/>
                  <a:pt x="2693" y="766"/>
                </a:cubicBezTo>
                <a:cubicBezTo>
                  <a:pt x="2694" y="765"/>
                  <a:pt x="2694" y="765"/>
                  <a:pt x="2694" y="765"/>
                </a:cubicBezTo>
                <a:cubicBezTo>
                  <a:pt x="2696" y="767"/>
                  <a:pt x="2696" y="767"/>
                  <a:pt x="2696" y="767"/>
                </a:cubicBezTo>
                <a:cubicBezTo>
                  <a:pt x="2697" y="765"/>
                  <a:pt x="2697" y="765"/>
                  <a:pt x="2697" y="765"/>
                </a:cubicBezTo>
                <a:cubicBezTo>
                  <a:pt x="2696" y="764"/>
                  <a:pt x="2696" y="764"/>
                  <a:pt x="2696" y="764"/>
                </a:cubicBezTo>
                <a:cubicBezTo>
                  <a:pt x="2695" y="763"/>
                  <a:pt x="2695" y="763"/>
                  <a:pt x="2695" y="763"/>
                </a:cubicBezTo>
                <a:cubicBezTo>
                  <a:pt x="2695" y="762"/>
                  <a:pt x="2695" y="762"/>
                  <a:pt x="2695" y="762"/>
                </a:cubicBezTo>
                <a:cubicBezTo>
                  <a:pt x="2697" y="763"/>
                  <a:pt x="2697" y="763"/>
                  <a:pt x="2697" y="763"/>
                </a:cubicBezTo>
                <a:cubicBezTo>
                  <a:pt x="2698" y="762"/>
                  <a:pt x="2698" y="762"/>
                  <a:pt x="2698" y="762"/>
                </a:cubicBezTo>
                <a:cubicBezTo>
                  <a:pt x="2698" y="761"/>
                  <a:pt x="2698" y="761"/>
                  <a:pt x="2698" y="761"/>
                </a:cubicBezTo>
                <a:cubicBezTo>
                  <a:pt x="2697" y="761"/>
                  <a:pt x="2697" y="761"/>
                  <a:pt x="2697" y="761"/>
                </a:cubicBezTo>
                <a:cubicBezTo>
                  <a:pt x="2696" y="759"/>
                  <a:pt x="2696" y="759"/>
                  <a:pt x="2696" y="759"/>
                </a:cubicBezTo>
                <a:cubicBezTo>
                  <a:pt x="2695" y="759"/>
                  <a:pt x="2695" y="759"/>
                  <a:pt x="2695" y="759"/>
                </a:cubicBezTo>
                <a:cubicBezTo>
                  <a:pt x="2697" y="758"/>
                  <a:pt x="2697" y="758"/>
                  <a:pt x="2697" y="758"/>
                </a:cubicBezTo>
                <a:cubicBezTo>
                  <a:pt x="2698" y="759"/>
                  <a:pt x="2698" y="759"/>
                  <a:pt x="2698" y="759"/>
                </a:cubicBezTo>
                <a:cubicBezTo>
                  <a:pt x="2699" y="759"/>
                  <a:pt x="2699" y="759"/>
                  <a:pt x="2699" y="759"/>
                </a:cubicBezTo>
                <a:cubicBezTo>
                  <a:pt x="2699" y="760"/>
                  <a:pt x="2699" y="760"/>
                  <a:pt x="2699" y="760"/>
                </a:cubicBezTo>
                <a:cubicBezTo>
                  <a:pt x="2699" y="759"/>
                  <a:pt x="2699" y="759"/>
                  <a:pt x="2699" y="759"/>
                </a:cubicBezTo>
                <a:cubicBezTo>
                  <a:pt x="2698" y="757"/>
                  <a:pt x="2698" y="757"/>
                  <a:pt x="2698" y="757"/>
                </a:cubicBezTo>
                <a:cubicBezTo>
                  <a:pt x="2698" y="756"/>
                  <a:pt x="2698" y="756"/>
                  <a:pt x="2698" y="756"/>
                </a:cubicBezTo>
                <a:cubicBezTo>
                  <a:pt x="2699" y="756"/>
                  <a:pt x="2699" y="756"/>
                  <a:pt x="2699" y="756"/>
                </a:cubicBezTo>
                <a:cubicBezTo>
                  <a:pt x="2699" y="754"/>
                  <a:pt x="2699" y="754"/>
                  <a:pt x="2699" y="754"/>
                </a:cubicBezTo>
                <a:cubicBezTo>
                  <a:pt x="2701" y="756"/>
                  <a:pt x="2701" y="756"/>
                  <a:pt x="2701" y="756"/>
                </a:cubicBezTo>
                <a:cubicBezTo>
                  <a:pt x="2701" y="757"/>
                  <a:pt x="2701" y="757"/>
                  <a:pt x="2701" y="757"/>
                </a:cubicBezTo>
                <a:cubicBezTo>
                  <a:pt x="2702" y="757"/>
                  <a:pt x="2702" y="757"/>
                  <a:pt x="2702" y="757"/>
                </a:cubicBezTo>
                <a:cubicBezTo>
                  <a:pt x="2703" y="759"/>
                  <a:pt x="2703" y="759"/>
                  <a:pt x="2703" y="759"/>
                </a:cubicBezTo>
                <a:cubicBezTo>
                  <a:pt x="2703" y="756"/>
                  <a:pt x="2703" y="756"/>
                  <a:pt x="2703" y="756"/>
                </a:cubicBezTo>
                <a:cubicBezTo>
                  <a:pt x="2703" y="755"/>
                  <a:pt x="2703" y="755"/>
                  <a:pt x="2703" y="755"/>
                </a:cubicBezTo>
                <a:cubicBezTo>
                  <a:pt x="2702" y="755"/>
                  <a:pt x="2702" y="755"/>
                  <a:pt x="2702" y="755"/>
                </a:cubicBezTo>
                <a:cubicBezTo>
                  <a:pt x="2701" y="754"/>
                  <a:pt x="2701" y="754"/>
                  <a:pt x="2701" y="754"/>
                </a:cubicBezTo>
                <a:cubicBezTo>
                  <a:pt x="2703" y="753"/>
                  <a:pt x="2703" y="753"/>
                  <a:pt x="2703" y="753"/>
                </a:cubicBezTo>
                <a:cubicBezTo>
                  <a:pt x="2703" y="752"/>
                  <a:pt x="2703" y="752"/>
                  <a:pt x="2703" y="752"/>
                </a:cubicBezTo>
                <a:cubicBezTo>
                  <a:pt x="2701" y="752"/>
                  <a:pt x="2701" y="752"/>
                  <a:pt x="2701" y="752"/>
                </a:cubicBezTo>
                <a:cubicBezTo>
                  <a:pt x="2703" y="750"/>
                  <a:pt x="2703" y="750"/>
                  <a:pt x="2703" y="750"/>
                </a:cubicBezTo>
                <a:cubicBezTo>
                  <a:pt x="2702" y="748"/>
                  <a:pt x="2702" y="748"/>
                  <a:pt x="2702" y="748"/>
                </a:cubicBezTo>
                <a:cubicBezTo>
                  <a:pt x="2701" y="749"/>
                  <a:pt x="2701" y="749"/>
                  <a:pt x="2701" y="749"/>
                </a:cubicBezTo>
                <a:cubicBezTo>
                  <a:pt x="2700" y="749"/>
                  <a:pt x="2700" y="749"/>
                  <a:pt x="2700" y="749"/>
                </a:cubicBezTo>
                <a:cubicBezTo>
                  <a:pt x="2700" y="748"/>
                  <a:pt x="2700" y="748"/>
                  <a:pt x="2700" y="748"/>
                </a:cubicBezTo>
                <a:cubicBezTo>
                  <a:pt x="2702" y="746"/>
                  <a:pt x="2702" y="746"/>
                  <a:pt x="2702" y="746"/>
                </a:cubicBezTo>
                <a:cubicBezTo>
                  <a:pt x="2706" y="745"/>
                  <a:pt x="2706" y="745"/>
                  <a:pt x="2706" y="745"/>
                </a:cubicBezTo>
                <a:cubicBezTo>
                  <a:pt x="2705" y="744"/>
                  <a:pt x="2705" y="744"/>
                  <a:pt x="2705" y="744"/>
                </a:cubicBezTo>
                <a:cubicBezTo>
                  <a:pt x="2703" y="745"/>
                  <a:pt x="2703" y="745"/>
                  <a:pt x="2703" y="745"/>
                </a:cubicBezTo>
                <a:cubicBezTo>
                  <a:pt x="2701" y="743"/>
                  <a:pt x="2701" y="743"/>
                  <a:pt x="2701" y="743"/>
                </a:cubicBezTo>
                <a:cubicBezTo>
                  <a:pt x="2703" y="743"/>
                  <a:pt x="2703" y="743"/>
                  <a:pt x="2703" y="743"/>
                </a:cubicBezTo>
                <a:cubicBezTo>
                  <a:pt x="2702" y="741"/>
                  <a:pt x="2702" y="741"/>
                  <a:pt x="2702" y="741"/>
                </a:cubicBezTo>
                <a:cubicBezTo>
                  <a:pt x="2700" y="741"/>
                  <a:pt x="2700" y="741"/>
                  <a:pt x="2700" y="741"/>
                </a:cubicBezTo>
                <a:cubicBezTo>
                  <a:pt x="2701" y="740"/>
                  <a:pt x="2701" y="740"/>
                  <a:pt x="2701" y="740"/>
                </a:cubicBezTo>
                <a:cubicBezTo>
                  <a:pt x="2700" y="739"/>
                  <a:pt x="2700" y="739"/>
                  <a:pt x="2700" y="739"/>
                </a:cubicBezTo>
                <a:cubicBezTo>
                  <a:pt x="2702" y="739"/>
                  <a:pt x="2702" y="739"/>
                  <a:pt x="2702" y="739"/>
                </a:cubicBezTo>
                <a:cubicBezTo>
                  <a:pt x="2702" y="737"/>
                  <a:pt x="2702" y="737"/>
                  <a:pt x="2702" y="737"/>
                </a:cubicBezTo>
                <a:cubicBezTo>
                  <a:pt x="2703" y="737"/>
                  <a:pt x="2703" y="737"/>
                  <a:pt x="2703" y="737"/>
                </a:cubicBezTo>
                <a:cubicBezTo>
                  <a:pt x="2704" y="737"/>
                  <a:pt x="2704" y="737"/>
                  <a:pt x="2704" y="737"/>
                </a:cubicBezTo>
                <a:cubicBezTo>
                  <a:pt x="2704" y="739"/>
                  <a:pt x="2704" y="739"/>
                  <a:pt x="2704" y="739"/>
                </a:cubicBezTo>
                <a:cubicBezTo>
                  <a:pt x="2705" y="739"/>
                  <a:pt x="2705" y="739"/>
                  <a:pt x="2705" y="739"/>
                </a:cubicBezTo>
                <a:cubicBezTo>
                  <a:pt x="2707" y="737"/>
                  <a:pt x="2707" y="737"/>
                  <a:pt x="2707" y="737"/>
                </a:cubicBezTo>
                <a:cubicBezTo>
                  <a:pt x="2708" y="735"/>
                  <a:pt x="2708" y="735"/>
                  <a:pt x="2708" y="735"/>
                </a:cubicBezTo>
                <a:cubicBezTo>
                  <a:pt x="2710" y="736"/>
                  <a:pt x="2710" y="736"/>
                  <a:pt x="2710" y="736"/>
                </a:cubicBezTo>
                <a:cubicBezTo>
                  <a:pt x="2709" y="734"/>
                  <a:pt x="2709" y="734"/>
                  <a:pt x="2709" y="734"/>
                </a:cubicBezTo>
                <a:cubicBezTo>
                  <a:pt x="2707" y="734"/>
                  <a:pt x="2707" y="734"/>
                  <a:pt x="2707" y="734"/>
                </a:cubicBezTo>
                <a:cubicBezTo>
                  <a:pt x="2707" y="732"/>
                  <a:pt x="2707" y="732"/>
                  <a:pt x="2707" y="732"/>
                </a:cubicBezTo>
                <a:cubicBezTo>
                  <a:pt x="2709" y="733"/>
                  <a:pt x="2709" y="733"/>
                  <a:pt x="2709" y="733"/>
                </a:cubicBezTo>
                <a:cubicBezTo>
                  <a:pt x="2711" y="733"/>
                  <a:pt x="2711" y="733"/>
                  <a:pt x="2711" y="733"/>
                </a:cubicBezTo>
                <a:cubicBezTo>
                  <a:pt x="2710" y="731"/>
                  <a:pt x="2710" y="731"/>
                  <a:pt x="2710" y="731"/>
                </a:cubicBezTo>
                <a:cubicBezTo>
                  <a:pt x="2711" y="730"/>
                  <a:pt x="2711" y="730"/>
                  <a:pt x="2711" y="730"/>
                </a:cubicBezTo>
                <a:cubicBezTo>
                  <a:pt x="2710" y="729"/>
                  <a:pt x="2710" y="729"/>
                  <a:pt x="2710" y="729"/>
                </a:cubicBezTo>
                <a:cubicBezTo>
                  <a:pt x="2710" y="728"/>
                  <a:pt x="2710" y="728"/>
                  <a:pt x="2710" y="728"/>
                </a:cubicBezTo>
                <a:cubicBezTo>
                  <a:pt x="2712" y="727"/>
                  <a:pt x="2712" y="727"/>
                  <a:pt x="2712" y="727"/>
                </a:cubicBezTo>
                <a:cubicBezTo>
                  <a:pt x="2711" y="726"/>
                  <a:pt x="2711" y="726"/>
                  <a:pt x="2711" y="726"/>
                </a:cubicBezTo>
                <a:cubicBezTo>
                  <a:pt x="2711" y="724"/>
                  <a:pt x="2711" y="724"/>
                  <a:pt x="2711" y="724"/>
                </a:cubicBezTo>
                <a:cubicBezTo>
                  <a:pt x="2709" y="723"/>
                  <a:pt x="2709" y="723"/>
                  <a:pt x="2709" y="723"/>
                </a:cubicBezTo>
                <a:cubicBezTo>
                  <a:pt x="2712" y="724"/>
                  <a:pt x="2712" y="724"/>
                  <a:pt x="2712" y="724"/>
                </a:cubicBezTo>
                <a:cubicBezTo>
                  <a:pt x="2713" y="723"/>
                  <a:pt x="2713" y="723"/>
                  <a:pt x="2713" y="723"/>
                </a:cubicBezTo>
                <a:cubicBezTo>
                  <a:pt x="2714" y="720"/>
                  <a:pt x="2714" y="720"/>
                  <a:pt x="2714" y="720"/>
                </a:cubicBezTo>
                <a:cubicBezTo>
                  <a:pt x="2716" y="719"/>
                  <a:pt x="2716" y="719"/>
                  <a:pt x="2716" y="719"/>
                </a:cubicBezTo>
                <a:cubicBezTo>
                  <a:pt x="2716" y="721"/>
                  <a:pt x="2716" y="721"/>
                  <a:pt x="2716" y="721"/>
                </a:cubicBezTo>
                <a:cubicBezTo>
                  <a:pt x="2717" y="722"/>
                  <a:pt x="2717" y="722"/>
                  <a:pt x="2717" y="722"/>
                </a:cubicBezTo>
                <a:cubicBezTo>
                  <a:pt x="2717" y="720"/>
                  <a:pt x="2717" y="720"/>
                  <a:pt x="2717" y="720"/>
                </a:cubicBezTo>
                <a:cubicBezTo>
                  <a:pt x="2719" y="719"/>
                  <a:pt x="2719" y="719"/>
                  <a:pt x="2719" y="719"/>
                </a:cubicBezTo>
                <a:cubicBezTo>
                  <a:pt x="2718" y="717"/>
                  <a:pt x="2718" y="717"/>
                  <a:pt x="2718" y="717"/>
                </a:cubicBezTo>
                <a:cubicBezTo>
                  <a:pt x="2716" y="717"/>
                  <a:pt x="2716" y="717"/>
                  <a:pt x="2716" y="717"/>
                </a:cubicBezTo>
                <a:cubicBezTo>
                  <a:pt x="2715" y="716"/>
                  <a:pt x="2715" y="716"/>
                  <a:pt x="2715" y="716"/>
                </a:cubicBezTo>
                <a:cubicBezTo>
                  <a:pt x="2716" y="715"/>
                  <a:pt x="2716" y="715"/>
                  <a:pt x="2716" y="715"/>
                </a:cubicBezTo>
                <a:cubicBezTo>
                  <a:pt x="2717" y="716"/>
                  <a:pt x="2717" y="716"/>
                  <a:pt x="2717" y="716"/>
                </a:cubicBezTo>
                <a:cubicBezTo>
                  <a:pt x="2718" y="715"/>
                  <a:pt x="2718" y="715"/>
                  <a:pt x="2718" y="715"/>
                </a:cubicBezTo>
                <a:cubicBezTo>
                  <a:pt x="2717" y="714"/>
                  <a:pt x="2717" y="714"/>
                  <a:pt x="2717" y="714"/>
                </a:cubicBezTo>
                <a:cubicBezTo>
                  <a:pt x="2716" y="713"/>
                  <a:pt x="2716" y="713"/>
                  <a:pt x="2716" y="713"/>
                </a:cubicBezTo>
                <a:cubicBezTo>
                  <a:pt x="2717" y="712"/>
                  <a:pt x="2717" y="712"/>
                  <a:pt x="2717" y="712"/>
                </a:cubicBezTo>
                <a:cubicBezTo>
                  <a:pt x="2718" y="712"/>
                  <a:pt x="2718" y="712"/>
                  <a:pt x="2718" y="712"/>
                </a:cubicBezTo>
                <a:cubicBezTo>
                  <a:pt x="2718" y="711"/>
                  <a:pt x="2718" y="711"/>
                  <a:pt x="2718" y="711"/>
                </a:cubicBezTo>
                <a:cubicBezTo>
                  <a:pt x="2717" y="710"/>
                  <a:pt x="2717" y="710"/>
                  <a:pt x="2717" y="710"/>
                </a:cubicBezTo>
                <a:cubicBezTo>
                  <a:pt x="2714" y="710"/>
                  <a:pt x="2714" y="710"/>
                  <a:pt x="2714" y="710"/>
                </a:cubicBezTo>
                <a:cubicBezTo>
                  <a:pt x="2714" y="709"/>
                  <a:pt x="2714" y="709"/>
                  <a:pt x="2714" y="709"/>
                </a:cubicBezTo>
                <a:cubicBezTo>
                  <a:pt x="2716" y="707"/>
                  <a:pt x="2716" y="707"/>
                  <a:pt x="2716" y="707"/>
                </a:cubicBezTo>
                <a:cubicBezTo>
                  <a:pt x="2718" y="708"/>
                  <a:pt x="2718" y="708"/>
                  <a:pt x="2718" y="708"/>
                </a:cubicBezTo>
                <a:cubicBezTo>
                  <a:pt x="2719" y="707"/>
                  <a:pt x="2719" y="707"/>
                  <a:pt x="2719" y="707"/>
                </a:cubicBezTo>
                <a:cubicBezTo>
                  <a:pt x="2719" y="706"/>
                  <a:pt x="2719" y="706"/>
                  <a:pt x="2719" y="706"/>
                </a:cubicBezTo>
                <a:cubicBezTo>
                  <a:pt x="2720" y="707"/>
                  <a:pt x="2720" y="707"/>
                  <a:pt x="2720" y="707"/>
                </a:cubicBezTo>
                <a:cubicBezTo>
                  <a:pt x="2720" y="708"/>
                  <a:pt x="2720" y="708"/>
                  <a:pt x="2720" y="708"/>
                </a:cubicBezTo>
                <a:cubicBezTo>
                  <a:pt x="2722" y="707"/>
                  <a:pt x="2722" y="707"/>
                  <a:pt x="2722" y="707"/>
                </a:cubicBezTo>
                <a:cubicBezTo>
                  <a:pt x="2721" y="705"/>
                  <a:pt x="2721" y="705"/>
                  <a:pt x="2721" y="705"/>
                </a:cubicBezTo>
                <a:cubicBezTo>
                  <a:pt x="2721" y="702"/>
                  <a:pt x="2721" y="702"/>
                  <a:pt x="2721" y="702"/>
                </a:cubicBezTo>
                <a:cubicBezTo>
                  <a:pt x="2720" y="702"/>
                  <a:pt x="2720" y="702"/>
                  <a:pt x="2720" y="702"/>
                </a:cubicBezTo>
                <a:cubicBezTo>
                  <a:pt x="2718" y="703"/>
                  <a:pt x="2718" y="703"/>
                  <a:pt x="2718" y="703"/>
                </a:cubicBezTo>
                <a:cubicBezTo>
                  <a:pt x="2719" y="704"/>
                  <a:pt x="2719" y="704"/>
                  <a:pt x="2719" y="704"/>
                </a:cubicBezTo>
                <a:cubicBezTo>
                  <a:pt x="2719" y="704"/>
                  <a:pt x="2719" y="704"/>
                  <a:pt x="2719" y="704"/>
                </a:cubicBezTo>
                <a:cubicBezTo>
                  <a:pt x="2717" y="704"/>
                  <a:pt x="2717" y="704"/>
                  <a:pt x="2717" y="704"/>
                </a:cubicBezTo>
                <a:cubicBezTo>
                  <a:pt x="2714" y="706"/>
                  <a:pt x="2714" y="706"/>
                  <a:pt x="2714" y="706"/>
                </a:cubicBezTo>
                <a:cubicBezTo>
                  <a:pt x="2713" y="706"/>
                  <a:pt x="2713" y="706"/>
                  <a:pt x="2713" y="706"/>
                </a:cubicBezTo>
                <a:cubicBezTo>
                  <a:pt x="2713" y="704"/>
                  <a:pt x="2713" y="704"/>
                  <a:pt x="2713" y="704"/>
                </a:cubicBezTo>
                <a:cubicBezTo>
                  <a:pt x="2715" y="704"/>
                  <a:pt x="2715" y="704"/>
                  <a:pt x="2715" y="704"/>
                </a:cubicBezTo>
                <a:cubicBezTo>
                  <a:pt x="2720" y="699"/>
                  <a:pt x="2720" y="699"/>
                  <a:pt x="2720" y="699"/>
                </a:cubicBezTo>
                <a:cubicBezTo>
                  <a:pt x="2720" y="699"/>
                  <a:pt x="2720" y="699"/>
                  <a:pt x="2720" y="699"/>
                </a:cubicBezTo>
                <a:cubicBezTo>
                  <a:pt x="2718" y="699"/>
                  <a:pt x="2718" y="699"/>
                  <a:pt x="2718" y="699"/>
                </a:cubicBezTo>
                <a:cubicBezTo>
                  <a:pt x="2717" y="698"/>
                  <a:pt x="2717" y="698"/>
                  <a:pt x="2717" y="698"/>
                </a:cubicBezTo>
                <a:cubicBezTo>
                  <a:pt x="2716" y="699"/>
                  <a:pt x="2716" y="699"/>
                  <a:pt x="2716" y="699"/>
                </a:cubicBezTo>
                <a:cubicBezTo>
                  <a:pt x="2713" y="694"/>
                  <a:pt x="2713" y="694"/>
                  <a:pt x="2713" y="694"/>
                </a:cubicBezTo>
                <a:cubicBezTo>
                  <a:pt x="2711" y="694"/>
                  <a:pt x="2711" y="694"/>
                  <a:pt x="2711" y="694"/>
                </a:cubicBezTo>
                <a:cubicBezTo>
                  <a:pt x="2707" y="697"/>
                  <a:pt x="2707" y="697"/>
                  <a:pt x="2707" y="697"/>
                </a:cubicBezTo>
                <a:cubicBezTo>
                  <a:pt x="2706" y="696"/>
                  <a:pt x="2706" y="696"/>
                  <a:pt x="2706" y="696"/>
                </a:cubicBezTo>
                <a:cubicBezTo>
                  <a:pt x="2704" y="693"/>
                  <a:pt x="2704" y="693"/>
                  <a:pt x="2704" y="693"/>
                </a:cubicBezTo>
                <a:cubicBezTo>
                  <a:pt x="2702" y="694"/>
                  <a:pt x="2702" y="694"/>
                  <a:pt x="2702" y="694"/>
                </a:cubicBezTo>
                <a:cubicBezTo>
                  <a:pt x="2700" y="695"/>
                  <a:pt x="2700" y="695"/>
                  <a:pt x="2700" y="695"/>
                </a:cubicBezTo>
                <a:cubicBezTo>
                  <a:pt x="2699" y="697"/>
                  <a:pt x="2699" y="697"/>
                  <a:pt x="2699" y="697"/>
                </a:cubicBezTo>
                <a:cubicBezTo>
                  <a:pt x="2699" y="695"/>
                  <a:pt x="2699" y="695"/>
                  <a:pt x="2699" y="695"/>
                </a:cubicBezTo>
                <a:cubicBezTo>
                  <a:pt x="2702" y="693"/>
                  <a:pt x="2702" y="693"/>
                  <a:pt x="2702" y="693"/>
                </a:cubicBezTo>
                <a:cubicBezTo>
                  <a:pt x="2703" y="693"/>
                  <a:pt x="2703" y="693"/>
                  <a:pt x="2703" y="693"/>
                </a:cubicBezTo>
                <a:cubicBezTo>
                  <a:pt x="2704" y="692"/>
                  <a:pt x="2704" y="692"/>
                  <a:pt x="2704" y="692"/>
                </a:cubicBezTo>
                <a:cubicBezTo>
                  <a:pt x="2707" y="693"/>
                  <a:pt x="2707" y="693"/>
                  <a:pt x="2707" y="693"/>
                </a:cubicBezTo>
                <a:cubicBezTo>
                  <a:pt x="2708" y="692"/>
                  <a:pt x="2708" y="692"/>
                  <a:pt x="2708" y="692"/>
                </a:cubicBezTo>
                <a:cubicBezTo>
                  <a:pt x="2709" y="691"/>
                  <a:pt x="2709" y="691"/>
                  <a:pt x="2709" y="691"/>
                </a:cubicBezTo>
                <a:cubicBezTo>
                  <a:pt x="2710" y="690"/>
                  <a:pt x="2710" y="690"/>
                  <a:pt x="2710" y="690"/>
                </a:cubicBezTo>
                <a:cubicBezTo>
                  <a:pt x="2711" y="690"/>
                  <a:pt x="2711" y="690"/>
                  <a:pt x="2711" y="690"/>
                </a:cubicBezTo>
                <a:cubicBezTo>
                  <a:pt x="2713" y="687"/>
                  <a:pt x="2713" y="687"/>
                  <a:pt x="2713" y="687"/>
                </a:cubicBezTo>
                <a:cubicBezTo>
                  <a:pt x="2716" y="687"/>
                  <a:pt x="2716" y="687"/>
                  <a:pt x="2716" y="687"/>
                </a:cubicBezTo>
                <a:cubicBezTo>
                  <a:pt x="2716" y="685"/>
                  <a:pt x="2716" y="685"/>
                  <a:pt x="2716" y="685"/>
                </a:cubicBezTo>
                <a:cubicBezTo>
                  <a:pt x="2714" y="681"/>
                  <a:pt x="2714" y="681"/>
                  <a:pt x="2714" y="681"/>
                </a:cubicBezTo>
                <a:cubicBezTo>
                  <a:pt x="2708" y="678"/>
                  <a:pt x="2708" y="678"/>
                  <a:pt x="2708" y="678"/>
                </a:cubicBezTo>
                <a:cubicBezTo>
                  <a:pt x="2705" y="676"/>
                  <a:pt x="2705" y="676"/>
                  <a:pt x="2705" y="676"/>
                </a:cubicBezTo>
                <a:cubicBezTo>
                  <a:pt x="2701" y="672"/>
                  <a:pt x="2701" y="672"/>
                  <a:pt x="2701" y="672"/>
                </a:cubicBezTo>
                <a:cubicBezTo>
                  <a:pt x="2699" y="672"/>
                  <a:pt x="2699" y="672"/>
                  <a:pt x="2699" y="672"/>
                </a:cubicBezTo>
                <a:cubicBezTo>
                  <a:pt x="2696" y="674"/>
                  <a:pt x="2696" y="674"/>
                  <a:pt x="2696" y="674"/>
                </a:cubicBezTo>
                <a:cubicBezTo>
                  <a:pt x="2694" y="674"/>
                  <a:pt x="2694" y="674"/>
                  <a:pt x="2694" y="674"/>
                </a:cubicBezTo>
                <a:cubicBezTo>
                  <a:pt x="2691" y="672"/>
                  <a:pt x="2691" y="672"/>
                  <a:pt x="2691" y="672"/>
                </a:cubicBezTo>
                <a:cubicBezTo>
                  <a:pt x="2691" y="671"/>
                  <a:pt x="2691" y="671"/>
                  <a:pt x="2691" y="671"/>
                </a:cubicBezTo>
                <a:cubicBezTo>
                  <a:pt x="2690" y="670"/>
                  <a:pt x="2690" y="670"/>
                  <a:pt x="2690" y="670"/>
                </a:cubicBezTo>
                <a:cubicBezTo>
                  <a:pt x="2688" y="671"/>
                  <a:pt x="2688" y="671"/>
                  <a:pt x="2688" y="671"/>
                </a:cubicBezTo>
                <a:cubicBezTo>
                  <a:pt x="2685" y="671"/>
                  <a:pt x="2685" y="671"/>
                  <a:pt x="2685" y="671"/>
                </a:cubicBezTo>
                <a:cubicBezTo>
                  <a:pt x="2683" y="671"/>
                  <a:pt x="2683" y="671"/>
                  <a:pt x="2683" y="671"/>
                </a:cubicBezTo>
                <a:cubicBezTo>
                  <a:pt x="2680" y="675"/>
                  <a:pt x="2680" y="675"/>
                  <a:pt x="2680" y="675"/>
                </a:cubicBezTo>
                <a:cubicBezTo>
                  <a:pt x="2683" y="670"/>
                  <a:pt x="2683" y="670"/>
                  <a:pt x="2683" y="670"/>
                </a:cubicBezTo>
                <a:cubicBezTo>
                  <a:pt x="2685" y="669"/>
                  <a:pt x="2685" y="669"/>
                  <a:pt x="2685" y="669"/>
                </a:cubicBezTo>
                <a:cubicBezTo>
                  <a:pt x="2686" y="670"/>
                  <a:pt x="2686" y="670"/>
                  <a:pt x="2686" y="670"/>
                </a:cubicBezTo>
                <a:cubicBezTo>
                  <a:pt x="2687" y="670"/>
                  <a:pt x="2687" y="670"/>
                  <a:pt x="2687" y="670"/>
                </a:cubicBezTo>
                <a:cubicBezTo>
                  <a:pt x="2688" y="669"/>
                  <a:pt x="2688" y="669"/>
                  <a:pt x="2688" y="669"/>
                </a:cubicBezTo>
                <a:cubicBezTo>
                  <a:pt x="2689" y="670"/>
                  <a:pt x="2689" y="670"/>
                  <a:pt x="2689" y="670"/>
                </a:cubicBezTo>
                <a:cubicBezTo>
                  <a:pt x="2692" y="669"/>
                  <a:pt x="2692" y="669"/>
                  <a:pt x="2692" y="669"/>
                </a:cubicBezTo>
                <a:cubicBezTo>
                  <a:pt x="2693" y="672"/>
                  <a:pt x="2693" y="672"/>
                  <a:pt x="2693" y="672"/>
                </a:cubicBezTo>
                <a:cubicBezTo>
                  <a:pt x="2694" y="673"/>
                  <a:pt x="2694" y="673"/>
                  <a:pt x="2694" y="673"/>
                </a:cubicBezTo>
                <a:cubicBezTo>
                  <a:pt x="2696" y="673"/>
                  <a:pt x="2696" y="673"/>
                  <a:pt x="2696" y="673"/>
                </a:cubicBezTo>
                <a:cubicBezTo>
                  <a:pt x="2698" y="671"/>
                  <a:pt x="2698" y="671"/>
                  <a:pt x="2698" y="671"/>
                </a:cubicBezTo>
                <a:cubicBezTo>
                  <a:pt x="2701" y="672"/>
                  <a:pt x="2701" y="672"/>
                  <a:pt x="2701" y="672"/>
                </a:cubicBezTo>
                <a:cubicBezTo>
                  <a:pt x="2703" y="673"/>
                  <a:pt x="2703" y="673"/>
                  <a:pt x="2703" y="673"/>
                </a:cubicBezTo>
                <a:cubicBezTo>
                  <a:pt x="2705" y="673"/>
                  <a:pt x="2705" y="673"/>
                  <a:pt x="2705" y="673"/>
                </a:cubicBezTo>
                <a:cubicBezTo>
                  <a:pt x="2707" y="675"/>
                  <a:pt x="2707" y="675"/>
                  <a:pt x="2707" y="675"/>
                </a:cubicBezTo>
                <a:cubicBezTo>
                  <a:pt x="2710" y="674"/>
                  <a:pt x="2710" y="674"/>
                  <a:pt x="2710" y="674"/>
                </a:cubicBezTo>
                <a:cubicBezTo>
                  <a:pt x="2714" y="675"/>
                  <a:pt x="2714" y="675"/>
                  <a:pt x="2714" y="675"/>
                </a:cubicBezTo>
                <a:cubicBezTo>
                  <a:pt x="2715" y="674"/>
                  <a:pt x="2715" y="674"/>
                  <a:pt x="2715" y="674"/>
                </a:cubicBezTo>
                <a:cubicBezTo>
                  <a:pt x="2713" y="671"/>
                  <a:pt x="2713" y="671"/>
                  <a:pt x="2713" y="671"/>
                </a:cubicBezTo>
                <a:cubicBezTo>
                  <a:pt x="2712" y="671"/>
                  <a:pt x="2712" y="671"/>
                  <a:pt x="2712" y="671"/>
                </a:cubicBezTo>
                <a:cubicBezTo>
                  <a:pt x="2710" y="668"/>
                  <a:pt x="2710" y="668"/>
                  <a:pt x="2710" y="668"/>
                </a:cubicBezTo>
                <a:cubicBezTo>
                  <a:pt x="2710" y="667"/>
                  <a:pt x="2710" y="667"/>
                  <a:pt x="2710" y="667"/>
                </a:cubicBezTo>
                <a:cubicBezTo>
                  <a:pt x="2709" y="666"/>
                  <a:pt x="2709" y="666"/>
                  <a:pt x="2709" y="666"/>
                </a:cubicBezTo>
                <a:cubicBezTo>
                  <a:pt x="2707" y="667"/>
                  <a:pt x="2707" y="667"/>
                  <a:pt x="2707" y="667"/>
                </a:cubicBezTo>
                <a:cubicBezTo>
                  <a:pt x="2705" y="666"/>
                  <a:pt x="2705" y="666"/>
                  <a:pt x="2705" y="666"/>
                </a:cubicBezTo>
                <a:cubicBezTo>
                  <a:pt x="2702" y="662"/>
                  <a:pt x="2702" y="662"/>
                  <a:pt x="2702" y="662"/>
                </a:cubicBezTo>
                <a:cubicBezTo>
                  <a:pt x="2702" y="659"/>
                  <a:pt x="2702" y="659"/>
                  <a:pt x="2702" y="659"/>
                </a:cubicBezTo>
                <a:cubicBezTo>
                  <a:pt x="2698" y="656"/>
                  <a:pt x="2698" y="656"/>
                  <a:pt x="2698" y="656"/>
                </a:cubicBezTo>
                <a:cubicBezTo>
                  <a:pt x="2698" y="653"/>
                  <a:pt x="2698" y="653"/>
                  <a:pt x="2698" y="653"/>
                </a:cubicBezTo>
                <a:cubicBezTo>
                  <a:pt x="2696" y="652"/>
                  <a:pt x="2696" y="652"/>
                  <a:pt x="2696" y="652"/>
                </a:cubicBezTo>
                <a:cubicBezTo>
                  <a:pt x="2697" y="650"/>
                  <a:pt x="2697" y="650"/>
                  <a:pt x="2697" y="650"/>
                </a:cubicBezTo>
                <a:cubicBezTo>
                  <a:pt x="2696" y="650"/>
                  <a:pt x="2696" y="650"/>
                  <a:pt x="2696" y="650"/>
                </a:cubicBezTo>
                <a:cubicBezTo>
                  <a:pt x="2693" y="644"/>
                  <a:pt x="2693" y="644"/>
                  <a:pt x="2693" y="644"/>
                </a:cubicBezTo>
                <a:cubicBezTo>
                  <a:pt x="2687" y="641"/>
                  <a:pt x="2687" y="641"/>
                  <a:pt x="2687" y="641"/>
                </a:cubicBezTo>
                <a:cubicBezTo>
                  <a:pt x="2686" y="642"/>
                  <a:pt x="2686" y="642"/>
                  <a:pt x="2686" y="642"/>
                </a:cubicBezTo>
                <a:cubicBezTo>
                  <a:pt x="2686" y="640"/>
                  <a:pt x="2686" y="640"/>
                  <a:pt x="2686" y="640"/>
                </a:cubicBezTo>
                <a:cubicBezTo>
                  <a:pt x="2681" y="638"/>
                  <a:pt x="2681" y="638"/>
                  <a:pt x="2681" y="638"/>
                </a:cubicBezTo>
                <a:cubicBezTo>
                  <a:pt x="2680" y="638"/>
                  <a:pt x="2680" y="638"/>
                  <a:pt x="2680" y="638"/>
                </a:cubicBezTo>
                <a:cubicBezTo>
                  <a:pt x="2680" y="633"/>
                  <a:pt x="2680" y="633"/>
                  <a:pt x="2680" y="633"/>
                </a:cubicBezTo>
                <a:cubicBezTo>
                  <a:pt x="2681" y="629"/>
                  <a:pt x="2681" y="629"/>
                  <a:pt x="2681" y="629"/>
                </a:cubicBezTo>
                <a:cubicBezTo>
                  <a:pt x="2680" y="627"/>
                  <a:pt x="2680" y="627"/>
                  <a:pt x="2680" y="627"/>
                </a:cubicBezTo>
                <a:cubicBezTo>
                  <a:pt x="2681" y="624"/>
                  <a:pt x="2681" y="624"/>
                  <a:pt x="2681" y="624"/>
                </a:cubicBezTo>
                <a:cubicBezTo>
                  <a:pt x="2681" y="625"/>
                  <a:pt x="2681" y="625"/>
                  <a:pt x="2681" y="625"/>
                </a:cubicBezTo>
                <a:cubicBezTo>
                  <a:pt x="2683" y="624"/>
                  <a:pt x="2683" y="624"/>
                  <a:pt x="2683" y="624"/>
                </a:cubicBezTo>
                <a:cubicBezTo>
                  <a:pt x="2684" y="621"/>
                  <a:pt x="2684" y="621"/>
                  <a:pt x="2684" y="621"/>
                </a:cubicBezTo>
                <a:cubicBezTo>
                  <a:pt x="2685" y="622"/>
                  <a:pt x="2685" y="622"/>
                  <a:pt x="2685" y="622"/>
                </a:cubicBezTo>
                <a:cubicBezTo>
                  <a:pt x="2687" y="620"/>
                  <a:pt x="2687" y="620"/>
                  <a:pt x="2687" y="620"/>
                </a:cubicBezTo>
                <a:cubicBezTo>
                  <a:pt x="2685" y="618"/>
                  <a:pt x="2685" y="618"/>
                  <a:pt x="2685" y="618"/>
                </a:cubicBezTo>
                <a:cubicBezTo>
                  <a:pt x="2684" y="617"/>
                  <a:pt x="2684" y="617"/>
                  <a:pt x="2684" y="617"/>
                </a:cubicBezTo>
                <a:cubicBezTo>
                  <a:pt x="2686" y="615"/>
                  <a:pt x="2686" y="615"/>
                  <a:pt x="2686" y="615"/>
                </a:cubicBezTo>
                <a:cubicBezTo>
                  <a:pt x="2689" y="616"/>
                  <a:pt x="2689" y="616"/>
                  <a:pt x="2689" y="616"/>
                </a:cubicBezTo>
                <a:cubicBezTo>
                  <a:pt x="2689" y="613"/>
                  <a:pt x="2689" y="613"/>
                  <a:pt x="2689" y="613"/>
                </a:cubicBezTo>
                <a:cubicBezTo>
                  <a:pt x="2692" y="613"/>
                  <a:pt x="2692" y="613"/>
                  <a:pt x="2692" y="613"/>
                </a:cubicBezTo>
                <a:cubicBezTo>
                  <a:pt x="2692" y="611"/>
                  <a:pt x="2692" y="611"/>
                  <a:pt x="2692" y="611"/>
                </a:cubicBezTo>
                <a:cubicBezTo>
                  <a:pt x="2689" y="610"/>
                  <a:pt x="2689" y="610"/>
                  <a:pt x="2689" y="610"/>
                </a:cubicBezTo>
                <a:cubicBezTo>
                  <a:pt x="2692" y="610"/>
                  <a:pt x="2692" y="610"/>
                  <a:pt x="2692" y="610"/>
                </a:cubicBezTo>
                <a:cubicBezTo>
                  <a:pt x="2693" y="611"/>
                  <a:pt x="2693" y="611"/>
                  <a:pt x="2693" y="611"/>
                </a:cubicBezTo>
                <a:cubicBezTo>
                  <a:pt x="2694" y="610"/>
                  <a:pt x="2694" y="610"/>
                  <a:pt x="2694" y="610"/>
                </a:cubicBezTo>
                <a:cubicBezTo>
                  <a:pt x="2696" y="610"/>
                  <a:pt x="2696" y="610"/>
                  <a:pt x="2696" y="610"/>
                </a:cubicBezTo>
                <a:cubicBezTo>
                  <a:pt x="2697" y="608"/>
                  <a:pt x="2697" y="608"/>
                  <a:pt x="2697" y="608"/>
                </a:cubicBezTo>
                <a:cubicBezTo>
                  <a:pt x="2699" y="608"/>
                  <a:pt x="2699" y="608"/>
                  <a:pt x="2699" y="608"/>
                </a:cubicBezTo>
                <a:cubicBezTo>
                  <a:pt x="2701" y="605"/>
                  <a:pt x="2701" y="605"/>
                  <a:pt x="2701" y="605"/>
                </a:cubicBezTo>
                <a:cubicBezTo>
                  <a:pt x="2702" y="607"/>
                  <a:pt x="2702" y="607"/>
                  <a:pt x="2702" y="607"/>
                </a:cubicBezTo>
                <a:cubicBezTo>
                  <a:pt x="2702" y="605"/>
                  <a:pt x="2702" y="605"/>
                  <a:pt x="2702" y="605"/>
                </a:cubicBezTo>
                <a:cubicBezTo>
                  <a:pt x="2703" y="607"/>
                  <a:pt x="2703" y="607"/>
                  <a:pt x="2703" y="607"/>
                </a:cubicBezTo>
                <a:cubicBezTo>
                  <a:pt x="2705" y="608"/>
                  <a:pt x="2705" y="608"/>
                  <a:pt x="2705" y="608"/>
                </a:cubicBezTo>
                <a:cubicBezTo>
                  <a:pt x="2708" y="606"/>
                  <a:pt x="2708" y="606"/>
                  <a:pt x="2708" y="606"/>
                </a:cubicBezTo>
                <a:cubicBezTo>
                  <a:pt x="2708" y="605"/>
                  <a:pt x="2708" y="605"/>
                  <a:pt x="2708" y="605"/>
                </a:cubicBezTo>
                <a:cubicBezTo>
                  <a:pt x="2706" y="605"/>
                  <a:pt x="2706" y="605"/>
                  <a:pt x="2706" y="605"/>
                </a:cubicBezTo>
                <a:cubicBezTo>
                  <a:pt x="2706" y="603"/>
                  <a:pt x="2706" y="603"/>
                  <a:pt x="2706" y="603"/>
                </a:cubicBezTo>
                <a:cubicBezTo>
                  <a:pt x="2707" y="602"/>
                  <a:pt x="2707" y="602"/>
                  <a:pt x="2707" y="602"/>
                </a:cubicBezTo>
                <a:cubicBezTo>
                  <a:pt x="2708" y="602"/>
                  <a:pt x="2708" y="602"/>
                  <a:pt x="2708" y="602"/>
                </a:cubicBezTo>
                <a:cubicBezTo>
                  <a:pt x="2707" y="600"/>
                  <a:pt x="2707" y="600"/>
                  <a:pt x="2707" y="600"/>
                </a:cubicBezTo>
                <a:cubicBezTo>
                  <a:pt x="2707" y="599"/>
                  <a:pt x="2707" y="599"/>
                  <a:pt x="2707" y="599"/>
                </a:cubicBezTo>
                <a:cubicBezTo>
                  <a:pt x="2709" y="598"/>
                  <a:pt x="2709" y="598"/>
                  <a:pt x="2709" y="598"/>
                </a:cubicBezTo>
                <a:cubicBezTo>
                  <a:pt x="2708" y="597"/>
                  <a:pt x="2708" y="597"/>
                  <a:pt x="2708" y="597"/>
                </a:cubicBezTo>
                <a:cubicBezTo>
                  <a:pt x="2705" y="598"/>
                  <a:pt x="2705" y="598"/>
                  <a:pt x="2705" y="598"/>
                </a:cubicBezTo>
                <a:cubicBezTo>
                  <a:pt x="2702" y="598"/>
                  <a:pt x="2702" y="598"/>
                  <a:pt x="2702" y="598"/>
                </a:cubicBezTo>
                <a:cubicBezTo>
                  <a:pt x="2703" y="597"/>
                  <a:pt x="2703" y="597"/>
                  <a:pt x="2703" y="597"/>
                </a:cubicBezTo>
                <a:cubicBezTo>
                  <a:pt x="2700" y="597"/>
                  <a:pt x="2700" y="597"/>
                  <a:pt x="2700" y="597"/>
                </a:cubicBezTo>
                <a:cubicBezTo>
                  <a:pt x="2699" y="598"/>
                  <a:pt x="2699" y="598"/>
                  <a:pt x="2699" y="598"/>
                </a:cubicBezTo>
                <a:cubicBezTo>
                  <a:pt x="2693" y="598"/>
                  <a:pt x="2693" y="598"/>
                  <a:pt x="2693" y="598"/>
                </a:cubicBezTo>
                <a:cubicBezTo>
                  <a:pt x="2692" y="597"/>
                  <a:pt x="2692" y="597"/>
                  <a:pt x="2692" y="597"/>
                </a:cubicBezTo>
                <a:cubicBezTo>
                  <a:pt x="2691" y="596"/>
                  <a:pt x="2691" y="596"/>
                  <a:pt x="2691" y="596"/>
                </a:cubicBezTo>
                <a:cubicBezTo>
                  <a:pt x="2689" y="595"/>
                  <a:pt x="2689" y="595"/>
                  <a:pt x="2689" y="595"/>
                </a:cubicBezTo>
                <a:cubicBezTo>
                  <a:pt x="2688" y="594"/>
                  <a:pt x="2688" y="594"/>
                  <a:pt x="2688" y="594"/>
                </a:cubicBezTo>
                <a:cubicBezTo>
                  <a:pt x="2688" y="593"/>
                  <a:pt x="2688" y="593"/>
                  <a:pt x="2688" y="593"/>
                </a:cubicBezTo>
                <a:cubicBezTo>
                  <a:pt x="2683" y="596"/>
                  <a:pt x="2683" y="596"/>
                  <a:pt x="2683" y="596"/>
                </a:cubicBezTo>
                <a:cubicBezTo>
                  <a:pt x="2681" y="596"/>
                  <a:pt x="2681" y="596"/>
                  <a:pt x="2681" y="596"/>
                </a:cubicBezTo>
                <a:cubicBezTo>
                  <a:pt x="2681" y="596"/>
                  <a:pt x="2681" y="596"/>
                  <a:pt x="2681" y="596"/>
                </a:cubicBezTo>
                <a:cubicBezTo>
                  <a:pt x="2681" y="598"/>
                  <a:pt x="2681" y="598"/>
                  <a:pt x="2681" y="598"/>
                </a:cubicBezTo>
                <a:cubicBezTo>
                  <a:pt x="2680" y="599"/>
                  <a:pt x="2680" y="599"/>
                  <a:pt x="2680" y="599"/>
                </a:cubicBezTo>
                <a:cubicBezTo>
                  <a:pt x="2677" y="600"/>
                  <a:pt x="2677" y="600"/>
                  <a:pt x="2677" y="600"/>
                </a:cubicBezTo>
                <a:cubicBezTo>
                  <a:pt x="2678" y="601"/>
                  <a:pt x="2678" y="601"/>
                  <a:pt x="2678" y="601"/>
                </a:cubicBezTo>
                <a:cubicBezTo>
                  <a:pt x="2679" y="602"/>
                  <a:pt x="2679" y="602"/>
                  <a:pt x="2679" y="602"/>
                </a:cubicBezTo>
                <a:cubicBezTo>
                  <a:pt x="2678" y="604"/>
                  <a:pt x="2678" y="604"/>
                  <a:pt x="2678" y="604"/>
                </a:cubicBezTo>
                <a:cubicBezTo>
                  <a:pt x="2677" y="605"/>
                  <a:pt x="2677" y="605"/>
                  <a:pt x="2677" y="605"/>
                </a:cubicBezTo>
                <a:cubicBezTo>
                  <a:pt x="2675" y="604"/>
                  <a:pt x="2675" y="604"/>
                  <a:pt x="2675" y="604"/>
                </a:cubicBezTo>
                <a:cubicBezTo>
                  <a:pt x="2673" y="605"/>
                  <a:pt x="2673" y="605"/>
                  <a:pt x="2673" y="605"/>
                </a:cubicBezTo>
                <a:cubicBezTo>
                  <a:pt x="2670" y="605"/>
                  <a:pt x="2670" y="605"/>
                  <a:pt x="2670" y="605"/>
                </a:cubicBezTo>
                <a:cubicBezTo>
                  <a:pt x="2667" y="600"/>
                  <a:pt x="2667" y="600"/>
                  <a:pt x="2667" y="600"/>
                </a:cubicBezTo>
                <a:cubicBezTo>
                  <a:pt x="2667" y="597"/>
                  <a:pt x="2667" y="597"/>
                  <a:pt x="2667" y="597"/>
                </a:cubicBezTo>
                <a:cubicBezTo>
                  <a:pt x="2667" y="595"/>
                  <a:pt x="2667" y="595"/>
                  <a:pt x="2667" y="595"/>
                </a:cubicBezTo>
                <a:cubicBezTo>
                  <a:pt x="2664" y="595"/>
                  <a:pt x="2664" y="595"/>
                  <a:pt x="2664" y="595"/>
                </a:cubicBezTo>
                <a:cubicBezTo>
                  <a:pt x="2663" y="596"/>
                  <a:pt x="2663" y="596"/>
                  <a:pt x="2663" y="596"/>
                </a:cubicBezTo>
                <a:cubicBezTo>
                  <a:pt x="2663" y="595"/>
                  <a:pt x="2663" y="595"/>
                  <a:pt x="2663" y="595"/>
                </a:cubicBezTo>
                <a:cubicBezTo>
                  <a:pt x="2662" y="595"/>
                  <a:pt x="2662" y="595"/>
                  <a:pt x="2662" y="595"/>
                </a:cubicBezTo>
                <a:cubicBezTo>
                  <a:pt x="2661" y="596"/>
                  <a:pt x="2661" y="596"/>
                  <a:pt x="2661" y="596"/>
                </a:cubicBezTo>
                <a:cubicBezTo>
                  <a:pt x="2660" y="595"/>
                  <a:pt x="2660" y="595"/>
                  <a:pt x="2660" y="595"/>
                </a:cubicBezTo>
                <a:cubicBezTo>
                  <a:pt x="2660" y="596"/>
                  <a:pt x="2660" y="596"/>
                  <a:pt x="2660" y="596"/>
                </a:cubicBezTo>
                <a:cubicBezTo>
                  <a:pt x="2659" y="593"/>
                  <a:pt x="2659" y="593"/>
                  <a:pt x="2659" y="593"/>
                </a:cubicBezTo>
                <a:cubicBezTo>
                  <a:pt x="2658" y="592"/>
                  <a:pt x="2658" y="592"/>
                  <a:pt x="2658" y="592"/>
                </a:cubicBezTo>
                <a:cubicBezTo>
                  <a:pt x="2655" y="590"/>
                  <a:pt x="2655" y="590"/>
                  <a:pt x="2655" y="590"/>
                </a:cubicBezTo>
                <a:cubicBezTo>
                  <a:pt x="2653" y="588"/>
                  <a:pt x="2653" y="588"/>
                  <a:pt x="2653" y="588"/>
                </a:cubicBezTo>
                <a:cubicBezTo>
                  <a:pt x="2653" y="586"/>
                  <a:pt x="2653" y="586"/>
                  <a:pt x="2653" y="586"/>
                </a:cubicBezTo>
                <a:cubicBezTo>
                  <a:pt x="2652" y="584"/>
                  <a:pt x="2652" y="584"/>
                  <a:pt x="2652" y="584"/>
                </a:cubicBezTo>
                <a:cubicBezTo>
                  <a:pt x="2652" y="583"/>
                  <a:pt x="2652" y="583"/>
                  <a:pt x="2652" y="583"/>
                </a:cubicBezTo>
                <a:cubicBezTo>
                  <a:pt x="2652" y="582"/>
                  <a:pt x="2652" y="582"/>
                  <a:pt x="2652" y="582"/>
                </a:cubicBezTo>
                <a:cubicBezTo>
                  <a:pt x="2653" y="581"/>
                  <a:pt x="2653" y="581"/>
                  <a:pt x="2653" y="581"/>
                </a:cubicBezTo>
                <a:cubicBezTo>
                  <a:pt x="2653" y="579"/>
                  <a:pt x="2653" y="579"/>
                  <a:pt x="2653" y="579"/>
                </a:cubicBezTo>
                <a:cubicBezTo>
                  <a:pt x="2654" y="578"/>
                  <a:pt x="2654" y="578"/>
                  <a:pt x="2654" y="578"/>
                </a:cubicBezTo>
                <a:cubicBezTo>
                  <a:pt x="2654" y="577"/>
                  <a:pt x="2654" y="577"/>
                  <a:pt x="2654" y="577"/>
                </a:cubicBezTo>
                <a:cubicBezTo>
                  <a:pt x="2658" y="578"/>
                  <a:pt x="2658" y="578"/>
                  <a:pt x="2658" y="578"/>
                </a:cubicBezTo>
                <a:cubicBezTo>
                  <a:pt x="2661" y="578"/>
                  <a:pt x="2661" y="578"/>
                  <a:pt x="2661" y="578"/>
                </a:cubicBezTo>
                <a:cubicBezTo>
                  <a:pt x="2664" y="578"/>
                  <a:pt x="2664" y="578"/>
                  <a:pt x="2664" y="578"/>
                </a:cubicBezTo>
                <a:cubicBezTo>
                  <a:pt x="2665" y="576"/>
                  <a:pt x="2665" y="576"/>
                  <a:pt x="2665" y="576"/>
                </a:cubicBezTo>
                <a:cubicBezTo>
                  <a:pt x="2664" y="575"/>
                  <a:pt x="2664" y="575"/>
                  <a:pt x="2664" y="575"/>
                </a:cubicBezTo>
                <a:cubicBezTo>
                  <a:pt x="2666" y="575"/>
                  <a:pt x="2666" y="575"/>
                  <a:pt x="2666" y="575"/>
                </a:cubicBezTo>
                <a:cubicBezTo>
                  <a:pt x="2666" y="572"/>
                  <a:pt x="2666" y="572"/>
                  <a:pt x="2666" y="572"/>
                </a:cubicBezTo>
                <a:cubicBezTo>
                  <a:pt x="2665" y="572"/>
                  <a:pt x="2665" y="572"/>
                  <a:pt x="2665" y="572"/>
                </a:cubicBezTo>
                <a:cubicBezTo>
                  <a:pt x="2666" y="571"/>
                  <a:pt x="2666" y="571"/>
                  <a:pt x="2666" y="571"/>
                </a:cubicBezTo>
                <a:cubicBezTo>
                  <a:pt x="2667" y="566"/>
                  <a:pt x="2667" y="566"/>
                  <a:pt x="2667" y="566"/>
                </a:cubicBezTo>
                <a:cubicBezTo>
                  <a:pt x="2670" y="564"/>
                  <a:pt x="2670" y="564"/>
                  <a:pt x="2670" y="564"/>
                </a:cubicBezTo>
                <a:cubicBezTo>
                  <a:pt x="2672" y="563"/>
                  <a:pt x="2672" y="563"/>
                  <a:pt x="2672" y="563"/>
                </a:cubicBezTo>
                <a:cubicBezTo>
                  <a:pt x="2674" y="561"/>
                  <a:pt x="2674" y="561"/>
                  <a:pt x="2674" y="561"/>
                </a:cubicBezTo>
                <a:cubicBezTo>
                  <a:pt x="2675" y="560"/>
                  <a:pt x="2675" y="560"/>
                  <a:pt x="2675" y="560"/>
                </a:cubicBezTo>
                <a:cubicBezTo>
                  <a:pt x="2675" y="557"/>
                  <a:pt x="2675" y="557"/>
                  <a:pt x="2675" y="557"/>
                </a:cubicBezTo>
                <a:cubicBezTo>
                  <a:pt x="2677" y="554"/>
                  <a:pt x="2677" y="554"/>
                  <a:pt x="2677" y="554"/>
                </a:cubicBezTo>
                <a:cubicBezTo>
                  <a:pt x="2678" y="552"/>
                  <a:pt x="2678" y="552"/>
                  <a:pt x="2678" y="552"/>
                </a:cubicBezTo>
                <a:cubicBezTo>
                  <a:pt x="2679" y="551"/>
                  <a:pt x="2679" y="551"/>
                  <a:pt x="2679" y="551"/>
                </a:cubicBezTo>
                <a:cubicBezTo>
                  <a:pt x="2680" y="549"/>
                  <a:pt x="2680" y="549"/>
                  <a:pt x="2680" y="549"/>
                </a:cubicBezTo>
                <a:cubicBezTo>
                  <a:pt x="2682" y="549"/>
                  <a:pt x="2682" y="549"/>
                  <a:pt x="2682" y="549"/>
                </a:cubicBezTo>
                <a:cubicBezTo>
                  <a:pt x="2683" y="550"/>
                  <a:pt x="2683" y="550"/>
                  <a:pt x="2683" y="550"/>
                </a:cubicBezTo>
                <a:cubicBezTo>
                  <a:pt x="2685" y="550"/>
                  <a:pt x="2685" y="550"/>
                  <a:pt x="2685" y="550"/>
                </a:cubicBezTo>
                <a:cubicBezTo>
                  <a:pt x="2686" y="548"/>
                  <a:pt x="2686" y="548"/>
                  <a:pt x="2686" y="548"/>
                </a:cubicBezTo>
                <a:cubicBezTo>
                  <a:pt x="2689" y="552"/>
                  <a:pt x="2689" y="552"/>
                  <a:pt x="2689" y="552"/>
                </a:cubicBezTo>
                <a:cubicBezTo>
                  <a:pt x="2693" y="554"/>
                  <a:pt x="2693" y="554"/>
                  <a:pt x="2693" y="554"/>
                </a:cubicBezTo>
                <a:cubicBezTo>
                  <a:pt x="2694" y="556"/>
                  <a:pt x="2694" y="556"/>
                  <a:pt x="2694" y="556"/>
                </a:cubicBezTo>
                <a:cubicBezTo>
                  <a:pt x="2692" y="557"/>
                  <a:pt x="2692" y="557"/>
                  <a:pt x="2692" y="557"/>
                </a:cubicBezTo>
                <a:cubicBezTo>
                  <a:pt x="2692" y="558"/>
                  <a:pt x="2692" y="558"/>
                  <a:pt x="2692" y="558"/>
                </a:cubicBezTo>
                <a:cubicBezTo>
                  <a:pt x="2690" y="561"/>
                  <a:pt x="2690" y="561"/>
                  <a:pt x="2690" y="561"/>
                </a:cubicBezTo>
                <a:cubicBezTo>
                  <a:pt x="2689" y="563"/>
                  <a:pt x="2689" y="563"/>
                  <a:pt x="2689" y="563"/>
                </a:cubicBezTo>
                <a:cubicBezTo>
                  <a:pt x="2688" y="563"/>
                  <a:pt x="2688" y="563"/>
                  <a:pt x="2688" y="563"/>
                </a:cubicBezTo>
                <a:cubicBezTo>
                  <a:pt x="2688" y="564"/>
                  <a:pt x="2688" y="564"/>
                  <a:pt x="2688" y="564"/>
                </a:cubicBezTo>
                <a:cubicBezTo>
                  <a:pt x="2687" y="567"/>
                  <a:pt x="2687" y="567"/>
                  <a:pt x="2687" y="567"/>
                </a:cubicBezTo>
                <a:cubicBezTo>
                  <a:pt x="2690" y="569"/>
                  <a:pt x="2690" y="569"/>
                  <a:pt x="2690" y="569"/>
                </a:cubicBezTo>
                <a:cubicBezTo>
                  <a:pt x="2689" y="570"/>
                  <a:pt x="2689" y="570"/>
                  <a:pt x="2689" y="570"/>
                </a:cubicBezTo>
                <a:cubicBezTo>
                  <a:pt x="2689" y="571"/>
                  <a:pt x="2689" y="571"/>
                  <a:pt x="2689" y="571"/>
                </a:cubicBezTo>
                <a:cubicBezTo>
                  <a:pt x="2689" y="572"/>
                  <a:pt x="2689" y="572"/>
                  <a:pt x="2689" y="572"/>
                </a:cubicBezTo>
                <a:cubicBezTo>
                  <a:pt x="2689" y="573"/>
                  <a:pt x="2689" y="573"/>
                  <a:pt x="2689" y="573"/>
                </a:cubicBezTo>
                <a:cubicBezTo>
                  <a:pt x="2692" y="572"/>
                  <a:pt x="2692" y="572"/>
                  <a:pt x="2692" y="572"/>
                </a:cubicBezTo>
                <a:cubicBezTo>
                  <a:pt x="2694" y="570"/>
                  <a:pt x="2694" y="570"/>
                  <a:pt x="2694" y="570"/>
                </a:cubicBezTo>
                <a:cubicBezTo>
                  <a:pt x="2693" y="572"/>
                  <a:pt x="2693" y="572"/>
                  <a:pt x="2693" y="572"/>
                </a:cubicBezTo>
                <a:cubicBezTo>
                  <a:pt x="2691" y="573"/>
                  <a:pt x="2691" y="573"/>
                  <a:pt x="2691" y="573"/>
                </a:cubicBezTo>
                <a:cubicBezTo>
                  <a:pt x="2691" y="574"/>
                  <a:pt x="2691" y="574"/>
                  <a:pt x="2691" y="574"/>
                </a:cubicBezTo>
                <a:cubicBezTo>
                  <a:pt x="2693" y="575"/>
                  <a:pt x="2693" y="575"/>
                  <a:pt x="2693" y="575"/>
                </a:cubicBezTo>
                <a:cubicBezTo>
                  <a:pt x="2692" y="576"/>
                  <a:pt x="2692" y="576"/>
                  <a:pt x="2692" y="576"/>
                </a:cubicBezTo>
                <a:cubicBezTo>
                  <a:pt x="2692" y="576"/>
                  <a:pt x="2692" y="576"/>
                  <a:pt x="2692" y="576"/>
                </a:cubicBezTo>
                <a:cubicBezTo>
                  <a:pt x="2689" y="576"/>
                  <a:pt x="2689" y="576"/>
                  <a:pt x="2689" y="576"/>
                </a:cubicBezTo>
                <a:cubicBezTo>
                  <a:pt x="2688" y="578"/>
                  <a:pt x="2688" y="578"/>
                  <a:pt x="2688" y="578"/>
                </a:cubicBezTo>
                <a:cubicBezTo>
                  <a:pt x="2687" y="578"/>
                  <a:pt x="2687" y="578"/>
                  <a:pt x="2687" y="578"/>
                </a:cubicBezTo>
                <a:cubicBezTo>
                  <a:pt x="2686" y="579"/>
                  <a:pt x="2686" y="579"/>
                  <a:pt x="2686" y="579"/>
                </a:cubicBezTo>
                <a:cubicBezTo>
                  <a:pt x="2687" y="580"/>
                  <a:pt x="2687" y="580"/>
                  <a:pt x="2687" y="580"/>
                </a:cubicBezTo>
                <a:cubicBezTo>
                  <a:pt x="2688" y="582"/>
                  <a:pt x="2688" y="582"/>
                  <a:pt x="2688" y="582"/>
                </a:cubicBezTo>
                <a:cubicBezTo>
                  <a:pt x="2689" y="582"/>
                  <a:pt x="2689" y="582"/>
                  <a:pt x="2689" y="582"/>
                </a:cubicBezTo>
                <a:cubicBezTo>
                  <a:pt x="2690" y="580"/>
                  <a:pt x="2690" y="580"/>
                  <a:pt x="2690" y="580"/>
                </a:cubicBezTo>
                <a:cubicBezTo>
                  <a:pt x="2691" y="580"/>
                  <a:pt x="2691" y="580"/>
                  <a:pt x="2691" y="580"/>
                </a:cubicBezTo>
                <a:cubicBezTo>
                  <a:pt x="2693" y="578"/>
                  <a:pt x="2693" y="578"/>
                  <a:pt x="2693" y="578"/>
                </a:cubicBezTo>
                <a:cubicBezTo>
                  <a:pt x="2696" y="576"/>
                  <a:pt x="2696" y="576"/>
                  <a:pt x="2696" y="576"/>
                </a:cubicBezTo>
                <a:cubicBezTo>
                  <a:pt x="2696" y="576"/>
                  <a:pt x="2696" y="576"/>
                  <a:pt x="2696" y="576"/>
                </a:cubicBezTo>
                <a:cubicBezTo>
                  <a:pt x="2695" y="574"/>
                  <a:pt x="2695" y="574"/>
                  <a:pt x="2695" y="574"/>
                </a:cubicBezTo>
                <a:cubicBezTo>
                  <a:pt x="2698" y="572"/>
                  <a:pt x="2698" y="572"/>
                  <a:pt x="2698" y="572"/>
                </a:cubicBezTo>
                <a:cubicBezTo>
                  <a:pt x="2702" y="568"/>
                  <a:pt x="2702" y="568"/>
                  <a:pt x="2702" y="568"/>
                </a:cubicBezTo>
                <a:cubicBezTo>
                  <a:pt x="2703" y="569"/>
                  <a:pt x="2703" y="569"/>
                  <a:pt x="2703" y="569"/>
                </a:cubicBezTo>
                <a:cubicBezTo>
                  <a:pt x="2704" y="566"/>
                  <a:pt x="2704" y="566"/>
                  <a:pt x="2704" y="566"/>
                </a:cubicBezTo>
                <a:cubicBezTo>
                  <a:pt x="2706" y="566"/>
                  <a:pt x="2706" y="566"/>
                  <a:pt x="2706" y="566"/>
                </a:cubicBezTo>
                <a:cubicBezTo>
                  <a:pt x="2709" y="565"/>
                  <a:pt x="2709" y="565"/>
                  <a:pt x="2709" y="565"/>
                </a:cubicBezTo>
                <a:cubicBezTo>
                  <a:pt x="2710" y="565"/>
                  <a:pt x="2710" y="565"/>
                  <a:pt x="2710" y="565"/>
                </a:cubicBezTo>
                <a:cubicBezTo>
                  <a:pt x="2711" y="565"/>
                  <a:pt x="2711" y="565"/>
                  <a:pt x="2711" y="565"/>
                </a:cubicBezTo>
                <a:cubicBezTo>
                  <a:pt x="2713" y="565"/>
                  <a:pt x="2713" y="565"/>
                  <a:pt x="2713" y="565"/>
                </a:cubicBezTo>
                <a:cubicBezTo>
                  <a:pt x="2716" y="562"/>
                  <a:pt x="2716" y="562"/>
                  <a:pt x="2716" y="562"/>
                </a:cubicBezTo>
                <a:cubicBezTo>
                  <a:pt x="2717" y="563"/>
                  <a:pt x="2717" y="563"/>
                  <a:pt x="2717" y="563"/>
                </a:cubicBezTo>
                <a:cubicBezTo>
                  <a:pt x="2717" y="563"/>
                  <a:pt x="2717" y="563"/>
                  <a:pt x="2717" y="563"/>
                </a:cubicBezTo>
                <a:cubicBezTo>
                  <a:pt x="2717" y="564"/>
                  <a:pt x="2717" y="564"/>
                  <a:pt x="2717" y="564"/>
                </a:cubicBezTo>
                <a:cubicBezTo>
                  <a:pt x="2718" y="564"/>
                  <a:pt x="2718" y="564"/>
                  <a:pt x="2718" y="564"/>
                </a:cubicBezTo>
                <a:cubicBezTo>
                  <a:pt x="2719" y="567"/>
                  <a:pt x="2719" y="567"/>
                  <a:pt x="2719" y="567"/>
                </a:cubicBezTo>
                <a:cubicBezTo>
                  <a:pt x="2720" y="566"/>
                  <a:pt x="2720" y="566"/>
                  <a:pt x="2720" y="566"/>
                </a:cubicBezTo>
                <a:cubicBezTo>
                  <a:pt x="2720" y="565"/>
                  <a:pt x="2720" y="565"/>
                  <a:pt x="2720" y="565"/>
                </a:cubicBezTo>
                <a:cubicBezTo>
                  <a:pt x="2722" y="566"/>
                  <a:pt x="2722" y="566"/>
                  <a:pt x="2722" y="566"/>
                </a:cubicBezTo>
                <a:cubicBezTo>
                  <a:pt x="2723" y="567"/>
                  <a:pt x="2723" y="567"/>
                  <a:pt x="2723" y="567"/>
                </a:cubicBezTo>
                <a:cubicBezTo>
                  <a:pt x="2727" y="567"/>
                  <a:pt x="2727" y="567"/>
                  <a:pt x="2727" y="567"/>
                </a:cubicBezTo>
                <a:cubicBezTo>
                  <a:pt x="2728" y="566"/>
                  <a:pt x="2728" y="566"/>
                  <a:pt x="2728" y="566"/>
                </a:cubicBezTo>
                <a:cubicBezTo>
                  <a:pt x="2729" y="566"/>
                  <a:pt x="2729" y="566"/>
                  <a:pt x="2729" y="566"/>
                </a:cubicBezTo>
                <a:cubicBezTo>
                  <a:pt x="2728" y="567"/>
                  <a:pt x="2728" y="567"/>
                  <a:pt x="2728" y="567"/>
                </a:cubicBezTo>
                <a:cubicBezTo>
                  <a:pt x="2727" y="568"/>
                  <a:pt x="2727" y="568"/>
                  <a:pt x="2727" y="568"/>
                </a:cubicBezTo>
                <a:cubicBezTo>
                  <a:pt x="2728" y="570"/>
                  <a:pt x="2728" y="570"/>
                  <a:pt x="2728" y="570"/>
                </a:cubicBezTo>
                <a:cubicBezTo>
                  <a:pt x="2726" y="574"/>
                  <a:pt x="2726" y="574"/>
                  <a:pt x="2726" y="574"/>
                </a:cubicBezTo>
                <a:cubicBezTo>
                  <a:pt x="2726" y="579"/>
                  <a:pt x="2726" y="579"/>
                  <a:pt x="2726" y="579"/>
                </a:cubicBezTo>
                <a:cubicBezTo>
                  <a:pt x="2727" y="580"/>
                  <a:pt x="2727" y="580"/>
                  <a:pt x="2727" y="580"/>
                </a:cubicBezTo>
                <a:cubicBezTo>
                  <a:pt x="2730" y="580"/>
                  <a:pt x="2730" y="580"/>
                  <a:pt x="2730" y="580"/>
                </a:cubicBezTo>
                <a:cubicBezTo>
                  <a:pt x="2732" y="579"/>
                  <a:pt x="2732" y="579"/>
                  <a:pt x="2732" y="579"/>
                </a:cubicBezTo>
                <a:cubicBezTo>
                  <a:pt x="2730" y="581"/>
                  <a:pt x="2730" y="581"/>
                  <a:pt x="2730" y="581"/>
                </a:cubicBezTo>
                <a:cubicBezTo>
                  <a:pt x="2728" y="581"/>
                  <a:pt x="2728" y="581"/>
                  <a:pt x="2728" y="581"/>
                </a:cubicBezTo>
                <a:cubicBezTo>
                  <a:pt x="2726" y="584"/>
                  <a:pt x="2726" y="584"/>
                  <a:pt x="2726" y="584"/>
                </a:cubicBezTo>
                <a:cubicBezTo>
                  <a:pt x="2726" y="588"/>
                  <a:pt x="2726" y="588"/>
                  <a:pt x="2726" y="588"/>
                </a:cubicBezTo>
                <a:cubicBezTo>
                  <a:pt x="2726" y="590"/>
                  <a:pt x="2726" y="590"/>
                  <a:pt x="2726" y="590"/>
                </a:cubicBezTo>
                <a:cubicBezTo>
                  <a:pt x="2727" y="590"/>
                  <a:pt x="2727" y="590"/>
                  <a:pt x="2727" y="590"/>
                </a:cubicBezTo>
                <a:cubicBezTo>
                  <a:pt x="2728" y="589"/>
                  <a:pt x="2728" y="589"/>
                  <a:pt x="2728" y="589"/>
                </a:cubicBezTo>
                <a:cubicBezTo>
                  <a:pt x="2730" y="590"/>
                  <a:pt x="2730" y="590"/>
                  <a:pt x="2730" y="590"/>
                </a:cubicBezTo>
                <a:cubicBezTo>
                  <a:pt x="2729" y="593"/>
                  <a:pt x="2729" y="593"/>
                  <a:pt x="2729" y="593"/>
                </a:cubicBezTo>
                <a:cubicBezTo>
                  <a:pt x="2729" y="594"/>
                  <a:pt x="2729" y="594"/>
                  <a:pt x="2729" y="594"/>
                </a:cubicBezTo>
                <a:cubicBezTo>
                  <a:pt x="2732" y="593"/>
                  <a:pt x="2732" y="593"/>
                  <a:pt x="2732" y="593"/>
                </a:cubicBezTo>
                <a:cubicBezTo>
                  <a:pt x="2733" y="593"/>
                  <a:pt x="2733" y="593"/>
                  <a:pt x="2733" y="593"/>
                </a:cubicBezTo>
                <a:cubicBezTo>
                  <a:pt x="2735" y="591"/>
                  <a:pt x="2735" y="591"/>
                  <a:pt x="2735" y="591"/>
                </a:cubicBezTo>
                <a:cubicBezTo>
                  <a:pt x="2734" y="590"/>
                  <a:pt x="2734" y="590"/>
                  <a:pt x="2734" y="590"/>
                </a:cubicBezTo>
                <a:cubicBezTo>
                  <a:pt x="2735" y="589"/>
                  <a:pt x="2735" y="589"/>
                  <a:pt x="2735" y="589"/>
                </a:cubicBezTo>
                <a:cubicBezTo>
                  <a:pt x="2737" y="592"/>
                  <a:pt x="2737" y="592"/>
                  <a:pt x="2737" y="592"/>
                </a:cubicBezTo>
                <a:cubicBezTo>
                  <a:pt x="2738" y="592"/>
                  <a:pt x="2738" y="592"/>
                  <a:pt x="2738" y="592"/>
                </a:cubicBezTo>
                <a:cubicBezTo>
                  <a:pt x="2739" y="591"/>
                  <a:pt x="2739" y="591"/>
                  <a:pt x="2739" y="591"/>
                </a:cubicBezTo>
                <a:cubicBezTo>
                  <a:pt x="2742" y="591"/>
                  <a:pt x="2742" y="591"/>
                  <a:pt x="2742" y="591"/>
                </a:cubicBezTo>
                <a:cubicBezTo>
                  <a:pt x="2741" y="592"/>
                  <a:pt x="2741" y="592"/>
                  <a:pt x="2741" y="592"/>
                </a:cubicBezTo>
                <a:cubicBezTo>
                  <a:pt x="2745" y="595"/>
                  <a:pt x="2745" y="595"/>
                  <a:pt x="2745" y="595"/>
                </a:cubicBezTo>
                <a:cubicBezTo>
                  <a:pt x="2748" y="599"/>
                  <a:pt x="2748" y="599"/>
                  <a:pt x="2748" y="599"/>
                </a:cubicBezTo>
                <a:cubicBezTo>
                  <a:pt x="2749" y="599"/>
                  <a:pt x="2749" y="599"/>
                  <a:pt x="2749" y="599"/>
                </a:cubicBezTo>
                <a:cubicBezTo>
                  <a:pt x="2748" y="600"/>
                  <a:pt x="2748" y="600"/>
                  <a:pt x="2748" y="600"/>
                </a:cubicBezTo>
                <a:cubicBezTo>
                  <a:pt x="2750" y="602"/>
                  <a:pt x="2750" y="602"/>
                  <a:pt x="2750" y="602"/>
                </a:cubicBezTo>
                <a:cubicBezTo>
                  <a:pt x="2751" y="604"/>
                  <a:pt x="2751" y="604"/>
                  <a:pt x="2751" y="604"/>
                </a:cubicBezTo>
                <a:cubicBezTo>
                  <a:pt x="2747" y="603"/>
                  <a:pt x="2747" y="603"/>
                  <a:pt x="2747" y="603"/>
                </a:cubicBezTo>
                <a:cubicBezTo>
                  <a:pt x="2747" y="602"/>
                  <a:pt x="2747" y="602"/>
                  <a:pt x="2747" y="602"/>
                </a:cubicBezTo>
                <a:cubicBezTo>
                  <a:pt x="2746" y="603"/>
                  <a:pt x="2746" y="603"/>
                  <a:pt x="2746" y="603"/>
                </a:cubicBezTo>
                <a:cubicBezTo>
                  <a:pt x="2744" y="603"/>
                  <a:pt x="2744" y="603"/>
                  <a:pt x="2744" y="603"/>
                </a:cubicBezTo>
                <a:cubicBezTo>
                  <a:pt x="2742" y="606"/>
                  <a:pt x="2742" y="606"/>
                  <a:pt x="2742" y="606"/>
                </a:cubicBezTo>
                <a:cubicBezTo>
                  <a:pt x="2747" y="608"/>
                  <a:pt x="2747" y="608"/>
                  <a:pt x="2747" y="608"/>
                </a:cubicBezTo>
                <a:cubicBezTo>
                  <a:pt x="2748" y="608"/>
                  <a:pt x="2748" y="608"/>
                  <a:pt x="2748" y="608"/>
                </a:cubicBezTo>
                <a:cubicBezTo>
                  <a:pt x="2749" y="610"/>
                  <a:pt x="2749" y="610"/>
                  <a:pt x="2749" y="610"/>
                </a:cubicBezTo>
                <a:cubicBezTo>
                  <a:pt x="2749" y="614"/>
                  <a:pt x="2749" y="614"/>
                  <a:pt x="2749" y="614"/>
                </a:cubicBezTo>
                <a:cubicBezTo>
                  <a:pt x="2750" y="615"/>
                  <a:pt x="2750" y="615"/>
                  <a:pt x="2750" y="615"/>
                </a:cubicBezTo>
                <a:cubicBezTo>
                  <a:pt x="2751" y="614"/>
                  <a:pt x="2751" y="614"/>
                  <a:pt x="2751" y="614"/>
                </a:cubicBezTo>
                <a:cubicBezTo>
                  <a:pt x="2753" y="618"/>
                  <a:pt x="2753" y="618"/>
                  <a:pt x="2753" y="618"/>
                </a:cubicBezTo>
                <a:cubicBezTo>
                  <a:pt x="2749" y="620"/>
                  <a:pt x="2749" y="620"/>
                  <a:pt x="2749" y="620"/>
                </a:cubicBezTo>
                <a:cubicBezTo>
                  <a:pt x="2749" y="621"/>
                  <a:pt x="2749" y="621"/>
                  <a:pt x="2749" y="621"/>
                </a:cubicBezTo>
                <a:cubicBezTo>
                  <a:pt x="2751" y="622"/>
                  <a:pt x="2751" y="622"/>
                  <a:pt x="2751" y="622"/>
                </a:cubicBezTo>
                <a:cubicBezTo>
                  <a:pt x="2751" y="624"/>
                  <a:pt x="2751" y="624"/>
                  <a:pt x="2751" y="624"/>
                </a:cubicBezTo>
                <a:cubicBezTo>
                  <a:pt x="2750" y="625"/>
                  <a:pt x="2750" y="625"/>
                  <a:pt x="2750" y="625"/>
                </a:cubicBezTo>
                <a:cubicBezTo>
                  <a:pt x="2750" y="626"/>
                  <a:pt x="2750" y="626"/>
                  <a:pt x="2750" y="626"/>
                </a:cubicBezTo>
                <a:cubicBezTo>
                  <a:pt x="2751" y="628"/>
                  <a:pt x="2751" y="628"/>
                  <a:pt x="2751" y="628"/>
                </a:cubicBezTo>
                <a:cubicBezTo>
                  <a:pt x="2749" y="628"/>
                  <a:pt x="2749" y="628"/>
                  <a:pt x="2749" y="628"/>
                </a:cubicBezTo>
                <a:cubicBezTo>
                  <a:pt x="2752" y="633"/>
                  <a:pt x="2752" y="633"/>
                  <a:pt x="2752" y="633"/>
                </a:cubicBezTo>
                <a:cubicBezTo>
                  <a:pt x="2753" y="633"/>
                  <a:pt x="2753" y="633"/>
                  <a:pt x="2753" y="633"/>
                </a:cubicBezTo>
                <a:cubicBezTo>
                  <a:pt x="2754" y="636"/>
                  <a:pt x="2754" y="636"/>
                  <a:pt x="2754" y="636"/>
                </a:cubicBezTo>
                <a:cubicBezTo>
                  <a:pt x="2754" y="636"/>
                  <a:pt x="2754" y="636"/>
                  <a:pt x="2754" y="636"/>
                </a:cubicBezTo>
                <a:cubicBezTo>
                  <a:pt x="2754" y="638"/>
                  <a:pt x="2754" y="638"/>
                  <a:pt x="2754" y="638"/>
                </a:cubicBezTo>
                <a:cubicBezTo>
                  <a:pt x="2756" y="637"/>
                  <a:pt x="2756" y="637"/>
                  <a:pt x="2756" y="637"/>
                </a:cubicBezTo>
                <a:cubicBezTo>
                  <a:pt x="2756" y="634"/>
                  <a:pt x="2756" y="634"/>
                  <a:pt x="2756" y="634"/>
                </a:cubicBezTo>
                <a:cubicBezTo>
                  <a:pt x="2757" y="636"/>
                  <a:pt x="2757" y="636"/>
                  <a:pt x="2757" y="636"/>
                </a:cubicBezTo>
                <a:cubicBezTo>
                  <a:pt x="2758" y="633"/>
                  <a:pt x="2758" y="633"/>
                  <a:pt x="2758" y="633"/>
                </a:cubicBezTo>
                <a:cubicBezTo>
                  <a:pt x="2763" y="630"/>
                  <a:pt x="2763" y="630"/>
                  <a:pt x="2763" y="630"/>
                </a:cubicBezTo>
                <a:cubicBezTo>
                  <a:pt x="2765" y="629"/>
                  <a:pt x="2765" y="629"/>
                  <a:pt x="2765" y="629"/>
                </a:cubicBezTo>
                <a:cubicBezTo>
                  <a:pt x="2765" y="630"/>
                  <a:pt x="2765" y="630"/>
                  <a:pt x="2765" y="630"/>
                </a:cubicBezTo>
                <a:cubicBezTo>
                  <a:pt x="2766" y="629"/>
                  <a:pt x="2766" y="629"/>
                  <a:pt x="2766" y="629"/>
                </a:cubicBezTo>
                <a:cubicBezTo>
                  <a:pt x="2767" y="629"/>
                  <a:pt x="2767" y="629"/>
                  <a:pt x="2767" y="629"/>
                </a:cubicBezTo>
                <a:cubicBezTo>
                  <a:pt x="2768" y="631"/>
                  <a:pt x="2768" y="631"/>
                  <a:pt x="2768" y="631"/>
                </a:cubicBezTo>
                <a:cubicBezTo>
                  <a:pt x="2770" y="630"/>
                  <a:pt x="2770" y="630"/>
                  <a:pt x="2770" y="630"/>
                </a:cubicBezTo>
                <a:cubicBezTo>
                  <a:pt x="2771" y="631"/>
                  <a:pt x="2771" y="631"/>
                  <a:pt x="2771" y="631"/>
                </a:cubicBezTo>
                <a:cubicBezTo>
                  <a:pt x="2772" y="630"/>
                  <a:pt x="2772" y="630"/>
                  <a:pt x="2772" y="630"/>
                </a:cubicBezTo>
                <a:cubicBezTo>
                  <a:pt x="2771" y="629"/>
                  <a:pt x="2771" y="629"/>
                  <a:pt x="2771" y="629"/>
                </a:cubicBezTo>
                <a:cubicBezTo>
                  <a:pt x="2774" y="627"/>
                  <a:pt x="2774" y="627"/>
                  <a:pt x="2774" y="627"/>
                </a:cubicBezTo>
                <a:cubicBezTo>
                  <a:pt x="2776" y="627"/>
                  <a:pt x="2776" y="627"/>
                  <a:pt x="2776" y="627"/>
                </a:cubicBezTo>
                <a:cubicBezTo>
                  <a:pt x="2779" y="624"/>
                  <a:pt x="2779" y="624"/>
                  <a:pt x="2779" y="624"/>
                </a:cubicBezTo>
                <a:cubicBezTo>
                  <a:pt x="2778" y="623"/>
                  <a:pt x="2778" y="623"/>
                  <a:pt x="2778" y="623"/>
                </a:cubicBezTo>
                <a:cubicBezTo>
                  <a:pt x="2780" y="622"/>
                  <a:pt x="2780" y="622"/>
                  <a:pt x="2780" y="622"/>
                </a:cubicBezTo>
                <a:cubicBezTo>
                  <a:pt x="2779" y="614"/>
                  <a:pt x="2779" y="614"/>
                  <a:pt x="2779" y="614"/>
                </a:cubicBezTo>
                <a:cubicBezTo>
                  <a:pt x="2778" y="614"/>
                  <a:pt x="2778" y="614"/>
                  <a:pt x="2778" y="614"/>
                </a:cubicBezTo>
                <a:cubicBezTo>
                  <a:pt x="2778" y="615"/>
                  <a:pt x="2778" y="615"/>
                  <a:pt x="2778" y="615"/>
                </a:cubicBezTo>
                <a:cubicBezTo>
                  <a:pt x="2778" y="612"/>
                  <a:pt x="2778" y="612"/>
                  <a:pt x="2778" y="612"/>
                </a:cubicBezTo>
                <a:cubicBezTo>
                  <a:pt x="2776" y="605"/>
                  <a:pt x="2776" y="605"/>
                  <a:pt x="2776" y="605"/>
                </a:cubicBezTo>
                <a:cubicBezTo>
                  <a:pt x="2775" y="603"/>
                  <a:pt x="2775" y="603"/>
                  <a:pt x="2775" y="603"/>
                </a:cubicBezTo>
                <a:cubicBezTo>
                  <a:pt x="2775" y="599"/>
                  <a:pt x="2775" y="599"/>
                  <a:pt x="2775" y="599"/>
                </a:cubicBezTo>
                <a:cubicBezTo>
                  <a:pt x="2769" y="591"/>
                  <a:pt x="2769" y="591"/>
                  <a:pt x="2769" y="591"/>
                </a:cubicBezTo>
                <a:cubicBezTo>
                  <a:pt x="2763" y="586"/>
                  <a:pt x="2763" y="586"/>
                  <a:pt x="2763" y="586"/>
                </a:cubicBezTo>
                <a:cubicBezTo>
                  <a:pt x="2759" y="579"/>
                  <a:pt x="2759" y="579"/>
                  <a:pt x="2759" y="579"/>
                </a:cubicBezTo>
                <a:cubicBezTo>
                  <a:pt x="2758" y="577"/>
                  <a:pt x="2758" y="577"/>
                  <a:pt x="2758" y="577"/>
                </a:cubicBezTo>
                <a:cubicBezTo>
                  <a:pt x="2751" y="572"/>
                  <a:pt x="2751" y="572"/>
                  <a:pt x="2751" y="572"/>
                </a:cubicBezTo>
                <a:cubicBezTo>
                  <a:pt x="2750" y="571"/>
                  <a:pt x="2750" y="571"/>
                  <a:pt x="2750" y="571"/>
                </a:cubicBezTo>
                <a:cubicBezTo>
                  <a:pt x="2746" y="570"/>
                  <a:pt x="2746" y="570"/>
                  <a:pt x="2746" y="570"/>
                </a:cubicBezTo>
                <a:cubicBezTo>
                  <a:pt x="2745" y="567"/>
                  <a:pt x="2745" y="567"/>
                  <a:pt x="2745" y="567"/>
                </a:cubicBezTo>
                <a:cubicBezTo>
                  <a:pt x="2746" y="566"/>
                  <a:pt x="2746" y="566"/>
                  <a:pt x="2746" y="566"/>
                </a:cubicBezTo>
                <a:cubicBezTo>
                  <a:pt x="2746" y="564"/>
                  <a:pt x="2746" y="564"/>
                  <a:pt x="2746" y="564"/>
                </a:cubicBezTo>
                <a:cubicBezTo>
                  <a:pt x="2746" y="562"/>
                  <a:pt x="2746" y="562"/>
                  <a:pt x="2746" y="562"/>
                </a:cubicBezTo>
                <a:cubicBezTo>
                  <a:pt x="2748" y="560"/>
                  <a:pt x="2748" y="560"/>
                  <a:pt x="2748" y="560"/>
                </a:cubicBezTo>
                <a:cubicBezTo>
                  <a:pt x="2749" y="558"/>
                  <a:pt x="2749" y="558"/>
                  <a:pt x="2749" y="558"/>
                </a:cubicBezTo>
                <a:cubicBezTo>
                  <a:pt x="2751" y="556"/>
                  <a:pt x="2751" y="556"/>
                  <a:pt x="2751" y="556"/>
                </a:cubicBezTo>
                <a:cubicBezTo>
                  <a:pt x="2753" y="556"/>
                  <a:pt x="2753" y="556"/>
                  <a:pt x="2753" y="556"/>
                </a:cubicBezTo>
                <a:cubicBezTo>
                  <a:pt x="2754" y="555"/>
                  <a:pt x="2754" y="555"/>
                  <a:pt x="2754" y="555"/>
                </a:cubicBezTo>
                <a:cubicBezTo>
                  <a:pt x="2755" y="554"/>
                  <a:pt x="2755" y="554"/>
                  <a:pt x="2755" y="554"/>
                </a:cubicBezTo>
                <a:cubicBezTo>
                  <a:pt x="2755" y="552"/>
                  <a:pt x="2755" y="552"/>
                  <a:pt x="2755" y="552"/>
                </a:cubicBezTo>
                <a:cubicBezTo>
                  <a:pt x="2760" y="547"/>
                  <a:pt x="2760" y="547"/>
                  <a:pt x="2760" y="547"/>
                </a:cubicBezTo>
                <a:cubicBezTo>
                  <a:pt x="2759" y="546"/>
                  <a:pt x="2759" y="546"/>
                  <a:pt x="2759" y="546"/>
                </a:cubicBezTo>
                <a:cubicBezTo>
                  <a:pt x="2762" y="544"/>
                  <a:pt x="2762" y="544"/>
                  <a:pt x="2762" y="544"/>
                </a:cubicBezTo>
                <a:cubicBezTo>
                  <a:pt x="2763" y="542"/>
                  <a:pt x="2763" y="542"/>
                  <a:pt x="2763" y="542"/>
                </a:cubicBezTo>
                <a:cubicBezTo>
                  <a:pt x="2761" y="541"/>
                  <a:pt x="2761" y="541"/>
                  <a:pt x="2761" y="541"/>
                </a:cubicBezTo>
                <a:cubicBezTo>
                  <a:pt x="2761" y="535"/>
                  <a:pt x="2761" y="535"/>
                  <a:pt x="2761" y="535"/>
                </a:cubicBezTo>
                <a:cubicBezTo>
                  <a:pt x="2759" y="534"/>
                  <a:pt x="2759" y="534"/>
                  <a:pt x="2759" y="534"/>
                </a:cubicBezTo>
                <a:cubicBezTo>
                  <a:pt x="2759" y="531"/>
                  <a:pt x="2759" y="531"/>
                  <a:pt x="2759" y="531"/>
                </a:cubicBezTo>
                <a:cubicBezTo>
                  <a:pt x="2760" y="526"/>
                  <a:pt x="2760" y="526"/>
                  <a:pt x="2760" y="526"/>
                </a:cubicBezTo>
                <a:cubicBezTo>
                  <a:pt x="2760" y="523"/>
                  <a:pt x="2760" y="523"/>
                  <a:pt x="2760" y="523"/>
                </a:cubicBezTo>
                <a:cubicBezTo>
                  <a:pt x="2761" y="524"/>
                  <a:pt x="2761" y="524"/>
                  <a:pt x="2761" y="524"/>
                </a:cubicBezTo>
                <a:cubicBezTo>
                  <a:pt x="2765" y="520"/>
                  <a:pt x="2765" y="520"/>
                  <a:pt x="2765" y="520"/>
                </a:cubicBezTo>
                <a:cubicBezTo>
                  <a:pt x="2765" y="520"/>
                  <a:pt x="2765" y="520"/>
                  <a:pt x="2765" y="520"/>
                </a:cubicBezTo>
                <a:cubicBezTo>
                  <a:pt x="2765" y="520"/>
                  <a:pt x="2765" y="520"/>
                  <a:pt x="2765" y="520"/>
                </a:cubicBezTo>
                <a:cubicBezTo>
                  <a:pt x="2766" y="520"/>
                  <a:pt x="2766" y="520"/>
                  <a:pt x="2766" y="520"/>
                </a:cubicBezTo>
                <a:cubicBezTo>
                  <a:pt x="2766" y="517"/>
                  <a:pt x="2766" y="517"/>
                  <a:pt x="2766" y="517"/>
                </a:cubicBezTo>
                <a:cubicBezTo>
                  <a:pt x="2769" y="516"/>
                  <a:pt x="2769" y="516"/>
                  <a:pt x="2769" y="516"/>
                </a:cubicBezTo>
                <a:cubicBezTo>
                  <a:pt x="2770" y="517"/>
                  <a:pt x="2770" y="517"/>
                  <a:pt x="2770" y="517"/>
                </a:cubicBezTo>
                <a:cubicBezTo>
                  <a:pt x="2771" y="514"/>
                  <a:pt x="2771" y="514"/>
                  <a:pt x="2771" y="514"/>
                </a:cubicBezTo>
                <a:cubicBezTo>
                  <a:pt x="2772" y="513"/>
                  <a:pt x="2772" y="513"/>
                  <a:pt x="2772" y="513"/>
                </a:cubicBezTo>
                <a:cubicBezTo>
                  <a:pt x="2772" y="509"/>
                  <a:pt x="2772" y="509"/>
                  <a:pt x="2772" y="509"/>
                </a:cubicBezTo>
                <a:cubicBezTo>
                  <a:pt x="2774" y="508"/>
                  <a:pt x="2774" y="508"/>
                  <a:pt x="2774" y="508"/>
                </a:cubicBezTo>
                <a:cubicBezTo>
                  <a:pt x="2774" y="506"/>
                  <a:pt x="2774" y="506"/>
                  <a:pt x="2774" y="506"/>
                </a:cubicBezTo>
                <a:cubicBezTo>
                  <a:pt x="2774" y="505"/>
                  <a:pt x="2774" y="505"/>
                  <a:pt x="2774" y="505"/>
                </a:cubicBezTo>
                <a:cubicBezTo>
                  <a:pt x="2777" y="506"/>
                  <a:pt x="2777" y="506"/>
                  <a:pt x="2777" y="506"/>
                </a:cubicBezTo>
                <a:cubicBezTo>
                  <a:pt x="2779" y="505"/>
                  <a:pt x="2779" y="505"/>
                  <a:pt x="2779" y="505"/>
                </a:cubicBezTo>
                <a:cubicBezTo>
                  <a:pt x="2780" y="506"/>
                  <a:pt x="2780" y="506"/>
                  <a:pt x="2780" y="506"/>
                </a:cubicBezTo>
                <a:cubicBezTo>
                  <a:pt x="2780" y="510"/>
                  <a:pt x="2780" y="510"/>
                  <a:pt x="2780" y="510"/>
                </a:cubicBezTo>
                <a:cubicBezTo>
                  <a:pt x="2784" y="511"/>
                  <a:pt x="2784" y="511"/>
                  <a:pt x="2784" y="511"/>
                </a:cubicBezTo>
                <a:cubicBezTo>
                  <a:pt x="2787" y="513"/>
                  <a:pt x="2787" y="513"/>
                  <a:pt x="2787" y="513"/>
                </a:cubicBezTo>
                <a:cubicBezTo>
                  <a:pt x="2788" y="512"/>
                  <a:pt x="2788" y="512"/>
                  <a:pt x="2788" y="512"/>
                </a:cubicBezTo>
                <a:cubicBezTo>
                  <a:pt x="2789" y="513"/>
                  <a:pt x="2789" y="513"/>
                  <a:pt x="2789" y="513"/>
                </a:cubicBezTo>
                <a:cubicBezTo>
                  <a:pt x="2791" y="511"/>
                  <a:pt x="2791" y="511"/>
                  <a:pt x="2791" y="511"/>
                </a:cubicBezTo>
                <a:cubicBezTo>
                  <a:pt x="2794" y="510"/>
                  <a:pt x="2794" y="510"/>
                  <a:pt x="2794" y="510"/>
                </a:cubicBezTo>
                <a:cubicBezTo>
                  <a:pt x="2795" y="509"/>
                  <a:pt x="2795" y="509"/>
                  <a:pt x="2795" y="509"/>
                </a:cubicBezTo>
                <a:cubicBezTo>
                  <a:pt x="2796" y="509"/>
                  <a:pt x="2796" y="509"/>
                  <a:pt x="2796" y="509"/>
                </a:cubicBezTo>
                <a:cubicBezTo>
                  <a:pt x="2798" y="506"/>
                  <a:pt x="2798" y="506"/>
                  <a:pt x="2798" y="506"/>
                </a:cubicBezTo>
                <a:cubicBezTo>
                  <a:pt x="2801" y="502"/>
                  <a:pt x="2801" y="502"/>
                  <a:pt x="2801" y="502"/>
                </a:cubicBezTo>
                <a:cubicBezTo>
                  <a:pt x="2800" y="501"/>
                  <a:pt x="2800" y="501"/>
                  <a:pt x="2800" y="501"/>
                </a:cubicBezTo>
                <a:cubicBezTo>
                  <a:pt x="2803" y="500"/>
                  <a:pt x="2803" y="500"/>
                  <a:pt x="2803" y="500"/>
                </a:cubicBezTo>
                <a:cubicBezTo>
                  <a:pt x="2803" y="497"/>
                  <a:pt x="2803" y="497"/>
                  <a:pt x="2803" y="497"/>
                </a:cubicBezTo>
                <a:cubicBezTo>
                  <a:pt x="2802" y="495"/>
                  <a:pt x="2802" y="495"/>
                  <a:pt x="2802" y="495"/>
                </a:cubicBezTo>
                <a:cubicBezTo>
                  <a:pt x="2803" y="496"/>
                  <a:pt x="2803" y="496"/>
                  <a:pt x="2803" y="496"/>
                </a:cubicBezTo>
                <a:cubicBezTo>
                  <a:pt x="2804" y="496"/>
                  <a:pt x="2804" y="496"/>
                  <a:pt x="2804" y="496"/>
                </a:cubicBezTo>
                <a:cubicBezTo>
                  <a:pt x="2806" y="493"/>
                  <a:pt x="2806" y="493"/>
                  <a:pt x="2806" y="493"/>
                </a:cubicBezTo>
                <a:cubicBezTo>
                  <a:pt x="2805" y="491"/>
                  <a:pt x="2805" y="491"/>
                  <a:pt x="2805" y="491"/>
                </a:cubicBezTo>
                <a:cubicBezTo>
                  <a:pt x="2806" y="491"/>
                  <a:pt x="2806" y="491"/>
                  <a:pt x="2806" y="491"/>
                </a:cubicBezTo>
                <a:cubicBezTo>
                  <a:pt x="2806" y="488"/>
                  <a:pt x="2806" y="488"/>
                  <a:pt x="2806" y="488"/>
                </a:cubicBezTo>
                <a:cubicBezTo>
                  <a:pt x="2808" y="487"/>
                  <a:pt x="2808" y="487"/>
                  <a:pt x="2808" y="487"/>
                </a:cubicBezTo>
                <a:cubicBezTo>
                  <a:pt x="2808" y="484"/>
                  <a:pt x="2808" y="484"/>
                  <a:pt x="2808" y="484"/>
                </a:cubicBezTo>
                <a:cubicBezTo>
                  <a:pt x="2810" y="483"/>
                  <a:pt x="2810" y="483"/>
                  <a:pt x="2810" y="483"/>
                </a:cubicBezTo>
                <a:cubicBezTo>
                  <a:pt x="2811" y="482"/>
                  <a:pt x="2811" y="482"/>
                  <a:pt x="2811" y="482"/>
                </a:cubicBezTo>
                <a:cubicBezTo>
                  <a:pt x="2810" y="481"/>
                  <a:pt x="2810" y="481"/>
                  <a:pt x="2810" y="481"/>
                </a:cubicBezTo>
                <a:cubicBezTo>
                  <a:pt x="2810" y="479"/>
                  <a:pt x="2810" y="479"/>
                  <a:pt x="2810" y="479"/>
                </a:cubicBezTo>
                <a:cubicBezTo>
                  <a:pt x="2812" y="478"/>
                  <a:pt x="2812" y="478"/>
                  <a:pt x="2812" y="478"/>
                </a:cubicBezTo>
                <a:cubicBezTo>
                  <a:pt x="2813" y="469"/>
                  <a:pt x="2813" y="469"/>
                  <a:pt x="2813" y="469"/>
                </a:cubicBezTo>
                <a:cubicBezTo>
                  <a:pt x="2816" y="466"/>
                  <a:pt x="2816" y="466"/>
                  <a:pt x="2816" y="466"/>
                </a:cubicBezTo>
                <a:cubicBezTo>
                  <a:pt x="2816" y="465"/>
                  <a:pt x="2816" y="465"/>
                  <a:pt x="2816" y="465"/>
                </a:cubicBezTo>
                <a:cubicBezTo>
                  <a:pt x="2818" y="463"/>
                  <a:pt x="2818" y="463"/>
                  <a:pt x="2818" y="463"/>
                </a:cubicBezTo>
                <a:cubicBezTo>
                  <a:pt x="2818" y="460"/>
                  <a:pt x="2818" y="460"/>
                  <a:pt x="2818" y="460"/>
                </a:cubicBezTo>
                <a:cubicBezTo>
                  <a:pt x="2821" y="457"/>
                  <a:pt x="2821" y="457"/>
                  <a:pt x="2821" y="457"/>
                </a:cubicBezTo>
                <a:cubicBezTo>
                  <a:pt x="2821" y="455"/>
                  <a:pt x="2821" y="455"/>
                  <a:pt x="2821" y="455"/>
                </a:cubicBezTo>
                <a:cubicBezTo>
                  <a:pt x="2820" y="455"/>
                  <a:pt x="2820" y="455"/>
                  <a:pt x="2820" y="455"/>
                </a:cubicBezTo>
                <a:cubicBezTo>
                  <a:pt x="2819" y="452"/>
                  <a:pt x="2819" y="452"/>
                  <a:pt x="2819" y="452"/>
                </a:cubicBezTo>
                <a:cubicBezTo>
                  <a:pt x="2821" y="450"/>
                  <a:pt x="2821" y="450"/>
                  <a:pt x="2821" y="450"/>
                </a:cubicBezTo>
                <a:cubicBezTo>
                  <a:pt x="2820" y="446"/>
                  <a:pt x="2820" y="446"/>
                  <a:pt x="2820" y="446"/>
                </a:cubicBezTo>
                <a:cubicBezTo>
                  <a:pt x="2822" y="444"/>
                  <a:pt x="2822" y="444"/>
                  <a:pt x="2822" y="444"/>
                </a:cubicBezTo>
                <a:cubicBezTo>
                  <a:pt x="2822" y="442"/>
                  <a:pt x="2822" y="442"/>
                  <a:pt x="2822" y="442"/>
                </a:cubicBezTo>
                <a:cubicBezTo>
                  <a:pt x="2821" y="442"/>
                  <a:pt x="2821" y="442"/>
                  <a:pt x="2821" y="442"/>
                </a:cubicBezTo>
                <a:cubicBezTo>
                  <a:pt x="2822" y="439"/>
                  <a:pt x="2822" y="439"/>
                  <a:pt x="2822" y="439"/>
                </a:cubicBezTo>
                <a:cubicBezTo>
                  <a:pt x="2822" y="436"/>
                  <a:pt x="2822" y="436"/>
                  <a:pt x="2822" y="436"/>
                </a:cubicBezTo>
                <a:cubicBezTo>
                  <a:pt x="2824" y="434"/>
                  <a:pt x="2824" y="434"/>
                  <a:pt x="2824" y="434"/>
                </a:cubicBezTo>
                <a:cubicBezTo>
                  <a:pt x="2824" y="431"/>
                  <a:pt x="2824" y="431"/>
                  <a:pt x="2824" y="431"/>
                </a:cubicBezTo>
                <a:cubicBezTo>
                  <a:pt x="2824" y="431"/>
                  <a:pt x="2824" y="431"/>
                  <a:pt x="2824" y="431"/>
                </a:cubicBezTo>
                <a:cubicBezTo>
                  <a:pt x="2824" y="428"/>
                  <a:pt x="2824" y="428"/>
                  <a:pt x="2824" y="428"/>
                </a:cubicBezTo>
                <a:cubicBezTo>
                  <a:pt x="2825" y="424"/>
                  <a:pt x="2825" y="424"/>
                  <a:pt x="2825" y="424"/>
                </a:cubicBezTo>
                <a:cubicBezTo>
                  <a:pt x="2825" y="421"/>
                  <a:pt x="2825" y="421"/>
                  <a:pt x="2825" y="421"/>
                </a:cubicBezTo>
                <a:cubicBezTo>
                  <a:pt x="2828" y="418"/>
                  <a:pt x="2828" y="418"/>
                  <a:pt x="2828" y="418"/>
                </a:cubicBezTo>
                <a:cubicBezTo>
                  <a:pt x="2828" y="416"/>
                  <a:pt x="2828" y="416"/>
                  <a:pt x="2828" y="416"/>
                </a:cubicBezTo>
                <a:cubicBezTo>
                  <a:pt x="2827" y="414"/>
                  <a:pt x="2827" y="414"/>
                  <a:pt x="2827" y="414"/>
                </a:cubicBezTo>
                <a:cubicBezTo>
                  <a:pt x="2827" y="411"/>
                  <a:pt x="2827" y="411"/>
                  <a:pt x="2827" y="411"/>
                </a:cubicBezTo>
                <a:cubicBezTo>
                  <a:pt x="2827" y="410"/>
                  <a:pt x="2827" y="410"/>
                  <a:pt x="2827" y="410"/>
                </a:cubicBezTo>
                <a:cubicBezTo>
                  <a:pt x="2827" y="408"/>
                  <a:pt x="2827" y="408"/>
                  <a:pt x="2827" y="408"/>
                </a:cubicBezTo>
                <a:cubicBezTo>
                  <a:pt x="2826" y="408"/>
                  <a:pt x="2826" y="408"/>
                  <a:pt x="2826" y="408"/>
                </a:cubicBezTo>
                <a:cubicBezTo>
                  <a:pt x="2825" y="403"/>
                  <a:pt x="2825" y="403"/>
                  <a:pt x="2825" y="403"/>
                </a:cubicBezTo>
                <a:cubicBezTo>
                  <a:pt x="2825" y="402"/>
                  <a:pt x="2825" y="402"/>
                  <a:pt x="2825" y="402"/>
                </a:cubicBezTo>
                <a:cubicBezTo>
                  <a:pt x="2825" y="400"/>
                  <a:pt x="2825" y="400"/>
                  <a:pt x="2825" y="400"/>
                </a:cubicBezTo>
                <a:cubicBezTo>
                  <a:pt x="2825" y="396"/>
                  <a:pt x="2825" y="396"/>
                  <a:pt x="2825" y="396"/>
                </a:cubicBezTo>
                <a:cubicBezTo>
                  <a:pt x="2822" y="393"/>
                  <a:pt x="2822" y="393"/>
                  <a:pt x="2822" y="393"/>
                </a:cubicBezTo>
                <a:cubicBezTo>
                  <a:pt x="2821" y="393"/>
                  <a:pt x="2821" y="393"/>
                  <a:pt x="2821" y="393"/>
                </a:cubicBezTo>
                <a:cubicBezTo>
                  <a:pt x="2820" y="391"/>
                  <a:pt x="2820" y="391"/>
                  <a:pt x="2820" y="391"/>
                </a:cubicBezTo>
                <a:cubicBezTo>
                  <a:pt x="2821" y="390"/>
                  <a:pt x="2821" y="390"/>
                  <a:pt x="2821" y="390"/>
                </a:cubicBezTo>
                <a:cubicBezTo>
                  <a:pt x="2823" y="388"/>
                  <a:pt x="2823" y="388"/>
                  <a:pt x="2823" y="388"/>
                </a:cubicBezTo>
                <a:cubicBezTo>
                  <a:pt x="2822" y="387"/>
                  <a:pt x="2822" y="387"/>
                  <a:pt x="2822" y="387"/>
                </a:cubicBezTo>
                <a:cubicBezTo>
                  <a:pt x="2821" y="388"/>
                  <a:pt x="2821" y="388"/>
                  <a:pt x="2821" y="388"/>
                </a:cubicBezTo>
                <a:cubicBezTo>
                  <a:pt x="2819" y="388"/>
                  <a:pt x="2819" y="388"/>
                  <a:pt x="2819" y="388"/>
                </a:cubicBezTo>
                <a:cubicBezTo>
                  <a:pt x="2817" y="381"/>
                  <a:pt x="2817" y="381"/>
                  <a:pt x="2817" y="381"/>
                </a:cubicBezTo>
                <a:cubicBezTo>
                  <a:pt x="2817" y="380"/>
                  <a:pt x="2817" y="380"/>
                  <a:pt x="2817" y="380"/>
                </a:cubicBezTo>
                <a:cubicBezTo>
                  <a:pt x="2817" y="378"/>
                  <a:pt x="2817" y="378"/>
                  <a:pt x="2817" y="378"/>
                </a:cubicBezTo>
                <a:cubicBezTo>
                  <a:pt x="2816" y="374"/>
                  <a:pt x="2816" y="374"/>
                  <a:pt x="2816" y="374"/>
                </a:cubicBezTo>
                <a:cubicBezTo>
                  <a:pt x="2817" y="373"/>
                  <a:pt x="2817" y="373"/>
                  <a:pt x="2817" y="373"/>
                </a:cubicBezTo>
                <a:cubicBezTo>
                  <a:pt x="2815" y="368"/>
                  <a:pt x="2815" y="368"/>
                  <a:pt x="2815" y="368"/>
                </a:cubicBezTo>
                <a:cubicBezTo>
                  <a:pt x="2817" y="367"/>
                  <a:pt x="2817" y="367"/>
                  <a:pt x="2817" y="367"/>
                </a:cubicBezTo>
                <a:cubicBezTo>
                  <a:pt x="2816" y="366"/>
                  <a:pt x="2816" y="366"/>
                  <a:pt x="2816" y="366"/>
                </a:cubicBezTo>
                <a:cubicBezTo>
                  <a:pt x="2816" y="365"/>
                  <a:pt x="2816" y="365"/>
                  <a:pt x="2816" y="365"/>
                </a:cubicBezTo>
                <a:cubicBezTo>
                  <a:pt x="2816" y="364"/>
                  <a:pt x="2816" y="364"/>
                  <a:pt x="2816" y="364"/>
                </a:cubicBezTo>
                <a:cubicBezTo>
                  <a:pt x="2815" y="363"/>
                  <a:pt x="2815" y="363"/>
                  <a:pt x="2815" y="363"/>
                </a:cubicBezTo>
                <a:cubicBezTo>
                  <a:pt x="2816" y="361"/>
                  <a:pt x="2816" y="361"/>
                  <a:pt x="2816" y="361"/>
                </a:cubicBezTo>
                <a:cubicBezTo>
                  <a:pt x="2816" y="359"/>
                  <a:pt x="2816" y="359"/>
                  <a:pt x="2816" y="359"/>
                </a:cubicBezTo>
                <a:cubicBezTo>
                  <a:pt x="2816" y="358"/>
                  <a:pt x="2816" y="358"/>
                  <a:pt x="2816" y="358"/>
                </a:cubicBezTo>
                <a:cubicBezTo>
                  <a:pt x="2817" y="357"/>
                  <a:pt x="2817" y="357"/>
                  <a:pt x="2817" y="357"/>
                </a:cubicBezTo>
                <a:cubicBezTo>
                  <a:pt x="2815" y="355"/>
                  <a:pt x="2815" y="355"/>
                  <a:pt x="2815" y="355"/>
                </a:cubicBezTo>
                <a:cubicBezTo>
                  <a:pt x="2815" y="353"/>
                  <a:pt x="2815" y="353"/>
                  <a:pt x="2815" y="353"/>
                </a:cubicBezTo>
                <a:cubicBezTo>
                  <a:pt x="2816" y="352"/>
                  <a:pt x="2816" y="352"/>
                  <a:pt x="2816" y="352"/>
                </a:cubicBezTo>
                <a:cubicBezTo>
                  <a:pt x="2816" y="350"/>
                  <a:pt x="2816" y="350"/>
                  <a:pt x="2816" y="350"/>
                </a:cubicBezTo>
                <a:cubicBezTo>
                  <a:pt x="2814" y="351"/>
                  <a:pt x="2814" y="351"/>
                  <a:pt x="2814" y="351"/>
                </a:cubicBezTo>
                <a:cubicBezTo>
                  <a:pt x="2813" y="351"/>
                  <a:pt x="2813" y="351"/>
                  <a:pt x="2813" y="351"/>
                </a:cubicBezTo>
                <a:cubicBezTo>
                  <a:pt x="2810" y="349"/>
                  <a:pt x="2810" y="349"/>
                  <a:pt x="2810" y="349"/>
                </a:cubicBezTo>
                <a:cubicBezTo>
                  <a:pt x="2811" y="347"/>
                  <a:pt x="2811" y="347"/>
                  <a:pt x="2811" y="347"/>
                </a:cubicBezTo>
                <a:cubicBezTo>
                  <a:pt x="2812" y="345"/>
                  <a:pt x="2812" y="345"/>
                  <a:pt x="2812" y="345"/>
                </a:cubicBezTo>
                <a:cubicBezTo>
                  <a:pt x="2812" y="343"/>
                  <a:pt x="2812" y="343"/>
                  <a:pt x="2812" y="343"/>
                </a:cubicBezTo>
                <a:cubicBezTo>
                  <a:pt x="2809" y="340"/>
                  <a:pt x="2809" y="340"/>
                  <a:pt x="2809" y="340"/>
                </a:cubicBezTo>
                <a:cubicBezTo>
                  <a:pt x="2807" y="340"/>
                  <a:pt x="2807" y="340"/>
                  <a:pt x="2807" y="340"/>
                </a:cubicBezTo>
                <a:cubicBezTo>
                  <a:pt x="2805" y="338"/>
                  <a:pt x="2805" y="338"/>
                  <a:pt x="2805" y="338"/>
                </a:cubicBezTo>
                <a:cubicBezTo>
                  <a:pt x="2807" y="337"/>
                  <a:pt x="2807" y="337"/>
                  <a:pt x="2807" y="337"/>
                </a:cubicBezTo>
                <a:cubicBezTo>
                  <a:pt x="2807" y="335"/>
                  <a:pt x="2807" y="335"/>
                  <a:pt x="2807" y="335"/>
                </a:cubicBezTo>
                <a:cubicBezTo>
                  <a:pt x="2808" y="334"/>
                  <a:pt x="2808" y="334"/>
                  <a:pt x="2808" y="334"/>
                </a:cubicBezTo>
                <a:cubicBezTo>
                  <a:pt x="2806" y="330"/>
                  <a:pt x="2806" y="330"/>
                  <a:pt x="2806" y="330"/>
                </a:cubicBezTo>
                <a:cubicBezTo>
                  <a:pt x="2805" y="330"/>
                  <a:pt x="2805" y="330"/>
                  <a:pt x="2805" y="330"/>
                </a:cubicBezTo>
                <a:cubicBezTo>
                  <a:pt x="2804" y="329"/>
                  <a:pt x="2804" y="329"/>
                  <a:pt x="2804" y="329"/>
                </a:cubicBezTo>
                <a:cubicBezTo>
                  <a:pt x="2802" y="329"/>
                  <a:pt x="2802" y="329"/>
                  <a:pt x="2802" y="329"/>
                </a:cubicBezTo>
                <a:cubicBezTo>
                  <a:pt x="2802" y="327"/>
                  <a:pt x="2802" y="327"/>
                  <a:pt x="2802" y="327"/>
                </a:cubicBezTo>
                <a:cubicBezTo>
                  <a:pt x="2797" y="326"/>
                  <a:pt x="2797" y="326"/>
                  <a:pt x="2797" y="326"/>
                </a:cubicBezTo>
                <a:cubicBezTo>
                  <a:pt x="2796" y="324"/>
                  <a:pt x="2796" y="324"/>
                  <a:pt x="2796" y="324"/>
                </a:cubicBezTo>
                <a:cubicBezTo>
                  <a:pt x="2793" y="324"/>
                  <a:pt x="2793" y="324"/>
                  <a:pt x="2793" y="324"/>
                </a:cubicBezTo>
                <a:cubicBezTo>
                  <a:pt x="2792" y="323"/>
                  <a:pt x="2792" y="323"/>
                  <a:pt x="2792" y="323"/>
                </a:cubicBezTo>
                <a:cubicBezTo>
                  <a:pt x="2791" y="321"/>
                  <a:pt x="2791" y="321"/>
                  <a:pt x="2791" y="321"/>
                </a:cubicBezTo>
                <a:cubicBezTo>
                  <a:pt x="2790" y="319"/>
                  <a:pt x="2790" y="319"/>
                  <a:pt x="2790" y="319"/>
                </a:cubicBezTo>
                <a:cubicBezTo>
                  <a:pt x="2787" y="319"/>
                  <a:pt x="2787" y="319"/>
                  <a:pt x="2787" y="319"/>
                </a:cubicBezTo>
                <a:cubicBezTo>
                  <a:pt x="2785" y="317"/>
                  <a:pt x="2785" y="317"/>
                  <a:pt x="2785" y="317"/>
                </a:cubicBezTo>
                <a:cubicBezTo>
                  <a:pt x="2783" y="319"/>
                  <a:pt x="2783" y="319"/>
                  <a:pt x="2783" y="319"/>
                </a:cubicBezTo>
                <a:cubicBezTo>
                  <a:pt x="2781" y="319"/>
                  <a:pt x="2781" y="319"/>
                  <a:pt x="2781" y="319"/>
                </a:cubicBezTo>
                <a:cubicBezTo>
                  <a:pt x="2780" y="320"/>
                  <a:pt x="2780" y="320"/>
                  <a:pt x="2780" y="320"/>
                </a:cubicBezTo>
                <a:cubicBezTo>
                  <a:pt x="2779" y="320"/>
                  <a:pt x="2779" y="320"/>
                  <a:pt x="2779" y="320"/>
                </a:cubicBezTo>
                <a:cubicBezTo>
                  <a:pt x="2778" y="320"/>
                  <a:pt x="2778" y="320"/>
                  <a:pt x="2778" y="320"/>
                </a:cubicBezTo>
                <a:cubicBezTo>
                  <a:pt x="2778" y="319"/>
                  <a:pt x="2778" y="319"/>
                  <a:pt x="2778" y="319"/>
                </a:cubicBezTo>
                <a:cubicBezTo>
                  <a:pt x="2776" y="317"/>
                  <a:pt x="2776" y="317"/>
                  <a:pt x="2776" y="317"/>
                </a:cubicBezTo>
                <a:cubicBezTo>
                  <a:pt x="2774" y="318"/>
                  <a:pt x="2774" y="318"/>
                  <a:pt x="2774" y="318"/>
                </a:cubicBezTo>
                <a:cubicBezTo>
                  <a:pt x="2775" y="321"/>
                  <a:pt x="2775" y="321"/>
                  <a:pt x="2775" y="321"/>
                </a:cubicBezTo>
                <a:cubicBezTo>
                  <a:pt x="2777" y="323"/>
                  <a:pt x="2777" y="323"/>
                  <a:pt x="2777" y="323"/>
                </a:cubicBezTo>
                <a:cubicBezTo>
                  <a:pt x="2776" y="325"/>
                  <a:pt x="2776" y="325"/>
                  <a:pt x="2776" y="325"/>
                </a:cubicBezTo>
                <a:cubicBezTo>
                  <a:pt x="2777" y="328"/>
                  <a:pt x="2777" y="328"/>
                  <a:pt x="2777" y="328"/>
                </a:cubicBezTo>
                <a:cubicBezTo>
                  <a:pt x="2776" y="331"/>
                  <a:pt x="2776" y="331"/>
                  <a:pt x="2776" y="331"/>
                </a:cubicBezTo>
                <a:cubicBezTo>
                  <a:pt x="2775" y="332"/>
                  <a:pt x="2775" y="332"/>
                  <a:pt x="2775" y="332"/>
                </a:cubicBezTo>
                <a:cubicBezTo>
                  <a:pt x="2775" y="329"/>
                  <a:pt x="2775" y="329"/>
                  <a:pt x="2775" y="329"/>
                </a:cubicBezTo>
                <a:cubicBezTo>
                  <a:pt x="2775" y="327"/>
                  <a:pt x="2775" y="327"/>
                  <a:pt x="2775" y="327"/>
                </a:cubicBezTo>
                <a:cubicBezTo>
                  <a:pt x="2774" y="324"/>
                  <a:pt x="2774" y="324"/>
                  <a:pt x="2774" y="324"/>
                </a:cubicBezTo>
                <a:cubicBezTo>
                  <a:pt x="2773" y="325"/>
                  <a:pt x="2773" y="325"/>
                  <a:pt x="2773" y="325"/>
                </a:cubicBezTo>
                <a:cubicBezTo>
                  <a:pt x="2774" y="327"/>
                  <a:pt x="2774" y="327"/>
                  <a:pt x="2774" y="327"/>
                </a:cubicBezTo>
                <a:cubicBezTo>
                  <a:pt x="2773" y="330"/>
                  <a:pt x="2773" y="330"/>
                  <a:pt x="2773" y="330"/>
                </a:cubicBezTo>
                <a:cubicBezTo>
                  <a:pt x="2771" y="332"/>
                  <a:pt x="2771" y="332"/>
                  <a:pt x="2771" y="332"/>
                </a:cubicBezTo>
                <a:cubicBezTo>
                  <a:pt x="2766" y="332"/>
                  <a:pt x="2766" y="332"/>
                  <a:pt x="2766" y="332"/>
                </a:cubicBezTo>
                <a:cubicBezTo>
                  <a:pt x="2765" y="332"/>
                  <a:pt x="2765" y="332"/>
                  <a:pt x="2765" y="332"/>
                </a:cubicBezTo>
                <a:cubicBezTo>
                  <a:pt x="2767" y="330"/>
                  <a:pt x="2767" y="330"/>
                  <a:pt x="2767" y="330"/>
                </a:cubicBezTo>
                <a:cubicBezTo>
                  <a:pt x="2768" y="330"/>
                  <a:pt x="2768" y="330"/>
                  <a:pt x="2768" y="330"/>
                </a:cubicBezTo>
                <a:cubicBezTo>
                  <a:pt x="2768" y="327"/>
                  <a:pt x="2768" y="327"/>
                  <a:pt x="2768" y="327"/>
                </a:cubicBezTo>
                <a:cubicBezTo>
                  <a:pt x="2769" y="326"/>
                  <a:pt x="2769" y="326"/>
                  <a:pt x="2769" y="326"/>
                </a:cubicBezTo>
                <a:cubicBezTo>
                  <a:pt x="2770" y="325"/>
                  <a:pt x="2770" y="325"/>
                  <a:pt x="2770" y="325"/>
                </a:cubicBezTo>
                <a:cubicBezTo>
                  <a:pt x="2767" y="325"/>
                  <a:pt x="2767" y="325"/>
                  <a:pt x="2767" y="325"/>
                </a:cubicBezTo>
                <a:cubicBezTo>
                  <a:pt x="2766" y="326"/>
                  <a:pt x="2766" y="326"/>
                  <a:pt x="2766" y="326"/>
                </a:cubicBezTo>
                <a:cubicBezTo>
                  <a:pt x="2766" y="324"/>
                  <a:pt x="2766" y="324"/>
                  <a:pt x="2766" y="324"/>
                </a:cubicBezTo>
                <a:cubicBezTo>
                  <a:pt x="2764" y="325"/>
                  <a:pt x="2764" y="325"/>
                  <a:pt x="2764" y="325"/>
                </a:cubicBezTo>
                <a:cubicBezTo>
                  <a:pt x="2763" y="327"/>
                  <a:pt x="2763" y="327"/>
                  <a:pt x="2763" y="327"/>
                </a:cubicBezTo>
                <a:cubicBezTo>
                  <a:pt x="2762" y="328"/>
                  <a:pt x="2762" y="328"/>
                  <a:pt x="2762" y="328"/>
                </a:cubicBezTo>
                <a:cubicBezTo>
                  <a:pt x="2761" y="328"/>
                  <a:pt x="2761" y="328"/>
                  <a:pt x="2761" y="328"/>
                </a:cubicBezTo>
                <a:cubicBezTo>
                  <a:pt x="2760" y="329"/>
                  <a:pt x="2760" y="329"/>
                  <a:pt x="2760" y="329"/>
                </a:cubicBezTo>
                <a:cubicBezTo>
                  <a:pt x="2758" y="327"/>
                  <a:pt x="2758" y="327"/>
                  <a:pt x="2758" y="327"/>
                </a:cubicBezTo>
                <a:cubicBezTo>
                  <a:pt x="2758" y="325"/>
                  <a:pt x="2758" y="325"/>
                  <a:pt x="2758" y="325"/>
                </a:cubicBezTo>
                <a:cubicBezTo>
                  <a:pt x="2757" y="321"/>
                  <a:pt x="2757" y="321"/>
                  <a:pt x="2757" y="321"/>
                </a:cubicBezTo>
                <a:cubicBezTo>
                  <a:pt x="2755" y="318"/>
                  <a:pt x="2755" y="318"/>
                  <a:pt x="2755" y="318"/>
                </a:cubicBezTo>
                <a:cubicBezTo>
                  <a:pt x="2755" y="313"/>
                  <a:pt x="2755" y="313"/>
                  <a:pt x="2755" y="313"/>
                </a:cubicBezTo>
                <a:cubicBezTo>
                  <a:pt x="2753" y="314"/>
                  <a:pt x="2753" y="314"/>
                  <a:pt x="2753" y="314"/>
                </a:cubicBezTo>
                <a:cubicBezTo>
                  <a:pt x="2752" y="313"/>
                  <a:pt x="2752" y="313"/>
                  <a:pt x="2752" y="313"/>
                </a:cubicBezTo>
                <a:cubicBezTo>
                  <a:pt x="2750" y="315"/>
                  <a:pt x="2750" y="315"/>
                  <a:pt x="2750" y="315"/>
                </a:cubicBezTo>
                <a:cubicBezTo>
                  <a:pt x="2748" y="315"/>
                  <a:pt x="2748" y="315"/>
                  <a:pt x="2748" y="315"/>
                </a:cubicBezTo>
                <a:cubicBezTo>
                  <a:pt x="2746" y="317"/>
                  <a:pt x="2746" y="317"/>
                  <a:pt x="2746" y="317"/>
                </a:cubicBezTo>
                <a:cubicBezTo>
                  <a:pt x="2744" y="317"/>
                  <a:pt x="2744" y="317"/>
                  <a:pt x="2744" y="317"/>
                </a:cubicBezTo>
                <a:cubicBezTo>
                  <a:pt x="2742" y="315"/>
                  <a:pt x="2742" y="315"/>
                  <a:pt x="2742" y="315"/>
                </a:cubicBezTo>
                <a:cubicBezTo>
                  <a:pt x="2740" y="316"/>
                  <a:pt x="2740" y="316"/>
                  <a:pt x="2740" y="316"/>
                </a:cubicBezTo>
                <a:cubicBezTo>
                  <a:pt x="2738" y="315"/>
                  <a:pt x="2738" y="315"/>
                  <a:pt x="2738" y="315"/>
                </a:cubicBezTo>
                <a:cubicBezTo>
                  <a:pt x="2737" y="313"/>
                  <a:pt x="2737" y="313"/>
                  <a:pt x="2737" y="313"/>
                </a:cubicBezTo>
                <a:cubicBezTo>
                  <a:pt x="2738" y="311"/>
                  <a:pt x="2738" y="311"/>
                  <a:pt x="2738" y="311"/>
                </a:cubicBezTo>
                <a:cubicBezTo>
                  <a:pt x="2739" y="309"/>
                  <a:pt x="2739" y="309"/>
                  <a:pt x="2739" y="309"/>
                </a:cubicBezTo>
                <a:cubicBezTo>
                  <a:pt x="2741" y="306"/>
                  <a:pt x="2741" y="306"/>
                  <a:pt x="2741" y="306"/>
                </a:cubicBezTo>
                <a:cubicBezTo>
                  <a:pt x="2741" y="304"/>
                  <a:pt x="2741" y="304"/>
                  <a:pt x="2741" y="304"/>
                </a:cubicBezTo>
                <a:cubicBezTo>
                  <a:pt x="2744" y="302"/>
                  <a:pt x="2744" y="302"/>
                  <a:pt x="2744" y="302"/>
                </a:cubicBezTo>
                <a:cubicBezTo>
                  <a:pt x="2744" y="298"/>
                  <a:pt x="2744" y="298"/>
                  <a:pt x="2744" y="298"/>
                </a:cubicBezTo>
                <a:cubicBezTo>
                  <a:pt x="2747" y="296"/>
                  <a:pt x="2747" y="296"/>
                  <a:pt x="2747" y="296"/>
                </a:cubicBezTo>
                <a:cubicBezTo>
                  <a:pt x="2747" y="293"/>
                  <a:pt x="2747" y="293"/>
                  <a:pt x="2747" y="293"/>
                </a:cubicBezTo>
                <a:cubicBezTo>
                  <a:pt x="2748" y="293"/>
                  <a:pt x="2748" y="293"/>
                  <a:pt x="2748" y="293"/>
                </a:cubicBezTo>
                <a:cubicBezTo>
                  <a:pt x="2748" y="292"/>
                  <a:pt x="2748" y="292"/>
                  <a:pt x="2748" y="292"/>
                </a:cubicBezTo>
                <a:cubicBezTo>
                  <a:pt x="2750" y="289"/>
                  <a:pt x="2750" y="289"/>
                  <a:pt x="2750" y="289"/>
                </a:cubicBezTo>
                <a:cubicBezTo>
                  <a:pt x="2750" y="287"/>
                  <a:pt x="2750" y="287"/>
                  <a:pt x="2750" y="287"/>
                </a:cubicBezTo>
                <a:cubicBezTo>
                  <a:pt x="2752" y="284"/>
                  <a:pt x="2752" y="284"/>
                  <a:pt x="2752" y="284"/>
                </a:cubicBezTo>
                <a:cubicBezTo>
                  <a:pt x="2751" y="282"/>
                  <a:pt x="2751" y="282"/>
                  <a:pt x="2751" y="282"/>
                </a:cubicBezTo>
                <a:cubicBezTo>
                  <a:pt x="2751" y="281"/>
                  <a:pt x="2751" y="281"/>
                  <a:pt x="2751" y="281"/>
                </a:cubicBezTo>
                <a:cubicBezTo>
                  <a:pt x="2751" y="277"/>
                  <a:pt x="2751" y="277"/>
                  <a:pt x="2751" y="277"/>
                </a:cubicBezTo>
                <a:cubicBezTo>
                  <a:pt x="2752" y="272"/>
                  <a:pt x="2752" y="272"/>
                  <a:pt x="2752" y="272"/>
                </a:cubicBezTo>
                <a:cubicBezTo>
                  <a:pt x="2753" y="272"/>
                  <a:pt x="2753" y="272"/>
                  <a:pt x="2753" y="272"/>
                </a:cubicBezTo>
                <a:cubicBezTo>
                  <a:pt x="2754" y="268"/>
                  <a:pt x="2754" y="268"/>
                  <a:pt x="2754" y="268"/>
                </a:cubicBezTo>
                <a:cubicBezTo>
                  <a:pt x="2755" y="268"/>
                  <a:pt x="2755" y="268"/>
                  <a:pt x="2755" y="268"/>
                </a:cubicBezTo>
                <a:cubicBezTo>
                  <a:pt x="2755" y="265"/>
                  <a:pt x="2755" y="265"/>
                  <a:pt x="2755" y="265"/>
                </a:cubicBezTo>
                <a:cubicBezTo>
                  <a:pt x="2758" y="262"/>
                  <a:pt x="2758" y="262"/>
                  <a:pt x="2758" y="262"/>
                </a:cubicBezTo>
                <a:cubicBezTo>
                  <a:pt x="2758" y="259"/>
                  <a:pt x="2758" y="259"/>
                  <a:pt x="2758" y="259"/>
                </a:cubicBezTo>
                <a:cubicBezTo>
                  <a:pt x="2760" y="258"/>
                  <a:pt x="2760" y="258"/>
                  <a:pt x="2760" y="258"/>
                </a:cubicBezTo>
                <a:cubicBezTo>
                  <a:pt x="2759" y="255"/>
                  <a:pt x="2759" y="255"/>
                  <a:pt x="2759" y="255"/>
                </a:cubicBezTo>
                <a:cubicBezTo>
                  <a:pt x="2760" y="254"/>
                  <a:pt x="2760" y="254"/>
                  <a:pt x="2760" y="254"/>
                </a:cubicBezTo>
                <a:cubicBezTo>
                  <a:pt x="2760" y="251"/>
                  <a:pt x="2760" y="251"/>
                  <a:pt x="2760" y="251"/>
                </a:cubicBezTo>
                <a:cubicBezTo>
                  <a:pt x="2761" y="251"/>
                  <a:pt x="2761" y="251"/>
                  <a:pt x="2761" y="251"/>
                </a:cubicBezTo>
                <a:cubicBezTo>
                  <a:pt x="2762" y="251"/>
                  <a:pt x="2762" y="251"/>
                  <a:pt x="2762" y="251"/>
                </a:cubicBezTo>
                <a:cubicBezTo>
                  <a:pt x="2762" y="249"/>
                  <a:pt x="2762" y="249"/>
                  <a:pt x="2762" y="249"/>
                </a:cubicBezTo>
                <a:cubicBezTo>
                  <a:pt x="2761" y="247"/>
                  <a:pt x="2761" y="247"/>
                  <a:pt x="2761" y="247"/>
                </a:cubicBezTo>
                <a:cubicBezTo>
                  <a:pt x="2761" y="243"/>
                  <a:pt x="2761" y="243"/>
                  <a:pt x="2761" y="243"/>
                </a:cubicBezTo>
                <a:cubicBezTo>
                  <a:pt x="2761" y="240"/>
                  <a:pt x="2761" y="240"/>
                  <a:pt x="2761" y="240"/>
                </a:cubicBezTo>
                <a:cubicBezTo>
                  <a:pt x="2762" y="237"/>
                  <a:pt x="2762" y="237"/>
                  <a:pt x="2762" y="237"/>
                </a:cubicBezTo>
                <a:cubicBezTo>
                  <a:pt x="2765" y="234"/>
                  <a:pt x="2765" y="234"/>
                  <a:pt x="2765" y="234"/>
                </a:cubicBezTo>
                <a:cubicBezTo>
                  <a:pt x="2766" y="230"/>
                  <a:pt x="2766" y="230"/>
                  <a:pt x="2766" y="230"/>
                </a:cubicBezTo>
                <a:cubicBezTo>
                  <a:pt x="2763" y="226"/>
                  <a:pt x="2763" y="226"/>
                  <a:pt x="2763" y="226"/>
                </a:cubicBezTo>
                <a:cubicBezTo>
                  <a:pt x="2763" y="224"/>
                  <a:pt x="2763" y="224"/>
                  <a:pt x="2763" y="224"/>
                </a:cubicBezTo>
                <a:cubicBezTo>
                  <a:pt x="2765" y="222"/>
                  <a:pt x="2765" y="222"/>
                  <a:pt x="2765" y="222"/>
                </a:cubicBezTo>
                <a:cubicBezTo>
                  <a:pt x="2766" y="220"/>
                  <a:pt x="2766" y="220"/>
                  <a:pt x="2766" y="220"/>
                </a:cubicBezTo>
                <a:cubicBezTo>
                  <a:pt x="2770" y="217"/>
                  <a:pt x="2770" y="217"/>
                  <a:pt x="2770" y="217"/>
                </a:cubicBezTo>
                <a:cubicBezTo>
                  <a:pt x="2770" y="215"/>
                  <a:pt x="2770" y="215"/>
                  <a:pt x="2770" y="215"/>
                </a:cubicBezTo>
                <a:cubicBezTo>
                  <a:pt x="2771" y="215"/>
                  <a:pt x="2771" y="215"/>
                  <a:pt x="2771" y="215"/>
                </a:cubicBezTo>
                <a:cubicBezTo>
                  <a:pt x="2773" y="216"/>
                  <a:pt x="2773" y="216"/>
                  <a:pt x="2773" y="216"/>
                </a:cubicBezTo>
                <a:cubicBezTo>
                  <a:pt x="2775" y="216"/>
                  <a:pt x="2775" y="216"/>
                  <a:pt x="2775" y="216"/>
                </a:cubicBezTo>
                <a:cubicBezTo>
                  <a:pt x="2778" y="213"/>
                  <a:pt x="2778" y="213"/>
                  <a:pt x="2778" y="213"/>
                </a:cubicBezTo>
                <a:cubicBezTo>
                  <a:pt x="2781" y="213"/>
                  <a:pt x="2781" y="213"/>
                  <a:pt x="2781" y="213"/>
                </a:cubicBezTo>
                <a:cubicBezTo>
                  <a:pt x="2784" y="211"/>
                  <a:pt x="2784" y="211"/>
                  <a:pt x="2784" y="211"/>
                </a:cubicBezTo>
                <a:cubicBezTo>
                  <a:pt x="2787" y="211"/>
                  <a:pt x="2787" y="211"/>
                  <a:pt x="2787" y="211"/>
                </a:cubicBezTo>
                <a:cubicBezTo>
                  <a:pt x="2789" y="210"/>
                  <a:pt x="2789" y="210"/>
                  <a:pt x="2789" y="210"/>
                </a:cubicBezTo>
                <a:cubicBezTo>
                  <a:pt x="2790" y="210"/>
                  <a:pt x="2790" y="210"/>
                  <a:pt x="2790" y="210"/>
                </a:cubicBezTo>
                <a:cubicBezTo>
                  <a:pt x="2792" y="210"/>
                  <a:pt x="2792" y="210"/>
                  <a:pt x="2792" y="210"/>
                </a:cubicBezTo>
                <a:cubicBezTo>
                  <a:pt x="2793" y="208"/>
                  <a:pt x="2793" y="208"/>
                  <a:pt x="2793" y="208"/>
                </a:cubicBezTo>
                <a:cubicBezTo>
                  <a:pt x="2795" y="209"/>
                  <a:pt x="2795" y="209"/>
                  <a:pt x="2795" y="209"/>
                </a:cubicBezTo>
                <a:cubicBezTo>
                  <a:pt x="2794" y="211"/>
                  <a:pt x="2794" y="211"/>
                  <a:pt x="2794" y="211"/>
                </a:cubicBezTo>
                <a:cubicBezTo>
                  <a:pt x="2795" y="212"/>
                  <a:pt x="2795" y="212"/>
                  <a:pt x="2795" y="212"/>
                </a:cubicBezTo>
                <a:cubicBezTo>
                  <a:pt x="2797" y="214"/>
                  <a:pt x="2797" y="214"/>
                  <a:pt x="2797" y="214"/>
                </a:cubicBezTo>
                <a:cubicBezTo>
                  <a:pt x="2798" y="212"/>
                  <a:pt x="2798" y="212"/>
                  <a:pt x="2798" y="212"/>
                </a:cubicBezTo>
                <a:cubicBezTo>
                  <a:pt x="2800" y="210"/>
                  <a:pt x="2800" y="210"/>
                  <a:pt x="2800" y="210"/>
                </a:cubicBezTo>
                <a:cubicBezTo>
                  <a:pt x="2797" y="208"/>
                  <a:pt x="2797" y="208"/>
                  <a:pt x="2797" y="208"/>
                </a:cubicBezTo>
                <a:cubicBezTo>
                  <a:pt x="2797" y="207"/>
                  <a:pt x="2797" y="207"/>
                  <a:pt x="2797" y="207"/>
                </a:cubicBezTo>
                <a:cubicBezTo>
                  <a:pt x="2799" y="206"/>
                  <a:pt x="2799" y="206"/>
                  <a:pt x="2799" y="206"/>
                </a:cubicBezTo>
                <a:cubicBezTo>
                  <a:pt x="2803" y="206"/>
                  <a:pt x="2803" y="206"/>
                  <a:pt x="2803" y="206"/>
                </a:cubicBezTo>
                <a:cubicBezTo>
                  <a:pt x="2805" y="205"/>
                  <a:pt x="2805" y="205"/>
                  <a:pt x="2805" y="205"/>
                </a:cubicBezTo>
                <a:cubicBezTo>
                  <a:pt x="2809" y="206"/>
                  <a:pt x="2809" y="206"/>
                  <a:pt x="2809" y="206"/>
                </a:cubicBezTo>
                <a:cubicBezTo>
                  <a:pt x="2810" y="207"/>
                  <a:pt x="2810" y="207"/>
                  <a:pt x="2810" y="207"/>
                </a:cubicBezTo>
                <a:cubicBezTo>
                  <a:pt x="2811" y="207"/>
                  <a:pt x="2811" y="207"/>
                  <a:pt x="2811" y="207"/>
                </a:cubicBezTo>
                <a:cubicBezTo>
                  <a:pt x="2812" y="206"/>
                  <a:pt x="2812" y="206"/>
                  <a:pt x="2812" y="206"/>
                </a:cubicBezTo>
                <a:cubicBezTo>
                  <a:pt x="2813" y="206"/>
                  <a:pt x="2813" y="206"/>
                  <a:pt x="2813" y="206"/>
                </a:cubicBezTo>
                <a:cubicBezTo>
                  <a:pt x="2813" y="204"/>
                  <a:pt x="2813" y="204"/>
                  <a:pt x="2813" y="204"/>
                </a:cubicBezTo>
                <a:cubicBezTo>
                  <a:pt x="2814" y="204"/>
                  <a:pt x="2814" y="204"/>
                  <a:pt x="2814" y="204"/>
                </a:cubicBezTo>
                <a:cubicBezTo>
                  <a:pt x="2817" y="204"/>
                  <a:pt x="2817" y="204"/>
                  <a:pt x="2817" y="204"/>
                </a:cubicBezTo>
                <a:cubicBezTo>
                  <a:pt x="2819" y="205"/>
                  <a:pt x="2819" y="205"/>
                  <a:pt x="2819" y="205"/>
                </a:cubicBezTo>
                <a:cubicBezTo>
                  <a:pt x="2823" y="204"/>
                  <a:pt x="2823" y="204"/>
                  <a:pt x="2823" y="204"/>
                </a:cubicBezTo>
                <a:cubicBezTo>
                  <a:pt x="2823" y="202"/>
                  <a:pt x="2823" y="202"/>
                  <a:pt x="2823" y="202"/>
                </a:cubicBezTo>
                <a:cubicBezTo>
                  <a:pt x="2821" y="202"/>
                  <a:pt x="2821" y="202"/>
                  <a:pt x="2821" y="202"/>
                </a:cubicBezTo>
                <a:cubicBezTo>
                  <a:pt x="2821" y="202"/>
                  <a:pt x="2821" y="202"/>
                  <a:pt x="2821" y="202"/>
                </a:cubicBezTo>
                <a:cubicBezTo>
                  <a:pt x="2818" y="201"/>
                  <a:pt x="2818" y="201"/>
                  <a:pt x="2818" y="201"/>
                </a:cubicBezTo>
                <a:cubicBezTo>
                  <a:pt x="2820" y="199"/>
                  <a:pt x="2820" y="199"/>
                  <a:pt x="2820" y="199"/>
                </a:cubicBezTo>
                <a:cubicBezTo>
                  <a:pt x="2820" y="200"/>
                  <a:pt x="2820" y="200"/>
                  <a:pt x="2820" y="200"/>
                </a:cubicBezTo>
                <a:cubicBezTo>
                  <a:pt x="2823" y="199"/>
                  <a:pt x="2823" y="199"/>
                  <a:pt x="2823" y="199"/>
                </a:cubicBezTo>
                <a:cubicBezTo>
                  <a:pt x="2820" y="197"/>
                  <a:pt x="2820" y="197"/>
                  <a:pt x="2820" y="197"/>
                </a:cubicBezTo>
                <a:cubicBezTo>
                  <a:pt x="2820" y="196"/>
                  <a:pt x="2820" y="196"/>
                  <a:pt x="2820" y="196"/>
                </a:cubicBezTo>
                <a:cubicBezTo>
                  <a:pt x="2822" y="196"/>
                  <a:pt x="2822" y="196"/>
                  <a:pt x="2822" y="196"/>
                </a:cubicBezTo>
                <a:cubicBezTo>
                  <a:pt x="2824" y="193"/>
                  <a:pt x="2824" y="193"/>
                  <a:pt x="2824" y="193"/>
                </a:cubicBezTo>
                <a:cubicBezTo>
                  <a:pt x="2827" y="193"/>
                  <a:pt x="2827" y="193"/>
                  <a:pt x="2827" y="193"/>
                </a:cubicBezTo>
                <a:cubicBezTo>
                  <a:pt x="2829" y="194"/>
                  <a:pt x="2829" y="194"/>
                  <a:pt x="2829" y="194"/>
                </a:cubicBezTo>
                <a:cubicBezTo>
                  <a:pt x="2830" y="193"/>
                  <a:pt x="2830" y="193"/>
                  <a:pt x="2830" y="193"/>
                </a:cubicBezTo>
                <a:cubicBezTo>
                  <a:pt x="2834" y="194"/>
                  <a:pt x="2834" y="194"/>
                  <a:pt x="2834" y="194"/>
                </a:cubicBezTo>
                <a:cubicBezTo>
                  <a:pt x="2837" y="194"/>
                  <a:pt x="2837" y="194"/>
                  <a:pt x="2837" y="194"/>
                </a:cubicBezTo>
                <a:cubicBezTo>
                  <a:pt x="2836" y="195"/>
                  <a:pt x="2836" y="195"/>
                  <a:pt x="2836" y="195"/>
                </a:cubicBezTo>
                <a:cubicBezTo>
                  <a:pt x="2838" y="196"/>
                  <a:pt x="2838" y="196"/>
                  <a:pt x="2838" y="196"/>
                </a:cubicBezTo>
                <a:cubicBezTo>
                  <a:pt x="2839" y="195"/>
                  <a:pt x="2839" y="195"/>
                  <a:pt x="2839" y="195"/>
                </a:cubicBezTo>
                <a:cubicBezTo>
                  <a:pt x="2838" y="194"/>
                  <a:pt x="2838" y="194"/>
                  <a:pt x="2838" y="194"/>
                </a:cubicBezTo>
                <a:cubicBezTo>
                  <a:pt x="2841" y="194"/>
                  <a:pt x="2841" y="194"/>
                  <a:pt x="2841" y="194"/>
                </a:cubicBezTo>
                <a:cubicBezTo>
                  <a:pt x="2844" y="194"/>
                  <a:pt x="2844" y="194"/>
                  <a:pt x="2844" y="194"/>
                </a:cubicBezTo>
                <a:cubicBezTo>
                  <a:pt x="2846" y="195"/>
                  <a:pt x="2846" y="195"/>
                  <a:pt x="2846" y="195"/>
                </a:cubicBezTo>
                <a:cubicBezTo>
                  <a:pt x="2848" y="196"/>
                  <a:pt x="2848" y="196"/>
                  <a:pt x="2848" y="196"/>
                </a:cubicBezTo>
                <a:cubicBezTo>
                  <a:pt x="2848" y="197"/>
                  <a:pt x="2848" y="197"/>
                  <a:pt x="2848" y="197"/>
                </a:cubicBezTo>
                <a:cubicBezTo>
                  <a:pt x="2851" y="197"/>
                  <a:pt x="2851" y="197"/>
                  <a:pt x="2851" y="197"/>
                </a:cubicBezTo>
                <a:cubicBezTo>
                  <a:pt x="2852" y="196"/>
                  <a:pt x="2852" y="196"/>
                  <a:pt x="2852" y="196"/>
                </a:cubicBezTo>
                <a:cubicBezTo>
                  <a:pt x="2854" y="196"/>
                  <a:pt x="2854" y="196"/>
                  <a:pt x="2854" y="196"/>
                </a:cubicBezTo>
                <a:cubicBezTo>
                  <a:pt x="2854" y="197"/>
                  <a:pt x="2854" y="197"/>
                  <a:pt x="2854" y="197"/>
                </a:cubicBezTo>
                <a:cubicBezTo>
                  <a:pt x="2851" y="200"/>
                  <a:pt x="2851" y="200"/>
                  <a:pt x="2851" y="200"/>
                </a:cubicBezTo>
                <a:cubicBezTo>
                  <a:pt x="2848" y="200"/>
                  <a:pt x="2848" y="200"/>
                  <a:pt x="2848" y="200"/>
                </a:cubicBezTo>
                <a:cubicBezTo>
                  <a:pt x="2847" y="201"/>
                  <a:pt x="2847" y="201"/>
                  <a:pt x="2847" y="201"/>
                </a:cubicBezTo>
                <a:cubicBezTo>
                  <a:pt x="2847" y="203"/>
                  <a:pt x="2847" y="203"/>
                  <a:pt x="2847" y="203"/>
                </a:cubicBezTo>
                <a:cubicBezTo>
                  <a:pt x="2846" y="203"/>
                  <a:pt x="2846" y="203"/>
                  <a:pt x="2846" y="203"/>
                </a:cubicBezTo>
                <a:cubicBezTo>
                  <a:pt x="2845" y="204"/>
                  <a:pt x="2845" y="204"/>
                  <a:pt x="2845" y="204"/>
                </a:cubicBezTo>
                <a:cubicBezTo>
                  <a:pt x="2846" y="204"/>
                  <a:pt x="2846" y="204"/>
                  <a:pt x="2846" y="204"/>
                </a:cubicBezTo>
                <a:cubicBezTo>
                  <a:pt x="2847" y="204"/>
                  <a:pt x="2847" y="204"/>
                  <a:pt x="2847" y="204"/>
                </a:cubicBezTo>
                <a:cubicBezTo>
                  <a:pt x="2850" y="208"/>
                  <a:pt x="2850" y="208"/>
                  <a:pt x="2850" y="208"/>
                </a:cubicBezTo>
                <a:cubicBezTo>
                  <a:pt x="2851" y="207"/>
                  <a:pt x="2851" y="207"/>
                  <a:pt x="2851" y="207"/>
                </a:cubicBezTo>
                <a:cubicBezTo>
                  <a:pt x="2854" y="206"/>
                  <a:pt x="2854" y="206"/>
                  <a:pt x="2854" y="206"/>
                </a:cubicBezTo>
                <a:cubicBezTo>
                  <a:pt x="2855" y="205"/>
                  <a:pt x="2855" y="205"/>
                  <a:pt x="2855" y="205"/>
                </a:cubicBezTo>
                <a:cubicBezTo>
                  <a:pt x="2855" y="204"/>
                  <a:pt x="2855" y="204"/>
                  <a:pt x="2855" y="204"/>
                </a:cubicBezTo>
                <a:cubicBezTo>
                  <a:pt x="2857" y="203"/>
                  <a:pt x="2857" y="203"/>
                  <a:pt x="2857" y="203"/>
                </a:cubicBezTo>
                <a:cubicBezTo>
                  <a:pt x="2855" y="201"/>
                  <a:pt x="2855" y="201"/>
                  <a:pt x="2855" y="201"/>
                </a:cubicBezTo>
                <a:cubicBezTo>
                  <a:pt x="2857" y="201"/>
                  <a:pt x="2857" y="201"/>
                  <a:pt x="2857" y="201"/>
                </a:cubicBezTo>
                <a:cubicBezTo>
                  <a:pt x="2859" y="203"/>
                  <a:pt x="2859" y="203"/>
                  <a:pt x="2859" y="203"/>
                </a:cubicBezTo>
                <a:cubicBezTo>
                  <a:pt x="2861" y="203"/>
                  <a:pt x="2861" y="203"/>
                  <a:pt x="2861" y="203"/>
                </a:cubicBezTo>
                <a:cubicBezTo>
                  <a:pt x="2862" y="202"/>
                  <a:pt x="2862" y="202"/>
                  <a:pt x="2862" y="202"/>
                </a:cubicBezTo>
                <a:cubicBezTo>
                  <a:pt x="2861" y="201"/>
                  <a:pt x="2861" y="201"/>
                  <a:pt x="2861" y="201"/>
                </a:cubicBezTo>
                <a:cubicBezTo>
                  <a:pt x="2862" y="200"/>
                  <a:pt x="2862" y="200"/>
                  <a:pt x="2862" y="200"/>
                </a:cubicBezTo>
                <a:cubicBezTo>
                  <a:pt x="2863" y="199"/>
                  <a:pt x="2863" y="199"/>
                  <a:pt x="2863" y="199"/>
                </a:cubicBezTo>
                <a:cubicBezTo>
                  <a:pt x="2864" y="199"/>
                  <a:pt x="2864" y="199"/>
                  <a:pt x="2864" y="199"/>
                </a:cubicBezTo>
                <a:cubicBezTo>
                  <a:pt x="2864" y="197"/>
                  <a:pt x="2864" y="197"/>
                  <a:pt x="2864" y="197"/>
                </a:cubicBezTo>
                <a:cubicBezTo>
                  <a:pt x="2863" y="196"/>
                  <a:pt x="2863" y="196"/>
                  <a:pt x="2863" y="196"/>
                </a:cubicBezTo>
                <a:cubicBezTo>
                  <a:pt x="2865" y="195"/>
                  <a:pt x="2865" y="195"/>
                  <a:pt x="2865" y="195"/>
                </a:cubicBezTo>
                <a:cubicBezTo>
                  <a:pt x="2866" y="196"/>
                  <a:pt x="2866" y="196"/>
                  <a:pt x="2866" y="196"/>
                </a:cubicBezTo>
                <a:cubicBezTo>
                  <a:pt x="2867" y="195"/>
                  <a:pt x="2867" y="195"/>
                  <a:pt x="2867" y="195"/>
                </a:cubicBezTo>
                <a:cubicBezTo>
                  <a:pt x="2868" y="196"/>
                  <a:pt x="2868" y="196"/>
                  <a:pt x="2868" y="196"/>
                </a:cubicBezTo>
                <a:cubicBezTo>
                  <a:pt x="2869" y="198"/>
                  <a:pt x="2869" y="198"/>
                  <a:pt x="2869" y="198"/>
                </a:cubicBezTo>
                <a:cubicBezTo>
                  <a:pt x="2870" y="199"/>
                  <a:pt x="2870" y="199"/>
                  <a:pt x="2870" y="199"/>
                </a:cubicBezTo>
                <a:cubicBezTo>
                  <a:pt x="2873" y="196"/>
                  <a:pt x="2873" y="196"/>
                  <a:pt x="2873" y="196"/>
                </a:cubicBezTo>
                <a:cubicBezTo>
                  <a:pt x="2871" y="195"/>
                  <a:pt x="2871" y="195"/>
                  <a:pt x="2871" y="195"/>
                </a:cubicBezTo>
                <a:cubicBezTo>
                  <a:pt x="2872" y="194"/>
                  <a:pt x="2872" y="194"/>
                  <a:pt x="2872" y="194"/>
                </a:cubicBezTo>
                <a:cubicBezTo>
                  <a:pt x="2873" y="193"/>
                  <a:pt x="2873" y="193"/>
                  <a:pt x="2873" y="193"/>
                </a:cubicBezTo>
                <a:cubicBezTo>
                  <a:pt x="2875" y="194"/>
                  <a:pt x="2875" y="194"/>
                  <a:pt x="2875" y="194"/>
                </a:cubicBezTo>
                <a:cubicBezTo>
                  <a:pt x="2876" y="193"/>
                  <a:pt x="2876" y="193"/>
                  <a:pt x="2876" y="193"/>
                </a:cubicBezTo>
                <a:cubicBezTo>
                  <a:pt x="2877" y="193"/>
                  <a:pt x="2877" y="193"/>
                  <a:pt x="2877" y="193"/>
                </a:cubicBezTo>
                <a:cubicBezTo>
                  <a:pt x="2878" y="192"/>
                  <a:pt x="2878" y="192"/>
                  <a:pt x="2878" y="192"/>
                </a:cubicBezTo>
                <a:cubicBezTo>
                  <a:pt x="2876" y="190"/>
                  <a:pt x="2876" y="190"/>
                  <a:pt x="2876" y="190"/>
                </a:cubicBezTo>
                <a:cubicBezTo>
                  <a:pt x="2876" y="190"/>
                  <a:pt x="2876" y="190"/>
                  <a:pt x="2876" y="190"/>
                </a:cubicBezTo>
                <a:cubicBezTo>
                  <a:pt x="2876" y="189"/>
                  <a:pt x="2876" y="189"/>
                  <a:pt x="2876" y="189"/>
                </a:cubicBezTo>
                <a:cubicBezTo>
                  <a:pt x="2874" y="188"/>
                  <a:pt x="2874" y="188"/>
                  <a:pt x="2874" y="188"/>
                </a:cubicBezTo>
                <a:cubicBezTo>
                  <a:pt x="2873" y="187"/>
                  <a:pt x="2873" y="187"/>
                  <a:pt x="2873" y="187"/>
                </a:cubicBezTo>
                <a:cubicBezTo>
                  <a:pt x="2873" y="187"/>
                  <a:pt x="2873" y="187"/>
                  <a:pt x="2873" y="187"/>
                </a:cubicBezTo>
                <a:cubicBezTo>
                  <a:pt x="2873" y="188"/>
                  <a:pt x="2873" y="188"/>
                  <a:pt x="2873" y="188"/>
                </a:cubicBezTo>
                <a:cubicBezTo>
                  <a:pt x="2872" y="188"/>
                  <a:pt x="2872" y="188"/>
                  <a:pt x="2872" y="188"/>
                </a:cubicBezTo>
                <a:cubicBezTo>
                  <a:pt x="2870" y="187"/>
                  <a:pt x="2870" y="187"/>
                  <a:pt x="2870" y="187"/>
                </a:cubicBezTo>
                <a:cubicBezTo>
                  <a:pt x="2869" y="188"/>
                  <a:pt x="2869" y="188"/>
                  <a:pt x="2869" y="188"/>
                </a:cubicBezTo>
                <a:cubicBezTo>
                  <a:pt x="2870" y="189"/>
                  <a:pt x="2870" y="189"/>
                  <a:pt x="2870" y="189"/>
                </a:cubicBezTo>
                <a:cubicBezTo>
                  <a:pt x="2868" y="189"/>
                  <a:pt x="2868" y="189"/>
                  <a:pt x="2868" y="189"/>
                </a:cubicBezTo>
                <a:cubicBezTo>
                  <a:pt x="2867" y="189"/>
                  <a:pt x="2867" y="189"/>
                  <a:pt x="2867" y="189"/>
                </a:cubicBezTo>
                <a:cubicBezTo>
                  <a:pt x="2865" y="188"/>
                  <a:pt x="2865" y="188"/>
                  <a:pt x="2865" y="188"/>
                </a:cubicBezTo>
                <a:cubicBezTo>
                  <a:pt x="2866" y="187"/>
                  <a:pt x="2866" y="187"/>
                  <a:pt x="2866" y="187"/>
                </a:cubicBezTo>
                <a:cubicBezTo>
                  <a:pt x="2867" y="186"/>
                  <a:pt x="2867" y="186"/>
                  <a:pt x="2867" y="186"/>
                </a:cubicBezTo>
                <a:cubicBezTo>
                  <a:pt x="2864" y="182"/>
                  <a:pt x="2864" y="182"/>
                  <a:pt x="2864" y="182"/>
                </a:cubicBezTo>
                <a:cubicBezTo>
                  <a:pt x="2866" y="181"/>
                  <a:pt x="2866" y="181"/>
                  <a:pt x="2866" y="181"/>
                </a:cubicBezTo>
                <a:cubicBezTo>
                  <a:pt x="2864" y="179"/>
                  <a:pt x="2864" y="179"/>
                  <a:pt x="2864" y="179"/>
                </a:cubicBezTo>
                <a:cubicBezTo>
                  <a:pt x="2865" y="175"/>
                  <a:pt x="2865" y="175"/>
                  <a:pt x="2865" y="175"/>
                </a:cubicBezTo>
                <a:cubicBezTo>
                  <a:pt x="2865" y="173"/>
                  <a:pt x="2865" y="173"/>
                  <a:pt x="2865" y="173"/>
                </a:cubicBezTo>
                <a:cubicBezTo>
                  <a:pt x="2866" y="171"/>
                  <a:pt x="2866" y="171"/>
                  <a:pt x="2866" y="171"/>
                </a:cubicBezTo>
                <a:cubicBezTo>
                  <a:pt x="2866" y="168"/>
                  <a:pt x="2866" y="168"/>
                  <a:pt x="2866" y="168"/>
                </a:cubicBezTo>
                <a:cubicBezTo>
                  <a:pt x="2868" y="166"/>
                  <a:pt x="2868" y="166"/>
                  <a:pt x="2868" y="166"/>
                </a:cubicBezTo>
                <a:cubicBezTo>
                  <a:pt x="2868" y="164"/>
                  <a:pt x="2868" y="164"/>
                  <a:pt x="2868" y="164"/>
                </a:cubicBezTo>
                <a:cubicBezTo>
                  <a:pt x="2868" y="163"/>
                  <a:pt x="2868" y="163"/>
                  <a:pt x="2868" y="163"/>
                </a:cubicBezTo>
                <a:cubicBezTo>
                  <a:pt x="2870" y="162"/>
                  <a:pt x="2870" y="162"/>
                  <a:pt x="2870" y="162"/>
                </a:cubicBezTo>
                <a:cubicBezTo>
                  <a:pt x="2867" y="160"/>
                  <a:pt x="2867" y="160"/>
                  <a:pt x="2867" y="160"/>
                </a:cubicBezTo>
                <a:cubicBezTo>
                  <a:pt x="2868" y="152"/>
                  <a:pt x="2868" y="152"/>
                  <a:pt x="2868" y="152"/>
                </a:cubicBezTo>
                <a:cubicBezTo>
                  <a:pt x="2870" y="151"/>
                  <a:pt x="2870" y="151"/>
                  <a:pt x="2870" y="151"/>
                </a:cubicBezTo>
                <a:cubicBezTo>
                  <a:pt x="2868" y="148"/>
                  <a:pt x="2868" y="148"/>
                  <a:pt x="2868" y="148"/>
                </a:cubicBezTo>
                <a:cubicBezTo>
                  <a:pt x="2868" y="146"/>
                  <a:pt x="2868" y="146"/>
                  <a:pt x="2868" y="146"/>
                </a:cubicBezTo>
                <a:cubicBezTo>
                  <a:pt x="2866" y="145"/>
                  <a:pt x="2866" y="145"/>
                  <a:pt x="2866" y="145"/>
                </a:cubicBezTo>
                <a:cubicBezTo>
                  <a:pt x="2866" y="144"/>
                  <a:pt x="2866" y="144"/>
                  <a:pt x="2866" y="144"/>
                </a:cubicBezTo>
                <a:cubicBezTo>
                  <a:pt x="2868" y="142"/>
                  <a:pt x="2868" y="142"/>
                  <a:pt x="2868" y="142"/>
                </a:cubicBezTo>
                <a:cubicBezTo>
                  <a:pt x="2868" y="139"/>
                  <a:pt x="2868" y="139"/>
                  <a:pt x="2868" y="139"/>
                </a:cubicBezTo>
                <a:cubicBezTo>
                  <a:pt x="2869" y="139"/>
                  <a:pt x="2869" y="139"/>
                  <a:pt x="2869" y="139"/>
                </a:cubicBezTo>
                <a:cubicBezTo>
                  <a:pt x="2871" y="135"/>
                  <a:pt x="2871" y="135"/>
                  <a:pt x="2871" y="135"/>
                </a:cubicBezTo>
                <a:cubicBezTo>
                  <a:pt x="2874" y="135"/>
                  <a:pt x="2874" y="135"/>
                  <a:pt x="2874" y="135"/>
                </a:cubicBezTo>
                <a:cubicBezTo>
                  <a:pt x="2875" y="135"/>
                  <a:pt x="2875" y="135"/>
                  <a:pt x="2875" y="135"/>
                </a:cubicBezTo>
                <a:cubicBezTo>
                  <a:pt x="2876" y="135"/>
                  <a:pt x="2876" y="135"/>
                  <a:pt x="2876" y="135"/>
                </a:cubicBezTo>
                <a:cubicBezTo>
                  <a:pt x="2877" y="134"/>
                  <a:pt x="2877" y="134"/>
                  <a:pt x="2877" y="134"/>
                </a:cubicBezTo>
                <a:cubicBezTo>
                  <a:pt x="2881" y="133"/>
                  <a:pt x="2881" y="133"/>
                  <a:pt x="2881" y="133"/>
                </a:cubicBezTo>
                <a:cubicBezTo>
                  <a:pt x="2881" y="132"/>
                  <a:pt x="2881" y="132"/>
                  <a:pt x="2881" y="132"/>
                </a:cubicBezTo>
                <a:cubicBezTo>
                  <a:pt x="2883" y="132"/>
                  <a:pt x="2883" y="132"/>
                  <a:pt x="2883" y="132"/>
                </a:cubicBezTo>
                <a:cubicBezTo>
                  <a:pt x="2883" y="130"/>
                  <a:pt x="2883" y="130"/>
                  <a:pt x="2883" y="130"/>
                </a:cubicBezTo>
                <a:cubicBezTo>
                  <a:pt x="2884" y="130"/>
                  <a:pt x="2884" y="130"/>
                  <a:pt x="2884" y="130"/>
                </a:cubicBezTo>
                <a:cubicBezTo>
                  <a:pt x="2885" y="129"/>
                  <a:pt x="2885" y="129"/>
                  <a:pt x="2885" y="129"/>
                </a:cubicBezTo>
                <a:cubicBezTo>
                  <a:pt x="2887" y="129"/>
                  <a:pt x="2887" y="129"/>
                  <a:pt x="2887" y="129"/>
                </a:cubicBezTo>
                <a:cubicBezTo>
                  <a:pt x="2888" y="131"/>
                  <a:pt x="2888" y="131"/>
                  <a:pt x="2888" y="131"/>
                </a:cubicBezTo>
                <a:cubicBezTo>
                  <a:pt x="2889" y="131"/>
                  <a:pt x="2889" y="131"/>
                  <a:pt x="2889" y="131"/>
                </a:cubicBezTo>
                <a:cubicBezTo>
                  <a:pt x="2889" y="131"/>
                  <a:pt x="2889" y="131"/>
                  <a:pt x="2889" y="131"/>
                </a:cubicBezTo>
                <a:cubicBezTo>
                  <a:pt x="2890" y="133"/>
                  <a:pt x="2890" y="133"/>
                  <a:pt x="2890" y="133"/>
                </a:cubicBezTo>
                <a:cubicBezTo>
                  <a:pt x="2891" y="133"/>
                  <a:pt x="2891" y="133"/>
                  <a:pt x="2891" y="133"/>
                </a:cubicBezTo>
                <a:cubicBezTo>
                  <a:pt x="2893" y="131"/>
                  <a:pt x="2893" y="131"/>
                  <a:pt x="2893" y="131"/>
                </a:cubicBezTo>
                <a:cubicBezTo>
                  <a:pt x="2893" y="129"/>
                  <a:pt x="2893" y="129"/>
                  <a:pt x="2893" y="129"/>
                </a:cubicBezTo>
                <a:cubicBezTo>
                  <a:pt x="2894" y="128"/>
                  <a:pt x="2894" y="128"/>
                  <a:pt x="2894" y="128"/>
                </a:cubicBezTo>
                <a:cubicBezTo>
                  <a:pt x="2894" y="126"/>
                  <a:pt x="2894" y="126"/>
                  <a:pt x="2894" y="126"/>
                </a:cubicBezTo>
                <a:cubicBezTo>
                  <a:pt x="2895" y="126"/>
                  <a:pt x="2895" y="126"/>
                  <a:pt x="2895" y="126"/>
                </a:cubicBezTo>
                <a:cubicBezTo>
                  <a:pt x="2896" y="127"/>
                  <a:pt x="2896" y="127"/>
                  <a:pt x="2896" y="127"/>
                </a:cubicBezTo>
                <a:cubicBezTo>
                  <a:pt x="2898" y="129"/>
                  <a:pt x="2898" y="129"/>
                  <a:pt x="2898" y="129"/>
                </a:cubicBezTo>
                <a:cubicBezTo>
                  <a:pt x="2898" y="131"/>
                  <a:pt x="2898" y="131"/>
                  <a:pt x="2898" y="131"/>
                </a:cubicBezTo>
                <a:cubicBezTo>
                  <a:pt x="2898" y="132"/>
                  <a:pt x="2898" y="132"/>
                  <a:pt x="2898" y="132"/>
                </a:cubicBezTo>
                <a:cubicBezTo>
                  <a:pt x="2899" y="133"/>
                  <a:pt x="2899" y="133"/>
                  <a:pt x="2899" y="133"/>
                </a:cubicBezTo>
                <a:cubicBezTo>
                  <a:pt x="2899" y="135"/>
                  <a:pt x="2899" y="135"/>
                  <a:pt x="2899" y="135"/>
                </a:cubicBezTo>
                <a:cubicBezTo>
                  <a:pt x="2898" y="137"/>
                  <a:pt x="2898" y="137"/>
                  <a:pt x="2898" y="137"/>
                </a:cubicBezTo>
                <a:cubicBezTo>
                  <a:pt x="2899" y="137"/>
                  <a:pt x="2899" y="137"/>
                  <a:pt x="2899" y="137"/>
                </a:cubicBezTo>
                <a:cubicBezTo>
                  <a:pt x="2899" y="139"/>
                  <a:pt x="2899" y="139"/>
                  <a:pt x="2899" y="139"/>
                </a:cubicBezTo>
                <a:cubicBezTo>
                  <a:pt x="2899" y="139"/>
                  <a:pt x="2899" y="139"/>
                  <a:pt x="2899" y="139"/>
                </a:cubicBezTo>
                <a:cubicBezTo>
                  <a:pt x="2899" y="141"/>
                  <a:pt x="2899" y="141"/>
                  <a:pt x="2899" y="141"/>
                </a:cubicBezTo>
                <a:cubicBezTo>
                  <a:pt x="2899" y="142"/>
                  <a:pt x="2899" y="142"/>
                  <a:pt x="2899" y="142"/>
                </a:cubicBezTo>
                <a:cubicBezTo>
                  <a:pt x="2898" y="143"/>
                  <a:pt x="2898" y="143"/>
                  <a:pt x="2898" y="143"/>
                </a:cubicBezTo>
                <a:cubicBezTo>
                  <a:pt x="2898" y="144"/>
                  <a:pt x="2898" y="144"/>
                  <a:pt x="2898" y="144"/>
                </a:cubicBezTo>
                <a:cubicBezTo>
                  <a:pt x="2899" y="145"/>
                  <a:pt x="2899" y="145"/>
                  <a:pt x="2899" y="145"/>
                </a:cubicBezTo>
                <a:cubicBezTo>
                  <a:pt x="2900" y="143"/>
                  <a:pt x="2900" y="143"/>
                  <a:pt x="2900" y="143"/>
                </a:cubicBezTo>
                <a:cubicBezTo>
                  <a:pt x="2901" y="145"/>
                  <a:pt x="2901" y="145"/>
                  <a:pt x="2901" y="145"/>
                </a:cubicBezTo>
                <a:cubicBezTo>
                  <a:pt x="2903" y="145"/>
                  <a:pt x="2903" y="145"/>
                  <a:pt x="2903" y="145"/>
                </a:cubicBezTo>
                <a:cubicBezTo>
                  <a:pt x="2903" y="149"/>
                  <a:pt x="2903" y="149"/>
                  <a:pt x="2903" y="149"/>
                </a:cubicBezTo>
                <a:cubicBezTo>
                  <a:pt x="2904" y="148"/>
                  <a:pt x="2904" y="148"/>
                  <a:pt x="2904" y="148"/>
                </a:cubicBezTo>
                <a:cubicBezTo>
                  <a:pt x="2904" y="146"/>
                  <a:pt x="2904" y="146"/>
                  <a:pt x="2904" y="146"/>
                </a:cubicBezTo>
                <a:cubicBezTo>
                  <a:pt x="2906" y="145"/>
                  <a:pt x="2906" y="145"/>
                  <a:pt x="2906" y="145"/>
                </a:cubicBezTo>
                <a:cubicBezTo>
                  <a:pt x="2908" y="145"/>
                  <a:pt x="2908" y="145"/>
                  <a:pt x="2908" y="145"/>
                </a:cubicBezTo>
                <a:cubicBezTo>
                  <a:pt x="2908" y="146"/>
                  <a:pt x="2908" y="146"/>
                  <a:pt x="2908" y="146"/>
                </a:cubicBezTo>
                <a:cubicBezTo>
                  <a:pt x="2907" y="149"/>
                  <a:pt x="2907" y="149"/>
                  <a:pt x="2907" y="149"/>
                </a:cubicBezTo>
                <a:cubicBezTo>
                  <a:pt x="2909" y="151"/>
                  <a:pt x="2909" y="151"/>
                  <a:pt x="2909" y="151"/>
                </a:cubicBezTo>
                <a:cubicBezTo>
                  <a:pt x="2909" y="153"/>
                  <a:pt x="2909" y="153"/>
                  <a:pt x="2909" y="153"/>
                </a:cubicBezTo>
                <a:cubicBezTo>
                  <a:pt x="2910" y="150"/>
                  <a:pt x="2910" y="150"/>
                  <a:pt x="2910" y="150"/>
                </a:cubicBezTo>
                <a:cubicBezTo>
                  <a:pt x="2912" y="149"/>
                  <a:pt x="2912" y="149"/>
                  <a:pt x="2912" y="149"/>
                </a:cubicBezTo>
                <a:cubicBezTo>
                  <a:pt x="2912" y="148"/>
                  <a:pt x="2912" y="148"/>
                  <a:pt x="2912" y="148"/>
                </a:cubicBezTo>
                <a:cubicBezTo>
                  <a:pt x="2913" y="146"/>
                  <a:pt x="2913" y="146"/>
                  <a:pt x="2913" y="146"/>
                </a:cubicBezTo>
                <a:cubicBezTo>
                  <a:pt x="2913" y="141"/>
                  <a:pt x="2913" y="141"/>
                  <a:pt x="2913" y="141"/>
                </a:cubicBezTo>
                <a:cubicBezTo>
                  <a:pt x="2914" y="140"/>
                  <a:pt x="2914" y="140"/>
                  <a:pt x="2914" y="140"/>
                </a:cubicBezTo>
                <a:cubicBezTo>
                  <a:pt x="2913" y="139"/>
                  <a:pt x="2913" y="139"/>
                  <a:pt x="2913" y="139"/>
                </a:cubicBezTo>
                <a:cubicBezTo>
                  <a:pt x="2914" y="137"/>
                  <a:pt x="2914" y="137"/>
                  <a:pt x="2914" y="137"/>
                </a:cubicBezTo>
                <a:cubicBezTo>
                  <a:pt x="2915" y="135"/>
                  <a:pt x="2915" y="135"/>
                  <a:pt x="2915" y="135"/>
                </a:cubicBezTo>
                <a:cubicBezTo>
                  <a:pt x="2914" y="135"/>
                  <a:pt x="2914" y="135"/>
                  <a:pt x="2914" y="135"/>
                </a:cubicBezTo>
                <a:cubicBezTo>
                  <a:pt x="2914" y="134"/>
                  <a:pt x="2914" y="134"/>
                  <a:pt x="2914" y="134"/>
                </a:cubicBezTo>
                <a:cubicBezTo>
                  <a:pt x="2915" y="134"/>
                  <a:pt x="2915" y="134"/>
                  <a:pt x="2915" y="134"/>
                </a:cubicBezTo>
                <a:cubicBezTo>
                  <a:pt x="2915" y="131"/>
                  <a:pt x="2915" y="131"/>
                  <a:pt x="2915" y="131"/>
                </a:cubicBezTo>
                <a:cubicBezTo>
                  <a:pt x="2914" y="129"/>
                  <a:pt x="2914" y="129"/>
                  <a:pt x="2914" y="129"/>
                </a:cubicBezTo>
                <a:cubicBezTo>
                  <a:pt x="2915" y="126"/>
                  <a:pt x="2915" y="126"/>
                  <a:pt x="2915" y="126"/>
                </a:cubicBezTo>
                <a:cubicBezTo>
                  <a:pt x="2917" y="125"/>
                  <a:pt x="2917" y="125"/>
                  <a:pt x="2917" y="125"/>
                </a:cubicBezTo>
                <a:cubicBezTo>
                  <a:pt x="2919" y="125"/>
                  <a:pt x="2919" y="125"/>
                  <a:pt x="2919" y="125"/>
                </a:cubicBezTo>
                <a:cubicBezTo>
                  <a:pt x="2920" y="126"/>
                  <a:pt x="2920" y="126"/>
                  <a:pt x="2920" y="126"/>
                </a:cubicBezTo>
                <a:cubicBezTo>
                  <a:pt x="2922" y="127"/>
                  <a:pt x="2922" y="127"/>
                  <a:pt x="2922" y="127"/>
                </a:cubicBezTo>
                <a:cubicBezTo>
                  <a:pt x="2922" y="126"/>
                  <a:pt x="2922" y="126"/>
                  <a:pt x="2922" y="126"/>
                </a:cubicBezTo>
                <a:cubicBezTo>
                  <a:pt x="2921" y="125"/>
                  <a:pt x="2921" y="125"/>
                  <a:pt x="2921" y="125"/>
                </a:cubicBezTo>
                <a:cubicBezTo>
                  <a:pt x="2921" y="123"/>
                  <a:pt x="2921" y="123"/>
                  <a:pt x="2921" y="123"/>
                </a:cubicBezTo>
                <a:cubicBezTo>
                  <a:pt x="2918" y="121"/>
                  <a:pt x="2918" y="121"/>
                  <a:pt x="2918" y="121"/>
                </a:cubicBezTo>
                <a:cubicBezTo>
                  <a:pt x="2917" y="117"/>
                  <a:pt x="2917" y="117"/>
                  <a:pt x="2917" y="117"/>
                </a:cubicBezTo>
                <a:cubicBezTo>
                  <a:pt x="2916" y="116"/>
                  <a:pt x="2916" y="116"/>
                  <a:pt x="2916" y="116"/>
                </a:cubicBezTo>
                <a:cubicBezTo>
                  <a:pt x="2916" y="115"/>
                  <a:pt x="2916" y="115"/>
                  <a:pt x="2916" y="115"/>
                </a:cubicBezTo>
                <a:cubicBezTo>
                  <a:pt x="2914" y="114"/>
                  <a:pt x="2914" y="114"/>
                  <a:pt x="2914" y="114"/>
                </a:cubicBezTo>
                <a:cubicBezTo>
                  <a:pt x="2913" y="111"/>
                  <a:pt x="2913" y="111"/>
                  <a:pt x="2913" y="111"/>
                </a:cubicBezTo>
                <a:cubicBezTo>
                  <a:pt x="2914" y="110"/>
                  <a:pt x="2914" y="110"/>
                  <a:pt x="2914" y="110"/>
                </a:cubicBezTo>
                <a:cubicBezTo>
                  <a:pt x="2914" y="108"/>
                  <a:pt x="2914" y="108"/>
                  <a:pt x="2914" y="108"/>
                </a:cubicBezTo>
                <a:cubicBezTo>
                  <a:pt x="2911" y="106"/>
                  <a:pt x="2911" y="106"/>
                  <a:pt x="2911" y="106"/>
                </a:cubicBezTo>
                <a:cubicBezTo>
                  <a:pt x="2912" y="104"/>
                  <a:pt x="2912" y="104"/>
                  <a:pt x="2912" y="104"/>
                </a:cubicBezTo>
                <a:cubicBezTo>
                  <a:pt x="2911" y="103"/>
                  <a:pt x="2911" y="103"/>
                  <a:pt x="2911" y="103"/>
                </a:cubicBezTo>
                <a:cubicBezTo>
                  <a:pt x="2914" y="101"/>
                  <a:pt x="2914" y="101"/>
                  <a:pt x="2914" y="101"/>
                </a:cubicBezTo>
                <a:cubicBezTo>
                  <a:pt x="2916" y="101"/>
                  <a:pt x="2916" y="101"/>
                  <a:pt x="2916" y="101"/>
                </a:cubicBezTo>
                <a:cubicBezTo>
                  <a:pt x="2917" y="99"/>
                  <a:pt x="2917" y="99"/>
                  <a:pt x="2917" y="99"/>
                </a:cubicBezTo>
                <a:cubicBezTo>
                  <a:pt x="2920" y="99"/>
                  <a:pt x="2920" y="99"/>
                  <a:pt x="2920" y="99"/>
                </a:cubicBezTo>
                <a:cubicBezTo>
                  <a:pt x="2921" y="98"/>
                  <a:pt x="2921" y="98"/>
                  <a:pt x="2921" y="98"/>
                </a:cubicBezTo>
                <a:cubicBezTo>
                  <a:pt x="2924" y="100"/>
                  <a:pt x="2924" y="100"/>
                  <a:pt x="2924" y="100"/>
                </a:cubicBezTo>
                <a:cubicBezTo>
                  <a:pt x="2927" y="100"/>
                  <a:pt x="2927" y="100"/>
                  <a:pt x="2927" y="100"/>
                </a:cubicBezTo>
                <a:cubicBezTo>
                  <a:pt x="2928" y="101"/>
                  <a:pt x="2928" y="101"/>
                  <a:pt x="2928" y="101"/>
                </a:cubicBezTo>
                <a:cubicBezTo>
                  <a:pt x="2930" y="101"/>
                  <a:pt x="2930" y="101"/>
                  <a:pt x="2930" y="101"/>
                </a:cubicBezTo>
                <a:cubicBezTo>
                  <a:pt x="2931" y="101"/>
                  <a:pt x="2931" y="101"/>
                  <a:pt x="2931" y="101"/>
                </a:cubicBezTo>
                <a:cubicBezTo>
                  <a:pt x="2928" y="102"/>
                  <a:pt x="2928" y="102"/>
                  <a:pt x="2928" y="102"/>
                </a:cubicBezTo>
                <a:cubicBezTo>
                  <a:pt x="2930" y="103"/>
                  <a:pt x="2930" y="103"/>
                  <a:pt x="2930" y="103"/>
                </a:cubicBezTo>
                <a:cubicBezTo>
                  <a:pt x="2928" y="104"/>
                  <a:pt x="2928" y="104"/>
                  <a:pt x="2928" y="104"/>
                </a:cubicBezTo>
                <a:cubicBezTo>
                  <a:pt x="2925" y="103"/>
                  <a:pt x="2925" y="103"/>
                  <a:pt x="2925" y="103"/>
                </a:cubicBezTo>
                <a:cubicBezTo>
                  <a:pt x="2923" y="106"/>
                  <a:pt x="2923" y="106"/>
                  <a:pt x="2923" y="106"/>
                </a:cubicBezTo>
                <a:cubicBezTo>
                  <a:pt x="2922" y="108"/>
                  <a:pt x="2922" y="108"/>
                  <a:pt x="2922" y="108"/>
                </a:cubicBezTo>
                <a:cubicBezTo>
                  <a:pt x="2923" y="110"/>
                  <a:pt x="2923" y="110"/>
                  <a:pt x="2923" y="110"/>
                </a:cubicBezTo>
                <a:cubicBezTo>
                  <a:pt x="2924" y="112"/>
                  <a:pt x="2924" y="112"/>
                  <a:pt x="2924" y="112"/>
                </a:cubicBezTo>
                <a:cubicBezTo>
                  <a:pt x="2925" y="113"/>
                  <a:pt x="2925" y="113"/>
                  <a:pt x="2925" y="113"/>
                </a:cubicBezTo>
                <a:cubicBezTo>
                  <a:pt x="2925" y="115"/>
                  <a:pt x="2925" y="115"/>
                  <a:pt x="2925" y="115"/>
                </a:cubicBezTo>
                <a:cubicBezTo>
                  <a:pt x="2927" y="118"/>
                  <a:pt x="2927" y="118"/>
                  <a:pt x="2927" y="118"/>
                </a:cubicBezTo>
                <a:cubicBezTo>
                  <a:pt x="2928" y="119"/>
                  <a:pt x="2928" y="119"/>
                  <a:pt x="2928" y="119"/>
                </a:cubicBezTo>
                <a:cubicBezTo>
                  <a:pt x="2928" y="119"/>
                  <a:pt x="2928" y="119"/>
                  <a:pt x="2928" y="119"/>
                </a:cubicBezTo>
                <a:cubicBezTo>
                  <a:pt x="2927" y="120"/>
                  <a:pt x="2927" y="120"/>
                  <a:pt x="2927" y="120"/>
                </a:cubicBezTo>
                <a:cubicBezTo>
                  <a:pt x="2929" y="121"/>
                  <a:pt x="2929" y="121"/>
                  <a:pt x="2929" y="121"/>
                </a:cubicBezTo>
                <a:cubicBezTo>
                  <a:pt x="2930" y="123"/>
                  <a:pt x="2930" y="123"/>
                  <a:pt x="2930" y="123"/>
                </a:cubicBezTo>
                <a:cubicBezTo>
                  <a:pt x="2930" y="124"/>
                  <a:pt x="2930" y="124"/>
                  <a:pt x="2930" y="124"/>
                </a:cubicBezTo>
                <a:cubicBezTo>
                  <a:pt x="2929" y="125"/>
                  <a:pt x="2929" y="125"/>
                  <a:pt x="2929" y="125"/>
                </a:cubicBezTo>
                <a:cubicBezTo>
                  <a:pt x="2930" y="130"/>
                  <a:pt x="2930" y="130"/>
                  <a:pt x="2930" y="130"/>
                </a:cubicBezTo>
                <a:cubicBezTo>
                  <a:pt x="2930" y="130"/>
                  <a:pt x="2930" y="130"/>
                  <a:pt x="2930" y="130"/>
                </a:cubicBezTo>
                <a:cubicBezTo>
                  <a:pt x="2931" y="129"/>
                  <a:pt x="2931" y="129"/>
                  <a:pt x="2931" y="129"/>
                </a:cubicBezTo>
                <a:cubicBezTo>
                  <a:pt x="2932" y="129"/>
                  <a:pt x="2932" y="129"/>
                  <a:pt x="2932" y="129"/>
                </a:cubicBezTo>
                <a:cubicBezTo>
                  <a:pt x="2933" y="131"/>
                  <a:pt x="2933" y="131"/>
                  <a:pt x="2933" y="131"/>
                </a:cubicBezTo>
                <a:cubicBezTo>
                  <a:pt x="2934" y="132"/>
                  <a:pt x="2934" y="132"/>
                  <a:pt x="2934" y="132"/>
                </a:cubicBezTo>
                <a:cubicBezTo>
                  <a:pt x="2932" y="135"/>
                  <a:pt x="2932" y="135"/>
                  <a:pt x="2932" y="135"/>
                </a:cubicBezTo>
                <a:cubicBezTo>
                  <a:pt x="2932" y="139"/>
                  <a:pt x="2932" y="139"/>
                  <a:pt x="2932" y="139"/>
                </a:cubicBezTo>
                <a:cubicBezTo>
                  <a:pt x="2934" y="140"/>
                  <a:pt x="2934" y="140"/>
                  <a:pt x="2934" y="140"/>
                </a:cubicBezTo>
                <a:cubicBezTo>
                  <a:pt x="2935" y="140"/>
                  <a:pt x="2935" y="140"/>
                  <a:pt x="2935" y="140"/>
                </a:cubicBezTo>
                <a:cubicBezTo>
                  <a:pt x="2937" y="140"/>
                  <a:pt x="2937" y="140"/>
                  <a:pt x="2937" y="140"/>
                </a:cubicBezTo>
                <a:cubicBezTo>
                  <a:pt x="2938" y="141"/>
                  <a:pt x="2938" y="141"/>
                  <a:pt x="2938" y="141"/>
                </a:cubicBezTo>
                <a:cubicBezTo>
                  <a:pt x="2937" y="142"/>
                  <a:pt x="2937" y="142"/>
                  <a:pt x="2937" y="142"/>
                </a:cubicBezTo>
                <a:cubicBezTo>
                  <a:pt x="2936" y="142"/>
                  <a:pt x="2936" y="142"/>
                  <a:pt x="2936" y="142"/>
                </a:cubicBezTo>
                <a:cubicBezTo>
                  <a:pt x="2934" y="143"/>
                  <a:pt x="2934" y="143"/>
                  <a:pt x="2934" y="143"/>
                </a:cubicBezTo>
                <a:cubicBezTo>
                  <a:pt x="2933" y="143"/>
                  <a:pt x="2933" y="143"/>
                  <a:pt x="2933" y="143"/>
                </a:cubicBezTo>
                <a:cubicBezTo>
                  <a:pt x="2931" y="146"/>
                  <a:pt x="2931" y="146"/>
                  <a:pt x="2931" y="146"/>
                </a:cubicBezTo>
                <a:cubicBezTo>
                  <a:pt x="2931" y="148"/>
                  <a:pt x="2931" y="148"/>
                  <a:pt x="2931" y="148"/>
                </a:cubicBezTo>
                <a:cubicBezTo>
                  <a:pt x="2928" y="149"/>
                  <a:pt x="2928" y="149"/>
                  <a:pt x="2928" y="149"/>
                </a:cubicBezTo>
                <a:cubicBezTo>
                  <a:pt x="2928" y="150"/>
                  <a:pt x="2928" y="150"/>
                  <a:pt x="2928" y="150"/>
                </a:cubicBezTo>
                <a:cubicBezTo>
                  <a:pt x="2926" y="151"/>
                  <a:pt x="2926" y="151"/>
                  <a:pt x="2926" y="151"/>
                </a:cubicBezTo>
                <a:cubicBezTo>
                  <a:pt x="2926" y="153"/>
                  <a:pt x="2926" y="153"/>
                  <a:pt x="2926" y="153"/>
                </a:cubicBezTo>
                <a:cubicBezTo>
                  <a:pt x="2925" y="154"/>
                  <a:pt x="2925" y="154"/>
                  <a:pt x="2925" y="154"/>
                </a:cubicBezTo>
                <a:cubicBezTo>
                  <a:pt x="2926" y="157"/>
                  <a:pt x="2926" y="157"/>
                  <a:pt x="2926" y="157"/>
                </a:cubicBezTo>
                <a:cubicBezTo>
                  <a:pt x="2927" y="156"/>
                  <a:pt x="2927" y="156"/>
                  <a:pt x="2927" y="156"/>
                </a:cubicBezTo>
                <a:cubicBezTo>
                  <a:pt x="2927" y="159"/>
                  <a:pt x="2927" y="159"/>
                  <a:pt x="2927" y="159"/>
                </a:cubicBezTo>
                <a:cubicBezTo>
                  <a:pt x="2925" y="162"/>
                  <a:pt x="2925" y="162"/>
                  <a:pt x="2925" y="162"/>
                </a:cubicBezTo>
                <a:cubicBezTo>
                  <a:pt x="2926" y="163"/>
                  <a:pt x="2926" y="163"/>
                  <a:pt x="2926" y="163"/>
                </a:cubicBezTo>
                <a:cubicBezTo>
                  <a:pt x="2927" y="164"/>
                  <a:pt x="2927" y="164"/>
                  <a:pt x="2927" y="164"/>
                </a:cubicBezTo>
                <a:cubicBezTo>
                  <a:pt x="2926" y="168"/>
                  <a:pt x="2926" y="168"/>
                  <a:pt x="2926" y="168"/>
                </a:cubicBezTo>
                <a:cubicBezTo>
                  <a:pt x="2927" y="172"/>
                  <a:pt x="2927" y="172"/>
                  <a:pt x="2927" y="172"/>
                </a:cubicBezTo>
                <a:cubicBezTo>
                  <a:pt x="2926" y="173"/>
                  <a:pt x="2926" y="173"/>
                  <a:pt x="2926" y="173"/>
                </a:cubicBezTo>
                <a:cubicBezTo>
                  <a:pt x="2924" y="174"/>
                  <a:pt x="2924" y="174"/>
                  <a:pt x="2924" y="174"/>
                </a:cubicBezTo>
                <a:cubicBezTo>
                  <a:pt x="2923" y="176"/>
                  <a:pt x="2923" y="176"/>
                  <a:pt x="2923" y="176"/>
                </a:cubicBezTo>
                <a:cubicBezTo>
                  <a:pt x="2924" y="177"/>
                  <a:pt x="2924" y="177"/>
                  <a:pt x="2924" y="177"/>
                </a:cubicBezTo>
                <a:cubicBezTo>
                  <a:pt x="2924" y="181"/>
                  <a:pt x="2924" y="181"/>
                  <a:pt x="2924" y="181"/>
                </a:cubicBezTo>
                <a:cubicBezTo>
                  <a:pt x="2923" y="182"/>
                  <a:pt x="2923" y="182"/>
                  <a:pt x="2923" y="182"/>
                </a:cubicBezTo>
                <a:cubicBezTo>
                  <a:pt x="2923" y="183"/>
                  <a:pt x="2923" y="183"/>
                  <a:pt x="2923" y="183"/>
                </a:cubicBezTo>
                <a:cubicBezTo>
                  <a:pt x="2925" y="185"/>
                  <a:pt x="2925" y="185"/>
                  <a:pt x="2925" y="185"/>
                </a:cubicBezTo>
                <a:cubicBezTo>
                  <a:pt x="2924" y="185"/>
                  <a:pt x="2924" y="185"/>
                  <a:pt x="2924" y="185"/>
                </a:cubicBezTo>
                <a:cubicBezTo>
                  <a:pt x="2923" y="188"/>
                  <a:pt x="2923" y="188"/>
                  <a:pt x="2923" y="188"/>
                </a:cubicBezTo>
                <a:cubicBezTo>
                  <a:pt x="2924" y="190"/>
                  <a:pt x="2924" y="190"/>
                  <a:pt x="2924" y="190"/>
                </a:cubicBezTo>
                <a:cubicBezTo>
                  <a:pt x="2924" y="192"/>
                  <a:pt x="2924" y="192"/>
                  <a:pt x="2924" y="192"/>
                </a:cubicBezTo>
                <a:cubicBezTo>
                  <a:pt x="2922" y="194"/>
                  <a:pt x="2922" y="194"/>
                  <a:pt x="2922" y="194"/>
                </a:cubicBezTo>
                <a:cubicBezTo>
                  <a:pt x="2923" y="196"/>
                  <a:pt x="2923" y="196"/>
                  <a:pt x="2923" y="196"/>
                </a:cubicBezTo>
                <a:cubicBezTo>
                  <a:pt x="2923" y="200"/>
                  <a:pt x="2923" y="200"/>
                  <a:pt x="2923" y="200"/>
                </a:cubicBezTo>
                <a:cubicBezTo>
                  <a:pt x="2925" y="204"/>
                  <a:pt x="2925" y="204"/>
                  <a:pt x="2925" y="204"/>
                </a:cubicBezTo>
                <a:cubicBezTo>
                  <a:pt x="2921" y="210"/>
                  <a:pt x="2921" y="210"/>
                  <a:pt x="2921" y="210"/>
                </a:cubicBezTo>
                <a:cubicBezTo>
                  <a:pt x="2923" y="212"/>
                  <a:pt x="2923" y="212"/>
                  <a:pt x="2923" y="212"/>
                </a:cubicBezTo>
                <a:cubicBezTo>
                  <a:pt x="2921" y="212"/>
                  <a:pt x="2921" y="212"/>
                  <a:pt x="2921" y="212"/>
                </a:cubicBezTo>
                <a:cubicBezTo>
                  <a:pt x="2918" y="212"/>
                  <a:pt x="2918" y="212"/>
                  <a:pt x="2918" y="212"/>
                </a:cubicBezTo>
                <a:cubicBezTo>
                  <a:pt x="2918" y="216"/>
                  <a:pt x="2918" y="216"/>
                  <a:pt x="2918" y="216"/>
                </a:cubicBezTo>
                <a:cubicBezTo>
                  <a:pt x="2918" y="218"/>
                  <a:pt x="2918" y="218"/>
                  <a:pt x="2918" y="218"/>
                </a:cubicBezTo>
                <a:cubicBezTo>
                  <a:pt x="2916" y="220"/>
                  <a:pt x="2916" y="220"/>
                  <a:pt x="2916" y="220"/>
                </a:cubicBezTo>
                <a:cubicBezTo>
                  <a:pt x="2912" y="218"/>
                  <a:pt x="2912" y="218"/>
                  <a:pt x="2912" y="218"/>
                </a:cubicBezTo>
                <a:cubicBezTo>
                  <a:pt x="2910" y="220"/>
                  <a:pt x="2910" y="220"/>
                  <a:pt x="2910" y="220"/>
                </a:cubicBezTo>
                <a:cubicBezTo>
                  <a:pt x="2910" y="221"/>
                  <a:pt x="2910" y="221"/>
                  <a:pt x="2910" y="221"/>
                </a:cubicBezTo>
                <a:cubicBezTo>
                  <a:pt x="2913" y="221"/>
                  <a:pt x="2913" y="221"/>
                  <a:pt x="2913" y="221"/>
                </a:cubicBezTo>
                <a:cubicBezTo>
                  <a:pt x="2917" y="227"/>
                  <a:pt x="2917" y="227"/>
                  <a:pt x="2917" y="227"/>
                </a:cubicBezTo>
                <a:cubicBezTo>
                  <a:pt x="2916" y="232"/>
                  <a:pt x="2916" y="232"/>
                  <a:pt x="2916" y="232"/>
                </a:cubicBezTo>
                <a:cubicBezTo>
                  <a:pt x="2916" y="233"/>
                  <a:pt x="2916" y="233"/>
                  <a:pt x="2916" y="233"/>
                </a:cubicBezTo>
                <a:cubicBezTo>
                  <a:pt x="2917" y="234"/>
                  <a:pt x="2917" y="234"/>
                  <a:pt x="2917" y="234"/>
                </a:cubicBezTo>
                <a:cubicBezTo>
                  <a:pt x="2915" y="235"/>
                  <a:pt x="2915" y="235"/>
                  <a:pt x="2915" y="235"/>
                </a:cubicBezTo>
                <a:cubicBezTo>
                  <a:pt x="2915" y="238"/>
                  <a:pt x="2915" y="238"/>
                  <a:pt x="2915" y="238"/>
                </a:cubicBezTo>
                <a:cubicBezTo>
                  <a:pt x="2912" y="241"/>
                  <a:pt x="2912" y="241"/>
                  <a:pt x="2912" y="241"/>
                </a:cubicBezTo>
                <a:cubicBezTo>
                  <a:pt x="2912" y="245"/>
                  <a:pt x="2912" y="245"/>
                  <a:pt x="2912" y="245"/>
                </a:cubicBezTo>
                <a:cubicBezTo>
                  <a:pt x="2914" y="249"/>
                  <a:pt x="2914" y="249"/>
                  <a:pt x="2914" y="249"/>
                </a:cubicBezTo>
                <a:cubicBezTo>
                  <a:pt x="2914" y="256"/>
                  <a:pt x="2914" y="256"/>
                  <a:pt x="2914" y="256"/>
                </a:cubicBezTo>
                <a:cubicBezTo>
                  <a:pt x="2917" y="260"/>
                  <a:pt x="2917" y="260"/>
                  <a:pt x="2917" y="260"/>
                </a:cubicBezTo>
                <a:cubicBezTo>
                  <a:pt x="2917" y="264"/>
                  <a:pt x="2917" y="264"/>
                  <a:pt x="2917" y="264"/>
                </a:cubicBezTo>
                <a:cubicBezTo>
                  <a:pt x="2922" y="274"/>
                  <a:pt x="2922" y="274"/>
                  <a:pt x="2922" y="274"/>
                </a:cubicBezTo>
                <a:cubicBezTo>
                  <a:pt x="2927" y="285"/>
                  <a:pt x="2927" y="285"/>
                  <a:pt x="2927" y="285"/>
                </a:cubicBezTo>
                <a:cubicBezTo>
                  <a:pt x="2933" y="294"/>
                  <a:pt x="2933" y="294"/>
                  <a:pt x="2933" y="294"/>
                </a:cubicBezTo>
                <a:cubicBezTo>
                  <a:pt x="2935" y="296"/>
                  <a:pt x="2935" y="296"/>
                  <a:pt x="2935" y="296"/>
                </a:cubicBezTo>
                <a:cubicBezTo>
                  <a:pt x="2935" y="299"/>
                  <a:pt x="2935" y="299"/>
                  <a:pt x="2935" y="299"/>
                </a:cubicBezTo>
                <a:cubicBezTo>
                  <a:pt x="2943" y="308"/>
                  <a:pt x="2943" y="308"/>
                  <a:pt x="2943" y="308"/>
                </a:cubicBezTo>
                <a:cubicBezTo>
                  <a:pt x="2950" y="322"/>
                  <a:pt x="2950" y="322"/>
                  <a:pt x="2950" y="322"/>
                </a:cubicBezTo>
                <a:cubicBezTo>
                  <a:pt x="2954" y="324"/>
                  <a:pt x="2954" y="324"/>
                  <a:pt x="2954" y="324"/>
                </a:cubicBezTo>
                <a:cubicBezTo>
                  <a:pt x="2957" y="324"/>
                  <a:pt x="2957" y="324"/>
                  <a:pt x="2957" y="324"/>
                </a:cubicBezTo>
                <a:cubicBezTo>
                  <a:pt x="2958" y="323"/>
                  <a:pt x="2958" y="323"/>
                  <a:pt x="2958" y="323"/>
                </a:cubicBezTo>
                <a:cubicBezTo>
                  <a:pt x="2957" y="325"/>
                  <a:pt x="2957" y="325"/>
                  <a:pt x="2957" y="325"/>
                </a:cubicBezTo>
                <a:cubicBezTo>
                  <a:pt x="2956" y="326"/>
                  <a:pt x="2956" y="326"/>
                  <a:pt x="2956" y="326"/>
                </a:cubicBezTo>
                <a:cubicBezTo>
                  <a:pt x="2954" y="326"/>
                  <a:pt x="2954" y="326"/>
                  <a:pt x="2954" y="326"/>
                </a:cubicBezTo>
                <a:cubicBezTo>
                  <a:pt x="2957" y="330"/>
                  <a:pt x="2957" y="330"/>
                  <a:pt x="2957" y="330"/>
                </a:cubicBezTo>
                <a:cubicBezTo>
                  <a:pt x="2961" y="338"/>
                  <a:pt x="2961" y="338"/>
                  <a:pt x="2961" y="338"/>
                </a:cubicBezTo>
                <a:cubicBezTo>
                  <a:pt x="2961" y="342"/>
                  <a:pt x="2961" y="342"/>
                  <a:pt x="2961" y="342"/>
                </a:cubicBezTo>
                <a:cubicBezTo>
                  <a:pt x="2963" y="345"/>
                  <a:pt x="2963" y="345"/>
                  <a:pt x="2963" y="345"/>
                </a:cubicBezTo>
                <a:cubicBezTo>
                  <a:pt x="2967" y="346"/>
                  <a:pt x="2967" y="346"/>
                  <a:pt x="2967" y="346"/>
                </a:cubicBezTo>
                <a:cubicBezTo>
                  <a:pt x="2968" y="347"/>
                  <a:pt x="2968" y="347"/>
                  <a:pt x="2968" y="347"/>
                </a:cubicBezTo>
                <a:cubicBezTo>
                  <a:pt x="2968" y="349"/>
                  <a:pt x="2968" y="349"/>
                  <a:pt x="2968" y="349"/>
                </a:cubicBezTo>
                <a:cubicBezTo>
                  <a:pt x="2968" y="351"/>
                  <a:pt x="2968" y="351"/>
                  <a:pt x="2968" y="351"/>
                </a:cubicBezTo>
                <a:cubicBezTo>
                  <a:pt x="2968" y="353"/>
                  <a:pt x="2968" y="353"/>
                  <a:pt x="2968" y="353"/>
                </a:cubicBezTo>
                <a:cubicBezTo>
                  <a:pt x="2970" y="348"/>
                  <a:pt x="2970" y="348"/>
                  <a:pt x="2970" y="348"/>
                </a:cubicBezTo>
                <a:cubicBezTo>
                  <a:pt x="2971" y="344"/>
                  <a:pt x="2971" y="344"/>
                  <a:pt x="2971" y="344"/>
                </a:cubicBezTo>
                <a:cubicBezTo>
                  <a:pt x="2972" y="343"/>
                  <a:pt x="2972" y="343"/>
                  <a:pt x="2972" y="343"/>
                </a:cubicBezTo>
                <a:cubicBezTo>
                  <a:pt x="2972" y="341"/>
                  <a:pt x="2972" y="341"/>
                  <a:pt x="2972" y="341"/>
                </a:cubicBezTo>
                <a:cubicBezTo>
                  <a:pt x="2975" y="339"/>
                  <a:pt x="2975" y="339"/>
                  <a:pt x="2975" y="339"/>
                </a:cubicBezTo>
                <a:cubicBezTo>
                  <a:pt x="2975" y="337"/>
                  <a:pt x="2975" y="337"/>
                  <a:pt x="2975" y="337"/>
                </a:cubicBezTo>
                <a:cubicBezTo>
                  <a:pt x="2975" y="336"/>
                  <a:pt x="2975" y="336"/>
                  <a:pt x="2975" y="336"/>
                </a:cubicBezTo>
                <a:cubicBezTo>
                  <a:pt x="2975" y="335"/>
                  <a:pt x="2975" y="335"/>
                  <a:pt x="2975" y="335"/>
                </a:cubicBezTo>
                <a:cubicBezTo>
                  <a:pt x="2976" y="330"/>
                  <a:pt x="2976" y="330"/>
                  <a:pt x="2976" y="330"/>
                </a:cubicBezTo>
                <a:cubicBezTo>
                  <a:pt x="2975" y="328"/>
                  <a:pt x="2975" y="328"/>
                  <a:pt x="2975" y="328"/>
                </a:cubicBezTo>
                <a:cubicBezTo>
                  <a:pt x="2975" y="325"/>
                  <a:pt x="2975" y="325"/>
                  <a:pt x="2975" y="325"/>
                </a:cubicBezTo>
                <a:cubicBezTo>
                  <a:pt x="2977" y="324"/>
                  <a:pt x="2977" y="324"/>
                  <a:pt x="2977" y="324"/>
                </a:cubicBezTo>
                <a:cubicBezTo>
                  <a:pt x="2975" y="322"/>
                  <a:pt x="2975" y="322"/>
                  <a:pt x="2975" y="322"/>
                </a:cubicBezTo>
                <a:cubicBezTo>
                  <a:pt x="2974" y="323"/>
                  <a:pt x="2974" y="323"/>
                  <a:pt x="2974" y="323"/>
                </a:cubicBezTo>
                <a:cubicBezTo>
                  <a:pt x="2973" y="322"/>
                  <a:pt x="2973" y="322"/>
                  <a:pt x="2973" y="322"/>
                </a:cubicBezTo>
                <a:cubicBezTo>
                  <a:pt x="2973" y="321"/>
                  <a:pt x="2973" y="321"/>
                  <a:pt x="2973" y="321"/>
                </a:cubicBezTo>
                <a:cubicBezTo>
                  <a:pt x="2972" y="318"/>
                  <a:pt x="2972" y="318"/>
                  <a:pt x="2972" y="318"/>
                </a:cubicBezTo>
                <a:cubicBezTo>
                  <a:pt x="2973" y="318"/>
                  <a:pt x="2973" y="318"/>
                  <a:pt x="2973" y="318"/>
                </a:cubicBezTo>
                <a:cubicBezTo>
                  <a:pt x="2974" y="317"/>
                  <a:pt x="2974" y="317"/>
                  <a:pt x="2974" y="317"/>
                </a:cubicBezTo>
                <a:cubicBezTo>
                  <a:pt x="2972" y="315"/>
                  <a:pt x="2972" y="315"/>
                  <a:pt x="2972" y="315"/>
                </a:cubicBezTo>
                <a:cubicBezTo>
                  <a:pt x="2972" y="314"/>
                  <a:pt x="2972" y="314"/>
                  <a:pt x="2972" y="314"/>
                </a:cubicBezTo>
                <a:cubicBezTo>
                  <a:pt x="2973" y="312"/>
                  <a:pt x="2973" y="312"/>
                  <a:pt x="2973" y="312"/>
                </a:cubicBezTo>
                <a:cubicBezTo>
                  <a:pt x="2971" y="312"/>
                  <a:pt x="2971" y="312"/>
                  <a:pt x="2971" y="312"/>
                </a:cubicBezTo>
                <a:cubicBezTo>
                  <a:pt x="2969" y="311"/>
                  <a:pt x="2969" y="311"/>
                  <a:pt x="2969" y="311"/>
                </a:cubicBezTo>
                <a:cubicBezTo>
                  <a:pt x="2971" y="309"/>
                  <a:pt x="2971" y="309"/>
                  <a:pt x="2971" y="309"/>
                </a:cubicBezTo>
                <a:cubicBezTo>
                  <a:pt x="2973" y="310"/>
                  <a:pt x="2973" y="310"/>
                  <a:pt x="2973" y="310"/>
                </a:cubicBezTo>
                <a:cubicBezTo>
                  <a:pt x="2975" y="308"/>
                  <a:pt x="2975" y="308"/>
                  <a:pt x="2975" y="308"/>
                </a:cubicBezTo>
                <a:cubicBezTo>
                  <a:pt x="2977" y="308"/>
                  <a:pt x="2977" y="308"/>
                  <a:pt x="2977" y="308"/>
                </a:cubicBezTo>
                <a:cubicBezTo>
                  <a:pt x="2979" y="306"/>
                  <a:pt x="2979" y="306"/>
                  <a:pt x="2979" y="306"/>
                </a:cubicBezTo>
                <a:cubicBezTo>
                  <a:pt x="2981" y="305"/>
                  <a:pt x="2981" y="305"/>
                  <a:pt x="2981" y="305"/>
                </a:cubicBezTo>
                <a:cubicBezTo>
                  <a:pt x="2981" y="306"/>
                  <a:pt x="2981" y="306"/>
                  <a:pt x="2981" y="306"/>
                </a:cubicBezTo>
                <a:cubicBezTo>
                  <a:pt x="2984" y="306"/>
                  <a:pt x="2984" y="306"/>
                  <a:pt x="2984" y="306"/>
                </a:cubicBezTo>
                <a:cubicBezTo>
                  <a:pt x="2982" y="304"/>
                  <a:pt x="2982" y="304"/>
                  <a:pt x="2982" y="304"/>
                </a:cubicBezTo>
                <a:cubicBezTo>
                  <a:pt x="2979" y="303"/>
                  <a:pt x="2979" y="303"/>
                  <a:pt x="2979" y="303"/>
                </a:cubicBezTo>
                <a:cubicBezTo>
                  <a:pt x="2979" y="300"/>
                  <a:pt x="2979" y="300"/>
                  <a:pt x="2979" y="300"/>
                </a:cubicBezTo>
                <a:cubicBezTo>
                  <a:pt x="2977" y="298"/>
                  <a:pt x="2977" y="298"/>
                  <a:pt x="2977" y="298"/>
                </a:cubicBezTo>
                <a:cubicBezTo>
                  <a:pt x="2975" y="293"/>
                  <a:pt x="2975" y="293"/>
                  <a:pt x="2975" y="293"/>
                </a:cubicBezTo>
                <a:cubicBezTo>
                  <a:pt x="2976" y="288"/>
                  <a:pt x="2976" y="288"/>
                  <a:pt x="2976" y="288"/>
                </a:cubicBezTo>
                <a:cubicBezTo>
                  <a:pt x="2974" y="286"/>
                  <a:pt x="2974" y="286"/>
                  <a:pt x="2974" y="286"/>
                </a:cubicBezTo>
                <a:cubicBezTo>
                  <a:pt x="2976" y="285"/>
                  <a:pt x="2976" y="285"/>
                  <a:pt x="2976" y="285"/>
                </a:cubicBezTo>
                <a:cubicBezTo>
                  <a:pt x="2976" y="282"/>
                  <a:pt x="2976" y="282"/>
                  <a:pt x="2976" y="282"/>
                </a:cubicBezTo>
                <a:cubicBezTo>
                  <a:pt x="2978" y="278"/>
                  <a:pt x="2978" y="278"/>
                  <a:pt x="2978" y="278"/>
                </a:cubicBezTo>
                <a:cubicBezTo>
                  <a:pt x="2977" y="277"/>
                  <a:pt x="2977" y="277"/>
                  <a:pt x="2977" y="277"/>
                </a:cubicBezTo>
                <a:cubicBezTo>
                  <a:pt x="2978" y="277"/>
                  <a:pt x="2978" y="277"/>
                  <a:pt x="2978" y="277"/>
                </a:cubicBezTo>
                <a:cubicBezTo>
                  <a:pt x="2982" y="275"/>
                  <a:pt x="2982" y="275"/>
                  <a:pt x="2982" y="275"/>
                </a:cubicBezTo>
                <a:cubicBezTo>
                  <a:pt x="2982" y="276"/>
                  <a:pt x="2982" y="276"/>
                  <a:pt x="2982" y="276"/>
                </a:cubicBezTo>
                <a:cubicBezTo>
                  <a:pt x="2988" y="274"/>
                  <a:pt x="2988" y="274"/>
                  <a:pt x="2988" y="274"/>
                </a:cubicBezTo>
                <a:cubicBezTo>
                  <a:pt x="2988" y="271"/>
                  <a:pt x="2988" y="271"/>
                  <a:pt x="2988" y="271"/>
                </a:cubicBezTo>
                <a:cubicBezTo>
                  <a:pt x="2989" y="270"/>
                  <a:pt x="2989" y="270"/>
                  <a:pt x="2989" y="270"/>
                </a:cubicBezTo>
                <a:cubicBezTo>
                  <a:pt x="2987" y="269"/>
                  <a:pt x="2987" y="269"/>
                  <a:pt x="2987" y="269"/>
                </a:cubicBezTo>
                <a:cubicBezTo>
                  <a:pt x="2984" y="264"/>
                  <a:pt x="2984" y="264"/>
                  <a:pt x="2984" y="264"/>
                </a:cubicBezTo>
                <a:cubicBezTo>
                  <a:pt x="2982" y="264"/>
                  <a:pt x="2982" y="264"/>
                  <a:pt x="2982" y="264"/>
                </a:cubicBezTo>
                <a:cubicBezTo>
                  <a:pt x="2977" y="256"/>
                  <a:pt x="2977" y="256"/>
                  <a:pt x="2977" y="256"/>
                </a:cubicBezTo>
                <a:cubicBezTo>
                  <a:pt x="2977" y="254"/>
                  <a:pt x="2977" y="254"/>
                  <a:pt x="2977" y="254"/>
                </a:cubicBezTo>
                <a:cubicBezTo>
                  <a:pt x="2976" y="253"/>
                  <a:pt x="2976" y="253"/>
                  <a:pt x="2976" y="253"/>
                </a:cubicBezTo>
                <a:cubicBezTo>
                  <a:pt x="2975" y="246"/>
                  <a:pt x="2975" y="246"/>
                  <a:pt x="2975" y="246"/>
                </a:cubicBezTo>
                <a:cubicBezTo>
                  <a:pt x="2976" y="245"/>
                  <a:pt x="2976" y="245"/>
                  <a:pt x="2976" y="245"/>
                </a:cubicBezTo>
                <a:cubicBezTo>
                  <a:pt x="2975" y="242"/>
                  <a:pt x="2975" y="242"/>
                  <a:pt x="2975" y="242"/>
                </a:cubicBezTo>
                <a:cubicBezTo>
                  <a:pt x="2976" y="239"/>
                  <a:pt x="2976" y="239"/>
                  <a:pt x="2976" y="239"/>
                </a:cubicBezTo>
                <a:cubicBezTo>
                  <a:pt x="2976" y="237"/>
                  <a:pt x="2976" y="237"/>
                  <a:pt x="2976" y="237"/>
                </a:cubicBezTo>
                <a:cubicBezTo>
                  <a:pt x="2974" y="238"/>
                  <a:pt x="2974" y="238"/>
                  <a:pt x="2974" y="238"/>
                </a:cubicBezTo>
                <a:cubicBezTo>
                  <a:pt x="2974" y="237"/>
                  <a:pt x="2974" y="237"/>
                  <a:pt x="2974" y="237"/>
                </a:cubicBezTo>
                <a:cubicBezTo>
                  <a:pt x="2975" y="234"/>
                  <a:pt x="2975" y="234"/>
                  <a:pt x="2975" y="234"/>
                </a:cubicBezTo>
                <a:cubicBezTo>
                  <a:pt x="2977" y="233"/>
                  <a:pt x="2977" y="233"/>
                  <a:pt x="2977" y="233"/>
                </a:cubicBezTo>
                <a:cubicBezTo>
                  <a:pt x="2977" y="232"/>
                  <a:pt x="2977" y="232"/>
                  <a:pt x="2977" y="232"/>
                </a:cubicBezTo>
                <a:cubicBezTo>
                  <a:pt x="2977" y="231"/>
                  <a:pt x="2977" y="231"/>
                  <a:pt x="2977" y="231"/>
                </a:cubicBezTo>
                <a:cubicBezTo>
                  <a:pt x="2978" y="230"/>
                  <a:pt x="2978" y="230"/>
                  <a:pt x="2978" y="230"/>
                </a:cubicBezTo>
                <a:cubicBezTo>
                  <a:pt x="2979" y="232"/>
                  <a:pt x="2979" y="232"/>
                  <a:pt x="2979" y="232"/>
                </a:cubicBezTo>
                <a:cubicBezTo>
                  <a:pt x="2978" y="234"/>
                  <a:pt x="2978" y="234"/>
                  <a:pt x="2978" y="234"/>
                </a:cubicBezTo>
                <a:cubicBezTo>
                  <a:pt x="2977" y="236"/>
                  <a:pt x="2977" y="236"/>
                  <a:pt x="2977" y="236"/>
                </a:cubicBezTo>
                <a:cubicBezTo>
                  <a:pt x="2978" y="239"/>
                  <a:pt x="2978" y="239"/>
                  <a:pt x="2978" y="239"/>
                </a:cubicBezTo>
                <a:cubicBezTo>
                  <a:pt x="2981" y="240"/>
                  <a:pt x="2981" y="240"/>
                  <a:pt x="2981" y="240"/>
                </a:cubicBezTo>
                <a:cubicBezTo>
                  <a:pt x="2983" y="242"/>
                  <a:pt x="2983" y="242"/>
                  <a:pt x="2983" y="242"/>
                </a:cubicBezTo>
                <a:cubicBezTo>
                  <a:pt x="2985" y="242"/>
                  <a:pt x="2985" y="242"/>
                  <a:pt x="2985" y="242"/>
                </a:cubicBezTo>
                <a:cubicBezTo>
                  <a:pt x="2985" y="239"/>
                  <a:pt x="2985" y="239"/>
                  <a:pt x="2985" y="239"/>
                </a:cubicBezTo>
                <a:cubicBezTo>
                  <a:pt x="2986" y="238"/>
                  <a:pt x="2986" y="238"/>
                  <a:pt x="2986" y="238"/>
                </a:cubicBezTo>
                <a:cubicBezTo>
                  <a:pt x="2984" y="234"/>
                  <a:pt x="2984" y="234"/>
                  <a:pt x="2984" y="234"/>
                </a:cubicBezTo>
                <a:cubicBezTo>
                  <a:pt x="2980" y="231"/>
                  <a:pt x="2980" y="231"/>
                  <a:pt x="2980" y="231"/>
                </a:cubicBezTo>
                <a:cubicBezTo>
                  <a:pt x="2980" y="226"/>
                  <a:pt x="2980" y="226"/>
                  <a:pt x="2980" y="226"/>
                </a:cubicBezTo>
                <a:cubicBezTo>
                  <a:pt x="2978" y="225"/>
                  <a:pt x="2978" y="225"/>
                  <a:pt x="2978" y="225"/>
                </a:cubicBezTo>
                <a:cubicBezTo>
                  <a:pt x="2977" y="224"/>
                  <a:pt x="2977" y="224"/>
                  <a:pt x="2977" y="224"/>
                </a:cubicBezTo>
                <a:cubicBezTo>
                  <a:pt x="2976" y="225"/>
                  <a:pt x="2976" y="225"/>
                  <a:pt x="2976" y="225"/>
                </a:cubicBezTo>
                <a:cubicBezTo>
                  <a:pt x="2975" y="226"/>
                  <a:pt x="2975" y="226"/>
                  <a:pt x="2975" y="226"/>
                </a:cubicBezTo>
                <a:cubicBezTo>
                  <a:pt x="2975" y="227"/>
                  <a:pt x="2975" y="227"/>
                  <a:pt x="2975" y="227"/>
                </a:cubicBezTo>
                <a:cubicBezTo>
                  <a:pt x="2974" y="228"/>
                  <a:pt x="2974" y="228"/>
                  <a:pt x="2974" y="228"/>
                </a:cubicBezTo>
                <a:cubicBezTo>
                  <a:pt x="2972" y="227"/>
                  <a:pt x="2972" y="227"/>
                  <a:pt x="2972" y="227"/>
                </a:cubicBezTo>
                <a:cubicBezTo>
                  <a:pt x="2972" y="223"/>
                  <a:pt x="2972" y="223"/>
                  <a:pt x="2972" y="223"/>
                </a:cubicBezTo>
                <a:cubicBezTo>
                  <a:pt x="2970" y="221"/>
                  <a:pt x="2970" y="221"/>
                  <a:pt x="2970" y="221"/>
                </a:cubicBezTo>
                <a:cubicBezTo>
                  <a:pt x="2968" y="217"/>
                  <a:pt x="2968" y="217"/>
                  <a:pt x="2968" y="217"/>
                </a:cubicBezTo>
                <a:cubicBezTo>
                  <a:pt x="2970" y="215"/>
                  <a:pt x="2970" y="215"/>
                  <a:pt x="2970" y="215"/>
                </a:cubicBezTo>
                <a:cubicBezTo>
                  <a:pt x="2971" y="215"/>
                  <a:pt x="2971" y="215"/>
                  <a:pt x="2971" y="215"/>
                </a:cubicBezTo>
                <a:cubicBezTo>
                  <a:pt x="2970" y="213"/>
                  <a:pt x="2970" y="213"/>
                  <a:pt x="2970" y="213"/>
                </a:cubicBezTo>
                <a:cubicBezTo>
                  <a:pt x="2971" y="211"/>
                  <a:pt x="2971" y="211"/>
                  <a:pt x="2971" y="211"/>
                </a:cubicBezTo>
                <a:cubicBezTo>
                  <a:pt x="2970" y="210"/>
                  <a:pt x="2970" y="210"/>
                  <a:pt x="2970" y="210"/>
                </a:cubicBezTo>
                <a:cubicBezTo>
                  <a:pt x="2971" y="208"/>
                  <a:pt x="2971" y="208"/>
                  <a:pt x="2971" y="208"/>
                </a:cubicBezTo>
                <a:cubicBezTo>
                  <a:pt x="2970" y="207"/>
                  <a:pt x="2970" y="207"/>
                  <a:pt x="2970" y="207"/>
                </a:cubicBezTo>
                <a:cubicBezTo>
                  <a:pt x="2969" y="206"/>
                  <a:pt x="2969" y="206"/>
                  <a:pt x="2969" y="206"/>
                </a:cubicBezTo>
                <a:cubicBezTo>
                  <a:pt x="2967" y="206"/>
                  <a:pt x="2967" y="206"/>
                  <a:pt x="2967" y="206"/>
                </a:cubicBezTo>
                <a:cubicBezTo>
                  <a:pt x="2964" y="204"/>
                  <a:pt x="2964" y="204"/>
                  <a:pt x="2964" y="204"/>
                </a:cubicBezTo>
                <a:cubicBezTo>
                  <a:pt x="2962" y="203"/>
                  <a:pt x="2962" y="203"/>
                  <a:pt x="2962" y="203"/>
                </a:cubicBezTo>
                <a:cubicBezTo>
                  <a:pt x="2960" y="205"/>
                  <a:pt x="2960" y="205"/>
                  <a:pt x="2960" y="205"/>
                </a:cubicBezTo>
                <a:cubicBezTo>
                  <a:pt x="2961" y="206"/>
                  <a:pt x="2961" y="206"/>
                  <a:pt x="2961" y="206"/>
                </a:cubicBezTo>
                <a:cubicBezTo>
                  <a:pt x="2963" y="209"/>
                  <a:pt x="2963" y="209"/>
                  <a:pt x="2963" y="209"/>
                </a:cubicBezTo>
                <a:cubicBezTo>
                  <a:pt x="2963" y="211"/>
                  <a:pt x="2963" y="211"/>
                  <a:pt x="2963" y="211"/>
                </a:cubicBezTo>
                <a:cubicBezTo>
                  <a:pt x="2962" y="211"/>
                  <a:pt x="2962" y="211"/>
                  <a:pt x="2962" y="211"/>
                </a:cubicBezTo>
                <a:cubicBezTo>
                  <a:pt x="2959" y="210"/>
                  <a:pt x="2959" y="210"/>
                  <a:pt x="2959" y="210"/>
                </a:cubicBezTo>
                <a:cubicBezTo>
                  <a:pt x="2957" y="207"/>
                  <a:pt x="2957" y="207"/>
                  <a:pt x="2957" y="207"/>
                </a:cubicBezTo>
                <a:cubicBezTo>
                  <a:pt x="2955" y="205"/>
                  <a:pt x="2955" y="205"/>
                  <a:pt x="2955" y="205"/>
                </a:cubicBezTo>
                <a:cubicBezTo>
                  <a:pt x="2953" y="204"/>
                  <a:pt x="2953" y="204"/>
                  <a:pt x="2953" y="204"/>
                </a:cubicBezTo>
                <a:cubicBezTo>
                  <a:pt x="2954" y="203"/>
                  <a:pt x="2954" y="203"/>
                  <a:pt x="2954" y="203"/>
                </a:cubicBezTo>
                <a:cubicBezTo>
                  <a:pt x="2952" y="199"/>
                  <a:pt x="2952" y="199"/>
                  <a:pt x="2952" y="199"/>
                </a:cubicBezTo>
                <a:cubicBezTo>
                  <a:pt x="2952" y="197"/>
                  <a:pt x="2952" y="197"/>
                  <a:pt x="2952" y="197"/>
                </a:cubicBezTo>
                <a:cubicBezTo>
                  <a:pt x="2953" y="196"/>
                  <a:pt x="2953" y="196"/>
                  <a:pt x="2953" y="196"/>
                </a:cubicBezTo>
                <a:cubicBezTo>
                  <a:pt x="2951" y="194"/>
                  <a:pt x="2951" y="194"/>
                  <a:pt x="2951" y="194"/>
                </a:cubicBezTo>
                <a:cubicBezTo>
                  <a:pt x="2952" y="192"/>
                  <a:pt x="2952" y="192"/>
                  <a:pt x="2952" y="192"/>
                </a:cubicBezTo>
                <a:cubicBezTo>
                  <a:pt x="2951" y="189"/>
                  <a:pt x="2951" y="189"/>
                  <a:pt x="2951" y="189"/>
                </a:cubicBezTo>
                <a:cubicBezTo>
                  <a:pt x="2952" y="188"/>
                  <a:pt x="2952" y="188"/>
                  <a:pt x="2952" y="188"/>
                </a:cubicBezTo>
                <a:cubicBezTo>
                  <a:pt x="2952" y="186"/>
                  <a:pt x="2952" y="186"/>
                  <a:pt x="2952" y="186"/>
                </a:cubicBezTo>
                <a:cubicBezTo>
                  <a:pt x="2953" y="184"/>
                  <a:pt x="2953" y="184"/>
                  <a:pt x="2953" y="184"/>
                </a:cubicBezTo>
                <a:cubicBezTo>
                  <a:pt x="2953" y="181"/>
                  <a:pt x="2953" y="181"/>
                  <a:pt x="2953" y="181"/>
                </a:cubicBezTo>
                <a:cubicBezTo>
                  <a:pt x="2952" y="182"/>
                  <a:pt x="2952" y="182"/>
                  <a:pt x="2952" y="182"/>
                </a:cubicBezTo>
                <a:cubicBezTo>
                  <a:pt x="2950" y="180"/>
                  <a:pt x="2950" y="180"/>
                  <a:pt x="2950" y="180"/>
                </a:cubicBezTo>
                <a:cubicBezTo>
                  <a:pt x="2950" y="179"/>
                  <a:pt x="2950" y="179"/>
                  <a:pt x="2950" y="179"/>
                </a:cubicBezTo>
                <a:cubicBezTo>
                  <a:pt x="2951" y="179"/>
                  <a:pt x="2951" y="179"/>
                  <a:pt x="2951" y="179"/>
                </a:cubicBezTo>
                <a:cubicBezTo>
                  <a:pt x="2953" y="180"/>
                  <a:pt x="2953" y="180"/>
                  <a:pt x="2953" y="180"/>
                </a:cubicBezTo>
                <a:cubicBezTo>
                  <a:pt x="2953" y="179"/>
                  <a:pt x="2953" y="179"/>
                  <a:pt x="2953" y="179"/>
                </a:cubicBezTo>
                <a:cubicBezTo>
                  <a:pt x="2952" y="178"/>
                  <a:pt x="2952" y="178"/>
                  <a:pt x="2952" y="178"/>
                </a:cubicBezTo>
                <a:cubicBezTo>
                  <a:pt x="2950" y="176"/>
                  <a:pt x="2950" y="176"/>
                  <a:pt x="2950" y="176"/>
                </a:cubicBezTo>
                <a:cubicBezTo>
                  <a:pt x="2951" y="175"/>
                  <a:pt x="2951" y="175"/>
                  <a:pt x="2951" y="175"/>
                </a:cubicBezTo>
                <a:cubicBezTo>
                  <a:pt x="2952" y="175"/>
                  <a:pt x="2952" y="175"/>
                  <a:pt x="2952" y="175"/>
                </a:cubicBezTo>
                <a:cubicBezTo>
                  <a:pt x="2951" y="174"/>
                  <a:pt x="2951" y="174"/>
                  <a:pt x="2951" y="174"/>
                </a:cubicBezTo>
                <a:cubicBezTo>
                  <a:pt x="2950" y="172"/>
                  <a:pt x="2950" y="172"/>
                  <a:pt x="2950" y="172"/>
                </a:cubicBezTo>
                <a:cubicBezTo>
                  <a:pt x="2948" y="171"/>
                  <a:pt x="2948" y="171"/>
                  <a:pt x="2948" y="171"/>
                </a:cubicBezTo>
                <a:cubicBezTo>
                  <a:pt x="2947" y="170"/>
                  <a:pt x="2947" y="170"/>
                  <a:pt x="2947" y="170"/>
                </a:cubicBezTo>
                <a:cubicBezTo>
                  <a:pt x="2948" y="170"/>
                  <a:pt x="2948" y="170"/>
                  <a:pt x="2948" y="170"/>
                </a:cubicBezTo>
                <a:cubicBezTo>
                  <a:pt x="2948" y="167"/>
                  <a:pt x="2948" y="167"/>
                  <a:pt x="2948" y="167"/>
                </a:cubicBezTo>
                <a:cubicBezTo>
                  <a:pt x="2946" y="165"/>
                  <a:pt x="2946" y="165"/>
                  <a:pt x="2946" y="165"/>
                </a:cubicBezTo>
                <a:cubicBezTo>
                  <a:pt x="2946" y="163"/>
                  <a:pt x="2946" y="163"/>
                  <a:pt x="2946" y="163"/>
                </a:cubicBezTo>
                <a:cubicBezTo>
                  <a:pt x="2947" y="162"/>
                  <a:pt x="2947" y="162"/>
                  <a:pt x="2947" y="162"/>
                </a:cubicBezTo>
                <a:cubicBezTo>
                  <a:pt x="2948" y="161"/>
                  <a:pt x="2948" y="161"/>
                  <a:pt x="2948" y="161"/>
                </a:cubicBezTo>
                <a:cubicBezTo>
                  <a:pt x="2946" y="159"/>
                  <a:pt x="2946" y="159"/>
                  <a:pt x="2946" y="159"/>
                </a:cubicBezTo>
                <a:cubicBezTo>
                  <a:pt x="2947" y="158"/>
                  <a:pt x="2947" y="158"/>
                  <a:pt x="2947" y="158"/>
                </a:cubicBezTo>
                <a:cubicBezTo>
                  <a:pt x="2948" y="158"/>
                  <a:pt x="2948" y="158"/>
                  <a:pt x="2948" y="158"/>
                </a:cubicBezTo>
                <a:cubicBezTo>
                  <a:pt x="2950" y="159"/>
                  <a:pt x="2950" y="159"/>
                  <a:pt x="2950" y="159"/>
                </a:cubicBezTo>
                <a:cubicBezTo>
                  <a:pt x="2951" y="158"/>
                  <a:pt x="2951" y="158"/>
                  <a:pt x="2951" y="158"/>
                </a:cubicBezTo>
                <a:cubicBezTo>
                  <a:pt x="2952" y="156"/>
                  <a:pt x="2952" y="156"/>
                  <a:pt x="2952" y="156"/>
                </a:cubicBezTo>
                <a:cubicBezTo>
                  <a:pt x="2954" y="155"/>
                  <a:pt x="2954" y="155"/>
                  <a:pt x="2954" y="155"/>
                </a:cubicBezTo>
                <a:cubicBezTo>
                  <a:pt x="2955" y="157"/>
                  <a:pt x="2955" y="157"/>
                  <a:pt x="2955" y="157"/>
                </a:cubicBezTo>
                <a:cubicBezTo>
                  <a:pt x="2956" y="157"/>
                  <a:pt x="2956" y="157"/>
                  <a:pt x="2956" y="157"/>
                </a:cubicBezTo>
                <a:cubicBezTo>
                  <a:pt x="2957" y="159"/>
                  <a:pt x="2957" y="159"/>
                  <a:pt x="2957" y="159"/>
                </a:cubicBezTo>
                <a:cubicBezTo>
                  <a:pt x="2960" y="155"/>
                  <a:pt x="2960" y="155"/>
                  <a:pt x="2960" y="155"/>
                </a:cubicBezTo>
                <a:cubicBezTo>
                  <a:pt x="2957" y="154"/>
                  <a:pt x="2957" y="154"/>
                  <a:pt x="2957" y="154"/>
                </a:cubicBezTo>
                <a:cubicBezTo>
                  <a:pt x="2958" y="152"/>
                  <a:pt x="2958" y="152"/>
                  <a:pt x="2958" y="152"/>
                </a:cubicBezTo>
                <a:cubicBezTo>
                  <a:pt x="2959" y="151"/>
                  <a:pt x="2959" y="151"/>
                  <a:pt x="2959" y="151"/>
                </a:cubicBezTo>
                <a:cubicBezTo>
                  <a:pt x="2962" y="146"/>
                  <a:pt x="2962" y="146"/>
                  <a:pt x="2962" y="146"/>
                </a:cubicBezTo>
                <a:cubicBezTo>
                  <a:pt x="2962" y="144"/>
                  <a:pt x="2962" y="144"/>
                  <a:pt x="2962" y="144"/>
                </a:cubicBezTo>
                <a:cubicBezTo>
                  <a:pt x="2963" y="146"/>
                  <a:pt x="2963" y="146"/>
                  <a:pt x="2963" y="146"/>
                </a:cubicBezTo>
                <a:cubicBezTo>
                  <a:pt x="2965" y="147"/>
                  <a:pt x="2965" y="147"/>
                  <a:pt x="2965" y="147"/>
                </a:cubicBezTo>
                <a:cubicBezTo>
                  <a:pt x="2965" y="149"/>
                  <a:pt x="2965" y="149"/>
                  <a:pt x="2965" y="149"/>
                </a:cubicBezTo>
                <a:cubicBezTo>
                  <a:pt x="2968" y="156"/>
                  <a:pt x="2968" y="156"/>
                  <a:pt x="2968" y="156"/>
                </a:cubicBezTo>
                <a:cubicBezTo>
                  <a:pt x="2969" y="157"/>
                  <a:pt x="2969" y="157"/>
                  <a:pt x="2969" y="157"/>
                </a:cubicBezTo>
                <a:cubicBezTo>
                  <a:pt x="2970" y="157"/>
                  <a:pt x="2970" y="157"/>
                  <a:pt x="2970" y="157"/>
                </a:cubicBezTo>
                <a:cubicBezTo>
                  <a:pt x="2971" y="151"/>
                  <a:pt x="2971" y="151"/>
                  <a:pt x="2971" y="151"/>
                </a:cubicBezTo>
                <a:cubicBezTo>
                  <a:pt x="2972" y="149"/>
                  <a:pt x="2972" y="149"/>
                  <a:pt x="2972" y="149"/>
                </a:cubicBezTo>
                <a:cubicBezTo>
                  <a:pt x="2971" y="147"/>
                  <a:pt x="2971" y="147"/>
                  <a:pt x="2971" y="147"/>
                </a:cubicBezTo>
                <a:cubicBezTo>
                  <a:pt x="2972" y="145"/>
                  <a:pt x="2972" y="145"/>
                  <a:pt x="2972" y="145"/>
                </a:cubicBezTo>
                <a:cubicBezTo>
                  <a:pt x="2971" y="143"/>
                  <a:pt x="2971" y="143"/>
                  <a:pt x="2971" y="143"/>
                </a:cubicBezTo>
                <a:cubicBezTo>
                  <a:pt x="2973" y="144"/>
                  <a:pt x="2973" y="144"/>
                  <a:pt x="2973" y="144"/>
                </a:cubicBezTo>
                <a:cubicBezTo>
                  <a:pt x="2974" y="143"/>
                  <a:pt x="2974" y="143"/>
                  <a:pt x="2974" y="143"/>
                </a:cubicBezTo>
                <a:cubicBezTo>
                  <a:pt x="2975" y="139"/>
                  <a:pt x="2975" y="139"/>
                  <a:pt x="2975" y="139"/>
                </a:cubicBezTo>
                <a:cubicBezTo>
                  <a:pt x="2977" y="139"/>
                  <a:pt x="2977" y="139"/>
                  <a:pt x="2977" y="139"/>
                </a:cubicBezTo>
                <a:cubicBezTo>
                  <a:pt x="2979" y="136"/>
                  <a:pt x="2979" y="136"/>
                  <a:pt x="2979" y="136"/>
                </a:cubicBezTo>
                <a:cubicBezTo>
                  <a:pt x="2981" y="135"/>
                  <a:pt x="2981" y="135"/>
                  <a:pt x="2981" y="135"/>
                </a:cubicBezTo>
                <a:cubicBezTo>
                  <a:pt x="2982" y="136"/>
                  <a:pt x="2982" y="136"/>
                  <a:pt x="2982" y="136"/>
                </a:cubicBezTo>
                <a:cubicBezTo>
                  <a:pt x="2986" y="134"/>
                  <a:pt x="2986" y="134"/>
                  <a:pt x="2986" y="134"/>
                </a:cubicBezTo>
                <a:cubicBezTo>
                  <a:pt x="2989" y="135"/>
                  <a:pt x="2989" y="135"/>
                  <a:pt x="2989" y="135"/>
                </a:cubicBezTo>
                <a:cubicBezTo>
                  <a:pt x="2994" y="138"/>
                  <a:pt x="2994" y="138"/>
                  <a:pt x="2994" y="138"/>
                </a:cubicBezTo>
                <a:cubicBezTo>
                  <a:pt x="2994" y="139"/>
                  <a:pt x="2994" y="139"/>
                  <a:pt x="2994" y="139"/>
                </a:cubicBezTo>
                <a:cubicBezTo>
                  <a:pt x="2996" y="140"/>
                  <a:pt x="2996" y="140"/>
                  <a:pt x="2996" y="140"/>
                </a:cubicBezTo>
                <a:cubicBezTo>
                  <a:pt x="2998" y="139"/>
                  <a:pt x="2998" y="139"/>
                  <a:pt x="2998" y="139"/>
                </a:cubicBezTo>
                <a:cubicBezTo>
                  <a:pt x="2999" y="140"/>
                  <a:pt x="2999" y="140"/>
                  <a:pt x="2999" y="140"/>
                </a:cubicBezTo>
                <a:cubicBezTo>
                  <a:pt x="2998" y="141"/>
                  <a:pt x="2998" y="141"/>
                  <a:pt x="2998" y="141"/>
                </a:cubicBezTo>
                <a:cubicBezTo>
                  <a:pt x="3001" y="144"/>
                  <a:pt x="3001" y="144"/>
                  <a:pt x="3001" y="144"/>
                </a:cubicBezTo>
                <a:cubicBezTo>
                  <a:pt x="3002" y="143"/>
                  <a:pt x="3002" y="143"/>
                  <a:pt x="3002" y="143"/>
                </a:cubicBezTo>
                <a:cubicBezTo>
                  <a:pt x="3004" y="145"/>
                  <a:pt x="3004" y="145"/>
                  <a:pt x="3004" y="145"/>
                </a:cubicBezTo>
                <a:cubicBezTo>
                  <a:pt x="3006" y="144"/>
                  <a:pt x="3006" y="144"/>
                  <a:pt x="3006" y="144"/>
                </a:cubicBezTo>
                <a:cubicBezTo>
                  <a:pt x="3007" y="145"/>
                  <a:pt x="3007" y="145"/>
                  <a:pt x="3007" y="145"/>
                </a:cubicBezTo>
                <a:cubicBezTo>
                  <a:pt x="3007" y="143"/>
                  <a:pt x="3007" y="143"/>
                  <a:pt x="3007" y="143"/>
                </a:cubicBezTo>
                <a:cubicBezTo>
                  <a:pt x="3004" y="139"/>
                  <a:pt x="3004" y="139"/>
                  <a:pt x="3004" y="139"/>
                </a:cubicBezTo>
                <a:cubicBezTo>
                  <a:pt x="3005" y="138"/>
                  <a:pt x="3005" y="138"/>
                  <a:pt x="3005" y="138"/>
                </a:cubicBezTo>
                <a:cubicBezTo>
                  <a:pt x="3005" y="137"/>
                  <a:pt x="3005" y="137"/>
                  <a:pt x="3005" y="137"/>
                </a:cubicBezTo>
                <a:cubicBezTo>
                  <a:pt x="3003" y="136"/>
                  <a:pt x="3003" y="136"/>
                  <a:pt x="3003" y="136"/>
                </a:cubicBezTo>
                <a:cubicBezTo>
                  <a:pt x="3004" y="134"/>
                  <a:pt x="3004" y="134"/>
                  <a:pt x="3004" y="134"/>
                </a:cubicBezTo>
                <a:cubicBezTo>
                  <a:pt x="3005" y="133"/>
                  <a:pt x="3005" y="133"/>
                  <a:pt x="3005" y="133"/>
                </a:cubicBezTo>
                <a:cubicBezTo>
                  <a:pt x="3005" y="128"/>
                  <a:pt x="3005" y="128"/>
                  <a:pt x="3005" y="128"/>
                </a:cubicBezTo>
                <a:cubicBezTo>
                  <a:pt x="3007" y="124"/>
                  <a:pt x="3007" y="124"/>
                  <a:pt x="3007" y="124"/>
                </a:cubicBezTo>
                <a:cubicBezTo>
                  <a:pt x="3006" y="123"/>
                  <a:pt x="3006" y="123"/>
                  <a:pt x="3006" y="123"/>
                </a:cubicBezTo>
                <a:cubicBezTo>
                  <a:pt x="3008" y="120"/>
                  <a:pt x="3008" y="120"/>
                  <a:pt x="3008" y="120"/>
                </a:cubicBezTo>
                <a:cubicBezTo>
                  <a:pt x="3008" y="118"/>
                  <a:pt x="3008" y="118"/>
                  <a:pt x="3008" y="118"/>
                </a:cubicBezTo>
                <a:cubicBezTo>
                  <a:pt x="3009" y="117"/>
                  <a:pt x="3009" y="117"/>
                  <a:pt x="3009" y="117"/>
                </a:cubicBezTo>
                <a:cubicBezTo>
                  <a:pt x="3007" y="114"/>
                  <a:pt x="3007" y="114"/>
                  <a:pt x="3007" y="114"/>
                </a:cubicBezTo>
                <a:cubicBezTo>
                  <a:pt x="3006" y="113"/>
                  <a:pt x="3006" y="113"/>
                  <a:pt x="3006" y="113"/>
                </a:cubicBezTo>
                <a:cubicBezTo>
                  <a:pt x="3006" y="112"/>
                  <a:pt x="3006" y="112"/>
                  <a:pt x="3006" y="112"/>
                </a:cubicBezTo>
                <a:cubicBezTo>
                  <a:pt x="3009" y="112"/>
                  <a:pt x="3009" y="112"/>
                  <a:pt x="3009" y="112"/>
                </a:cubicBezTo>
                <a:cubicBezTo>
                  <a:pt x="3010" y="110"/>
                  <a:pt x="3010" y="110"/>
                  <a:pt x="3010" y="110"/>
                </a:cubicBezTo>
                <a:cubicBezTo>
                  <a:pt x="3007" y="108"/>
                  <a:pt x="3007" y="108"/>
                  <a:pt x="3007" y="108"/>
                </a:cubicBezTo>
                <a:cubicBezTo>
                  <a:pt x="3006" y="107"/>
                  <a:pt x="3006" y="107"/>
                  <a:pt x="3006" y="107"/>
                </a:cubicBezTo>
                <a:cubicBezTo>
                  <a:pt x="3007" y="106"/>
                  <a:pt x="3007" y="106"/>
                  <a:pt x="3007" y="106"/>
                </a:cubicBezTo>
                <a:cubicBezTo>
                  <a:pt x="3008" y="107"/>
                  <a:pt x="3008" y="107"/>
                  <a:pt x="3008" y="107"/>
                </a:cubicBezTo>
                <a:cubicBezTo>
                  <a:pt x="3010" y="107"/>
                  <a:pt x="3010" y="107"/>
                  <a:pt x="3010" y="107"/>
                </a:cubicBezTo>
                <a:cubicBezTo>
                  <a:pt x="3010" y="105"/>
                  <a:pt x="3010" y="105"/>
                  <a:pt x="3010" y="105"/>
                </a:cubicBezTo>
                <a:cubicBezTo>
                  <a:pt x="3009" y="104"/>
                  <a:pt x="3009" y="104"/>
                  <a:pt x="3009" y="104"/>
                </a:cubicBezTo>
                <a:cubicBezTo>
                  <a:pt x="3011" y="102"/>
                  <a:pt x="3011" y="102"/>
                  <a:pt x="3011" y="102"/>
                </a:cubicBezTo>
                <a:cubicBezTo>
                  <a:pt x="3011" y="101"/>
                  <a:pt x="3011" y="101"/>
                  <a:pt x="3011" y="101"/>
                </a:cubicBezTo>
                <a:cubicBezTo>
                  <a:pt x="3010" y="99"/>
                  <a:pt x="3010" y="99"/>
                  <a:pt x="3010" y="99"/>
                </a:cubicBezTo>
                <a:cubicBezTo>
                  <a:pt x="3011" y="99"/>
                  <a:pt x="3011" y="99"/>
                  <a:pt x="3011" y="99"/>
                </a:cubicBezTo>
                <a:cubicBezTo>
                  <a:pt x="3012" y="99"/>
                  <a:pt x="3012" y="99"/>
                  <a:pt x="3012" y="99"/>
                </a:cubicBezTo>
                <a:cubicBezTo>
                  <a:pt x="3013" y="97"/>
                  <a:pt x="3013" y="97"/>
                  <a:pt x="3013" y="97"/>
                </a:cubicBezTo>
                <a:cubicBezTo>
                  <a:pt x="3014" y="96"/>
                  <a:pt x="3014" y="96"/>
                  <a:pt x="3014" y="96"/>
                </a:cubicBezTo>
                <a:cubicBezTo>
                  <a:pt x="3013" y="95"/>
                  <a:pt x="3013" y="95"/>
                  <a:pt x="3013" y="95"/>
                </a:cubicBezTo>
                <a:cubicBezTo>
                  <a:pt x="3014" y="95"/>
                  <a:pt x="3014" y="95"/>
                  <a:pt x="3014" y="95"/>
                </a:cubicBezTo>
                <a:cubicBezTo>
                  <a:pt x="3017" y="93"/>
                  <a:pt x="3017" y="93"/>
                  <a:pt x="3017" y="93"/>
                </a:cubicBezTo>
                <a:cubicBezTo>
                  <a:pt x="3016" y="91"/>
                  <a:pt x="3016" y="91"/>
                  <a:pt x="3016" y="91"/>
                </a:cubicBezTo>
                <a:cubicBezTo>
                  <a:pt x="3016" y="89"/>
                  <a:pt x="3016" y="89"/>
                  <a:pt x="3016" y="89"/>
                </a:cubicBezTo>
                <a:cubicBezTo>
                  <a:pt x="3017" y="90"/>
                  <a:pt x="3017" y="90"/>
                  <a:pt x="3017" y="90"/>
                </a:cubicBezTo>
                <a:cubicBezTo>
                  <a:pt x="3019" y="88"/>
                  <a:pt x="3019" y="88"/>
                  <a:pt x="3019" y="88"/>
                </a:cubicBezTo>
                <a:cubicBezTo>
                  <a:pt x="3018" y="85"/>
                  <a:pt x="3018" y="85"/>
                  <a:pt x="3018" y="85"/>
                </a:cubicBezTo>
                <a:cubicBezTo>
                  <a:pt x="3018" y="82"/>
                  <a:pt x="3018" y="82"/>
                  <a:pt x="3018" y="82"/>
                </a:cubicBezTo>
                <a:cubicBezTo>
                  <a:pt x="3020" y="82"/>
                  <a:pt x="3020" y="82"/>
                  <a:pt x="3020" y="82"/>
                </a:cubicBezTo>
                <a:cubicBezTo>
                  <a:pt x="3020" y="83"/>
                  <a:pt x="3020" y="83"/>
                  <a:pt x="3020" y="83"/>
                </a:cubicBezTo>
                <a:cubicBezTo>
                  <a:pt x="3021" y="82"/>
                  <a:pt x="3021" y="82"/>
                  <a:pt x="3021" y="82"/>
                </a:cubicBezTo>
                <a:cubicBezTo>
                  <a:pt x="3024" y="78"/>
                  <a:pt x="3024" y="78"/>
                  <a:pt x="3024" y="78"/>
                </a:cubicBezTo>
                <a:cubicBezTo>
                  <a:pt x="3023" y="78"/>
                  <a:pt x="3023" y="78"/>
                  <a:pt x="3023" y="78"/>
                </a:cubicBezTo>
                <a:cubicBezTo>
                  <a:pt x="3023" y="76"/>
                  <a:pt x="3023" y="76"/>
                  <a:pt x="3023" y="76"/>
                </a:cubicBezTo>
                <a:cubicBezTo>
                  <a:pt x="3025" y="76"/>
                  <a:pt x="3025" y="76"/>
                  <a:pt x="3025" y="76"/>
                </a:cubicBezTo>
                <a:cubicBezTo>
                  <a:pt x="3028" y="72"/>
                  <a:pt x="3028" y="72"/>
                  <a:pt x="3028" y="72"/>
                </a:cubicBezTo>
                <a:cubicBezTo>
                  <a:pt x="3027" y="72"/>
                  <a:pt x="3027" y="72"/>
                  <a:pt x="3027" y="72"/>
                </a:cubicBezTo>
                <a:cubicBezTo>
                  <a:pt x="3028" y="71"/>
                  <a:pt x="3028" y="71"/>
                  <a:pt x="3028" y="71"/>
                </a:cubicBezTo>
                <a:cubicBezTo>
                  <a:pt x="3030" y="71"/>
                  <a:pt x="3030" y="71"/>
                  <a:pt x="3030" y="71"/>
                </a:cubicBezTo>
                <a:cubicBezTo>
                  <a:pt x="3033" y="69"/>
                  <a:pt x="3033" y="69"/>
                  <a:pt x="3033" y="69"/>
                </a:cubicBezTo>
                <a:cubicBezTo>
                  <a:pt x="3032" y="67"/>
                  <a:pt x="3032" y="67"/>
                  <a:pt x="3032" y="67"/>
                </a:cubicBezTo>
                <a:cubicBezTo>
                  <a:pt x="3033" y="66"/>
                  <a:pt x="3033" y="66"/>
                  <a:pt x="3033" y="66"/>
                </a:cubicBezTo>
                <a:cubicBezTo>
                  <a:pt x="3034" y="67"/>
                  <a:pt x="3034" y="67"/>
                  <a:pt x="3034" y="67"/>
                </a:cubicBezTo>
                <a:cubicBezTo>
                  <a:pt x="3035" y="69"/>
                  <a:pt x="3035" y="69"/>
                  <a:pt x="3035" y="69"/>
                </a:cubicBezTo>
                <a:cubicBezTo>
                  <a:pt x="3036" y="69"/>
                  <a:pt x="3036" y="69"/>
                  <a:pt x="3036" y="69"/>
                </a:cubicBezTo>
                <a:cubicBezTo>
                  <a:pt x="3038" y="69"/>
                  <a:pt x="3038" y="69"/>
                  <a:pt x="3038" y="69"/>
                </a:cubicBezTo>
                <a:cubicBezTo>
                  <a:pt x="3040" y="70"/>
                  <a:pt x="3040" y="70"/>
                  <a:pt x="3040" y="70"/>
                </a:cubicBezTo>
                <a:cubicBezTo>
                  <a:pt x="3047" y="70"/>
                  <a:pt x="3047" y="70"/>
                  <a:pt x="3047" y="70"/>
                </a:cubicBezTo>
                <a:cubicBezTo>
                  <a:pt x="3049" y="71"/>
                  <a:pt x="3049" y="71"/>
                  <a:pt x="3049" y="71"/>
                </a:cubicBezTo>
                <a:cubicBezTo>
                  <a:pt x="3050" y="71"/>
                  <a:pt x="3050" y="71"/>
                  <a:pt x="3050" y="71"/>
                </a:cubicBezTo>
                <a:cubicBezTo>
                  <a:pt x="3049" y="68"/>
                  <a:pt x="3049" y="68"/>
                  <a:pt x="3049" y="68"/>
                </a:cubicBezTo>
                <a:cubicBezTo>
                  <a:pt x="3047" y="67"/>
                  <a:pt x="3047" y="67"/>
                  <a:pt x="3047" y="67"/>
                </a:cubicBezTo>
                <a:cubicBezTo>
                  <a:pt x="3047" y="66"/>
                  <a:pt x="3047" y="66"/>
                  <a:pt x="3047" y="66"/>
                </a:cubicBezTo>
                <a:cubicBezTo>
                  <a:pt x="3048" y="65"/>
                  <a:pt x="3048" y="65"/>
                  <a:pt x="3048" y="65"/>
                </a:cubicBezTo>
                <a:cubicBezTo>
                  <a:pt x="3048" y="59"/>
                  <a:pt x="3048" y="59"/>
                  <a:pt x="3048" y="59"/>
                </a:cubicBezTo>
                <a:cubicBezTo>
                  <a:pt x="3045" y="55"/>
                  <a:pt x="3045" y="55"/>
                  <a:pt x="3045" y="55"/>
                </a:cubicBezTo>
                <a:cubicBezTo>
                  <a:pt x="3043" y="55"/>
                  <a:pt x="3043" y="55"/>
                  <a:pt x="3043" y="55"/>
                </a:cubicBezTo>
                <a:cubicBezTo>
                  <a:pt x="3040" y="51"/>
                  <a:pt x="3040" y="51"/>
                  <a:pt x="3040" y="51"/>
                </a:cubicBezTo>
                <a:cubicBezTo>
                  <a:pt x="3042" y="50"/>
                  <a:pt x="3042" y="50"/>
                  <a:pt x="3042" y="50"/>
                </a:cubicBezTo>
                <a:cubicBezTo>
                  <a:pt x="3039" y="47"/>
                  <a:pt x="3039" y="47"/>
                  <a:pt x="3039" y="47"/>
                </a:cubicBezTo>
                <a:cubicBezTo>
                  <a:pt x="3035" y="46"/>
                  <a:pt x="3035" y="46"/>
                  <a:pt x="3035" y="46"/>
                </a:cubicBezTo>
                <a:cubicBezTo>
                  <a:pt x="3030" y="43"/>
                  <a:pt x="3030" y="43"/>
                  <a:pt x="3030" y="43"/>
                </a:cubicBezTo>
                <a:cubicBezTo>
                  <a:pt x="3028" y="40"/>
                  <a:pt x="3028" y="40"/>
                  <a:pt x="3028" y="40"/>
                </a:cubicBezTo>
                <a:cubicBezTo>
                  <a:pt x="3028" y="42"/>
                  <a:pt x="3028" y="42"/>
                  <a:pt x="3028" y="42"/>
                </a:cubicBezTo>
                <a:cubicBezTo>
                  <a:pt x="3026" y="41"/>
                  <a:pt x="3026" y="41"/>
                  <a:pt x="3026" y="41"/>
                </a:cubicBezTo>
                <a:cubicBezTo>
                  <a:pt x="3026" y="42"/>
                  <a:pt x="3026" y="42"/>
                  <a:pt x="3026" y="42"/>
                </a:cubicBezTo>
                <a:cubicBezTo>
                  <a:pt x="3025" y="44"/>
                  <a:pt x="3025" y="44"/>
                  <a:pt x="3025" y="44"/>
                </a:cubicBezTo>
                <a:cubicBezTo>
                  <a:pt x="3023" y="45"/>
                  <a:pt x="3023" y="45"/>
                  <a:pt x="3023" y="45"/>
                </a:cubicBezTo>
                <a:cubicBezTo>
                  <a:pt x="3022" y="44"/>
                  <a:pt x="3022" y="44"/>
                  <a:pt x="3022" y="44"/>
                </a:cubicBezTo>
                <a:cubicBezTo>
                  <a:pt x="3023" y="41"/>
                  <a:pt x="3023" y="41"/>
                  <a:pt x="3023" y="41"/>
                </a:cubicBezTo>
                <a:cubicBezTo>
                  <a:pt x="3025" y="40"/>
                  <a:pt x="3025" y="40"/>
                  <a:pt x="3025" y="40"/>
                </a:cubicBezTo>
                <a:cubicBezTo>
                  <a:pt x="3023" y="38"/>
                  <a:pt x="3023" y="38"/>
                  <a:pt x="3023" y="38"/>
                </a:cubicBezTo>
                <a:cubicBezTo>
                  <a:pt x="3024" y="37"/>
                  <a:pt x="3024" y="37"/>
                  <a:pt x="3024" y="37"/>
                </a:cubicBezTo>
                <a:cubicBezTo>
                  <a:pt x="3025" y="37"/>
                  <a:pt x="3025" y="37"/>
                  <a:pt x="3025" y="37"/>
                </a:cubicBezTo>
                <a:cubicBezTo>
                  <a:pt x="3026" y="39"/>
                  <a:pt x="3026" y="39"/>
                  <a:pt x="3026" y="39"/>
                </a:cubicBezTo>
                <a:cubicBezTo>
                  <a:pt x="3022" y="32"/>
                  <a:pt x="3022" y="32"/>
                  <a:pt x="3022" y="32"/>
                </a:cubicBezTo>
                <a:cubicBezTo>
                  <a:pt x="3019" y="30"/>
                  <a:pt x="3019" y="30"/>
                  <a:pt x="3019" y="30"/>
                </a:cubicBezTo>
                <a:cubicBezTo>
                  <a:pt x="3019" y="33"/>
                  <a:pt x="3019" y="33"/>
                  <a:pt x="3019" y="33"/>
                </a:cubicBezTo>
                <a:cubicBezTo>
                  <a:pt x="3019" y="34"/>
                  <a:pt x="3019" y="34"/>
                  <a:pt x="3019" y="34"/>
                </a:cubicBezTo>
                <a:cubicBezTo>
                  <a:pt x="3018" y="34"/>
                  <a:pt x="3018" y="34"/>
                  <a:pt x="3018" y="34"/>
                </a:cubicBezTo>
                <a:cubicBezTo>
                  <a:pt x="3014" y="30"/>
                  <a:pt x="3014" y="30"/>
                  <a:pt x="3014" y="30"/>
                </a:cubicBezTo>
                <a:cubicBezTo>
                  <a:pt x="3015" y="29"/>
                  <a:pt x="3015" y="29"/>
                  <a:pt x="3015" y="29"/>
                </a:cubicBezTo>
                <a:cubicBezTo>
                  <a:pt x="3017" y="29"/>
                  <a:pt x="3017" y="29"/>
                  <a:pt x="3017" y="29"/>
                </a:cubicBezTo>
                <a:cubicBezTo>
                  <a:pt x="3016" y="27"/>
                  <a:pt x="3016" y="27"/>
                  <a:pt x="3016" y="27"/>
                </a:cubicBezTo>
                <a:cubicBezTo>
                  <a:pt x="3010" y="23"/>
                  <a:pt x="3010" y="23"/>
                  <a:pt x="3010" y="23"/>
                </a:cubicBezTo>
                <a:cubicBezTo>
                  <a:pt x="3009" y="23"/>
                  <a:pt x="3009" y="23"/>
                  <a:pt x="3009" y="23"/>
                </a:cubicBezTo>
                <a:cubicBezTo>
                  <a:pt x="3010" y="24"/>
                  <a:pt x="3010" y="24"/>
                  <a:pt x="3010" y="24"/>
                </a:cubicBezTo>
                <a:cubicBezTo>
                  <a:pt x="3009" y="26"/>
                  <a:pt x="3009" y="26"/>
                  <a:pt x="3009" y="26"/>
                </a:cubicBezTo>
                <a:cubicBezTo>
                  <a:pt x="3006" y="26"/>
                  <a:pt x="3006" y="26"/>
                  <a:pt x="3006" y="26"/>
                </a:cubicBezTo>
                <a:cubicBezTo>
                  <a:pt x="3004" y="24"/>
                  <a:pt x="3004" y="24"/>
                  <a:pt x="3004" y="24"/>
                </a:cubicBezTo>
                <a:cubicBezTo>
                  <a:pt x="3001" y="23"/>
                  <a:pt x="3001" y="23"/>
                  <a:pt x="3001" y="23"/>
                </a:cubicBezTo>
                <a:cubicBezTo>
                  <a:pt x="2999" y="19"/>
                  <a:pt x="2999" y="19"/>
                  <a:pt x="2999" y="19"/>
                </a:cubicBezTo>
                <a:cubicBezTo>
                  <a:pt x="2999" y="18"/>
                  <a:pt x="2999" y="18"/>
                  <a:pt x="2999" y="18"/>
                </a:cubicBezTo>
                <a:cubicBezTo>
                  <a:pt x="2997" y="17"/>
                  <a:pt x="2997" y="17"/>
                  <a:pt x="2997" y="17"/>
                </a:cubicBezTo>
                <a:cubicBezTo>
                  <a:pt x="2996" y="17"/>
                  <a:pt x="2996" y="17"/>
                  <a:pt x="2996" y="17"/>
                </a:cubicBezTo>
                <a:cubicBezTo>
                  <a:pt x="2993" y="20"/>
                  <a:pt x="2993" y="20"/>
                  <a:pt x="2993" y="20"/>
                </a:cubicBezTo>
                <a:cubicBezTo>
                  <a:pt x="2993" y="21"/>
                  <a:pt x="2993" y="21"/>
                  <a:pt x="2993" y="21"/>
                </a:cubicBezTo>
                <a:cubicBezTo>
                  <a:pt x="2991" y="21"/>
                  <a:pt x="2991" y="21"/>
                  <a:pt x="2991" y="21"/>
                </a:cubicBezTo>
                <a:cubicBezTo>
                  <a:pt x="2990" y="22"/>
                  <a:pt x="2990" y="22"/>
                  <a:pt x="2990" y="22"/>
                </a:cubicBezTo>
                <a:cubicBezTo>
                  <a:pt x="2989" y="26"/>
                  <a:pt x="2989" y="26"/>
                  <a:pt x="2989" y="26"/>
                </a:cubicBezTo>
                <a:cubicBezTo>
                  <a:pt x="2990" y="27"/>
                  <a:pt x="2990" y="27"/>
                  <a:pt x="2990" y="27"/>
                </a:cubicBezTo>
                <a:cubicBezTo>
                  <a:pt x="2989" y="26"/>
                  <a:pt x="2989" y="26"/>
                  <a:pt x="2989" y="26"/>
                </a:cubicBezTo>
                <a:cubicBezTo>
                  <a:pt x="2987" y="22"/>
                  <a:pt x="2987" y="22"/>
                  <a:pt x="2987" y="22"/>
                </a:cubicBezTo>
                <a:cubicBezTo>
                  <a:pt x="2988" y="20"/>
                  <a:pt x="2988" y="20"/>
                  <a:pt x="2988" y="20"/>
                </a:cubicBezTo>
                <a:cubicBezTo>
                  <a:pt x="2985" y="18"/>
                  <a:pt x="2985" y="18"/>
                  <a:pt x="2985" y="18"/>
                </a:cubicBezTo>
                <a:cubicBezTo>
                  <a:pt x="2984" y="15"/>
                  <a:pt x="2984" y="15"/>
                  <a:pt x="2984" y="15"/>
                </a:cubicBezTo>
                <a:cubicBezTo>
                  <a:pt x="2983" y="15"/>
                  <a:pt x="2983" y="15"/>
                  <a:pt x="2983" y="15"/>
                </a:cubicBezTo>
                <a:cubicBezTo>
                  <a:pt x="2985" y="15"/>
                  <a:pt x="2985" y="15"/>
                  <a:pt x="2985" y="15"/>
                </a:cubicBezTo>
                <a:cubicBezTo>
                  <a:pt x="2987" y="17"/>
                  <a:pt x="2987" y="17"/>
                  <a:pt x="2987" y="17"/>
                </a:cubicBezTo>
                <a:cubicBezTo>
                  <a:pt x="2987" y="15"/>
                  <a:pt x="2987" y="15"/>
                  <a:pt x="2987" y="15"/>
                </a:cubicBezTo>
                <a:cubicBezTo>
                  <a:pt x="2989" y="15"/>
                  <a:pt x="2989" y="15"/>
                  <a:pt x="2989" y="15"/>
                </a:cubicBezTo>
                <a:cubicBezTo>
                  <a:pt x="2991" y="16"/>
                  <a:pt x="2991" y="16"/>
                  <a:pt x="2991" y="16"/>
                </a:cubicBezTo>
                <a:cubicBezTo>
                  <a:pt x="2994" y="14"/>
                  <a:pt x="2994" y="14"/>
                  <a:pt x="2994" y="14"/>
                </a:cubicBezTo>
                <a:cubicBezTo>
                  <a:pt x="2993" y="12"/>
                  <a:pt x="2993" y="12"/>
                  <a:pt x="2993" y="12"/>
                </a:cubicBezTo>
                <a:cubicBezTo>
                  <a:pt x="2987" y="10"/>
                  <a:pt x="2987" y="10"/>
                  <a:pt x="2987" y="10"/>
                </a:cubicBezTo>
                <a:cubicBezTo>
                  <a:pt x="2986" y="12"/>
                  <a:pt x="2986" y="12"/>
                  <a:pt x="2986" y="12"/>
                </a:cubicBezTo>
                <a:cubicBezTo>
                  <a:pt x="2983" y="12"/>
                  <a:pt x="2983" y="12"/>
                  <a:pt x="2983" y="12"/>
                </a:cubicBezTo>
                <a:cubicBezTo>
                  <a:pt x="2981" y="11"/>
                  <a:pt x="2981" y="11"/>
                  <a:pt x="2981" y="11"/>
                </a:cubicBezTo>
                <a:cubicBezTo>
                  <a:pt x="2983" y="11"/>
                  <a:pt x="2983" y="11"/>
                  <a:pt x="2983" y="11"/>
                </a:cubicBezTo>
                <a:cubicBezTo>
                  <a:pt x="2985" y="9"/>
                  <a:pt x="2985" y="9"/>
                  <a:pt x="2985" y="9"/>
                </a:cubicBezTo>
                <a:cubicBezTo>
                  <a:pt x="2987" y="8"/>
                  <a:pt x="2987" y="8"/>
                  <a:pt x="2987" y="8"/>
                </a:cubicBezTo>
                <a:cubicBezTo>
                  <a:pt x="2988" y="9"/>
                  <a:pt x="2988" y="9"/>
                  <a:pt x="2988" y="9"/>
                </a:cubicBezTo>
                <a:cubicBezTo>
                  <a:pt x="2991" y="10"/>
                  <a:pt x="2991" y="10"/>
                  <a:pt x="2991" y="10"/>
                </a:cubicBezTo>
                <a:cubicBezTo>
                  <a:pt x="2993" y="11"/>
                  <a:pt x="2993" y="11"/>
                  <a:pt x="2993" y="11"/>
                </a:cubicBezTo>
                <a:cubicBezTo>
                  <a:pt x="2996" y="14"/>
                  <a:pt x="2996" y="14"/>
                  <a:pt x="2996" y="14"/>
                </a:cubicBezTo>
                <a:cubicBezTo>
                  <a:pt x="2998" y="15"/>
                  <a:pt x="2998" y="15"/>
                  <a:pt x="2998" y="15"/>
                </a:cubicBezTo>
                <a:cubicBezTo>
                  <a:pt x="2999" y="17"/>
                  <a:pt x="2999" y="17"/>
                  <a:pt x="2999" y="17"/>
                </a:cubicBezTo>
                <a:cubicBezTo>
                  <a:pt x="3001" y="17"/>
                  <a:pt x="3001" y="17"/>
                  <a:pt x="3001" y="17"/>
                </a:cubicBezTo>
                <a:cubicBezTo>
                  <a:pt x="3003" y="15"/>
                  <a:pt x="3003" y="15"/>
                  <a:pt x="3003" y="15"/>
                </a:cubicBezTo>
                <a:cubicBezTo>
                  <a:pt x="3004" y="17"/>
                  <a:pt x="3004" y="17"/>
                  <a:pt x="3004" y="17"/>
                </a:cubicBezTo>
                <a:cubicBezTo>
                  <a:pt x="3009" y="13"/>
                  <a:pt x="3009" y="13"/>
                  <a:pt x="3009" y="13"/>
                </a:cubicBezTo>
                <a:cubicBezTo>
                  <a:pt x="3009" y="14"/>
                  <a:pt x="3009" y="14"/>
                  <a:pt x="3009" y="14"/>
                </a:cubicBezTo>
                <a:cubicBezTo>
                  <a:pt x="3009" y="16"/>
                  <a:pt x="3009" y="16"/>
                  <a:pt x="3009" y="16"/>
                </a:cubicBezTo>
                <a:cubicBezTo>
                  <a:pt x="3011" y="15"/>
                  <a:pt x="3011" y="15"/>
                  <a:pt x="3011" y="15"/>
                </a:cubicBezTo>
                <a:cubicBezTo>
                  <a:pt x="3011" y="12"/>
                  <a:pt x="3011" y="12"/>
                  <a:pt x="3011" y="12"/>
                </a:cubicBezTo>
                <a:cubicBezTo>
                  <a:pt x="3013" y="8"/>
                  <a:pt x="3013" y="8"/>
                  <a:pt x="3013" y="8"/>
                </a:cubicBezTo>
                <a:cubicBezTo>
                  <a:pt x="3013" y="7"/>
                  <a:pt x="3013" y="7"/>
                  <a:pt x="3013" y="7"/>
                </a:cubicBezTo>
                <a:cubicBezTo>
                  <a:pt x="3013" y="4"/>
                  <a:pt x="3013" y="4"/>
                  <a:pt x="3013" y="4"/>
                </a:cubicBezTo>
                <a:cubicBezTo>
                  <a:pt x="3012" y="0"/>
                  <a:pt x="3012" y="0"/>
                  <a:pt x="3012" y="0"/>
                </a:cubicBezTo>
                <a:cubicBezTo>
                  <a:pt x="3012" y="0"/>
                  <a:pt x="3012" y="0"/>
                  <a:pt x="3012" y="0"/>
                </a:cubicBezTo>
                <a:cubicBezTo>
                  <a:pt x="2304" y="0"/>
                  <a:pt x="2304" y="0"/>
                  <a:pt x="2304" y="0"/>
                </a:cubicBezTo>
                <a:cubicBezTo>
                  <a:pt x="2303" y="1"/>
                  <a:pt x="2303" y="1"/>
                  <a:pt x="2303" y="1"/>
                </a:cubicBezTo>
                <a:cubicBezTo>
                  <a:pt x="2302" y="3"/>
                  <a:pt x="2302" y="3"/>
                  <a:pt x="2302" y="3"/>
                </a:cubicBezTo>
                <a:cubicBezTo>
                  <a:pt x="2300" y="3"/>
                  <a:pt x="2300" y="3"/>
                  <a:pt x="2300" y="3"/>
                </a:cubicBezTo>
                <a:cubicBezTo>
                  <a:pt x="2299" y="4"/>
                  <a:pt x="2299" y="4"/>
                  <a:pt x="2299" y="4"/>
                </a:cubicBezTo>
                <a:cubicBezTo>
                  <a:pt x="2299" y="2"/>
                  <a:pt x="2299" y="2"/>
                  <a:pt x="2299" y="2"/>
                </a:cubicBezTo>
                <a:cubicBezTo>
                  <a:pt x="2301" y="1"/>
                  <a:pt x="2301" y="1"/>
                  <a:pt x="2301" y="1"/>
                </a:cubicBezTo>
                <a:cubicBezTo>
                  <a:pt x="2301" y="0"/>
                  <a:pt x="2301" y="0"/>
                  <a:pt x="2301" y="0"/>
                </a:cubicBezTo>
                <a:cubicBezTo>
                  <a:pt x="2143" y="0"/>
                  <a:pt x="2143" y="0"/>
                  <a:pt x="2143" y="0"/>
                </a:cubicBezTo>
                <a:cubicBezTo>
                  <a:pt x="2143" y="1"/>
                  <a:pt x="2143" y="1"/>
                  <a:pt x="2143" y="1"/>
                </a:cubicBezTo>
                <a:cubicBezTo>
                  <a:pt x="2144" y="2"/>
                  <a:pt x="2144" y="2"/>
                  <a:pt x="2144" y="2"/>
                </a:cubicBezTo>
                <a:cubicBezTo>
                  <a:pt x="2145" y="1"/>
                  <a:pt x="2145" y="1"/>
                  <a:pt x="2145" y="1"/>
                </a:cubicBezTo>
                <a:cubicBezTo>
                  <a:pt x="2148" y="1"/>
                  <a:pt x="2148" y="1"/>
                  <a:pt x="2148" y="1"/>
                </a:cubicBezTo>
                <a:cubicBezTo>
                  <a:pt x="2148" y="3"/>
                  <a:pt x="2148" y="3"/>
                  <a:pt x="2148" y="3"/>
                </a:cubicBezTo>
                <a:cubicBezTo>
                  <a:pt x="2151" y="5"/>
                  <a:pt x="2151" y="5"/>
                  <a:pt x="2151" y="5"/>
                </a:cubicBezTo>
                <a:cubicBezTo>
                  <a:pt x="2153" y="5"/>
                  <a:pt x="2153" y="5"/>
                  <a:pt x="2153" y="5"/>
                </a:cubicBezTo>
                <a:cubicBezTo>
                  <a:pt x="2154" y="8"/>
                  <a:pt x="2154" y="8"/>
                  <a:pt x="2154" y="8"/>
                </a:cubicBezTo>
                <a:cubicBezTo>
                  <a:pt x="2153" y="11"/>
                  <a:pt x="2153" y="11"/>
                  <a:pt x="2153" y="11"/>
                </a:cubicBezTo>
                <a:cubicBezTo>
                  <a:pt x="2149" y="14"/>
                  <a:pt x="2149" y="14"/>
                  <a:pt x="2149" y="14"/>
                </a:cubicBezTo>
                <a:cubicBezTo>
                  <a:pt x="2147" y="16"/>
                  <a:pt x="2147" y="16"/>
                  <a:pt x="2147" y="16"/>
                </a:cubicBezTo>
                <a:cubicBezTo>
                  <a:pt x="2147" y="17"/>
                  <a:pt x="2147" y="17"/>
                  <a:pt x="2147" y="17"/>
                </a:cubicBezTo>
                <a:cubicBezTo>
                  <a:pt x="2151" y="21"/>
                  <a:pt x="2151" y="21"/>
                  <a:pt x="2151" y="21"/>
                </a:cubicBezTo>
                <a:cubicBezTo>
                  <a:pt x="2153" y="22"/>
                  <a:pt x="2153" y="22"/>
                  <a:pt x="2153" y="22"/>
                </a:cubicBezTo>
                <a:cubicBezTo>
                  <a:pt x="2149" y="22"/>
                  <a:pt x="2149" y="22"/>
                  <a:pt x="2149" y="22"/>
                </a:cubicBezTo>
                <a:cubicBezTo>
                  <a:pt x="2145" y="18"/>
                  <a:pt x="2145" y="18"/>
                  <a:pt x="2145" y="18"/>
                </a:cubicBezTo>
                <a:cubicBezTo>
                  <a:pt x="2145" y="16"/>
                  <a:pt x="2145" y="16"/>
                  <a:pt x="2145" y="16"/>
                </a:cubicBezTo>
                <a:cubicBezTo>
                  <a:pt x="2147" y="12"/>
                  <a:pt x="2147" y="12"/>
                  <a:pt x="2147" y="12"/>
                </a:cubicBezTo>
                <a:cubicBezTo>
                  <a:pt x="2149" y="11"/>
                  <a:pt x="2149" y="11"/>
                  <a:pt x="2149" y="11"/>
                </a:cubicBezTo>
                <a:cubicBezTo>
                  <a:pt x="2148" y="10"/>
                  <a:pt x="2148" y="10"/>
                  <a:pt x="2148" y="10"/>
                </a:cubicBezTo>
                <a:cubicBezTo>
                  <a:pt x="2149" y="7"/>
                  <a:pt x="2149" y="7"/>
                  <a:pt x="2149" y="7"/>
                </a:cubicBezTo>
                <a:cubicBezTo>
                  <a:pt x="2149" y="7"/>
                  <a:pt x="2149" y="7"/>
                  <a:pt x="2149" y="7"/>
                </a:cubicBezTo>
                <a:cubicBezTo>
                  <a:pt x="2142" y="10"/>
                  <a:pt x="2142" y="10"/>
                  <a:pt x="2142" y="10"/>
                </a:cubicBezTo>
                <a:cubicBezTo>
                  <a:pt x="2138" y="11"/>
                  <a:pt x="2138" y="11"/>
                  <a:pt x="2138" y="11"/>
                </a:cubicBezTo>
                <a:cubicBezTo>
                  <a:pt x="2137" y="13"/>
                  <a:pt x="2137" y="13"/>
                  <a:pt x="2137" y="13"/>
                </a:cubicBezTo>
                <a:cubicBezTo>
                  <a:pt x="2135" y="14"/>
                  <a:pt x="2135" y="14"/>
                  <a:pt x="2135" y="14"/>
                </a:cubicBezTo>
                <a:cubicBezTo>
                  <a:pt x="2133" y="14"/>
                  <a:pt x="2133" y="14"/>
                  <a:pt x="2133" y="14"/>
                </a:cubicBezTo>
                <a:cubicBezTo>
                  <a:pt x="2130" y="14"/>
                  <a:pt x="2130" y="14"/>
                  <a:pt x="2130" y="14"/>
                </a:cubicBezTo>
                <a:cubicBezTo>
                  <a:pt x="2127" y="17"/>
                  <a:pt x="2127" y="17"/>
                  <a:pt x="2127" y="17"/>
                </a:cubicBezTo>
                <a:cubicBezTo>
                  <a:pt x="2119" y="19"/>
                  <a:pt x="2119" y="19"/>
                  <a:pt x="2119" y="19"/>
                </a:cubicBezTo>
                <a:cubicBezTo>
                  <a:pt x="2114" y="21"/>
                  <a:pt x="2114" y="21"/>
                  <a:pt x="2114" y="21"/>
                </a:cubicBezTo>
                <a:cubicBezTo>
                  <a:pt x="2112" y="21"/>
                  <a:pt x="2112" y="21"/>
                  <a:pt x="2112" y="21"/>
                </a:cubicBezTo>
                <a:cubicBezTo>
                  <a:pt x="2109" y="23"/>
                  <a:pt x="2109" y="23"/>
                  <a:pt x="2109" y="23"/>
                </a:cubicBezTo>
                <a:cubicBezTo>
                  <a:pt x="2106" y="23"/>
                  <a:pt x="2106" y="23"/>
                  <a:pt x="2106" y="23"/>
                </a:cubicBezTo>
                <a:cubicBezTo>
                  <a:pt x="2105" y="25"/>
                  <a:pt x="2105" y="25"/>
                  <a:pt x="2105" y="25"/>
                </a:cubicBezTo>
                <a:cubicBezTo>
                  <a:pt x="2107" y="26"/>
                  <a:pt x="2107" y="26"/>
                  <a:pt x="2107" y="26"/>
                </a:cubicBezTo>
                <a:cubicBezTo>
                  <a:pt x="2107" y="29"/>
                  <a:pt x="2107" y="29"/>
                  <a:pt x="2107" y="29"/>
                </a:cubicBezTo>
                <a:cubicBezTo>
                  <a:pt x="2106" y="31"/>
                  <a:pt x="2106" y="31"/>
                  <a:pt x="2106" y="31"/>
                </a:cubicBezTo>
                <a:cubicBezTo>
                  <a:pt x="2108" y="32"/>
                  <a:pt x="2108" y="32"/>
                  <a:pt x="2108" y="32"/>
                </a:cubicBezTo>
                <a:cubicBezTo>
                  <a:pt x="2109" y="32"/>
                  <a:pt x="2109" y="32"/>
                  <a:pt x="2109" y="32"/>
                </a:cubicBezTo>
                <a:cubicBezTo>
                  <a:pt x="2110" y="33"/>
                  <a:pt x="2110" y="33"/>
                  <a:pt x="2110" y="33"/>
                </a:cubicBezTo>
                <a:cubicBezTo>
                  <a:pt x="2109" y="35"/>
                  <a:pt x="2109" y="35"/>
                  <a:pt x="2109" y="35"/>
                </a:cubicBezTo>
                <a:cubicBezTo>
                  <a:pt x="2112" y="37"/>
                  <a:pt x="2112" y="37"/>
                  <a:pt x="2112" y="37"/>
                </a:cubicBezTo>
                <a:cubicBezTo>
                  <a:pt x="2115" y="41"/>
                  <a:pt x="2115" y="41"/>
                  <a:pt x="2115" y="41"/>
                </a:cubicBezTo>
                <a:cubicBezTo>
                  <a:pt x="2115" y="45"/>
                  <a:pt x="2115" y="45"/>
                  <a:pt x="2115" y="45"/>
                </a:cubicBezTo>
                <a:cubicBezTo>
                  <a:pt x="2116" y="47"/>
                  <a:pt x="2116" y="47"/>
                  <a:pt x="2116" y="47"/>
                </a:cubicBezTo>
                <a:cubicBezTo>
                  <a:pt x="2117" y="47"/>
                  <a:pt x="2117" y="47"/>
                  <a:pt x="2117" y="47"/>
                </a:cubicBezTo>
                <a:cubicBezTo>
                  <a:pt x="2117" y="50"/>
                  <a:pt x="2117" y="50"/>
                  <a:pt x="2117" y="50"/>
                </a:cubicBezTo>
                <a:cubicBezTo>
                  <a:pt x="2120" y="51"/>
                  <a:pt x="2120" y="51"/>
                  <a:pt x="2120" y="51"/>
                </a:cubicBezTo>
                <a:cubicBezTo>
                  <a:pt x="2122" y="51"/>
                  <a:pt x="2122" y="51"/>
                  <a:pt x="2122" y="51"/>
                </a:cubicBezTo>
                <a:cubicBezTo>
                  <a:pt x="2129" y="52"/>
                  <a:pt x="2129" y="52"/>
                  <a:pt x="2129" y="52"/>
                </a:cubicBezTo>
                <a:cubicBezTo>
                  <a:pt x="2132" y="50"/>
                  <a:pt x="2132" y="50"/>
                  <a:pt x="2132" y="50"/>
                </a:cubicBezTo>
                <a:cubicBezTo>
                  <a:pt x="2132" y="52"/>
                  <a:pt x="2132" y="52"/>
                  <a:pt x="2132" y="52"/>
                </a:cubicBezTo>
                <a:cubicBezTo>
                  <a:pt x="2133" y="53"/>
                  <a:pt x="2133" y="53"/>
                  <a:pt x="2133" y="53"/>
                </a:cubicBezTo>
                <a:cubicBezTo>
                  <a:pt x="2132" y="56"/>
                  <a:pt x="2132" y="56"/>
                  <a:pt x="2132" y="56"/>
                </a:cubicBezTo>
                <a:cubicBezTo>
                  <a:pt x="2136" y="57"/>
                  <a:pt x="2136" y="57"/>
                  <a:pt x="2136" y="57"/>
                </a:cubicBezTo>
                <a:cubicBezTo>
                  <a:pt x="2137" y="60"/>
                  <a:pt x="2137" y="60"/>
                  <a:pt x="2137" y="60"/>
                </a:cubicBezTo>
                <a:cubicBezTo>
                  <a:pt x="2142" y="60"/>
                  <a:pt x="2142" y="60"/>
                  <a:pt x="2142" y="60"/>
                </a:cubicBezTo>
                <a:cubicBezTo>
                  <a:pt x="2146" y="63"/>
                  <a:pt x="2146" y="63"/>
                  <a:pt x="2146" y="63"/>
                </a:cubicBezTo>
                <a:cubicBezTo>
                  <a:pt x="2147" y="63"/>
                  <a:pt x="2147" y="63"/>
                  <a:pt x="2147" y="63"/>
                </a:cubicBezTo>
                <a:cubicBezTo>
                  <a:pt x="2149" y="65"/>
                  <a:pt x="2149" y="65"/>
                  <a:pt x="2149" y="65"/>
                </a:cubicBezTo>
                <a:cubicBezTo>
                  <a:pt x="2150" y="70"/>
                  <a:pt x="2150" y="70"/>
                  <a:pt x="2150" y="70"/>
                </a:cubicBezTo>
                <a:cubicBezTo>
                  <a:pt x="2151" y="72"/>
                  <a:pt x="2151" y="72"/>
                  <a:pt x="2151" y="72"/>
                </a:cubicBezTo>
                <a:cubicBezTo>
                  <a:pt x="2150" y="75"/>
                  <a:pt x="2150" y="75"/>
                  <a:pt x="2150" y="75"/>
                </a:cubicBezTo>
                <a:cubicBezTo>
                  <a:pt x="2152" y="78"/>
                  <a:pt x="2152" y="78"/>
                  <a:pt x="2152" y="78"/>
                </a:cubicBezTo>
                <a:cubicBezTo>
                  <a:pt x="2154" y="79"/>
                  <a:pt x="2154" y="79"/>
                  <a:pt x="2154" y="79"/>
                </a:cubicBezTo>
                <a:cubicBezTo>
                  <a:pt x="2158" y="84"/>
                  <a:pt x="2158" y="84"/>
                  <a:pt x="2158" y="84"/>
                </a:cubicBezTo>
                <a:cubicBezTo>
                  <a:pt x="2159" y="88"/>
                  <a:pt x="2159" y="88"/>
                  <a:pt x="2159" y="88"/>
                </a:cubicBezTo>
                <a:cubicBezTo>
                  <a:pt x="2162" y="91"/>
                  <a:pt x="2162" y="91"/>
                  <a:pt x="2162" y="91"/>
                </a:cubicBezTo>
                <a:cubicBezTo>
                  <a:pt x="2162" y="93"/>
                  <a:pt x="2162" y="93"/>
                  <a:pt x="2162" y="93"/>
                </a:cubicBezTo>
                <a:cubicBezTo>
                  <a:pt x="2160" y="97"/>
                  <a:pt x="2160" y="97"/>
                  <a:pt x="2160" y="97"/>
                </a:cubicBezTo>
                <a:cubicBezTo>
                  <a:pt x="2159" y="97"/>
                  <a:pt x="2159" y="97"/>
                  <a:pt x="2159" y="97"/>
                </a:cubicBezTo>
                <a:cubicBezTo>
                  <a:pt x="2157" y="97"/>
                  <a:pt x="2157" y="97"/>
                  <a:pt x="2157" y="97"/>
                </a:cubicBezTo>
                <a:cubicBezTo>
                  <a:pt x="2159" y="100"/>
                  <a:pt x="2159" y="100"/>
                  <a:pt x="2159" y="100"/>
                </a:cubicBezTo>
                <a:cubicBezTo>
                  <a:pt x="2162" y="100"/>
                  <a:pt x="2162" y="100"/>
                  <a:pt x="2162" y="100"/>
                </a:cubicBezTo>
                <a:cubicBezTo>
                  <a:pt x="2164" y="102"/>
                  <a:pt x="2164" y="102"/>
                  <a:pt x="2164" y="102"/>
                </a:cubicBezTo>
                <a:cubicBezTo>
                  <a:pt x="2168" y="106"/>
                  <a:pt x="2168" y="106"/>
                  <a:pt x="2168" y="106"/>
                </a:cubicBezTo>
                <a:cubicBezTo>
                  <a:pt x="2172" y="107"/>
                  <a:pt x="2172" y="107"/>
                  <a:pt x="2172" y="107"/>
                </a:cubicBezTo>
                <a:cubicBezTo>
                  <a:pt x="2172" y="107"/>
                  <a:pt x="2172" y="107"/>
                  <a:pt x="2172" y="107"/>
                </a:cubicBezTo>
                <a:cubicBezTo>
                  <a:pt x="2174" y="107"/>
                  <a:pt x="2174" y="107"/>
                  <a:pt x="2174" y="107"/>
                </a:cubicBezTo>
                <a:cubicBezTo>
                  <a:pt x="2177" y="105"/>
                  <a:pt x="2177" y="105"/>
                  <a:pt x="2177" y="105"/>
                </a:cubicBezTo>
                <a:cubicBezTo>
                  <a:pt x="2180" y="104"/>
                  <a:pt x="2180" y="104"/>
                  <a:pt x="2180" y="104"/>
                </a:cubicBezTo>
                <a:cubicBezTo>
                  <a:pt x="2184" y="106"/>
                  <a:pt x="2184" y="106"/>
                  <a:pt x="2184" y="106"/>
                </a:cubicBezTo>
                <a:cubicBezTo>
                  <a:pt x="2187" y="107"/>
                  <a:pt x="2187" y="107"/>
                  <a:pt x="2187" y="107"/>
                </a:cubicBezTo>
                <a:cubicBezTo>
                  <a:pt x="2189" y="108"/>
                  <a:pt x="2189" y="108"/>
                  <a:pt x="2189" y="108"/>
                </a:cubicBezTo>
                <a:cubicBezTo>
                  <a:pt x="2190" y="110"/>
                  <a:pt x="2190" y="110"/>
                  <a:pt x="2190" y="110"/>
                </a:cubicBezTo>
                <a:cubicBezTo>
                  <a:pt x="2190" y="114"/>
                  <a:pt x="2190" y="114"/>
                  <a:pt x="2190" y="114"/>
                </a:cubicBezTo>
                <a:cubicBezTo>
                  <a:pt x="2189" y="110"/>
                  <a:pt x="2189" y="110"/>
                  <a:pt x="2189" y="110"/>
                </a:cubicBezTo>
                <a:cubicBezTo>
                  <a:pt x="2188" y="108"/>
                  <a:pt x="2188" y="108"/>
                  <a:pt x="2188" y="108"/>
                </a:cubicBezTo>
                <a:cubicBezTo>
                  <a:pt x="2185" y="108"/>
                  <a:pt x="2185" y="108"/>
                  <a:pt x="2185" y="108"/>
                </a:cubicBezTo>
                <a:cubicBezTo>
                  <a:pt x="2180" y="105"/>
                  <a:pt x="2180" y="105"/>
                  <a:pt x="2180" y="105"/>
                </a:cubicBezTo>
                <a:cubicBezTo>
                  <a:pt x="2178" y="105"/>
                  <a:pt x="2178" y="105"/>
                  <a:pt x="2178" y="105"/>
                </a:cubicBezTo>
                <a:cubicBezTo>
                  <a:pt x="2175" y="108"/>
                  <a:pt x="2175" y="108"/>
                  <a:pt x="2175" y="108"/>
                </a:cubicBezTo>
                <a:cubicBezTo>
                  <a:pt x="2175" y="111"/>
                  <a:pt x="2175" y="111"/>
                  <a:pt x="2175" y="111"/>
                </a:cubicBezTo>
                <a:cubicBezTo>
                  <a:pt x="2175" y="113"/>
                  <a:pt x="2175" y="113"/>
                  <a:pt x="2175" y="113"/>
                </a:cubicBezTo>
                <a:cubicBezTo>
                  <a:pt x="2171" y="108"/>
                  <a:pt x="2171" y="108"/>
                  <a:pt x="2171" y="108"/>
                </a:cubicBezTo>
                <a:cubicBezTo>
                  <a:pt x="2167" y="108"/>
                  <a:pt x="2167" y="108"/>
                  <a:pt x="2167" y="108"/>
                </a:cubicBezTo>
                <a:cubicBezTo>
                  <a:pt x="2165" y="107"/>
                  <a:pt x="2165" y="107"/>
                  <a:pt x="2165" y="107"/>
                </a:cubicBezTo>
                <a:cubicBezTo>
                  <a:pt x="2165" y="104"/>
                  <a:pt x="2165" y="104"/>
                  <a:pt x="2165" y="104"/>
                </a:cubicBezTo>
                <a:cubicBezTo>
                  <a:pt x="2163" y="102"/>
                  <a:pt x="2163" y="102"/>
                  <a:pt x="2163" y="102"/>
                </a:cubicBezTo>
                <a:cubicBezTo>
                  <a:pt x="2160" y="101"/>
                  <a:pt x="2160" y="101"/>
                  <a:pt x="2160" y="101"/>
                </a:cubicBezTo>
                <a:cubicBezTo>
                  <a:pt x="2157" y="101"/>
                  <a:pt x="2157" y="101"/>
                  <a:pt x="2157" y="101"/>
                </a:cubicBezTo>
                <a:cubicBezTo>
                  <a:pt x="2153" y="99"/>
                  <a:pt x="2153" y="99"/>
                  <a:pt x="2153" y="99"/>
                </a:cubicBezTo>
                <a:cubicBezTo>
                  <a:pt x="2154" y="98"/>
                  <a:pt x="2154" y="98"/>
                  <a:pt x="2154" y="98"/>
                </a:cubicBezTo>
                <a:cubicBezTo>
                  <a:pt x="2154" y="96"/>
                  <a:pt x="2154" y="96"/>
                  <a:pt x="2154" y="96"/>
                </a:cubicBezTo>
                <a:cubicBezTo>
                  <a:pt x="2155" y="95"/>
                  <a:pt x="2155" y="95"/>
                  <a:pt x="2155" y="95"/>
                </a:cubicBezTo>
                <a:cubicBezTo>
                  <a:pt x="2155" y="93"/>
                  <a:pt x="2155" y="93"/>
                  <a:pt x="2155" y="93"/>
                </a:cubicBezTo>
                <a:cubicBezTo>
                  <a:pt x="2155" y="88"/>
                  <a:pt x="2155" y="88"/>
                  <a:pt x="2155" y="88"/>
                </a:cubicBezTo>
                <a:cubicBezTo>
                  <a:pt x="2153" y="85"/>
                  <a:pt x="2153" y="85"/>
                  <a:pt x="2153" y="85"/>
                </a:cubicBezTo>
                <a:cubicBezTo>
                  <a:pt x="2152" y="84"/>
                  <a:pt x="2152" y="84"/>
                  <a:pt x="2152" y="84"/>
                </a:cubicBezTo>
                <a:cubicBezTo>
                  <a:pt x="2151" y="87"/>
                  <a:pt x="2151" y="87"/>
                  <a:pt x="2151" y="87"/>
                </a:cubicBezTo>
                <a:cubicBezTo>
                  <a:pt x="2149" y="88"/>
                  <a:pt x="2149" y="88"/>
                  <a:pt x="2149" y="88"/>
                </a:cubicBezTo>
                <a:cubicBezTo>
                  <a:pt x="2149" y="90"/>
                  <a:pt x="2149" y="90"/>
                  <a:pt x="2149" y="90"/>
                </a:cubicBezTo>
                <a:cubicBezTo>
                  <a:pt x="2148" y="92"/>
                  <a:pt x="2148" y="92"/>
                  <a:pt x="2148" y="92"/>
                </a:cubicBezTo>
                <a:cubicBezTo>
                  <a:pt x="2149" y="93"/>
                  <a:pt x="2149" y="93"/>
                  <a:pt x="2149" y="93"/>
                </a:cubicBezTo>
                <a:cubicBezTo>
                  <a:pt x="2148" y="95"/>
                  <a:pt x="2148" y="95"/>
                  <a:pt x="2148" y="95"/>
                </a:cubicBezTo>
                <a:cubicBezTo>
                  <a:pt x="2147" y="95"/>
                  <a:pt x="2147" y="95"/>
                  <a:pt x="2147" y="95"/>
                </a:cubicBezTo>
                <a:cubicBezTo>
                  <a:pt x="2146" y="89"/>
                  <a:pt x="2146" y="89"/>
                  <a:pt x="2146" y="89"/>
                </a:cubicBezTo>
                <a:cubicBezTo>
                  <a:pt x="2147" y="87"/>
                  <a:pt x="2147" y="87"/>
                  <a:pt x="2147" y="87"/>
                </a:cubicBezTo>
                <a:cubicBezTo>
                  <a:pt x="2147" y="85"/>
                  <a:pt x="2147" y="85"/>
                  <a:pt x="2147" y="85"/>
                </a:cubicBezTo>
                <a:cubicBezTo>
                  <a:pt x="2144" y="82"/>
                  <a:pt x="2144" y="82"/>
                  <a:pt x="2144" y="82"/>
                </a:cubicBezTo>
                <a:cubicBezTo>
                  <a:pt x="2144" y="79"/>
                  <a:pt x="2144" y="79"/>
                  <a:pt x="2144" y="79"/>
                </a:cubicBezTo>
                <a:cubicBezTo>
                  <a:pt x="2142" y="77"/>
                  <a:pt x="2142" y="77"/>
                  <a:pt x="2142" y="77"/>
                </a:cubicBezTo>
                <a:cubicBezTo>
                  <a:pt x="2143" y="74"/>
                  <a:pt x="2143" y="74"/>
                  <a:pt x="2143" y="74"/>
                </a:cubicBezTo>
                <a:cubicBezTo>
                  <a:pt x="2145" y="72"/>
                  <a:pt x="2145" y="72"/>
                  <a:pt x="2145" y="72"/>
                </a:cubicBezTo>
                <a:cubicBezTo>
                  <a:pt x="2146" y="71"/>
                  <a:pt x="2146" y="71"/>
                  <a:pt x="2146" y="71"/>
                </a:cubicBezTo>
                <a:cubicBezTo>
                  <a:pt x="2145" y="69"/>
                  <a:pt x="2145" y="69"/>
                  <a:pt x="2145" y="69"/>
                </a:cubicBezTo>
                <a:cubicBezTo>
                  <a:pt x="2146" y="65"/>
                  <a:pt x="2146" y="65"/>
                  <a:pt x="2146" y="65"/>
                </a:cubicBezTo>
                <a:cubicBezTo>
                  <a:pt x="2143" y="65"/>
                  <a:pt x="2143" y="65"/>
                  <a:pt x="2143" y="65"/>
                </a:cubicBezTo>
                <a:cubicBezTo>
                  <a:pt x="2143" y="65"/>
                  <a:pt x="2143" y="65"/>
                  <a:pt x="2143" y="65"/>
                </a:cubicBezTo>
                <a:cubicBezTo>
                  <a:pt x="2141" y="64"/>
                  <a:pt x="2141" y="64"/>
                  <a:pt x="2141" y="64"/>
                </a:cubicBezTo>
                <a:cubicBezTo>
                  <a:pt x="2137" y="66"/>
                  <a:pt x="2137" y="66"/>
                  <a:pt x="2137" y="66"/>
                </a:cubicBezTo>
                <a:cubicBezTo>
                  <a:pt x="2131" y="67"/>
                  <a:pt x="2131" y="67"/>
                  <a:pt x="2131" y="67"/>
                </a:cubicBezTo>
                <a:cubicBezTo>
                  <a:pt x="2128" y="67"/>
                  <a:pt x="2128" y="67"/>
                  <a:pt x="2128" y="67"/>
                </a:cubicBezTo>
                <a:cubicBezTo>
                  <a:pt x="2124" y="62"/>
                  <a:pt x="2124" y="62"/>
                  <a:pt x="2124" y="62"/>
                </a:cubicBezTo>
                <a:cubicBezTo>
                  <a:pt x="2122" y="61"/>
                  <a:pt x="2122" y="61"/>
                  <a:pt x="2122" y="61"/>
                </a:cubicBezTo>
                <a:cubicBezTo>
                  <a:pt x="2121" y="59"/>
                  <a:pt x="2121" y="59"/>
                  <a:pt x="2121" y="59"/>
                </a:cubicBezTo>
                <a:cubicBezTo>
                  <a:pt x="2116" y="59"/>
                  <a:pt x="2116" y="59"/>
                  <a:pt x="2116" y="59"/>
                </a:cubicBezTo>
                <a:cubicBezTo>
                  <a:pt x="2113" y="57"/>
                  <a:pt x="2113" y="57"/>
                  <a:pt x="2113" y="57"/>
                </a:cubicBezTo>
                <a:cubicBezTo>
                  <a:pt x="2111" y="54"/>
                  <a:pt x="2111" y="54"/>
                  <a:pt x="2111" y="54"/>
                </a:cubicBezTo>
                <a:cubicBezTo>
                  <a:pt x="2104" y="54"/>
                  <a:pt x="2104" y="54"/>
                  <a:pt x="2104" y="54"/>
                </a:cubicBezTo>
                <a:cubicBezTo>
                  <a:pt x="2102" y="54"/>
                  <a:pt x="2102" y="54"/>
                  <a:pt x="2102" y="54"/>
                </a:cubicBezTo>
                <a:cubicBezTo>
                  <a:pt x="2099" y="55"/>
                  <a:pt x="2099" y="55"/>
                  <a:pt x="2099" y="55"/>
                </a:cubicBezTo>
                <a:cubicBezTo>
                  <a:pt x="2097" y="59"/>
                  <a:pt x="2097" y="59"/>
                  <a:pt x="2097" y="59"/>
                </a:cubicBezTo>
                <a:cubicBezTo>
                  <a:pt x="2097" y="61"/>
                  <a:pt x="2097" y="61"/>
                  <a:pt x="2097" y="61"/>
                </a:cubicBezTo>
                <a:cubicBezTo>
                  <a:pt x="2095" y="62"/>
                  <a:pt x="2095" y="62"/>
                  <a:pt x="2095" y="62"/>
                </a:cubicBezTo>
                <a:cubicBezTo>
                  <a:pt x="2094" y="61"/>
                  <a:pt x="2094" y="61"/>
                  <a:pt x="2094" y="61"/>
                </a:cubicBezTo>
                <a:cubicBezTo>
                  <a:pt x="2094" y="62"/>
                  <a:pt x="2094" y="62"/>
                  <a:pt x="2094" y="62"/>
                </a:cubicBezTo>
                <a:cubicBezTo>
                  <a:pt x="2095" y="64"/>
                  <a:pt x="2095" y="64"/>
                  <a:pt x="2095" y="64"/>
                </a:cubicBezTo>
                <a:cubicBezTo>
                  <a:pt x="2099" y="62"/>
                  <a:pt x="2099" y="62"/>
                  <a:pt x="2099" y="62"/>
                </a:cubicBezTo>
                <a:cubicBezTo>
                  <a:pt x="2102" y="63"/>
                  <a:pt x="2102" y="63"/>
                  <a:pt x="2102" y="63"/>
                </a:cubicBezTo>
                <a:cubicBezTo>
                  <a:pt x="2104" y="66"/>
                  <a:pt x="2104" y="66"/>
                  <a:pt x="2104" y="66"/>
                </a:cubicBezTo>
                <a:cubicBezTo>
                  <a:pt x="2102" y="70"/>
                  <a:pt x="2102" y="70"/>
                  <a:pt x="2102" y="70"/>
                </a:cubicBezTo>
                <a:cubicBezTo>
                  <a:pt x="2099" y="71"/>
                  <a:pt x="2099" y="71"/>
                  <a:pt x="2099" y="71"/>
                </a:cubicBezTo>
                <a:cubicBezTo>
                  <a:pt x="2095" y="69"/>
                  <a:pt x="2095" y="69"/>
                  <a:pt x="2095" y="69"/>
                </a:cubicBezTo>
                <a:cubicBezTo>
                  <a:pt x="2092" y="66"/>
                  <a:pt x="2092" y="66"/>
                  <a:pt x="2092" y="66"/>
                </a:cubicBezTo>
                <a:cubicBezTo>
                  <a:pt x="2090" y="66"/>
                  <a:pt x="2090" y="66"/>
                  <a:pt x="2090" y="66"/>
                </a:cubicBezTo>
                <a:cubicBezTo>
                  <a:pt x="2087" y="68"/>
                  <a:pt x="2087" y="68"/>
                  <a:pt x="2087" y="68"/>
                </a:cubicBezTo>
                <a:cubicBezTo>
                  <a:pt x="2086" y="69"/>
                  <a:pt x="2086" y="69"/>
                  <a:pt x="2086" y="69"/>
                </a:cubicBezTo>
                <a:cubicBezTo>
                  <a:pt x="2085" y="70"/>
                  <a:pt x="2085" y="70"/>
                  <a:pt x="2085" y="70"/>
                </a:cubicBezTo>
                <a:cubicBezTo>
                  <a:pt x="2088" y="74"/>
                  <a:pt x="2088" y="74"/>
                  <a:pt x="2088" y="74"/>
                </a:cubicBezTo>
                <a:cubicBezTo>
                  <a:pt x="2089" y="74"/>
                  <a:pt x="2089" y="74"/>
                  <a:pt x="2089" y="74"/>
                </a:cubicBezTo>
                <a:cubicBezTo>
                  <a:pt x="2090" y="77"/>
                  <a:pt x="2090" y="77"/>
                  <a:pt x="2090" y="77"/>
                </a:cubicBezTo>
                <a:cubicBezTo>
                  <a:pt x="2094" y="80"/>
                  <a:pt x="2094" y="80"/>
                  <a:pt x="2094" y="80"/>
                </a:cubicBezTo>
                <a:cubicBezTo>
                  <a:pt x="2097" y="80"/>
                  <a:pt x="2097" y="80"/>
                  <a:pt x="2097" y="80"/>
                </a:cubicBezTo>
                <a:cubicBezTo>
                  <a:pt x="2099" y="82"/>
                  <a:pt x="2099" y="82"/>
                  <a:pt x="2099" y="82"/>
                </a:cubicBezTo>
                <a:cubicBezTo>
                  <a:pt x="2104" y="82"/>
                  <a:pt x="2104" y="82"/>
                  <a:pt x="2104" y="82"/>
                </a:cubicBezTo>
                <a:cubicBezTo>
                  <a:pt x="2105" y="81"/>
                  <a:pt x="2105" y="81"/>
                  <a:pt x="2105" y="81"/>
                </a:cubicBezTo>
                <a:cubicBezTo>
                  <a:pt x="2106" y="81"/>
                  <a:pt x="2106" y="81"/>
                  <a:pt x="2106" y="81"/>
                </a:cubicBezTo>
                <a:cubicBezTo>
                  <a:pt x="2106" y="82"/>
                  <a:pt x="2106" y="82"/>
                  <a:pt x="2106" y="82"/>
                </a:cubicBezTo>
                <a:cubicBezTo>
                  <a:pt x="2110" y="82"/>
                  <a:pt x="2110" y="82"/>
                  <a:pt x="2110" y="82"/>
                </a:cubicBezTo>
                <a:cubicBezTo>
                  <a:pt x="2111" y="85"/>
                  <a:pt x="2111" y="85"/>
                  <a:pt x="2111" y="85"/>
                </a:cubicBezTo>
                <a:cubicBezTo>
                  <a:pt x="2112" y="86"/>
                  <a:pt x="2112" y="86"/>
                  <a:pt x="2112" y="86"/>
                </a:cubicBezTo>
                <a:cubicBezTo>
                  <a:pt x="2113" y="88"/>
                  <a:pt x="2113" y="88"/>
                  <a:pt x="2113" y="88"/>
                </a:cubicBezTo>
                <a:cubicBezTo>
                  <a:pt x="2117" y="88"/>
                  <a:pt x="2117" y="88"/>
                  <a:pt x="2117" y="88"/>
                </a:cubicBezTo>
                <a:cubicBezTo>
                  <a:pt x="2119" y="87"/>
                  <a:pt x="2119" y="87"/>
                  <a:pt x="2119" y="87"/>
                </a:cubicBezTo>
                <a:cubicBezTo>
                  <a:pt x="2117" y="89"/>
                  <a:pt x="2117" y="89"/>
                  <a:pt x="2117" y="89"/>
                </a:cubicBezTo>
                <a:cubicBezTo>
                  <a:pt x="2113" y="90"/>
                  <a:pt x="2113" y="90"/>
                  <a:pt x="2113" y="90"/>
                </a:cubicBezTo>
                <a:cubicBezTo>
                  <a:pt x="2110" y="88"/>
                  <a:pt x="2110" y="88"/>
                  <a:pt x="2110" y="88"/>
                </a:cubicBezTo>
                <a:cubicBezTo>
                  <a:pt x="2108" y="88"/>
                  <a:pt x="2108" y="88"/>
                  <a:pt x="2108" y="88"/>
                </a:cubicBezTo>
                <a:cubicBezTo>
                  <a:pt x="2106" y="85"/>
                  <a:pt x="2106" y="85"/>
                  <a:pt x="2106" y="85"/>
                </a:cubicBezTo>
                <a:cubicBezTo>
                  <a:pt x="2104" y="84"/>
                  <a:pt x="2104" y="84"/>
                  <a:pt x="2104" y="84"/>
                </a:cubicBezTo>
                <a:cubicBezTo>
                  <a:pt x="2102" y="85"/>
                  <a:pt x="2102" y="85"/>
                  <a:pt x="2102" y="85"/>
                </a:cubicBezTo>
                <a:cubicBezTo>
                  <a:pt x="2100" y="85"/>
                  <a:pt x="2100" y="85"/>
                  <a:pt x="2100" y="85"/>
                </a:cubicBezTo>
                <a:cubicBezTo>
                  <a:pt x="2098" y="88"/>
                  <a:pt x="2098" y="88"/>
                  <a:pt x="2098" y="88"/>
                </a:cubicBezTo>
                <a:cubicBezTo>
                  <a:pt x="2097" y="86"/>
                  <a:pt x="2097" y="86"/>
                  <a:pt x="2097" y="86"/>
                </a:cubicBezTo>
                <a:cubicBezTo>
                  <a:pt x="2095" y="85"/>
                  <a:pt x="2095" y="85"/>
                  <a:pt x="2095" y="85"/>
                </a:cubicBezTo>
                <a:cubicBezTo>
                  <a:pt x="2093" y="86"/>
                  <a:pt x="2093" y="86"/>
                  <a:pt x="2093" y="86"/>
                </a:cubicBezTo>
                <a:cubicBezTo>
                  <a:pt x="2090" y="86"/>
                  <a:pt x="2090" y="86"/>
                  <a:pt x="2090" y="86"/>
                </a:cubicBezTo>
                <a:cubicBezTo>
                  <a:pt x="2087" y="84"/>
                  <a:pt x="2087" y="84"/>
                  <a:pt x="2087" y="84"/>
                </a:cubicBezTo>
                <a:cubicBezTo>
                  <a:pt x="2085" y="84"/>
                  <a:pt x="2085" y="84"/>
                  <a:pt x="2085" y="84"/>
                </a:cubicBezTo>
                <a:cubicBezTo>
                  <a:pt x="2084" y="83"/>
                  <a:pt x="2084" y="83"/>
                  <a:pt x="2084" y="83"/>
                </a:cubicBezTo>
                <a:cubicBezTo>
                  <a:pt x="2085" y="82"/>
                  <a:pt x="2085" y="82"/>
                  <a:pt x="2085" y="82"/>
                </a:cubicBezTo>
                <a:cubicBezTo>
                  <a:pt x="2085" y="80"/>
                  <a:pt x="2085" y="80"/>
                  <a:pt x="2085" y="80"/>
                </a:cubicBezTo>
                <a:cubicBezTo>
                  <a:pt x="2084" y="79"/>
                  <a:pt x="2084" y="79"/>
                  <a:pt x="2084" y="79"/>
                </a:cubicBezTo>
                <a:cubicBezTo>
                  <a:pt x="2084" y="77"/>
                  <a:pt x="2084" y="77"/>
                  <a:pt x="2084" y="77"/>
                </a:cubicBezTo>
                <a:cubicBezTo>
                  <a:pt x="2081" y="74"/>
                  <a:pt x="2081" y="74"/>
                  <a:pt x="2081" y="74"/>
                </a:cubicBezTo>
                <a:cubicBezTo>
                  <a:pt x="2079" y="72"/>
                  <a:pt x="2079" y="72"/>
                  <a:pt x="2079" y="72"/>
                </a:cubicBezTo>
                <a:cubicBezTo>
                  <a:pt x="2080" y="70"/>
                  <a:pt x="2080" y="70"/>
                  <a:pt x="2080" y="70"/>
                </a:cubicBezTo>
                <a:cubicBezTo>
                  <a:pt x="2079" y="67"/>
                  <a:pt x="2079" y="67"/>
                  <a:pt x="2079" y="67"/>
                </a:cubicBezTo>
                <a:cubicBezTo>
                  <a:pt x="2079" y="62"/>
                  <a:pt x="2079" y="62"/>
                  <a:pt x="2079" y="62"/>
                </a:cubicBezTo>
                <a:cubicBezTo>
                  <a:pt x="2077" y="60"/>
                  <a:pt x="2077" y="60"/>
                  <a:pt x="2077" y="60"/>
                </a:cubicBezTo>
                <a:cubicBezTo>
                  <a:pt x="2076" y="57"/>
                  <a:pt x="2076" y="57"/>
                  <a:pt x="2076" y="57"/>
                </a:cubicBezTo>
                <a:cubicBezTo>
                  <a:pt x="2076" y="56"/>
                  <a:pt x="2076" y="56"/>
                  <a:pt x="2076" y="56"/>
                </a:cubicBezTo>
                <a:cubicBezTo>
                  <a:pt x="2074" y="56"/>
                  <a:pt x="2074" y="56"/>
                  <a:pt x="2074" y="56"/>
                </a:cubicBezTo>
                <a:cubicBezTo>
                  <a:pt x="2074" y="53"/>
                  <a:pt x="2074" y="53"/>
                  <a:pt x="2074" y="53"/>
                </a:cubicBezTo>
                <a:cubicBezTo>
                  <a:pt x="2071" y="51"/>
                  <a:pt x="2071" y="51"/>
                  <a:pt x="2071" y="51"/>
                </a:cubicBezTo>
                <a:cubicBezTo>
                  <a:pt x="2069" y="52"/>
                  <a:pt x="2069" y="52"/>
                  <a:pt x="2069" y="52"/>
                </a:cubicBezTo>
                <a:cubicBezTo>
                  <a:pt x="2074" y="60"/>
                  <a:pt x="2074" y="60"/>
                  <a:pt x="2074" y="60"/>
                </a:cubicBezTo>
                <a:cubicBezTo>
                  <a:pt x="2075" y="65"/>
                  <a:pt x="2075" y="65"/>
                  <a:pt x="2075" y="65"/>
                </a:cubicBezTo>
                <a:cubicBezTo>
                  <a:pt x="2074" y="70"/>
                  <a:pt x="2074" y="70"/>
                  <a:pt x="2074" y="70"/>
                </a:cubicBezTo>
                <a:cubicBezTo>
                  <a:pt x="2071" y="73"/>
                  <a:pt x="2071" y="73"/>
                  <a:pt x="2071" y="73"/>
                </a:cubicBezTo>
                <a:cubicBezTo>
                  <a:pt x="2069" y="76"/>
                  <a:pt x="2069" y="76"/>
                  <a:pt x="2069" y="76"/>
                </a:cubicBezTo>
                <a:cubicBezTo>
                  <a:pt x="2069" y="77"/>
                  <a:pt x="2069" y="77"/>
                  <a:pt x="2069" y="77"/>
                </a:cubicBezTo>
                <a:cubicBezTo>
                  <a:pt x="2070" y="78"/>
                  <a:pt x="2070" y="78"/>
                  <a:pt x="2070" y="78"/>
                </a:cubicBezTo>
                <a:cubicBezTo>
                  <a:pt x="2071" y="81"/>
                  <a:pt x="2071" y="81"/>
                  <a:pt x="2071" y="81"/>
                </a:cubicBezTo>
                <a:cubicBezTo>
                  <a:pt x="2069" y="85"/>
                  <a:pt x="2069" y="85"/>
                  <a:pt x="2069" y="85"/>
                </a:cubicBezTo>
                <a:cubicBezTo>
                  <a:pt x="2069" y="88"/>
                  <a:pt x="2069" y="88"/>
                  <a:pt x="2069" y="88"/>
                </a:cubicBezTo>
                <a:cubicBezTo>
                  <a:pt x="2073" y="90"/>
                  <a:pt x="2073" y="90"/>
                  <a:pt x="2073" y="90"/>
                </a:cubicBezTo>
                <a:cubicBezTo>
                  <a:pt x="2078" y="94"/>
                  <a:pt x="2078" y="94"/>
                  <a:pt x="2078" y="94"/>
                </a:cubicBezTo>
                <a:cubicBezTo>
                  <a:pt x="2079" y="97"/>
                  <a:pt x="2079" y="97"/>
                  <a:pt x="2079" y="97"/>
                </a:cubicBezTo>
                <a:cubicBezTo>
                  <a:pt x="2082" y="97"/>
                  <a:pt x="2082" y="97"/>
                  <a:pt x="2082" y="97"/>
                </a:cubicBezTo>
                <a:cubicBezTo>
                  <a:pt x="2084" y="99"/>
                  <a:pt x="2084" y="99"/>
                  <a:pt x="2084" y="99"/>
                </a:cubicBezTo>
                <a:cubicBezTo>
                  <a:pt x="2086" y="103"/>
                  <a:pt x="2086" y="103"/>
                  <a:pt x="2086" y="103"/>
                </a:cubicBezTo>
                <a:cubicBezTo>
                  <a:pt x="2085" y="110"/>
                  <a:pt x="2085" y="110"/>
                  <a:pt x="2085" y="110"/>
                </a:cubicBezTo>
                <a:cubicBezTo>
                  <a:pt x="2084" y="112"/>
                  <a:pt x="2084" y="112"/>
                  <a:pt x="2084" y="112"/>
                </a:cubicBezTo>
                <a:cubicBezTo>
                  <a:pt x="2087" y="116"/>
                  <a:pt x="2087" y="116"/>
                  <a:pt x="2087" y="116"/>
                </a:cubicBezTo>
                <a:cubicBezTo>
                  <a:pt x="2086" y="120"/>
                  <a:pt x="2086" y="120"/>
                  <a:pt x="2086" y="120"/>
                </a:cubicBezTo>
                <a:cubicBezTo>
                  <a:pt x="2088" y="123"/>
                  <a:pt x="2088" y="123"/>
                  <a:pt x="2088" y="123"/>
                </a:cubicBezTo>
                <a:cubicBezTo>
                  <a:pt x="2091" y="127"/>
                  <a:pt x="2091" y="127"/>
                  <a:pt x="2091" y="127"/>
                </a:cubicBezTo>
                <a:cubicBezTo>
                  <a:pt x="2092" y="129"/>
                  <a:pt x="2092" y="129"/>
                  <a:pt x="2092" y="129"/>
                </a:cubicBezTo>
                <a:cubicBezTo>
                  <a:pt x="2091" y="132"/>
                  <a:pt x="2091" y="132"/>
                  <a:pt x="2091" y="132"/>
                </a:cubicBezTo>
                <a:cubicBezTo>
                  <a:pt x="2092" y="133"/>
                  <a:pt x="2092" y="133"/>
                  <a:pt x="2092" y="133"/>
                </a:cubicBezTo>
                <a:cubicBezTo>
                  <a:pt x="2095" y="134"/>
                  <a:pt x="2095" y="134"/>
                  <a:pt x="2095" y="134"/>
                </a:cubicBezTo>
                <a:cubicBezTo>
                  <a:pt x="2098" y="132"/>
                  <a:pt x="2098" y="132"/>
                  <a:pt x="2098" y="132"/>
                </a:cubicBezTo>
                <a:cubicBezTo>
                  <a:pt x="2102" y="133"/>
                  <a:pt x="2102" y="133"/>
                  <a:pt x="2102" y="133"/>
                </a:cubicBezTo>
                <a:cubicBezTo>
                  <a:pt x="2103" y="132"/>
                  <a:pt x="2103" y="132"/>
                  <a:pt x="2103" y="132"/>
                </a:cubicBezTo>
                <a:cubicBezTo>
                  <a:pt x="2104" y="129"/>
                  <a:pt x="2104" y="129"/>
                  <a:pt x="2104" y="129"/>
                </a:cubicBezTo>
                <a:cubicBezTo>
                  <a:pt x="2106" y="127"/>
                  <a:pt x="2106" y="127"/>
                  <a:pt x="2106" y="127"/>
                </a:cubicBezTo>
                <a:cubicBezTo>
                  <a:pt x="2109" y="127"/>
                  <a:pt x="2109" y="127"/>
                  <a:pt x="2109" y="127"/>
                </a:cubicBezTo>
                <a:cubicBezTo>
                  <a:pt x="2111" y="127"/>
                  <a:pt x="2111" y="127"/>
                  <a:pt x="2111" y="127"/>
                </a:cubicBezTo>
                <a:cubicBezTo>
                  <a:pt x="2114" y="129"/>
                  <a:pt x="2114" y="129"/>
                  <a:pt x="2114" y="129"/>
                </a:cubicBezTo>
                <a:cubicBezTo>
                  <a:pt x="2116" y="128"/>
                  <a:pt x="2116" y="128"/>
                  <a:pt x="2116" y="128"/>
                </a:cubicBezTo>
                <a:cubicBezTo>
                  <a:pt x="2118" y="131"/>
                  <a:pt x="2118" y="131"/>
                  <a:pt x="2118" y="131"/>
                </a:cubicBezTo>
                <a:cubicBezTo>
                  <a:pt x="2123" y="133"/>
                  <a:pt x="2123" y="133"/>
                  <a:pt x="2123" y="133"/>
                </a:cubicBezTo>
                <a:cubicBezTo>
                  <a:pt x="2126" y="132"/>
                  <a:pt x="2126" y="132"/>
                  <a:pt x="2126" y="132"/>
                </a:cubicBezTo>
                <a:cubicBezTo>
                  <a:pt x="2128" y="135"/>
                  <a:pt x="2128" y="135"/>
                  <a:pt x="2128" y="135"/>
                </a:cubicBezTo>
                <a:cubicBezTo>
                  <a:pt x="2128" y="137"/>
                  <a:pt x="2128" y="137"/>
                  <a:pt x="2128" y="137"/>
                </a:cubicBezTo>
                <a:cubicBezTo>
                  <a:pt x="2131" y="139"/>
                  <a:pt x="2131" y="139"/>
                  <a:pt x="2131" y="139"/>
                </a:cubicBezTo>
                <a:cubicBezTo>
                  <a:pt x="2132" y="140"/>
                  <a:pt x="2132" y="140"/>
                  <a:pt x="2132" y="140"/>
                </a:cubicBezTo>
                <a:cubicBezTo>
                  <a:pt x="2133" y="141"/>
                  <a:pt x="2133" y="141"/>
                  <a:pt x="2133" y="141"/>
                </a:cubicBezTo>
                <a:cubicBezTo>
                  <a:pt x="2133" y="142"/>
                  <a:pt x="2133" y="142"/>
                  <a:pt x="2133" y="142"/>
                </a:cubicBezTo>
                <a:cubicBezTo>
                  <a:pt x="2135" y="144"/>
                  <a:pt x="2135" y="144"/>
                  <a:pt x="2135" y="144"/>
                </a:cubicBezTo>
                <a:cubicBezTo>
                  <a:pt x="2133" y="145"/>
                  <a:pt x="2133" y="145"/>
                  <a:pt x="2133" y="145"/>
                </a:cubicBezTo>
                <a:cubicBezTo>
                  <a:pt x="2131" y="146"/>
                  <a:pt x="2131" y="146"/>
                  <a:pt x="2131" y="146"/>
                </a:cubicBezTo>
                <a:cubicBezTo>
                  <a:pt x="2131" y="149"/>
                  <a:pt x="2131" y="149"/>
                  <a:pt x="2131" y="149"/>
                </a:cubicBezTo>
                <a:cubicBezTo>
                  <a:pt x="2132" y="152"/>
                  <a:pt x="2132" y="152"/>
                  <a:pt x="2132" y="152"/>
                </a:cubicBezTo>
                <a:cubicBezTo>
                  <a:pt x="2134" y="153"/>
                  <a:pt x="2134" y="153"/>
                  <a:pt x="2134" y="153"/>
                </a:cubicBezTo>
                <a:cubicBezTo>
                  <a:pt x="2133" y="154"/>
                  <a:pt x="2133" y="154"/>
                  <a:pt x="2133" y="154"/>
                </a:cubicBezTo>
                <a:cubicBezTo>
                  <a:pt x="2134" y="156"/>
                  <a:pt x="2134" y="156"/>
                  <a:pt x="2134" y="156"/>
                </a:cubicBezTo>
                <a:cubicBezTo>
                  <a:pt x="2136" y="156"/>
                  <a:pt x="2136" y="156"/>
                  <a:pt x="2136" y="156"/>
                </a:cubicBezTo>
                <a:cubicBezTo>
                  <a:pt x="2138" y="158"/>
                  <a:pt x="2138" y="158"/>
                  <a:pt x="2138" y="158"/>
                </a:cubicBezTo>
                <a:cubicBezTo>
                  <a:pt x="2141" y="158"/>
                  <a:pt x="2141" y="158"/>
                  <a:pt x="2141" y="158"/>
                </a:cubicBezTo>
                <a:cubicBezTo>
                  <a:pt x="2142" y="155"/>
                  <a:pt x="2142" y="155"/>
                  <a:pt x="2142" y="155"/>
                </a:cubicBezTo>
                <a:cubicBezTo>
                  <a:pt x="2143" y="157"/>
                  <a:pt x="2143" y="157"/>
                  <a:pt x="2143" y="157"/>
                </a:cubicBezTo>
                <a:cubicBezTo>
                  <a:pt x="2145" y="156"/>
                  <a:pt x="2145" y="156"/>
                  <a:pt x="2145" y="156"/>
                </a:cubicBezTo>
                <a:cubicBezTo>
                  <a:pt x="2146" y="157"/>
                  <a:pt x="2146" y="157"/>
                  <a:pt x="2146" y="157"/>
                </a:cubicBezTo>
                <a:cubicBezTo>
                  <a:pt x="2145" y="157"/>
                  <a:pt x="2145" y="157"/>
                  <a:pt x="2145" y="157"/>
                </a:cubicBezTo>
                <a:cubicBezTo>
                  <a:pt x="2144" y="159"/>
                  <a:pt x="2144" y="159"/>
                  <a:pt x="2144" y="159"/>
                </a:cubicBezTo>
                <a:cubicBezTo>
                  <a:pt x="2141" y="159"/>
                  <a:pt x="2141" y="159"/>
                  <a:pt x="2141" y="159"/>
                </a:cubicBezTo>
                <a:cubicBezTo>
                  <a:pt x="2140" y="159"/>
                  <a:pt x="2140" y="159"/>
                  <a:pt x="2140" y="159"/>
                </a:cubicBezTo>
                <a:cubicBezTo>
                  <a:pt x="2137" y="160"/>
                  <a:pt x="2137" y="160"/>
                  <a:pt x="2137" y="160"/>
                </a:cubicBezTo>
                <a:cubicBezTo>
                  <a:pt x="2134" y="158"/>
                  <a:pt x="2134" y="158"/>
                  <a:pt x="2134" y="158"/>
                </a:cubicBezTo>
                <a:cubicBezTo>
                  <a:pt x="2132" y="158"/>
                  <a:pt x="2132" y="158"/>
                  <a:pt x="2132" y="158"/>
                </a:cubicBezTo>
                <a:cubicBezTo>
                  <a:pt x="2130" y="156"/>
                  <a:pt x="2130" y="156"/>
                  <a:pt x="2130" y="156"/>
                </a:cubicBezTo>
                <a:cubicBezTo>
                  <a:pt x="2131" y="155"/>
                  <a:pt x="2131" y="155"/>
                  <a:pt x="2131" y="155"/>
                </a:cubicBezTo>
                <a:cubicBezTo>
                  <a:pt x="2131" y="152"/>
                  <a:pt x="2131" y="152"/>
                  <a:pt x="2131" y="152"/>
                </a:cubicBezTo>
                <a:cubicBezTo>
                  <a:pt x="2129" y="150"/>
                  <a:pt x="2129" y="150"/>
                  <a:pt x="2129" y="150"/>
                </a:cubicBezTo>
                <a:cubicBezTo>
                  <a:pt x="2128" y="148"/>
                  <a:pt x="2128" y="148"/>
                  <a:pt x="2128" y="148"/>
                </a:cubicBezTo>
                <a:cubicBezTo>
                  <a:pt x="2127" y="146"/>
                  <a:pt x="2127" y="146"/>
                  <a:pt x="2127" y="146"/>
                </a:cubicBezTo>
                <a:cubicBezTo>
                  <a:pt x="2127" y="144"/>
                  <a:pt x="2127" y="144"/>
                  <a:pt x="2127" y="144"/>
                </a:cubicBezTo>
                <a:cubicBezTo>
                  <a:pt x="2124" y="141"/>
                  <a:pt x="2124" y="141"/>
                  <a:pt x="2124" y="141"/>
                </a:cubicBezTo>
                <a:cubicBezTo>
                  <a:pt x="2124" y="141"/>
                  <a:pt x="2124" y="141"/>
                  <a:pt x="2124" y="141"/>
                </a:cubicBezTo>
                <a:cubicBezTo>
                  <a:pt x="2123" y="139"/>
                  <a:pt x="2123" y="139"/>
                  <a:pt x="2123" y="139"/>
                </a:cubicBezTo>
                <a:cubicBezTo>
                  <a:pt x="2119" y="138"/>
                  <a:pt x="2119" y="138"/>
                  <a:pt x="2119" y="138"/>
                </a:cubicBezTo>
                <a:cubicBezTo>
                  <a:pt x="2119" y="135"/>
                  <a:pt x="2119" y="135"/>
                  <a:pt x="2119" y="135"/>
                </a:cubicBezTo>
                <a:cubicBezTo>
                  <a:pt x="2116" y="132"/>
                  <a:pt x="2116" y="132"/>
                  <a:pt x="2116" y="132"/>
                </a:cubicBezTo>
                <a:cubicBezTo>
                  <a:pt x="2113" y="132"/>
                  <a:pt x="2113" y="132"/>
                  <a:pt x="2113" y="132"/>
                </a:cubicBezTo>
                <a:cubicBezTo>
                  <a:pt x="2109" y="136"/>
                  <a:pt x="2109" y="136"/>
                  <a:pt x="2109" y="136"/>
                </a:cubicBezTo>
                <a:cubicBezTo>
                  <a:pt x="2107" y="136"/>
                  <a:pt x="2107" y="136"/>
                  <a:pt x="2107" y="136"/>
                </a:cubicBezTo>
                <a:cubicBezTo>
                  <a:pt x="2105" y="139"/>
                  <a:pt x="2105" y="139"/>
                  <a:pt x="2105" y="139"/>
                </a:cubicBezTo>
                <a:cubicBezTo>
                  <a:pt x="2102" y="141"/>
                  <a:pt x="2102" y="141"/>
                  <a:pt x="2102" y="141"/>
                </a:cubicBezTo>
                <a:cubicBezTo>
                  <a:pt x="2102" y="147"/>
                  <a:pt x="2102" y="147"/>
                  <a:pt x="2102" y="147"/>
                </a:cubicBezTo>
                <a:cubicBezTo>
                  <a:pt x="2103" y="149"/>
                  <a:pt x="2103" y="149"/>
                  <a:pt x="2103" y="149"/>
                </a:cubicBezTo>
                <a:cubicBezTo>
                  <a:pt x="2108" y="151"/>
                  <a:pt x="2108" y="151"/>
                  <a:pt x="2108" y="151"/>
                </a:cubicBezTo>
                <a:cubicBezTo>
                  <a:pt x="2111" y="159"/>
                  <a:pt x="2111" y="159"/>
                  <a:pt x="2111" y="159"/>
                </a:cubicBezTo>
                <a:cubicBezTo>
                  <a:pt x="2110" y="160"/>
                  <a:pt x="2110" y="160"/>
                  <a:pt x="2110" y="160"/>
                </a:cubicBezTo>
                <a:cubicBezTo>
                  <a:pt x="2107" y="166"/>
                  <a:pt x="2107" y="166"/>
                  <a:pt x="2107" y="166"/>
                </a:cubicBezTo>
                <a:cubicBezTo>
                  <a:pt x="2107" y="169"/>
                  <a:pt x="2107" y="169"/>
                  <a:pt x="2107" y="169"/>
                </a:cubicBezTo>
                <a:cubicBezTo>
                  <a:pt x="2108" y="172"/>
                  <a:pt x="2108" y="172"/>
                  <a:pt x="2108" y="172"/>
                </a:cubicBezTo>
                <a:cubicBezTo>
                  <a:pt x="2107" y="177"/>
                  <a:pt x="2107" y="177"/>
                  <a:pt x="2107" y="177"/>
                </a:cubicBezTo>
                <a:cubicBezTo>
                  <a:pt x="2106" y="179"/>
                  <a:pt x="2106" y="179"/>
                  <a:pt x="2106" y="179"/>
                </a:cubicBezTo>
                <a:cubicBezTo>
                  <a:pt x="2104" y="182"/>
                  <a:pt x="2104" y="182"/>
                  <a:pt x="2104" y="182"/>
                </a:cubicBezTo>
                <a:cubicBezTo>
                  <a:pt x="2103" y="183"/>
                  <a:pt x="2103" y="183"/>
                  <a:pt x="2103" y="183"/>
                </a:cubicBezTo>
                <a:cubicBezTo>
                  <a:pt x="2102" y="184"/>
                  <a:pt x="2102" y="184"/>
                  <a:pt x="2102" y="184"/>
                </a:cubicBezTo>
                <a:cubicBezTo>
                  <a:pt x="2100" y="186"/>
                  <a:pt x="2100" y="186"/>
                  <a:pt x="2100" y="186"/>
                </a:cubicBezTo>
                <a:cubicBezTo>
                  <a:pt x="2100" y="188"/>
                  <a:pt x="2100" y="188"/>
                  <a:pt x="2100" y="188"/>
                </a:cubicBezTo>
                <a:cubicBezTo>
                  <a:pt x="2101" y="190"/>
                  <a:pt x="2101" y="190"/>
                  <a:pt x="2101" y="190"/>
                </a:cubicBezTo>
                <a:cubicBezTo>
                  <a:pt x="2102" y="192"/>
                  <a:pt x="2102" y="192"/>
                  <a:pt x="2102" y="192"/>
                </a:cubicBezTo>
                <a:cubicBezTo>
                  <a:pt x="2099" y="194"/>
                  <a:pt x="2099" y="194"/>
                  <a:pt x="2099" y="194"/>
                </a:cubicBezTo>
                <a:cubicBezTo>
                  <a:pt x="2095" y="193"/>
                  <a:pt x="2095" y="193"/>
                  <a:pt x="2095" y="193"/>
                </a:cubicBezTo>
                <a:cubicBezTo>
                  <a:pt x="2094" y="192"/>
                  <a:pt x="2094" y="192"/>
                  <a:pt x="2094" y="192"/>
                </a:cubicBezTo>
                <a:cubicBezTo>
                  <a:pt x="2090" y="192"/>
                  <a:pt x="2090" y="192"/>
                  <a:pt x="2090" y="192"/>
                </a:cubicBezTo>
                <a:cubicBezTo>
                  <a:pt x="2087" y="192"/>
                  <a:pt x="2087" y="192"/>
                  <a:pt x="2087" y="192"/>
                </a:cubicBezTo>
                <a:cubicBezTo>
                  <a:pt x="2083" y="191"/>
                  <a:pt x="2083" y="191"/>
                  <a:pt x="2083" y="191"/>
                </a:cubicBezTo>
                <a:cubicBezTo>
                  <a:pt x="2076" y="190"/>
                  <a:pt x="2076" y="190"/>
                  <a:pt x="2076" y="190"/>
                </a:cubicBezTo>
                <a:cubicBezTo>
                  <a:pt x="2073" y="188"/>
                  <a:pt x="2073" y="188"/>
                  <a:pt x="2073" y="188"/>
                </a:cubicBezTo>
                <a:cubicBezTo>
                  <a:pt x="2072" y="186"/>
                  <a:pt x="2072" y="186"/>
                  <a:pt x="2072" y="186"/>
                </a:cubicBezTo>
                <a:cubicBezTo>
                  <a:pt x="2069" y="186"/>
                  <a:pt x="2069" y="186"/>
                  <a:pt x="2069" y="186"/>
                </a:cubicBezTo>
                <a:cubicBezTo>
                  <a:pt x="2068" y="188"/>
                  <a:pt x="2068" y="188"/>
                  <a:pt x="2068" y="188"/>
                </a:cubicBezTo>
                <a:cubicBezTo>
                  <a:pt x="2067" y="187"/>
                  <a:pt x="2067" y="187"/>
                  <a:pt x="2067" y="187"/>
                </a:cubicBezTo>
                <a:cubicBezTo>
                  <a:pt x="2066" y="187"/>
                  <a:pt x="2066" y="187"/>
                  <a:pt x="2066" y="187"/>
                </a:cubicBezTo>
                <a:cubicBezTo>
                  <a:pt x="2067" y="185"/>
                  <a:pt x="2067" y="185"/>
                  <a:pt x="2067" y="185"/>
                </a:cubicBezTo>
                <a:cubicBezTo>
                  <a:pt x="2070" y="184"/>
                  <a:pt x="2070" y="184"/>
                  <a:pt x="2070" y="184"/>
                </a:cubicBezTo>
                <a:cubicBezTo>
                  <a:pt x="2076" y="184"/>
                  <a:pt x="2076" y="184"/>
                  <a:pt x="2076" y="184"/>
                </a:cubicBezTo>
                <a:cubicBezTo>
                  <a:pt x="2077" y="182"/>
                  <a:pt x="2077" y="182"/>
                  <a:pt x="2077" y="182"/>
                </a:cubicBezTo>
                <a:cubicBezTo>
                  <a:pt x="2082" y="185"/>
                  <a:pt x="2082" y="185"/>
                  <a:pt x="2082" y="185"/>
                </a:cubicBezTo>
                <a:cubicBezTo>
                  <a:pt x="2083" y="185"/>
                  <a:pt x="2083" y="185"/>
                  <a:pt x="2083" y="185"/>
                </a:cubicBezTo>
                <a:cubicBezTo>
                  <a:pt x="2084" y="183"/>
                  <a:pt x="2084" y="183"/>
                  <a:pt x="2084" y="183"/>
                </a:cubicBezTo>
                <a:cubicBezTo>
                  <a:pt x="2086" y="183"/>
                  <a:pt x="2086" y="183"/>
                  <a:pt x="2086" y="183"/>
                </a:cubicBezTo>
                <a:cubicBezTo>
                  <a:pt x="2086" y="185"/>
                  <a:pt x="2086" y="185"/>
                  <a:pt x="2086" y="185"/>
                </a:cubicBezTo>
                <a:cubicBezTo>
                  <a:pt x="2083" y="187"/>
                  <a:pt x="2083" y="187"/>
                  <a:pt x="2083" y="187"/>
                </a:cubicBezTo>
                <a:cubicBezTo>
                  <a:pt x="2085" y="188"/>
                  <a:pt x="2085" y="188"/>
                  <a:pt x="2085" y="188"/>
                </a:cubicBezTo>
                <a:cubicBezTo>
                  <a:pt x="2088" y="188"/>
                  <a:pt x="2088" y="188"/>
                  <a:pt x="2088" y="188"/>
                </a:cubicBezTo>
                <a:cubicBezTo>
                  <a:pt x="2090" y="186"/>
                  <a:pt x="2090" y="186"/>
                  <a:pt x="2090" y="186"/>
                </a:cubicBezTo>
                <a:cubicBezTo>
                  <a:pt x="2092" y="185"/>
                  <a:pt x="2092" y="185"/>
                  <a:pt x="2092" y="185"/>
                </a:cubicBezTo>
                <a:cubicBezTo>
                  <a:pt x="2092" y="183"/>
                  <a:pt x="2092" y="183"/>
                  <a:pt x="2092" y="183"/>
                </a:cubicBezTo>
                <a:cubicBezTo>
                  <a:pt x="2090" y="181"/>
                  <a:pt x="2090" y="181"/>
                  <a:pt x="2090" y="181"/>
                </a:cubicBezTo>
                <a:cubicBezTo>
                  <a:pt x="2090" y="180"/>
                  <a:pt x="2090" y="180"/>
                  <a:pt x="2090" y="180"/>
                </a:cubicBezTo>
                <a:cubicBezTo>
                  <a:pt x="2092" y="181"/>
                  <a:pt x="2092" y="181"/>
                  <a:pt x="2092" y="181"/>
                </a:cubicBezTo>
                <a:cubicBezTo>
                  <a:pt x="2093" y="180"/>
                  <a:pt x="2093" y="180"/>
                  <a:pt x="2093" y="180"/>
                </a:cubicBezTo>
                <a:cubicBezTo>
                  <a:pt x="2093" y="176"/>
                  <a:pt x="2093" y="176"/>
                  <a:pt x="2093" y="176"/>
                </a:cubicBezTo>
                <a:cubicBezTo>
                  <a:pt x="2096" y="174"/>
                  <a:pt x="2096" y="174"/>
                  <a:pt x="2096" y="174"/>
                </a:cubicBezTo>
                <a:cubicBezTo>
                  <a:pt x="2095" y="173"/>
                  <a:pt x="2095" y="173"/>
                  <a:pt x="2095" y="173"/>
                </a:cubicBezTo>
                <a:cubicBezTo>
                  <a:pt x="2094" y="173"/>
                  <a:pt x="2094" y="173"/>
                  <a:pt x="2094" y="173"/>
                </a:cubicBezTo>
                <a:cubicBezTo>
                  <a:pt x="2093" y="173"/>
                  <a:pt x="2093" y="173"/>
                  <a:pt x="2093" y="173"/>
                </a:cubicBezTo>
                <a:cubicBezTo>
                  <a:pt x="2096" y="171"/>
                  <a:pt x="2096" y="171"/>
                  <a:pt x="2096" y="171"/>
                </a:cubicBezTo>
                <a:cubicBezTo>
                  <a:pt x="2096" y="167"/>
                  <a:pt x="2096" y="167"/>
                  <a:pt x="2096" y="167"/>
                </a:cubicBezTo>
                <a:cubicBezTo>
                  <a:pt x="2095" y="166"/>
                  <a:pt x="2095" y="166"/>
                  <a:pt x="2095" y="166"/>
                </a:cubicBezTo>
                <a:cubicBezTo>
                  <a:pt x="2096" y="164"/>
                  <a:pt x="2096" y="164"/>
                  <a:pt x="2096" y="164"/>
                </a:cubicBezTo>
                <a:cubicBezTo>
                  <a:pt x="2096" y="163"/>
                  <a:pt x="2096" y="163"/>
                  <a:pt x="2096" y="163"/>
                </a:cubicBezTo>
                <a:cubicBezTo>
                  <a:pt x="2098" y="162"/>
                  <a:pt x="2098" y="162"/>
                  <a:pt x="2098" y="162"/>
                </a:cubicBezTo>
                <a:cubicBezTo>
                  <a:pt x="2098" y="158"/>
                  <a:pt x="2098" y="158"/>
                  <a:pt x="2098" y="158"/>
                </a:cubicBezTo>
                <a:cubicBezTo>
                  <a:pt x="2095" y="156"/>
                  <a:pt x="2095" y="156"/>
                  <a:pt x="2095" y="156"/>
                </a:cubicBezTo>
                <a:cubicBezTo>
                  <a:pt x="2094" y="152"/>
                  <a:pt x="2094" y="152"/>
                  <a:pt x="2094" y="152"/>
                </a:cubicBezTo>
                <a:cubicBezTo>
                  <a:pt x="2095" y="150"/>
                  <a:pt x="2095" y="150"/>
                  <a:pt x="2095" y="150"/>
                </a:cubicBezTo>
                <a:cubicBezTo>
                  <a:pt x="2095" y="147"/>
                  <a:pt x="2095" y="147"/>
                  <a:pt x="2095" y="147"/>
                </a:cubicBezTo>
                <a:cubicBezTo>
                  <a:pt x="2096" y="148"/>
                  <a:pt x="2096" y="148"/>
                  <a:pt x="2096" y="148"/>
                </a:cubicBezTo>
                <a:cubicBezTo>
                  <a:pt x="2096" y="146"/>
                  <a:pt x="2096" y="146"/>
                  <a:pt x="2096" y="146"/>
                </a:cubicBezTo>
                <a:cubicBezTo>
                  <a:pt x="2093" y="143"/>
                  <a:pt x="2093" y="143"/>
                  <a:pt x="2093" y="143"/>
                </a:cubicBezTo>
                <a:cubicBezTo>
                  <a:pt x="2091" y="143"/>
                  <a:pt x="2091" y="143"/>
                  <a:pt x="2091" y="143"/>
                </a:cubicBezTo>
                <a:cubicBezTo>
                  <a:pt x="2090" y="141"/>
                  <a:pt x="2090" y="141"/>
                  <a:pt x="2090" y="141"/>
                </a:cubicBezTo>
                <a:cubicBezTo>
                  <a:pt x="2087" y="140"/>
                  <a:pt x="2087" y="140"/>
                  <a:pt x="2087" y="140"/>
                </a:cubicBezTo>
                <a:cubicBezTo>
                  <a:pt x="2083" y="135"/>
                  <a:pt x="2083" y="135"/>
                  <a:pt x="2083" y="135"/>
                </a:cubicBezTo>
                <a:cubicBezTo>
                  <a:pt x="2082" y="131"/>
                  <a:pt x="2082" y="131"/>
                  <a:pt x="2082" y="131"/>
                </a:cubicBezTo>
                <a:cubicBezTo>
                  <a:pt x="2081" y="130"/>
                  <a:pt x="2081" y="130"/>
                  <a:pt x="2081" y="130"/>
                </a:cubicBezTo>
                <a:cubicBezTo>
                  <a:pt x="2082" y="128"/>
                  <a:pt x="2082" y="128"/>
                  <a:pt x="2082" y="128"/>
                </a:cubicBezTo>
                <a:cubicBezTo>
                  <a:pt x="2079" y="126"/>
                  <a:pt x="2079" y="126"/>
                  <a:pt x="2079" y="126"/>
                </a:cubicBezTo>
                <a:cubicBezTo>
                  <a:pt x="2078" y="124"/>
                  <a:pt x="2078" y="124"/>
                  <a:pt x="2078" y="124"/>
                </a:cubicBezTo>
                <a:cubicBezTo>
                  <a:pt x="2079" y="122"/>
                  <a:pt x="2079" y="122"/>
                  <a:pt x="2079" y="122"/>
                </a:cubicBezTo>
                <a:cubicBezTo>
                  <a:pt x="2076" y="117"/>
                  <a:pt x="2076" y="117"/>
                  <a:pt x="2076" y="117"/>
                </a:cubicBezTo>
                <a:cubicBezTo>
                  <a:pt x="2076" y="114"/>
                  <a:pt x="2076" y="114"/>
                  <a:pt x="2076" y="114"/>
                </a:cubicBezTo>
                <a:cubicBezTo>
                  <a:pt x="2074" y="112"/>
                  <a:pt x="2074" y="112"/>
                  <a:pt x="2074" y="112"/>
                </a:cubicBezTo>
                <a:cubicBezTo>
                  <a:pt x="2074" y="110"/>
                  <a:pt x="2074" y="110"/>
                  <a:pt x="2074" y="110"/>
                </a:cubicBezTo>
                <a:cubicBezTo>
                  <a:pt x="2074" y="109"/>
                  <a:pt x="2074" y="109"/>
                  <a:pt x="2074" y="109"/>
                </a:cubicBezTo>
                <a:cubicBezTo>
                  <a:pt x="2073" y="107"/>
                  <a:pt x="2073" y="107"/>
                  <a:pt x="2073" y="107"/>
                </a:cubicBezTo>
                <a:cubicBezTo>
                  <a:pt x="2072" y="101"/>
                  <a:pt x="2072" y="101"/>
                  <a:pt x="2072" y="101"/>
                </a:cubicBezTo>
                <a:cubicBezTo>
                  <a:pt x="2071" y="99"/>
                  <a:pt x="2071" y="99"/>
                  <a:pt x="2071" y="99"/>
                </a:cubicBezTo>
                <a:cubicBezTo>
                  <a:pt x="2068" y="97"/>
                  <a:pt x="2068" y="97"/>
                  <a:pt x="2068" y="97"/>
                </a:cubicBezTo>
                <a:cubicBezTo>
                  <a:pt x="2067" y="93"/>
                  <a:pt x="2067" y="93"/>
                  <a:pt x="2067" y="93"/>
                </a:cubicBezTo>
                <a:cubicBezTo>
                  <a:pt x="2066" y="92"/>
                  <a:pt x="2066" y="92"/>
                  <a:pt x="2066" y="92"/>
                </a:cubicBezTo>
                <a:cubicBezTo>
                  <a:pt x="2065" y="93"/>
                  <a:pt x="2065" y="93"/>
                  <a:pt x="2065" y="93"/>
                </a:cubicBezTo>
                <a:cubicBezTo>
                  <a:pt x="2065" y="92"/>
                  <a:pt x="2065" y="92"/>
                  <a:pt x="2065" y="92"/>
                </a:cubicBezTo>
                <a:cubicBezTo>
                  <a:pt x="2062" y="92"/>
                  <a:pt x="2062" y="92"/>
                  <a:pt x="2062" y="92"/>
                </a:cubicBezTo>
                <a:cubicBezTo>
                  <a:pt x="2061" y="89"/>
                  <a:pt x="2061" y="89"/>
                  <a:pt x="2061" y="89"/>
                </a:cubicBezTo>
                <a:cubicBezTo>
                  <a:pt x="2059" y="87"/>
                  <a:pt x="2059" y="87"/>
                  <a:pt x="2059" y="87"/>
                </a:cubicBezTo>
                <a:cubicBezTo>
                  <a:pt x="2058" y="85"/>
                  <a:pt x="2058" y="85"/>
                  <a:pt x="2058" y="85"/>
                </a:cubicBezTo>
                <a:cubicBezTo>
                  <a:pt x="2059" y="84"/>
                  <a:pt x="2059" y="84"/>
                  <a:pt x="2059" y="84"/>
                </a:cubicBezTo>
                <a:cubicBezTo>
                  <a:pt x="2060" y="82"/>
                  <a:pt x="2060" y="82"/>
                  <a:pt x="2060" y="82"/>
                </a:cubicBezTo>
                <a:cubicBezTo>
                  <a:pt x="2059" y="80"/>
                  <a:pt x="2059" y="80"/>
                  <a:pt x="2059" y="80"/>
                </a:cubicBezTo>
                <a:cubicBezTo>
                  <a:pt x="2059" y="79"/>
                  <a:pt x="2059" y="79"/>
                  <a:pt x="2059" y="79"/>
                </a:cubicBezTo>
                <a:cubicBezTo>
                  <a:pt x="2058" y="77"/>
                  <a:pt x="2058" y="77"/>
                  <a:pt x="2058" y="77"/>
                </a:cubicBezTo>
                <a:cubicBezTo>
                  <a:pt x="2059" y="72"/>
                  <a:pt x="2059" y="72"/>
                  <a:pt x="2059" y="72"/>
                </a:cubicBezTo>
                <a:cubicBezTo>
                  <a:pt x="2058" y="69"/>
                  <a:pt x="2058" y="69"/>
                  <a:pt x="2058" y="69"/>
                </a:cubicBezTo>
                <a:cubicBezTo>
                  <a:pt x="2058" y="65"/>
                  <a:pt x="2058" y="65"/>
                  <a:pt x="2058" y="65"/>
                </a:cubicBezTo>
                <a:cubicBezTo>
                  <a:pt x="2057" y="64"/>
                  <a:pt x="2057" y="64"/>
                  <a:pt x="2057" y="64"/>
                </a:cubicBezTo>
                <a:cubicBezTo>
                  <a:pt x="2057" y="62"/>
                  <a:pt x="2057" y="62"/>
                  <a:pt x="2057" y="62"/>
                </a:cubicBezTo>
                <a:cubicBezTo>
                  <a:pt x="2055" y="59"/>
                  <a:pt x="2055" y="59"/>
                  <a:pt x="2055" y="59"/>
                </a:cubicBezTo>
                <a:cubicBezTo>
                  <a:pt x="2057" y="59"/>
                  <a:pt x="2057" y="59"/>
                  <a:pt x="2057" y="59"/>
                </a:cubicBezTo>
                <a:cubicBezTo>
                  <a:pt x="2056" y="57"/>
                  <a:pt x="2056" y="57"/>
                  <a:pt x="2056" y="57"/>
                </a:cubicBezTo>
                <a:cubicBezTo>
                  <a:pt x="2054" y="56"/>
                  <a:pt x="2054" y="56"/>
                  <a:pt x="2054" y="56"/>
                </a:cubicBezTo>
                <a:cubicBezTo>
                  <a:pt x="2051" y="56"/>
                  <a:pt x="2051" y="56"/>
                  <a:pt x="2051" y="56"/>
                </a:cubicBezTo>
                <a:cubicBezTo>
                  <a:pt x="2045" y="54"/>
                  <a:pt x="2045" y="54"/>
                  <a:pt x="2045" y="54"/>
                </a:cubicBezTo>
                <a:cubicBezTo>
                  <a:pt x="2043" y="54"/>
                  <a:pt x="2043" y="54"/>
                  <a:pt x="2043" y="54"/>
                </a:cubicBezTo>
                <a:cubicBezTo>
                  <a:pt x="2042" y="55"/>
                  <a:pt x="2042" y="55"/>
                  <a:pt x="2042" y="55"/>
                </a:cubicBezTo>
                <a:cubicBezTo>
                  <a:pt x="2040" y="54"/>
                  <a:pt x="2040" y="54"/>
                  <a:pt x="2040" y="54"/>
                </a:cubicBezTo>
                <a:cubicBezTo>
                  <a:pt x="2038" y="54"/>
                  <a:pt x="2038" y="54"/>
                  <a:pt x="2038" y="54"/>
                </a:cubicBezTo>
                <a:cubicBezTo>
                  <a:pt x="2036" y="55"/>
                  <a:pt x="2036" y="55"/>
                  <a:pt x="2036" y="55"/>
                </a:cubicBezTo>
                <a:cubicBezTo>
                  <a:pt x="2033" y="55"/>
                  <a:pt x="2033" y="55"/>
                  <a:pt x="2033" y="55"/>
                </a:cubicBezTo>
                <a:cubicBezTo>
                  <a:pt x="2031" y="56"/>
                  <a:pt x="2031" y="56"/>
                  <a:pt x="2031" y="56"/>
                </a:cubicBezTo>
                <a:cubicBezTo>
                  <a:pt x="2030" y="55"/>
                  <a:pt x="2030" y="55"/>
                  <a:pt x="2030" y="55"/>
                </a:cubicBezTo>
                <a:cubicBezTo>
                  <a:pt x="2031" y="54"/>
                  <a:pt x="2031" y="54"/>
                  <a:pt x="2031" y="54"/>
                </a:cubicBezTo>
                <a:cubicBezTo>
                  <a:pt x="2029" y="54"/>
                  <a:pt x="2029" y="54"/>
                  <a:pt x="2029" y="54"/>
                </a:cubicBezTo>
                <a:cubicBezTo>
                  <a:pt x="2027" y="54"/>
                  <a:pt x="2027" y="54"/>
                  <a:pt x="2027" y="54"/>
                </a:cubicBezTo>
                <a:cubicBezTo>
                  <a:pt x="2028" y="58"/>
                  <a:pt x="2028" y="58"/>
                  <a:pt x="2028" y="58"/>
                </a:cubicBezTo>
                <a:cubicBezTo>
                  <a:pt x="2027" y="62"/>
                  <a:pt x="2027" y="62"/>
                  <a:pt x="2027" y="62"/>
                </a:cubicBezTo>
                <a:cubicBezTo>
                  <a:pt x="2029" y="64"/>
                  <a:pt x="2029" y="64"/>
                  <a:pt x="2029" y="64"/>
                </a:cubicBezTo>
                <a:cubicBezTo>
                  <a:pt x="2028" y="65"/>
                  <a:pt x="2028" y="65"/>
                  <a:pt x="2028" y="65"/>
                </a:cubicBezTo>
                <a:cubicBezTo>
                  <a:pt x="2027" y="69"/>
                  <a:pt x="2027" y="69"/>
                  <a:pt x="2027" y="69"/>
                </a:cubicBezTo>
                <a:cubicBezTo>
                  <a:pt x="2028" y="70"/>
                  <a:pt x="2028" y="70"/>
                  <a:pt x="2028" y="70"/>
                </a:cubicBezTo>
                <a:cubicBezTo>
                  <a:pt x="2028" y="72"/>
                  <a:pt x="2028" y="72"/>
                  <a:pt x="2028" y="72"/>
                </a:cubicBezTo>
                <a:cubicBezTo>
                  <a:pt x="2029" y="74"/>
                  <a:pt x="2029" y="74"/>
                  <a:pt x="2029" y="74"/>
                </a:cubicBezTo>
                <a:cubicBezTo>
                  <a:pt x="2028" y="75"/>
                  <a:pt x="2028" y="75"/>
                  <a:pt x="2028" y="75"/>
                </a:cubicBezTo>
                <a:cubicBezTo>
                  <a:pt x="2028" y="78"/>
                  <a:pt x="2028" y="78"/>
                  <a:pt x="2028" y="78"/>
                </a:cubicBezTo>
                <a:cubicBezTo>
                  <a:pt x="2030" y="81"/>
                  <a:pt x="2030" y="81"/>
                  <a:pt x="2030" y="81"/>
                </a:cubicBezTo>
                <a:cubicBezTo>
                  <a:pt x="2029" y="83"/>
                  <a:pt x="2029" y="83"/>
                  <a:pt x="2029" y="83"/>
                </a:cubicBezTo>
                <a:cubicBezTo>
                  <a:pt x="2029" y="85"/>
                  <a:pt x="2029" y="85"/>
                  <a:pt x="2029" y="85"/>
                </a:cubicBezTo>
                <a:cubicBezTo>
                  <a:pt x="2030" y="88"/>
                  <a:pt x="2030" y="88"/>
                  <a:pt x="2030" y="88"/>
                </a:cubicBezTo>
                <a:cubicBezTo>
                  <a:pt x="2029" y="89"/>
                  <a:pt x="2029" y="89"/>
                  <a:pt x="2029" y="89"/>
                </a:cubicBezTo>
                <a:cubicBezTo>
                  <a:pt x="2027" y="90"/>
                  <a:pt x="2027" y="90"/>
                  <a:pt x="2027" y="90"/>
                </a:cubicBezTo>
                <a:cubicBezTo>
                  <a:pt x="2023" y="96"/>
                  <a:pt x="2023" y="96"/>
                  <a:pt x="2023" y="96"/>
                </a:cubicBezTo>
                <a:cubicBezTo>
                  <a:pt x="2022" y="97"/>
                  <a:pt x="2022" y="97"/>
                  <a:pt x="2022" y="97"/>
                </a:cubicBezTo>
                <a:cubicBezTo>
                  <a:pt x="2022" y="99"/>
                  <a:pt x="2022" y="99"/>
                  <a:pt x="2022" y="99"/>
                </a:cubicBezTo>
                <a:cubicBezTo>
                  <a:pt x="2024" y="101"/>
                  <a:pt x="2024" y="101"/>
                  <a:pt x="2024" y="101"/>
                </a:cubicBezTo>
                <a:cubicBezTo>
                  <a:pt x="2023" y="102"/>
                  <a:pt x="2023" y="102"/>
                  <a:pt x="2023" y="102"/>
                </a:cubicBezTo>
                <a:cubicBezTo>
                  <a:pt x="2022" y="106"/>
                  <a:pt x="2022" y="106"/>
                  <a:pt x="2022" y="106"/>
                </a:cubicBezTo>
                <a:cubicBezTo>
                  <a:pt x="2025" y="108"/>
                  <a:pt x="2025" y="108"/>
                  <a:pt x="2025" y="108"/>
                </a:cubicBezTo>
                <a:cubicBezTo>
                  <a:pt x="2026" y="107"/>
                  <a:pt x="2026" y="107"/>
                  <a:pt x="2026" y="107"/>
                </a:cubicBezTo>
                <a:cubicBezTo>
                  <a:pt x="2027" y="108"/>
                  <a:pt x="2027" y="108"/>
                  <a:pt x="2027" y="108"/>
                </a:cubicBezTo>
                <a:cubicBezTo>
                  <a:pt x="2029" y="112"/>
                  <a:pt x="2029" y="112"/>
                  <a:pt x="2029" y="112"/>
                </a:cubicBezTo>
                <a:cubicBezTo>
                  <a:pt x="2031" y="112"/>
                  <a:pt x="2031" y="112"/>
                  <a:pt x="2031" y="112"/>
                </a:cubicBezTo>
                <a:cubicBezTo>
                  <a:pt x="2033" y="114"/>
                  <a:pt x="2033" y="114"/>
                  <a:pt x="2033" y="114"/>
                </a:cubicBezTo>
                <a:cubicBezTo>
                  <a:pt x="2032" y="114"/>
                  <a:pt x="2032" y="114"/>
                  <a:pt x="2032" y="114"/>
                </a:cubicBezTo>
                <a:cubicBezTo>
                  <a:pt x="2030" y="115"/>
                  <a:pt x="2030" y="115"/>
                  <a:pt x="2030" y="115"/>
                </a:cubicBezTo>
                <a:cubicBezTo>
                  <a:pt x="2030" y="118"/>
                  <a:pt x="2030" y="118"/>
                  <a:pt x="2030" y="118"/>
                </a:cubicBezTo>
                <a:cubicBezTo>
                  <a:pt x="2033" y="120"/>
                  <a:pt x="2033" y="120"/>
                  <a:pt x="2033" y="120"/>
                </a:cubicBezTo>
                <a:cubicBezTo>
                  <a:pt x="2033" y="122"/>
                  <a:pt x="2033" y="122"/>
                  <a:pt x="2033" y="122"/>
                </a:cubicBezTo>
                <a:cubicBezTo>
                  <a:pt x="2032" y="124"/>
                  <a:pt x="2032" y="124"/>
                  <a:pt x="2032" y="124"/>
                </a:cubicBezTo>
                <a:cubicBezTo>
                  <a:pt x="2030" y="123"/>
                  <a:pt x="2030" y="123"/>
                  <a:pt x="2030" y="123"/>
                </a:cubicBezTo>
                <a:cubicBezTo>
                  <a:pt x="2030" y="124"/>
                  <a:pt x="2030" y="124"/>
                  <a:pt x="2030" y="124"/>
                </a:cubicBezTo>
                <a:cubicBezTo>
                  <a:pt x="2032" y="129"/>
                  <a:pt x="2032" y="129"/>
                  <a:pt x="2032" y="129"/>
                </a:cubicBezTo>
                <a:cubicBezTo>
                  <a:pt x="2034" y="130"/>
                  <a:pt x="2034" y="130"/>
                  <a:pt x="2034" y="130"/>
                </a:cubicBezTo>
                <a:cubicBezTo>
                  <a:pt x="2034" y="134"/>
                  <a:pt x="2034" y="134"/>
                  <a:pt x="2034" y="134"/>
                </a:cubicBezTo>
                <a:cubicBezTo>
                  <a:pt x="2035" y="132"/>
                  <a:pt x="2035" y="132"/>
                  <a:pt x="2035" y="132"/>
                </a:cubicBezTo>
                <a:cubicBezTo>
                  <a:pt x="2037" y="133"/>
                  <a:pt x="2037" y="133"/>
                  <a:pt x="2037" y="133"/>
                </a:cubicBezTo>
                <a:cubicBezTo>
                  <a:pt x="2039" y="133"/>
                  <a:pt x="2039" y="133"/>
                  <a:pt x="2039" y="133"/>
                </a:cubicBezTo>
                <a:cubicBezTo>
                  <a:pt x="2042" y="135"/>
                  <a:pt x="2042" y="135"/>
                  <a:pt x="2042" y="135"/>
                </a:cubicBezTo>
                <a:cubicBezTo>
                  <a:pt x="2044" y="132"/>
                  <a:pt x="2044" y="132"/>
                  <a:pt x="2044" y="132"/>
                </a:cubicBezTo>
                <a:cubicBezTo>
                  <a:pt x="2045" y="133"/>
                  <a:pt x="2045" y="133"/>
                  <a:pt x="2045" y="133"/>
                </a:cubicBezTo>
                <a:cubicBezTo>
                  <a:pt x="2045" y="137"/>
                  <a:pt x="2045" y="137"/>
                  <a:pt x="2045" y="137"/>
                </a:cubicBezTo>
                <a:cubicBezTo>
                  <a:pt x="2046" y="139"/>
                  <a:pt x="2046" y="139"/>
                  <a:pt x="2046" y="139"/>
                </a:cubicBezTo>
                <a:cubicBezTo>
                  <a:pt x="2047" y="139"/>
                  <a:pt x="2047" y="139"/>
                  <a:pt x="2047" y="139"/>
                </a:cubicBezTo>
                <a:cubicBezTo>
                  <a:pt x="2051" y="144"/>
                  <a:pt x="2051" y="144"/>
                  <a:pt x="2051" y="144"/>
                </a:cubicBezTo>
                <a:cubicBezTo>
                  <a:pt x="2053" y="144"/>
                  <a:pt x="2053" y="144"/>
                  <a:pt x="2053" y="144"/>
                </a:cubicBezTo>
                <a:cubicBezTo>
                  <a:pt x="2055" y="143"/>
                  <a:pt x="2055" y="143"/>
                  <a:pt x="2055" y="143"/>
                </a:cubicBezTo>
                <a:cubicBezTo>
                  <a:pt x="2057" y="143"/>
                  <a:pt x="2057" y="143"/>
                  <a:pt x="2057" y="143"/>
                </a:cubicBezTo>
                <a:cubicBezTo>
                  <a:pt x="2057" y="144"/>
                  <a:pt x="2057" y="144"/>
                  <a:pt x="2057" y="144"/>
                </a:cubicBezTo>
                <a:cubicBezTo>
                  <a:pt x="2059" y="144"/>
                  <a:pt x="2059" y="144"/>
                  <a:pt x="2059" y="144"/>
                </a:cubicBezTo>
                <a:cubicBezTo>
                  <a:pt x="2057" y="145"/>
                  <a:pt x="2057" y="145"/>
                  <a:pt x="2057" y="145"/>
                </a:cubicBezTo>
                <a:cubicBezTo>
                  <a:pt x="2057" y="151"/>
                  <a:pt x="2057" y="151"/>
                  <a:pt x="2057" y="151"/>
                </a:cubicBezTo>
                <a:cubicBezTo>
                  <a:pt x="2057" y="152"/>
                  <a:pt x="2057" y="152"/>
                  <a:pt x="2057" y="152"/>
                </a:cubicBezTo>
                <a:cubicBezTo>
                  <a:pt x="2058" y="154"/>
                  <a:pt x="2058" y="154"/>
                  <a:pt x="2058" y="154"/>
                </a:cubicBezTo>
                <a:cubicBezTo>
                  <a:pt x="2058" y="155"/>
                  <a:pt x="2058" y="155"/>
                  <a:pt x="2058" y="155"/>
                </a:cubicBezTo>
                <a:cubicBezTo>
                  <a:pt x="2056" y="156"/>
                  <a:pt x="2056" y="156"/>
                  <a:pt x="2056" y="156"/>
                </a:cubicBezTo>
                <a:cubicBezTo>
                  <a:pt x="2057" y="158"/>
                  <a:pt x="2057" y="158"/>
                  <a:pt x="2057" y="158"/>
                </a:cubicBezTo>
                <a:cubicBezTo>
                  <a:pt x="2057" y="160"/>
                  <a:pt x="2057" y="160"/>
                  <a:pt x="2057" y="160"/>
                </a:cubicBezTo>
                <a:cubicBezTo>
                  <a:pt x="2055" y="159"/>
                  <a:pt x="2055" y="159"/>
                  <a:pt x="2055" y="159"/>
                </a:cubicBezTo>
                <a:cubicBezTo>
                  <a:pt x="2052" y="155"/>
                  <a:pt x="2052" y="155"/>
                  <a:pt x="2052" y="155"/>
                </a:cubicBezTo>
                <a:cubicBezTo>
                  <a:pt x="2050" y="153"/>
                  <a:pt x="2050" y="153"/>
                  <a:pt x="2050" y="153"/>
                </a:cubicBezTo>
                <a:cubicBezTo>
                  <a:pt x="2046" y="152"/>
                  <a:pt x="2046" y="152"/>
                  <a:pt x="2046" y="152"/>
                </a:cubicBezTo>
                <a:cubicBezTo>
                  <a:pt x="2045" y="149"/>
                  <a:pt x="2045" y="149"/>
                  <a:pt x="2045" y="149"/>
                </a:cubicBezTo>
                <a:cubicBezTo>
                  <a:pt x="2043" y="147"/>
                  <a:pt x="2043" y="147"/>
                  <a:pt x="2043" y="147"/>
                </a:cubicBezTo>
                <a:cubicBezTo>
                  <a:pt x="2038" y="147"/>
                  <a:pt x="2038" y="147"/>
                  <a:pt x="2038" y="147"/>
                </a:cubicBezTo>
                <a:cubicBezTo>
                  <a:pt x="2032" y="144"/>
                  <a:pt x="2032" y="144"/>
                  <a:pt x="2032" y="144"/>
                </a:cubicBezTo>
                <a:cubicBezTo>
                  <a:pt x="2029" y="143"/>
                  <a:pt x="2029" y="143"/>
                  <a:pt x="2029" y="143"/>
                </a:cubicBezTo>
                <a:cubicBezTo>
                  <a:pt x="2028" y="141"/>
                  <a:pt x="2028" y="141"/>
                  <a:pt x="2028" y="141"/>
                </a:cubicBezTo>
                <a:cubicBezTo>
                  <a:pt x="2027" y="141"/>
                  <a:pt x="2027" y="141"/>
                  <a:pt x="2027" y="141"/>
                </a:cubicBezTo>
                <a:cubicBezTo>
                  <a:pt x="2025" y="140"/>
                  <a:pt x="2025" y="140"/>
                  <a:pt x="2025" y="140"/>
                </a:cubicBezTo>
                <a:cubicBezTo>
                  <a:pt x="2022" y="141"/>
                  <a:pt x="2022" y="141"/>
                  <a:pt x="2022" y="141"/>
                </a:cubicBezTo>
                <a:cubicBezTo>
                  <a:pt x="2020" y="142"/>
                  <a:pt x="2020" y="142"/>
                  <a:pt x="2020" y="142"/>
                </a:cubicBezTo>
                <a:cubicBezTo>
                  <a:pt x="2019" y="140"/>
                  <a:pt x="2019" y="140"/>
                  <a:pt x="2019" y="140"/>
                </a:cubicBezTo>
                <a:cubicBezTo>
                  <a:pt x="2020" y="139"/>
                  <a:pt x="2020" y="139"/>
                  <a:pt x="2020" y="139"/>
                </a:cubicBezTo>
                <a:cubicBezTo>
                  <a:pt x="2019" y="138"/>
                  <a:pt x="2019" y="138"/>
                  <a:pt x="2019" y="138"/>
                </a:cubicBezTo>
                <a:cubicBezTo>
                  <a:pt x="2013" y="135"/>
                  <a:pt x="2013" y="135"/>
                  <a:pt x="2013" y="135"/>
                </a:cubicBezTo>
                <a:cubicBezTo>
                  <a:pt x="2010" y="133"/>
                  <a:pt x="2010" y="133"/>
                  <a:pt x="2010" y="133"/>
                </a:cubicBezTo>
                <a:cubicBezTo>
                  <a:pt x="2000" y="133"/>
                  <a:pt x="2000" y="133"/>
                  <a:pt x="2000" y="133"/>
                </a:cubicBezTo>
                <a:cubicBezTo>
                  <a:pt x="1993" y="134"/>
                  <a:pt x="1993" y="134"/>
                  <a:pt x="1993" y="134"/>
                </a:cubicBezTo>
                <a:cubicBezTo>
                  <a:pt x="1991" y="133"/>
                  <a:pt x="1991" y="133"/>
                  <a:pt x="1991" y="133"/>
                </a:cubicBezTo>
                <a:cubicBezTo>
                  <a:pt x="1989" y="134"/>
                  <a:pt x="1989" y="134"/>
                  <a:pt x="1989" y="134"/>
                </a:cubicBezTo>
                <a:cubicBezTo>
                  <a:pt x="1987" y="133"/>
                  <a:pt x="1987" y="133"/>
                  <a:pt x="1987" y="133"/>
                </a:cubicBezTo>
                <a:cubicBezTo>
                  <a:pt x="1986" y="133"/>
                  <a:pt x="1986" y="133"/>
                  <a:pt x="1986" y="133"/>
                </a:cubicBezTo>
                <a:cubicBezTo>
                  <a:pt x="1985" y="133"/>
                  <a:pt x="1985" y="133"/>
                  <a:pt x="1985" y="133"/>
                </a:cubicBezTo>
                <a:cubicBezTo>
                  <a:pt x="1983" y="134"/>
                  <a:pt x="1983" y="134"/>
                  <a:pt x="1983" y="134"/>
                </a:cubicBezTo>
                <a:cubicBezTo>
                  <a:pt x="1984" y="136"/>
                  <a:pt x="1984" y="136"/>
                  <a:pt x="1984" y="136"/>
                </a:cubicBezTo>
                <a:cubicBezTo>
                  <a:pt x="1984" y="138"/>
                  <a:pt x="1984" y="138"/>
                  <a:pt x="1984" y="138"/>
                </a:cubicBezTo>
                <a:cubicBezTo>
                  <a:pt x="1982" y="138"/>
                  <a:pt x="1982" y="138"/>
                  <a:pt x="1982" y="138"/>
                </a:cubicBezTo>
                <a:cubicBezTo>
                  <a:pt x="1982" y="139"/>
                  <a:pt x="1982" y="139"/>
                  <a:pt x="1982" y="139"/>
                </a:cubicBezTo>
                <a:cubicBezTo>
                  <a:pt x="1984" y="141"/>
                  <a:pt x="1984" y="141"/>
                  <a:pt x="1984" y="141"/>
                </a:cubicBezTo>
                <a:cubicBezTo>
                  <a:pt x="1985" y="142"/>
                  <a:pt x="1985" y="142"/>
                  <a:pt x="1985" y="142"/>
                </a:cubicBezTo>
                <a:cubicBezTo>
                  <a:pt x="1986" y="146"/>
                  <a:pt x="1986" y="146"/>
                  <a:pt x="1986" y="146"/>
                </a:cubicBezTo>
                <a:cubicBezTo>
                  <a:pt x="1987" y="148"/>
                  <a:pt x="1987" y="148"/>
                  <a:pt x="1987" y="148"/>
                </a:cubicBezTo>
                <a:cubicBezTo>
                  <a:pt x="1987" y="146"/>
                  <a:pt x="1987" y="146"/>
                  <a:pt x="1987" y="146"/>
                </a:cubicBezTo>
                <a:cubicBezTo>
                  <a:pt x="1989" y="146"/>
                  <a:pt x="1989" y="146"/>
                  <a:pt x="1989" y="146"/>
                </a:cubicBezTo>
                <a:cubicBezTo>
                  <a:pt x="1990" y="149"/>
                  <a:pt x="1990" y="149"/>
                  <a:pt x="1990" y="149"/>
                </a:cubicBezTo>
                <a:cubicBezTo>
                  <a:pt x="1991" y="151"/>
                  <a:pt x="1991" y="151"/>
                  <a:pt x="1991" y="151"/>
                </a:cubicBezTo>
                <a:cubicBezTo>
                  <a:pt x="1993" y="152"/>
                  <a:pt x="1993" y="152"/>
                  <a:pt x="1993" y="152"/>
                </a:cubicBezTo>
                <a:cubicBezTo>
                  <a:pt x="1996" y="155"/>
                  <a:pt x="1996" y="155"/>
                  <a:pt x="1996" y="155"/>
                </a:cubicBezTo>
                <a:cubicBezTo>
                  <a:pt x="1993" y="154"/>
                  <a:pt x="1993" y="154"/>
                  <a:pt x="1993" y="154"/>
                </a:cubicBezTo>
                <a:cubicBezTo>
                  <a:pt x="1992" y="153"/>
                  <a:pt x="1992" y="153"/>
                  <a:pt x="1992" y="153"/>
                </a:cubicBezTo>
                <a:cubicBezTo>
                  <a:pt x="1990" y="154"/>
                  <a:pt x="1990" y="154"/>
                  <a:pt x="1990" y="154"/>
                </a:cubicBezTo>
                <a:cubicBezTo>
                  <a:pt x="1990" y="157"/>
                  <a:pt x="1990" y="157"/>
                  <a:pt x="1990" y="157"/>
                </a:cubicBezTo>
                <a:cubicBezTo>
                  <a:pt x="1988" y="158"/>
                  <a:pt x="1988" y="158"/>
                  <a:pt x="1988" y="158"/>
                </a:cubicBezTo>
                <a:cubicBezTo>
                  <a:pt x="1985" y="157"/>
                  <a:pt x="1985" y="157"/>
                  <a:pt x="1985" y="157"/>
                </a:cubicBezTo>
                <a:cubicBezTo>
                  <a:pt x="1984" y="158"/>
                  <a:pt x="1984" y="158"/>
                  <a:pt x="1984" y="158"/>
                </a:cubicBezTo>
                <a:cubicBezTo>
                  <a:pt x="1983" y="159"/>
                  <a:pt x="1983" y="159"/>
                  <a:pt x="1983" y="159"/>
                </a:cubicBezTo>
                <a:cubicBezTo>
                  <a:pt x="1986" y="162"/>
                  <a:pt x="1986" y="162"/>
                  <a:pt x="1986" y="162"/>
                </a:cubicBezTo>
                <a:cubicBezTo>
                  <a:pt x="1986" y="163"/>
                  <a:pt x="1986" y="163"/>
                  <a:pt x="1986" y="163"/>
                </a:cubicBezTo>
                <a:cubicBezTo>
                  <a:pt x="1986" y="164"/>
                  <a:pt x="1986" y="164"/>
                  <a:pt x="1986" y="164"/>
                </a:cubicBezTo>
                <a:cubicBezTo>
                  <a:pt x="1985" y="165"/>
                  <a:pt x="1985" y="165"/>
                  <a:pt x="1985" y="165"/>
                </a:cubicBezTo>
                <a:cubicBezTo>
                  <a:pt x="1980" y="165"/>
                  <a:pt x="1980" y="165"/>
                  <a:pt x="1980" y="165"/>
                </a:cubicBezTo>
                <a:cubicBezTo>
                  <a:pt x="1979" y="163"/>
                  <a:pt x="1979" y="163"/>
                  <a:pt x="1979" y="163"/>
                </a:cubicBezTo>
                <a:cubicBezTo>
                  <a:pt x="1979" y="162"/>
                  <a:pt x="1979" y="162"/>
                  <a:pt x="1979" y="162"/>
                </a:cubicBezTo>
                <a:cubicBezTo>
                  <a:pt x="1978" y="160"/>
                  <a:pt x="1978" y="160"/>
                  <a:pt x="1978" y="160"/>
                </a:cubicBezTo>
                <a:cubicBezTo>
                  <a:pt x="1980" y="158"/>
                  <a:pt x="1980" y="158"/>
                  <a:pt x="1980" y="158"/>
                </a:cubicBezTo>
                <a:cubicBezTo>
                  <a:pt x="1980" y="157"/>
                  <a:pt x="1980" y="157"/>
                  <a:pt x="1980" y="157"/>
                </a:cubicBezTo>
                <a:cubicBezTo>
                  <a:pt x="1978" y="155"/>
                  <a:pt x="1978" y="155"/>
                  <a:pt x="1978" y="155"/>
                </a:cubicBezTo>
                <a:cubicBezTo>
                  <a:pt x="1976" y="154"/>
                  <a:pt x="1976" y="154"/>
                  <a:pt x="1976" y="154"/>
                </a:cubicBezTo>
                <a:cubicBezTo>
                  <a:pt x="1978" y="153"/>
                  <a:pt x="1978" y="153"/>
                  <a:pt x="1978" y="153"/>
                </a:cubicBezTo>
                <a:cubicBezTo>
                  <a:pt x="1978" y="152"/>
                  <a:pt x="1978" y="152"/>
                  <a:pt x="1978" y="152"/>
                </a:cubicBezTo>
                <a:cubicBezTo>
                  <a:pt x="1976" y="153"/>
                  <a:pt x="1976" y="153"/>
                  <a:pt x="1976" y="153"/>
                </a:cubicBezTo>
                <a:cubicBezTo>
                  <a:pt x="1975" y="153"/>
                  <a:pt x="1975" y="153"/>
                  <a:pt x="1975" y="153"/>
                </a:cubicBezTo>
                <a:cubicBezTo>
                  <a:pt x="1972" y="155"/>
                  <a:pt x="1972" y="155"/>
                  <a:pt x="1972" y="155"/>
                </a:cubicBezTo>
                <a:cubicBezTo>
                  <a:pt x="1971" y="156"/>
                  <a:pt x="1971" y="156"/>
                  <a:pt x="1971" y="156"/>
                </a:cubicBezTo>
                <a:cubicBezTo>
                  <a:pt x="1969" y="157"/>
                  <a:pt x="1969" y="157"/>
                  <a:pt x="1969" y="157"/>
                </a:cubicBezTo>
                <a:cubicBezTo>
                  <a:pt x="1969" y="159"/>
                  <a:pt x="1969" y="159"/>
                  <a:pt x="1969" y="159"/>
                </a:cubicBezTo>
                <a:cubicBezTo>
                  <a:pt x="1966" y="159"/>
                  <a:pt x="1966" y="159"/>
                  <a:pt x="1966" y="159"/>
                </a:cubicBezTo>
                <a:cubicBezTo>
                  <a:pt x="1965" y="160"/>
                  <a:pt x="1965" y="160"/>
                  <a:pt x="1965" y="160"/>
                </a:cubicBezTo>
                <a:cubicBezTo>
                  <a:pt x="1965" y="161"/>
                  <a:pt x="1965" y="161"/>
                  <a:pt x="1965" y="161"/>
                </a:cubicBezTo>
                <a:cubicBezTo>
                  <a:pt x="1963" y="162"/>
                  <a:pt x="1963" y="162"/>
                  <a:pt x="1963" y="162"/>
                </a:cubicBezTo>
                <a:cubicBezTo>
                  <a:pt x="1959" y="162"/>
                  <a:pt x="1959" y="162"/>
                  <a:pt x="1959" y="162"/>
                </a:cubicBezTo>
                <a:cubicBezTo>
                  <a:pt x="1958" y="162"/>
                  <a:pt x="1958" y="162"/>
                  <a:pt x="1958" y="162"/>
                </a:cubicBezTo>
                <a:cubicBezTo>
                  <a:pt x="1957" y="162"/>
                  <a:pt x="1957" y="162"/>
                  <a:pt x="1957" y="162"/>
                </a:cubicBezTo>
                <a:cubicBezTo>
                  <a:pt x="1955" y="162"/>
                  <a:pt x="1955" y="162"/>
                  <a:pt x="1955" y="162"/>
                </a:cubicBezTo>
                <a:cubicBezTo>
                  <a:pt x="1954" y="161"/>
                  <a:pt x="1954" y="161"/>
                  <a:pt x="1954" y="161"/>
                </a:cubicBezTo>
                <a:cubicBezTo>
                  <a:pt x="1952" y="163"/>
                  <a:pt x="1952" y="163"/>
                  <a:pt x="1952" y="163"/>
                </a:cubicBezTo>
                <a:cubicBezTo>
                  <a:pt x="1951" y="164"/>
                  <a:pt x="1951" y="164"/>
                  <a:pt x="1951" y="164"/>
                </a:cubicBezTo>
                <a:cubicBezTo>
                  <a:pt x="1949" y="164"/>
                  <a:pt x="1949" y="164"/>
                  <a:pt x="1949" y="164"/>
                </a:cubicBezTo>
                <a:cubicBezTo>
                  <a:pt x="1947" y="166"/>
                  <a:pt x="1947" y="166"/>
                  <a:pt x="1947" y="166"/>
                </a:cubicBezTo>
                <a:cubicBezTo>
                  <a:pt x="1947" y="167"/>
                  <a:pt x="1947" y="167"/>
                  <a:pt x="1947" y="167"/>
                </a:cubicBezTo>
                <a:cubicBezTo>
                  <a:pt x="1949" y="168"/>
                  <a:pt x="1949" y="168"/>
                  <a:pt x="1949" y="168"/>
                </a:cubicBezTo>
                <a:cubicBezTo>
                  <a:pt x="1948" y="170"/>
                  <a:pt x="1948" y="170"/>
                  <a:pt x="1948" y="170"/>
                </a:cubicBezTo>
                <a:cubicBezTo>
                  <a:pt x="1949" y="171"/>
                  <a:pt x="1949" y="171"/>
                  <a:pt x="1949" y="171"/>
                </a:cubicBezTo>
                <a:cubicBezTo>
                  <a:pt x="1948" y="172"/>
                  <a:pt x="1948" y="172"/>
                  <a:pt x="1948" y="172"/>
                </a:cubicBezTo>
                <a:cubicBezTo>
                  <a:pt x="1946" y="170"/>
                  <a:pt x="1946" y="170"/>
                  <a:pt x="1946" y="170"/>
                </a:cubicBezTo>
                <a:cubicBezTo>
                  <a:pt x="1945" y="169"/>
                  <a:pt x="1945" y="169"/>
                  <a:pt x="1945" y="169"/>
                </a:cubicBezTo>
                <a:cubicBezTo>
                  <a:pt x="1944" y="169"/>
                  <a:pt x="1944" y="169"/>
                  <a:pt x="1944" y="169"/>
                </a:cubicBezTo>
                <a:cubicBezTo>
                  <a:pt x="1942" y="172"/>
                  <a:pt x="1942" y="172"/>
                  <a:pt x="1942" y="172"/>
                </a:cubicBezTo>
                <a:cubicBezTo>
                  <a:pt x="1941" y="174"/>
                  <a:pt x="1941" y="174"/>
                  <a:pt x="1941" y="174"/>
                </a:cubicBezTo>
                <a:cubicBezTo>
                  <a:pt x="1941" y="172"/>
                  <a:pt x="1941" y="172"/>
                  <a:pt x="1941" y="172"/>
                </a:cubicBezTo>
                <a:cubicBezTo>
                  <a:pt x="1939" y="171"/>
                  <a:pt x="1939" y="171"/>
                  <a:pt x="1939" y="171"/>
                </a:cubicBezTo>
                <a:cubicBezTo>
                  <a:pt x="1938" y="172"/>
                  <a:pt x="1938" y="172"/>
                  <a:pt x="1938" y="172"/>
                </a:cubicBezTo>
                <a:cubicBezTo>
                  <a:pt x="1937" y="172"/>
                  <a:pt x="1937" y="172"/>
                  <a:pt x="1937" y="172"/>
                </a:cubicBezTo>
                <a:cubicBezTo>
                  <a:pt x="1935" y="172"/>
                  <a:pt x="1935" y="172"/>
                  <a:pt x="1935" y="172"/>
                </a:cubicBezTo>
                <a:cubicBezTo>
                  <a:pt x="1933" y="172"/>
                  <a:pt x="1933" y="172"/>
                  <a:pt x="1933" y="172"/>
                </a:cubicBezTo>
                <a:cubicBezTo>
                  <a:pt x="1933" y="170"/>
                  <a:pt x="1933" y="170"/>
                  <a:pt x="1933" y="170"/>
                </a:cubicBezTo>
                <a:cubicBezTo>
                  <a:pt x="1935" y="168"/>
                  <a:pt x="1935" y="168"/>
                  <a:pt x="1935" y="168"/>
                </a:cubicBezTo>
                <a:cubicBezTo>
                  <a:pt x="1937" y="168"/>
                  <a:pt x="1937" y="168"/>
                  <a:pt x="1937" y="168"/>
                </a:cubicBezTo>
                <a:cubicBezTo>
                  <a:pt x="1938" y="167"/>
                  <a:pt x="1938" y="167"/>
                  <a:pt x="1938" y="167"/>
                </a:cubicBezTo>
                <a:cubicBezTo>
                  <a:pt x="1937" y="164"/>
                  <a:pt x="1937" y="164"/>
                  <a:pt x="1937" y="164"/>
                </a:cubicBezTo>
                <a:cubicBezTo>
                  <a:pt x="1937" y="164"/>
                  <a:pt x="1937" y="164"/>
                  <a:pt x="1937" y="164"/>
                </a:cubicBezTo>
                <a:cubicBezTo>
                  <a:pt x="1938" y="163"/>
                  <a:pt x="1938" y="163"/>
                  <a:pt x="1938" y="163"/>
                </a:cubicBezTo>
                <a:cubicBezTo>
                  <a:pt x="1936" y="161"/>
                  <a:pt x="1936" y="161"/>
                  <a:pt x="1936" y="161"/>
                </a:cubicBezTo>
                <a:cubicBezTo>
                  <a:pt x="1935" y="161"/>
                  <a:pt x="1935" y="161"/>
                  <a:pt x="1935" y="161"/>
                </a:cubicBezTo>
                <a:cubicBezTo>
                  <a:pt x="1934" y="161"/>
                  <a:pt x="1934" y="161"/>
                  <a:pt x="1934" y="161"/>
                </a:cubicBezTo>
                <a:cubicBezTo>
                  <a:pt x="1933" y="160"/>
                  <a:pt x="1933" y="160"/>
                  <a:pt x="1933" y="160"/>
                </a:cubicBezTo>
                <a:cubicBezTo>
                  <a:pt x="1937" y="158"/>
                  <a:pt x="1937" y="158"/>
                  <a:pt x="1937" y="158"/>
                </a:cubicBezTo>
                <a:cubicBezTo>
                  <a:pt x="1938" y="158"/>
                  <a:pt x="1938" y="158"/>
                  <a:pt x="1938" y="158"/>
                </a:cubicBezTo>
                <a:cubicBezTo>
                  <a:pt x="1940" y="157"/>
                  <a:pt x="1940" y="157"/>
                  <a:pt x="1940" y="157"/>
                </a:cubicBezTo>
                <a:cubicBezTo>
                  <a:pt x="1940" y="156"/>
                  <a:pt x="1940" y="156"/>
                  <a:pt x="1940" y="156"/>
                </a:cubicBezTo>
                <a:cubicBezTo>
                  <a:pt x="1936" y="157"/>
                  <a:pt x="1936" y="157"/>
                  <a:pt x="1936" y="157"/>
                </a:cubicBezTo>
                <a:cubicBezTo>
                  <a:pt x="1931" y="159"/>
                  <a:pt x="1931" y="159"/>
                  <a:pt x="1931" y="159"/>
                </a:cubicBezTo>
                <a:cubicBezTo>
                  <a:pt x="1929" y="161"/>
                  <a:pt x="1929" y="161"/>
                  <a:pt x="1929" y="161"/>
                </a:cubicBezTo>
                <a:cubicBezTo>
                  <a:pt x="1930" y="161"/>
                  <a:pt x="1930" y="161"/>
                  <a:pt x="1930" y="161"/>
                </a:cubicBezTo>
                <a:cubicBezTo>
                  <a:pt x="1931" y="163"/>
                  <a:pt x="1931" y="163"/>
                  <a:pt x="1931" y="163"/>
                </a:cubicBezTo>
                <a:cubicBezTo>
                  <a:pt x="1931" y="165"/>
                  <a:pt x="1931" y="165"/>
                  <a:pt x="1931" y="165"/>
                </a:cubicBezTo>
                <a:cubicBezTo>
                  <a:pt x="1930" y="166"/>
                  <a:pt x="1930" y="166"/>
                  <a:pt x="1930" y="166"/>
                </a:cubicBezTo>
                <a:cubicBezTo>
                  <a:pt x="1929" y="166"/>
                  <a:pt x="1929" y="166"/>
                  <a:pt x="1929" y="166"/>
                </a:cubicBezTo>
                <a:cubicBezTo>
                  <a:pt x="1927" y="164"/>
                  <a:pt x="1927" y="164"/>
                  <a:pt x="1927" y="164"/>
                </a:cubicBezTo>
                <a:cubicBezTo>
                  <a:pt x="1928" y="163"/>
                  <a:pt x="1928" y="163"/>
                  <a:pt x="1928" y="163"/>
                </a:cubicBezTo>
                <a:cubicBezTo>
                  <a:pt x="1928" y="163"/>
                  <a:pt x="1928" y="163"/>
                  <a:pt x="1928" y="163"/>
                </a:cubicBezTo>
                <a:cubicBezTo>
                  <a:pt x="1928" y="162"/>
                  <a:pt x="1928" y="162"/>
                  <a:pt x="1928" y="162"/>
                </a:cubicBezTo>
                <a:cubicBezTo>
                  <a:pt x="1927" y="162"/>
                  <a:pt x="1927" y="162"/>
                  <a:pt x="1927" y="162"/>
                </a:cubicBezTo>
                <a:cubicBezTo>
                  <a:pt x="1924" y="165"/>
                  <a:pt x="1924" y="165"/>
                  <a:pt x="1924" y="165"/>
                </a:cubicBezTo>
                <a:cubicBezTo>
                  <a:pt x="1924" y="166"/>
                  <a:pt x="1924" y="166"/>
                  <a:pt x="1924" y="166"/>
                </a:cubicBezTo>
                <a:cubicBezTo>
                  <a:pt x="1925" y="168"/>
                  <a:pt x="1925" y="168"/>
                  <a:pt x="1925" y="168"/>
                </a:cubicBezTo>
                <a:cubicBezTo>
                  <a:pt x="1927" y="168"/>
                  <a:pt x="1927" y="168"/>
                  <a:pt x="1927" y="168"/>
                </a:cubicBezTo>
                <a:cubicBezTo>
                  <a:pt x="1926" y="170"/>
                  <a:pt x="1926" y="170"/>
                  <a:pt x="1926" y="170"/>
                </a:cubicBezTo>
                <a:cubicBezTo>
                  <a:pt x="1924" y="172"/>
                  <a:pt x="1924" y="172"/>
                  <a:pt x="1924" y="172"/>
                </a:cubicBezTo>
                <a:cubicBezTo>
                  <a:pt x="1923" y="171"/>
                  <a:pt x="1923" y="171"/>
                  <a:pt x="1923" y="171"/>
                </a:cubicBezTo>
                <a:cubicBezTo>
                  <a:pt x="1924" y="170"/>
                  <a:pt x="1924" y="170"/>
                  <a:pt x="1924" y="170"/>
                </a:cubicBezTo>
                <a:cubicBezTo>
                  <a:pt x="1923" y="169"/>
                  <a:pt x="1923" y="169"/>
                  <a:pt x="1923" y="169"/>
                </a:cubicBezTo>
                <a:cubicBezTo>
                  <a:pt x="1922" y="169"/>
                  <a:pt x="1922" y="169"/>
                  <a:pt x="1922" y="169"/>
                </a:cubicBezTo>
                <a:cubicBezTo>
                  <a:pt x="1922" y="167"/>
                  <a:pt x="1922" y="167"/>
                  <a:pt x="1922" y="167"/>
                </a:cubicBezTo>
                <a:cubicBezTo>
                  <a:pt x="1918" y="168"/>
                  <a:pt x="1918" y="168"/>
                  <a:pt x="1918" y="168"/>
                </a:cubicBezTo>
                <a:cubicBezTo>
                  <a:pt x="1918" y="170"/>
                  <a:pt x="1918" y="170"/>
                  <a:pt x="1918" y="170"/>
                </a:cubicBezTo>
                <a:cubicBezTo>
                  <a:pt x="1915" y="171"/>
                  <a:pt x="1915" y="171"/>
                  <a:pt x="1915" y="171"/>
                </a:cubicBezTo>
                <a:cubicBezTo>
                  <a:pt x="1913" y="170"/>
                  <a:pt x="1913" y="170"/>
                  <a:pt x="1913" y="170"/>
                </a:cubicBezTo>
                <a:cubicBezTo>
                  <a:pt x="1912" y="171"/>
                  <a:pt x="1912" y="171"/>
                  <a:pt x="1912" y="171"/>
                </a:cubicBezTo>
                <a:cubicBezTo>
                  <a:pt x="1912" y="172"/>
                  <a:pt x="1912" y="172"/>
                  <a:pt x="1912" y="172"/>
                </a:cubicBezTo>
                <a:cubicBezTo>
                  <a:pt x="1908" y="177"/>
                  <a:pt x="1908" y="177"/>
                  <a:pt x="1908" y="177"/>
                </a:cubicBezTo>
                <a:cubicBezTo>
                  <a:pt x="1906" y="178"/>
                  <a:pt x="1906" y="178"/>
                  <a:pt x="1906" y="178"/>
                </a:cubicBezTo>
                <a:cubicBezTo>
                  <a:pt x="1903" y="182"/>
                  <a:pt x="1903" y="182"/>
                  <a:pt x="1903" y="182"/>
                </a:cubicBezTo>
                <a:cubicBezTo>
                  <a:pt x="1901" y="183"/>
                  <a:pt x="1901" y="183"/>
                  <a:pt x="1901" y="183"/>
                </a:cubicBezTo>
                <a:cubicBezTo>
                  <a:pt x="1899" y="182"/>
                  <a:pt x="1899" y="182"/>
                  <a:pt x="1899" y="182"/>
                </a:cubicBezTo>
                <a:cubicBezTo>
                  <a:pt x="1898" y="182"/>
                  <a:pt x="1898" y="182"/>
                  <a:pt x="1898" y="182"/>
                </a:cubicBezTo>
                <a:cubicBezTo>
                  <a:pt x="1899" y="184"/>
                  <a:pt x="1899" y="184"/>
                  <a:pt x="1899" y="184"/>
                </a:cubicBezTo>
                <a:cubicBezTo>
                  <a:pt x="1902" y="186"/>
                  <a:pt x="1902" y="186"/>
                  <a:pt x="1902" y="186"/>
                </a:cubicBezTo>
                <a:cubicBezTo>
                  <a:pt x="1902" y="187"/>
                  <a:pt x="1902" y="187"/>
                  <a:pt x="1902" y="187"/>
                </a:cubicBezTo>
                <a:cubicBezTo>
                  <a:pt x="1899" y="186"/>
                  <a:pt x="1899" y="186"/>
                  <a:pt x="1899" y="186"/>
                </a:cubicBezTo>
                <a:cubicBezTo>
                  <a:pt x="1898" y="187"/>
                  <a:pt x="1898" y="187"/>
                  <a:pt x="1898" y="187"/>
                </a:cubicBezTo>
                <a:cubicBezTo>
                  <a:pt x="1893" y="188"/>
                  <a:pt x="1893" y="188"/>
                  <a:pt x="1893" y="188"/>
                </a:cubicBezTo>
                <a:cubicBezTo>
                  <a:pt x="1892" y="189"/>
                  <a:pt x="1892" y="189"/>
                  <a:pt x="1892" y="189"/>
                </a:cubicBezTo>
                <a:cubicBezTo>
                  <a:pt x="1893" y="190"/>
                  <a:pt x="1893" y="190"/>
                  <a:pt x="1893" y="190"/>
                </a:cubicBezTo>
                <a:cubicBezTo>
                  <a:pt x="1893" y="192"/>
                  <a:pt x="1893" y="192"/>
                  <a:pt x="1893" y="192"/>
                </a:cubicBezTo>
                <a:cubicBezTo>
                  <a:pt x="1892" y="195"/>
                  <a:pt x="1892" y="195"/>
                  <a:pt x="1892" y="195"/>
                </a:cubicBezTo>
                <a:cubicBezTo>
                  <a:pt x="1893" y="198"/>
                  <a:pt x="1893" y="198"/>
                  <a:pt x="1893" y="198"/>
                </a:cubicBezTo>
                <a:cubicBezTo>
                  <a:pt x="1892" y="200"/>
                  <a:pt x="1892" y="200"/>
                  <a:pt x="1892" y="200"/>
                </a:cubicBezTo>
                <a:cubicBezTo>
                  <a:pt x="1889" y="201"/>
                  <a:pt x="1889" y="201"/>
                  <a:pt x="1889" y="201"/>
                </a:cubicBezTo>
                <a:cubicBezTo>
                  <a:pt x="1888" y="202"/>
                  <a:pt x="1888" y="202"/>
                  <a:pt x="1888" y="202"/>
                </a:cubicBezTo>
                <a:cubicBezTo>
                  <a:pt x="1886" y="202"/>
                  <a:pt x="1886" y="202"/>
                  <a:pt x="1886" y="202"/>
                </a:cubicBezTo>
                <a:cubicBezTo>
                  <a:pt x="1885" y="204"/>
                  <a:pt x="1885" y="204"/>
                  <a:pt x="1885" y="204"/>
                </a:cubicBezTo>
                <a:cubicBezTo>
                  <a:pt x="1884" y="201"/>
                  <a:pt x="1884" y="201"/>
                  <a:pt x="1884" y="201"/>
                </a:cubicBezTo>
                <a:cubicBezTo>
                  <a:pt x="1881" y="203"/>
                  <a:pt x="1881" y="203"/>
                  <a:pt x="1881" y="203"/>
                </a:cubicBezTo>
                <a:cubicBezTo>
                  <a:pt x="1879" y="203"/>
                  <a:pt x="1879" y="203"/>
                  <a:pt x="1879" y="203"/>
                </a:cubicBezTo>
                <a:cubicBezTo>
                  <a:pt x="1875" y="198"/>
                  <a:pt x="1875" y="198"/>
                  <a:pt x="1875" y="198"/>
                </a:cubicBezTo>
                <a:cubicBezTo>
                  <a:pt x="1871" y="195"/>
                  <a:pt x="1871" y="195"/>
                  <a:pt x="1871" y="195"/>
                </a:cubicBezTo>
                <a:cubicBezTo>
                  <a:pt x="1870" y="194"/>
                  <a:pt x="1870" y="194"/>
                  <a:pt x="1870" y="194"/>
                </a:cubicBezTo>
                <a:cubicBezTo>
                  <a:pt x="1870" y="191"/>
                  <a:pt x="1870" y="191"/>
                  <a:pt x="1870" y="191"/>
                </a:cubicBezTo>
                <a:cubicBezTo>
                  <a:pt x="1870" y="190"/>
                  <a:pt x="1870" y="190"/>
                  <a:pt x="1870" y="190"/>
                </a:cubicBezTo>
                <a:cubicBezTo>
                  <a:pt x="1871" y="190"/>
                  <a:pt x="1871" y="190"/>
                  <a:pt x="1871" y="190"/>
                </a:cubicBezTo>
                <a:cubicBezTo>
                  <a:pt x="1872" y="189"/>
                  <a:pt x="1872" y="189"/>
                  <a:pt x="1872" y="189"/>
                </a:cubicBezTo>
                <a:cubicBezTo>
                  <a:pt x="1872" y="188"/>
                  <a:pt x="1872" y="188"/>
                  <a:pt x="1872" y="188"/>
                </a:cubicBezTo>
                <a:cubicBezTo>
                  <a:pt x="1873" y="187"/>
                  <a:pt x="1873" y="187"/>
                  <a:pt x="1873" y="187"/>
                </a:cubicBezTo>
                <a:cubicBezTo>
                  <a:pt x="1876" y="187"/>
                  <a:pt x="1876" y="187"/>
                  <a:pt x="1876" y="187"/>
                </a:cubicBezTo>
                <a:cubicBezTo>
                  <a:pt x="1877" y="185"/>
                  <a:pt x="1877" y="185"/>
                  <a:pt x="1877" y="185"/>
                </a:cubicBezTo>
                <a:cubicBezTo>
                  <a:pt x="1881" y="185"/>
                  <a:pt x="1881" y="185"/>
                  <a:pt x="1881" y="185"/>
                </a:cubicBezTo>
                <a:cubicBezTo>
                  <a:pt x="1881" y="184"/>
                  <a:pt x="1881" y="184"/>
                  <a:pt x="1881" y="184"/>
                </a:cubicBezTo>
                <a:cubicBezTo>
                  <a:pt x="1878" y="180"/>
                  <a:pt x="1878" y="180"/>
                  <a:pt x="1878" y="180"/>
                </a:cubicBezTo>
                <a:cubicBezTo>
                  <a:pt x="1878" y="178"/>
                  <a:pt x="1878" y="178"/>
                  <a:pt x="1878" y="178"/>
                </a:cubicBezTo>
                <a:cubicBezTo>
                  <a:pt x="1875" y="178"/>
                  <a:pt x="1875" y="178"/>
                  <a:pt x="1875" y="178"/>
                </a:cubicBezTo>
                <a:cubicBezTo>
                  <a:pt x="1873" y="176"/>
                  <a:pt x="1873" y="176"/>
                  <a:pt x="1873" y="176"/>
                </a:cubicBezTo>
                <a:cubicBezTo>
                  <a:pt x="1873" y="174"/>
                  <a:pt x="1873" y="174"/>
                  <a:pt x="1873" y="174"/>
                </a:cubicBezTo>
                <a:cubicBezTo>
                  <a:pt x="1871" y="172"/>
                  <a:pt x="1871" y="172"/>
                  <a:pt x="1871" y="172"/>
                </a:cubicBezTo>
                <a:cubicBezTo>
                  <a:pt x="1865" y="172"/>
                  <a:pt x="1865" y="172"/>
                  <a:pt x="1865" y="172"/>
                </a:cubicBezTo>
                <a:cubicBezTo>
                  <a:pt x="1862" y="172"/>
                  <a:pt x="1862" y="172"/>
                  <a:pt x="1862" y="172"/>
                </a:cubicBezTo>
                <a:cubicBezTo>
                  <a:pt x="1860" y="173"/>
                  <a:pt x="1860" y="173"/>
                  <a:pt x="1860" y="173"/>
                </a:cubicBezTo>
                <a:cubicBezTo>
                  <a:pt x="1858" y="173"/>
                  <a:pt x="1858" y="173"/>
                  <a:pt x="1858" y="173"/>
                </a:cubicBezTo>
                <a:cubicBezTo>
                  <a:pt x="1853" y="170"/>
                  <a:pt x="1853" y="170"/>
                  <a:pt x="1853" y="170"/>
                </a:cubicBezTo>
                <a:cubicBezTo>
                  <a:pt x="1851" y="170"/>
                  <a:pt x="1851" y="170"/>
                  <a:pt x="1851" y="170"/>
                </a:cubicBezTo>
                <a:cubicBezTo>
                  <a:pt x="1851" y="171"/>
                  <a:pt x="1851" y="171"/>
                  <a:pt x="1851" y="171"/>
                </a:cubicBezTo>
                <a:cubicBezTo>
                  <a:pt x="1856" y="175"/>
                  <a:pt x="1856" y="175"/>
                  <a:pt x="1856" y="175"/>
                </a:cubicBezTo>
                <a:cubicBezTo>
                  <a:pt x="1859" y="177"/>
                  <a:pt x="1859" y="177"/>
                  <a:pt x="1859" y="177"/>
                </a:cubicBezTo>
                <a:cubicBezTo>
                  <a:pt x="1861" y="182"/>
                  <a:pt x="1861" y="182"/>
                  <a:pt x="1861" y="182"/>
                </a:cubicBezTo>
                <a:cubicBezTo>
                  <a:pt x="1861" y="184"/>
                  <a:pt x="1861" y="184"/>
                  <a:pt x="1861" y="184"/>
                </a:cubicBezTo>
                <a:cubicBezTo>
                  <a:pt x="1862" y="185"/>
                  <a:pt x="1862" y="185"/>
                  <a:pt x="1862" y="185"/>
                </a:cubicBezTo>
                <a:cubicBezTo>
                  <a:pt x="1861" y="186"/>
                  <a:pt x="1861" y="186"/>
                  <a:pt x="1861" y="186"/>
                </a:cubicBezTo>
                <a:cubicBezTo>
                  <a:pt x="1861" y="188"/>
                  <a:pt x="1861" y="188"/>
                  <a:pt x="1861" y="188"/>
                </a:cubicBezTo>
                <a:cubicBezTo>
                  <a:pt x="1861" y="189"/>
                  <a:pt x="1861" y="189"/>
                  <a:pt x="1861" y="189"/>
                </a:cubicBezTo>
                <a:cubicBezTo>
                  <a:pt x="1861" y="190"/>
                  <a:pt x="1861" y="190"/>
                  <a:pt x="1861" y="190"/>
                </a:cubicBezTo>
                <a:cubicBezTo>
                  <a:pt x="1861" y="195"/>
                  <a:pt x="1861" y="195"/>
                  <a:pt x="1861" y="195"/>
                </a:cubicBezTo>
                <a:cubicBezTo>
                  <a:pt x="1860" y="197"/>
                  <a:pt x="1860" y="197"/>
                  <a:pt x="1860" y="197"/>
                </a:cubicBezTo>
                <a:cubicBezTo>
                  <a:pt x="1861" y="200"/>
                  <a:pt x="1861" y="200"/>
                  <a:pt x="1861" y="200"/>
                </a:cubicBezTo>
                <a:cubicBezTo>
                  <a:pt x="1864" y="200"/>
                  <a:pt x="1864" y="200"/>
                  <a:pt x="1864" y="200"/>
                </a:cubicBezTo>
                <a:cubicBezTo>
                  <a:pt x="1866" y="201"/>
                  <a:pt x="1866" y="201"/>
                  <a:pt x="1866" y="201"/>
                </a:cubicBezTo>
                <a:cubicBezTo>
                  <a:pt x="1867" y="202"/>
                  <a:pt x="1867" y="202"/>
                  <a:pt x="1867" y="202"/>
                </a:cubicBezTo>
                <a:cubicBezTo>
                  <a:pt x="1867" y="203"/>
                  <a:pt x="1867" y="203"/>
                  <a:pt x="1867" y="203"/>
                </a:cubicBezTo>
                <a:cubicBezTo>
                  <a:pt x="1867" y="205"/>
                  <a:pt x="1867" y="205"/>
                  <a:pt x="1867" y="205"/>
                </a:cubicBezTo>
                <a:cubicBezTo>
                  <a:pt x="1867" y="206"/>
                  <a:pt x="1867" y="206"/>
                  <a:pt x="1867" y="206"/>
                </a:cubicBezTo>
                <a:cubicBezTo>
                  <a:pt x="1867" y="207"/>
                  <a:pt x="1867" y="207"/>
                  <a:pt x="1867" y="207"/>
                </a:cubicBezTo>
                <a:cubicBezTo>
                  <a:pt x="1868" y="208"/>
                  <a:pt x="1868" y="208"/>
                  <a:pt x="1868" y="208"/>
                </a:cubicBezTo>
                <a:cubicBezTo>
                  <a:pt x="1867" y="209"/>
                  <a:pt x="1867" y="209"/>
                  <a:pt x="1867" y="209"/>
                </a:cubicBezTo>
                <a:cubicBezTo>
                  <a:pt x="1867" y="214"/>
                  <a:pt x="1867" y="214"/>
                  <a:pt x="1867" y="214"/>
                </a:cubicBezTo>
                <a:cubicBezTo>
                  <a:pt x="1866" y="215"/>
                  <a:pt x="1866" y="215"/>
                  <a:pt x="1866" y="215"/>
                </a:cubicBezTo>
                <a:cubicBezTo>
                  <a:pt x="1868" y="218"/>
                  <a:pt x="1868" y="218"/>
                  <a:pt x="1868" y="218"/>
                </a:cubicBezTo>
                <a:cubicBezTo>
                  <a:pt x="1868" y="221"/>
                  <a:pt x="1868" y="221"/>
                  <a:pt x="1868" y="221"/>
                </a:cubicBezTo>
                <a:cubicBezTo>
                  <a:pt x="1867" y="220"/>
                  <a:pt x="1867" y="220"/>
                  <a:pt x="1867" y="220"/>
                </a:cubicBezTo>
                <a:cubicBezTo>
                  <a:pt x="1866" y="218"/>
                  <a:pt x="1866" y="218"/>
                  <a:pt x="1866" y="218"/>
                </a:cubicBezTo>
                <a:cubicBezTo>
                  <a:pt x="1864" y="216"/>
                  <a:pt x="1864" y="216"/>
                  <a:pt x="1864" y="216"/>
                </a:cubicBezTo>
                <a:cubicBezTo>
                  <a:pt x="1861" y="218"/>
                  <a:pt x="1861" y="218"/>
                  <a:pt x="1861" y="218"/>
                </a:cubicBezTo>
                <a:cubicBezTo>
                  <a:pt x="1861" y="216"/>
                  <a:pt x="1861" y="216"/>
                  <a:pt x="1861" y="216"/>
                </a:cubicBezTo>
                <a:cubicBezTo>
                  <a:pt x="1860" y="214"/>
                  <a:pt x="1860" y="214"/>
                  <a:pt x="1860" y="214"/>
                </a:cubicBezTo>
                <a:cubicBezTo>
                  <a:pt x="1857" y="214"/>
                  <a:pt x="1857" y="214"/>
                  <a:pt x="1857" y="214"/>
                </a:cubicBezTo>
                <a:cubicBezTo>
                  <a:pt x="1854" y="214"/>
                  <a:pt x="1854" y="214"/>
                  <a:pt x="1854" y="214"/>
                </a:cubicBezTo>
                <a:cubicBezTo>
                  <a:pt x="1852" y="213"/>
                  <a:pt x="1852" y="213"/>
                  <a:pt x="1852" y="213"/>
                </a:cubicBezTo>
                <a:cubicBezTo>
                  <a:pt x="1850" y="212"/>
                  <a:pt x="1850" y="212"/>
                  <a:pt x="1850" y="212"/>
                </a:cubicBezTo>
                <a:cubicBezTo>
                  <a:pt x="1848" y="214"/>
                  <a:pt x="1848" y="214"/>
                  <a:pt x="1848" y="214"/>
                </a:cubicBezTo>
                <a:cubicBezTo>
                  <a:pt x="1846" y="218"/>
                  <a:pt x="1846" y="218"/>
                  <a:pt x="1846" y="218"/>
                </a:cubicBezTo>
                <a:cubicBezTo>
                  <a:pt x="1843" y="221"/>
                  <a:pt x="1843" y="221"/>
                  <a:pt x="1843" y="221"/>
                </a:cubicBezTo>
                <a:cubicBezTo>
                  <a:pt x="1840" y="222"/>
                  <a:pt x="1840" y="222"/>
                  <a:pt x="1840" y="222"/>
                </a:cubicBezTo>
                <a:cubicBezTo>
                  <a:pt x="1839" y="223"/>
                  <a:pt x="1839" y="223"/>
                  <a:pt x="1839" y="223"/>
                </a:cubicBezTo>
                <a:cubicBezTo>
                  <a:pt x="1838" y="226"/>
                  <a:pt x="1838" y="226"/>
                  <a:pt x="1838" y="226"/>
                </a:cubicBezTo>
                <a:cubicBezTo>
                  <a:pt x="1836" y="229"/>
                  <a:pt x="1836" y="229"/>
                  <a:pt x="1836" y="229"/>
                </a:cubicBezTo>
                <a:cubicBezTo>
                  <a:pt x="1833" y="231"/>
                  <a:pt x="1833" y="231"/>
                  <a:pt x="1833" y="231"/>
                </a:cubicBezTo>
                <a:cubicBezTo>
                  <a:pt x="1833" y="233"/>
                  <a:pt x="1833" y="233"/>
                  <a:pt x="1833" y="233"/>
                </a:cubicBezTo>
                <a:cubicBezTo>
                  <a:pt x="1834" y="236"/>
                  <a:pt x="1834" y="236"/>
                  <a:pt x="1834" y="236"/>
                </a:cubicBezTo>
                <a:cubicBezTo>
                  <a:pt x="1838" y="240"/>
                  <a:pt x="1838" y="240"/>
                  <a:pt x="1838" y="240"/>
                </a:cubicBezTo>
                <a:cubicBezTo>
                  <a:pt x="1841" y="244"/>
                  <a:pt x="1841" y="244"/>
                  <a:pt x="1841" y="244"/>
                </a:cubicBezTo>
                <a:cubicBezTo>
                  <a:pt x="1840" y="246"/>
                  <a:pt x="1840" y="246"/>
                  <a:pt x="1840" y="246"/>
                </a:cubicBezTo>
                <a:cubicBezTo>
                  <a:pt x="1838" y="246"/>
                  <a:pt x="1838" y="246"/>
                  <a:pt x="1838" y="246"/>
                </a:cubicBezTo>
                <a:cubicBezTo>
                  <a:pt x="1838" y="248"/>
                  <a:pt x="1838" y="248"/>
                  <a:pt x="1838" y="248"/>
                </a:cubicBezTo>
                <a:cubicBezTo>
                  <a:pt x="1836" y="250"/>
                  <a:pt x="1836" y="250"/>
                  <a:pt x="1836" y="250"/>
                </a:cubicBezTo>
                <a:cubicBezTo>
                  <a:pt x="1835" y="251"/>
                  <a:pt x="1835" y="251"/>
                  <a:pt x="1835" y="251"/>
                </a:cubicBezTo>
                <a:cubicBezTo>
                  <a:pt x="1833" y="249"/>
                  <a:pt x="1833" y="249"/>
                  <a:pt x="1833" y="249"/>
                </a:cubicBezTo>
                <a:cubicBezTo>
                  <a:pt x="1826" y="246"/>
                  <a:pt x="1826" y="246"/>
                  <a:pt x="1826" y="246"/>
                </a:cubicBezTo>
                <a:cubicBezTo>
                  <a:pt x="1824" y="246"/>
                  <a:pt x="1824" y="246"/>
                  <a:pt x="1824" y="246"/>
                </a:cubicBezTo>
                <a:cubicBezTo>
                  <a:pt x="1823" y="244"/>
                  <a:pt x="1823" y="244"/>
                  <a:pt x="1823" y="244"/>
                </a:cubicBezTo>
                <a:cubicBezTo>
                  <a:pt x="1820" y="244"/>
                  <a:pt x="1820" y="244"/>
                  <a:pt x="1820" y="244"/>
                </a:cubicBezTo>
                <a:cubicBezTo>
                  <a:pt x="1818" y="243"/>
                  <a:pt x="1818" y="243"/>
                  <a:pt x="1818" y="243"/>
                </a:cubicBezTo>
                <a:cubicBezTo>
                  <a:pt x="1817" y="240"/>
                  <a:pt x="1817" y="240"/>
                  <a:pt x="1817" y="240"/>
                </a:cubicBezTo>
                <a:cubicBezTo>
                  <a:pt x="1814" y="240"/>
                  <a:pt x="1814" y="240"/>
                  <a:pt x="1814" y="240"/>
                </a:cubicBezTo>
                <a:cubicBezTo>
                  <a:pt x="1811" y="238"/>
                  <a:pt x="1811" y="238"/>
                  <a:pt x="1811" y="238"/>
                </a:cubicBezTo>
                <a:cubicBezTo>
                  <a:pt x="1809" y="238"/>
                  <a:pt x="1809" y="238"/>
                  <a:pt x="1809" y="238"/>
                </a:cubicBezTo>
                <a:cubicBezTo>
                  <a:pt x="1809" y="240"/>
                  <a:pt x="1809" y="240"/>
                  <a:pt x="1809" y="240"/>
                </a:cubicBezTo>
                <a:cubicBezTo>
                  <a:pt x="1809" y="241"/>
                  <a:pt x="1809" y="241"/>
                  <a:pt x="1809" y="241"/>
                </a:cubicBezTo>
                <a:cubicBezTo>
                  <a:pt x="1809" y="242"/>
                  <a:pt x="1809" y="242"/>
                  <a:pt x="1809" y="242"/>
                </a:cubicBezTo>
                <a:cubicBezTo>
                  <a:pt x="1809" y="243"/>
                  <a:pt x="1809" y="243"/>
                  <a:pt x="1809" y="243"/>
                </a:cubicBezTo>
                <a:cubicBezTo>
                  <a:pt x="1808" y="245"/>
                  <a:pt x="1808" y="245"/>
                  <a:pt x="1808" y="245"/>
                </a:cubicBezTo>
                <a:cubicBezTo>
                  <a:pt x="1806" y="244"/>
                  <a:pt x="1806" y="244"/>
                  <a:pt x="1806" y="244"/>
                </a:cubicBezTo>
                <a:cubicBezTo>
                  <a:pt x="1808" y="247"/>
                  <a:pt x="1808" y="247"/>
                  <a:pt x="1808" y="247"/>
                </a:cubicBezTo>
                <a:cubicBezTo>
                  <a:pt x="1808" y="249"/>
                  <a:pt x="1808" y="249"/>
                  <a:pt x="1808" y="249"/>
                </a:cubicBezTo>
                <a:cubicBezTo>
                  <a:pt x="1811" y="251"/>
                  <a:pt x="1811" y="251"/>
                  <a:pt x="1811" y="251"/>
                </a:cubicBezTo>
                <a:cubicBezTo>
                  <a:pt x="1813" y="253"/>
                  <a:pt x="1813" y="253"/>
                  <a:pt x="1813" y="253"/>
                </a:cubicBezTo>
                <a:cubicBezTo>
                  <a:pt x="1815" y="254"/>
                  <a:pt x="1815" y="254"/>
                  <a:pt x="1815" y="254"/>
                </a:cubicBezTo>
                <a:cubicBezTo>
                  <a:pt x="1817" y="253"/>
                  <a:pt x="1817" y="253"/>
                  <a:pt x="1817" y="253"/>
                </a:cubicBezTo>
                <a:cubicBezTo>
                  <a:pt x="1818" y="254"/>
                  <a:pt x="1818" y="254"/>
                  <a:pt x="1818" y="254"/>
                </a:cubicBezTo>
                <a:cubicBezTo>
                  <a:pt x="1820" y="252"/>
                  <a:pt x="1820" y="252"/>
                  <a:pt x="1820" y="252"/>
                </a:cubicBezTo>
                <a:cubicBezTo>
                  <a:pt x="1820" y="254"/>
                  <a:pt x="1820" y="254"/>
                  <a:pt x="1820" y="254"/>
                </a:cubicBezTo>
                <a:cubicBezTo>
                  <a:pt x="1822" y="255"/>
                  <a:pt x="1822" y="255"/>
                  <a:pt x="1822" y="255"/>
                </a:cubicBezTo>
                <a:cubicBezTo>
                  <a:pt x="1822" y="256"/>
                  <a:pt x="1822" y="256"/>
                  <a:pt x="1822" y="256"/>
                </a:cubicBezTo>
                <a:cubicBezTo>
                  <a:pt x="1822" y="257"/>
                  <a:pt x="1822" y="257"/>
                  <a:pt x="1822" y="257"/>
                </a:cubicBezTo>
                <a:cubicBezTo>
                  <a:pt x="1823" y="258"/>
                  <a:pt x="1823" y="258"/>
                  <a:pt x="1823" y="258"/>
                </a:cubicBezTo>
                <a:cubicBezTo>
                  <a:pt x="1823" y="261"/>
                  <a:pt x="1823" y="261"/>
                  <a:pt x="1823" y="261"/>
                </a:cubicBezTo>
                <a:cubicBezTo>
                  <a:pt x="1822" y="262"/>
                  <a:pt x="1822" y="262"/>
                  <a:pt x="1822" y="262"/>
                </a:cubicBezTo>
                <a:cubicBezTo>
                  <a:pt x="1820" y="262"/>
                  <a:pt x="1820" y="262"/>
                  <a:pt x="1820" y="262"/>
                </a:cubicBezTo>
                <a:cubicBezTo>
                  <a:pt x="1818" y="264"/>
                  <a:pt x="1818" y="264"/>
                  <a:pt x="1818" y="264"/>
                </a:cubicBezTo>
                <a:cubicBezTo>
                  <a:pt x="1817" y="264"/>
                  <a:pt x="1817" y="264"/>
                  <a:pt x="1817" y="264"/>
                </a:cubicBezTo>
                <a:cubicBezTo>
                  <a:pt x="1815" y="262"/>
                  <a:pt x="1815" y="262"/>
                  <a:pt x="1815" y="262"/>
                </a:cubicBezTo>
                <a:cubicBezTo>
                  <a:pt x="1812" y="262"/>
                  <a:pt x="1812" y="262"/>
                  <a:pt x="1812" y="262"/>
                </a:cubicBezTo>
                <a:cubicBezTo>
                  <a:pt x="1811" y="261"/>
                  <a:pt x="1811" y="261"/>
                  <a:pt x="1811" y="261"/>
                </a:cubicBezTo>
                <a:cubicBezTo>
                  <a:pt x="1808" y="261"/>
                  <a:pt x="1808" y="261"/>
                  <a:pt x="1808" y="261"/>
                </a:cubicBezTo>
                <a:cubicBezTo>
                  <a:pt x="1807" y="260"/>
                  <a:pt x="1807" y="260"/>
                  <a:pt x="1807" y="260"/>
                </a:cubicBezTo>
                <a:cubicBezTo>
                  <a:pt x="1807" y="258"/>
                  <a:pt x="1807" y="258"/>
                  <a:pt x="1807" y="258"/>
                </a:cubicBezTo>
                <a:cubicBezTo>
                  <a:pt x="1805" y="257"/>
                  <a:pt x="1805" y="257"/>
                  <a:pt x="1805" y="257"/>
                </a:cubicBezTo>
                <a:cubicBezTo>
                  <a:pt x="1803" y="255"/>
                  <a:pt x="1803" y="255"/>
                  <a:pt x="1803" y="255"/>
                </a:cubicBezTo>
                <a:cubicBezTo>
                  <a:pt x="1803" y="255"/>
                  <a:pt x="1803" y="255"/>
                  <a:pt x="1803" y="255"/>
                </a:cubicBezTo>
                <a:cubicBezTo>
                  <a:pt x="1801" y="256"/>
                  <a:pt x="1801" y="256"/>
                  <a:pt x="1801" y="256"/>
                </a:cubicBezTo>
                <a:cubicBezTo>
                  <a:pt x="1797" y="255"/>
                  <a:pt x="1797" y="255"/>
                  <a:pt x="1797" y="255"/>
                </a:cubicBezTo>
                <a:cubicBezTo>
                  <a:pt x="1796" y="253"/>
                  <a:pt x="1796" y="253"/>
                  <a:pt x="1796" y="253"/>
                </a:cubicBezTo>
                <a:cubicBezTo>
                  <a:pt x="1795" y="252"/>
                  <a:pt x="1795" y="252"/>
                  <a:pt x="1795" y="252"/>
                </a:cubicBezTo>
                <a:cubicBezTo>
                  <a:pt x="1796" y="251"/>
                  <a:pt x="1796" y="251"/>
                  <a:pt x="1796" y="251"/>
                </a:cubicBezTo>
                <a:cubicBezTo>
                  <a:pt x="1795" y="248"/>
                  <a:pt x="1795" y="248"/>
                  <a:pt x="1795" y="248"/>
                </a:cubicBezTo>
                <a:cubicBezTo>
                  <a:pt x="1795" y="246"/>
                  <a:pt x="1795" y="246"/>
                  <a:pt x="1795" y="246"/>
                </a:cubicBezTo>
                <a:cubicBezTo>
                  <a:pt x="1793" y="245"/>
                  <a:pt x="1793" y="245"/>
                  <a:pt x="1793" y="245"/>
                </a:cubicBezTo>
                <a:cubicBezTo>
                  <a:pt x="1793" y="243"/>
                  <a:pt x="1793" y="243"/>
                  <a:pt x="1793" y="243"/>
                </a:cubicBezTo>
                <a:cubicBezTo>
                  <a:pt x="1791" y="241"/>
                  <a:pt x="1791" y="241"/>
                  <a:pt x="1791" y="241"/>
                </a:cubicBezTo>
                <a:cubicBezTo>
                  <a:pt x="1790" y="238"/>
                  <a:pt x="1790" y="238"/>
                  <a:pt x="1790" y="238"/>
                </a:cubicBezTo>
                <a:cubicBezTo>
                  <a:pt x="1789" y="238"/>
                  <a:pt x="1789" y="238"/>
                  <a:pt x="1789" y="238"/>
                </a:cubicBezTo>
                <a:cubicBezTo>
                  <a:pt x="1789" y="236"/>
                  <a:pt x="1789" y="236"/>
                  <a:pt x="1789" y="236"/>
                </a:cubicBezTo>
                <a:cubicBezTo>
                  <a:pt x="1791" y="236"/>
                  <a:pt x="1791" y="236"/>
                  <a:pt x="1791" y="236"/>
                </a:cubicBezTo>
                <a:cubicBezTo>
                  <a:pt x="1791" y="232"/>
                  <a:pt x="1791" y="232"/>
                  <a:pt x="1791" y="232"/>
                </a:cubicBezTo>
                <a:cubicBezTo>
                  <a:pt x="1791" y="230"/>
                  <a:pt x="1791" y="230"/>
                  <a:pt x="1791" y="230"/>
                </a:cubicBezTo>
                <a:cubicBezTo>
                  <a:pt x="1790" y="230"/>
                  <a:pt x="1790" y="230"/>
                  <a:pt x="1790" y="230"/>
                </a:cubicBezTo>
                <a:cubicBezTo>
                  <a:pt x="1790" y="229"/>
                  <a:pt x="1790" y="229"/>
                  <a:pt x="1790" y="229"/>
                </a:cubicBezTo>
                <a:cubicBezTo>
                  <a:pt x="1791" y="227"/>
                  <a:pt x="1791" y="227"/>
                  <a:pt x="1791" y="227"/>
                </a:cubicBezTo>
                <a:cubicBezTo>
                  <a:pt x="1790" y="227"/>
                  <a:pt x="1790" y="227"/>
                  <a:pt x="1790" y="227"/>
                </a:cubicBezTo>
                <a:cubicBezTo>
                  <a:pt x="1788" y="224"/>
                  <a:pt x="1788" y="224"/>
                  <a:pt x="1788" y="224"/>
                </a:cubicBezTo>
                <a:cubicBezTo>
                  <a:pt x="1783" y="222"/>
                  <a:pt x="1783" y="222"/>
                  <a:pt x="1783" y="222"/>
                </a:cubicBezTo>
                <a:cubicBezTo>
                  <a:pt x="1782" y="223"/>
                  <a:pt x="1782" y="223"/>
                  <a:pt x="1782" y="223"/>
                </a:cubicBezTo>
                <a:cubicBezTo>
                  <a:pt x="1781" y="222"/>
                  <a:pt x="1781" y="222"/>
                  <a:pt x="1781" y="222"/>
                </a:cubicBezTo>
                <a:cubicBezTo>
                  <a:pt x="1779" y="222"/>
                  <a:pt x="1779" y="222"/>
                  <a:pt x="1779" y="222"/>
                </a:cubicBezTo>
                <a:cubicBezTo>
                  <a:pt x="1779" y="223"/>
                  <a:pt x="1779" y="223"/>
                  <a:pt x="1779" y="223"/>
                </a:cubicBezTo>
                <a:cubicBezTo>
                  <a:pt x="1776" y="222"/>
                  <a:pt x="1776" y="222"/>
                  <a:pt x="1776" y="222"/>
                </a:cubicBezTo>
                <a:cubicBezTo>
                  <a:pt x="1777" y="221"/>
                  <a:pt x="1777" y="221"/>
                  <a:pt x="1777" y="221"/>
                </a:cubicBezTo>
                <a:cubicBezTo>
                  <a:pt x="1779" y="221"/>
                  <a:pt x="1779" y="221"/>
                  <a:pt x="1779" y="221"/>
                </a:cubicBezTo>
                <a:cubicBezTo>
                  <a:pt x="1780" y="219"/>
                  <a:pt x="1780" y="219"/>
                  <a:pt x="1780" y="219"/>
                </a:cubicBezTo>
                <a:cubicBezTo>
                  <a:pt x="1777" y="219"/>
                  <a:pt x="1777" y="219"/>
                  <a:pt x="1777" y="219"/>
                </a:cubicBezTo>
                <a:cubicBezTo>
                  <a:pt x="1777" y="219"/>
                  <a:pt x="1777" y="219"/>
                  <a:pt x="1777" y="219"/>
                </a:cubicBezTo>
                <a:cubicBezTo>
                  <a:pt x="1779" y="218"/>
                  <a:pt x="1779" y="218"/>
                  <a:pt x="1779" y="218"/>
                </a:cubicBezTo>
                <a:cubicBezTo>
                  <a:pt x="1777" y="217"/>
                  <a:pt x="1777" y="217"/>
                  <a:pt x="1777" y="217"/>
                </a:cubicBezTo>
                <a:cubicBezTo>
                  <a:pt x="1776" y="218"/>
                  <a:pt x="1776" y="218"/>
                  <a:pt x="1776" y="218"/>
                </a:cubicBezTo>
                <a:cubicBezTo>
                  <a:pt x="1773" y="219"/>
                  <a:pt x="1773" y="219"/>
                  <a:pt x="1773" y="219"/>
                </a:cubicBezTo>
                <a:cubicBezTo>
                  <a:pt x="1772" y="218"/>
                  <a:pt x="1772" y="218"/>
                  <a:pt x="1772" y="218"/>
                </a:cubicBezTo>
                <a:cubicBezTo>
                  <a:pt x="1773" y="217"/>
                  <a:pt x="1773" y="217"/>
                  <a:pt x="1773" y="217"/>
                </a:cubicBezTo>
                <a:cubicBezTo>
                  <a:pt x="1775" y="216"/>
                  <a:pt x="1775" y="216"/>
                  <a:pt x="1775" y="216"/>
                </a:cubicBezTo>
                <a:cubicBezTo>
                  <a:pt x="1775" y="215"/>
                  <a:pt x="1775" y="215"/>
                  <a:pt x="1775" y="215"/>
                </a:cubicBezTo>
                <a:cubicBezTo>
                  <a:pt x="1772" y="215"/>
                  <a:pt x="1772" y="215"/>
                  <a:pt x="1772" y="215"/>
                </a:cubicBezTo>
                <a:cubicBezTo>
                  <a:pt x="1771" y="213"/>
                  <a:pt x="1771" y="213"/>
                  <a:pt x="1771" y="213"/>
                </a:cubicBezTo>
                <a:cubicBezTo>
                  <a:pt x="1769" y="211"/>
                  <a:pt x="1769" y="211"/>
                  <a:pt x="1769" y="211"/>
                </a:cubicBezTo>
                <a:cubicBezTo>
                  <a:pt x="1768" y="209"/>
                  <a:pt x="1768" y="209"/>
                  <a:pt x="1768" y="209"/>
                </a:cubicBezTo>
                <a:cubicBezTo>
                  <a:pt x="1766" y="207"/>
                  <a:pt x="1766" y="207"/>
                  <a:pt x="1766" y="207"/>
                </a:cubicBezTo>
                <a:cubicBezTo>
                  <a:pt x="1767" y="207"/>
                  <a:pt x="1767" y="207"/>
                  <a:pt x="1767" y="207"/>
                </a:cubicBezTo>
                <a:cubicBezTo>
                  <a:pt x="1768" y="206"/>
                  <a:pt x="1768" y="206"/>
                  <a:pt x="1768" y="206"/>
                </a:cubicBezTo>
                <a:cubicBezTo>
                  <a:pt x="1769" y="207"/>
                  <a:pt x="1769" y="207"/>
                  <a:pt x="1769" y="207"/>
                </a:cubicBezTo>
                <a:cubicBezTo>
                  <a:pt x="1772" y="207"/>
                  <a:pt x="1772" y="207"/>
                  <a:pt x="1772" y="207"/>
                </a:cubicBezTo>
                <a:cubicBezTo>
                  <a:pt x="1772" y="209"/>
                  <a:pt x="1772" y="209"/>
                  <a:pt x="1772" y="209"/>
                </a:cubicBezTo>
                <a:cubicBezTo>
                  <a:pt x="1776" y="213"/>
                  <a:pt x="1776" y="213"/>
                  <a:pt x="1776" y="213"/>
                </a:cubicBezTo>
                <a:cubicBezTo>
                  <a:pt x="1778" y="213"/>
                  <a:pt x="1778" y="213"/>
                  <a:pt x="1778" y="213"/>
                </a:cubicBezTo>
                <a:cubicBezTo>
                  <a:pt x="1778" y="212"/>
                  <a:pt x="1778" y="212"/>
                  <a:pt x="1778" y="212"/>
                </a:cubicBezTo>
                <a:cubicBezTo>
                  <a:pt x="1780" y="214"/>
                  <a:pt x="1780" y="214"/>
                  <a:pt x="1780" y="214"/>
                </a:cubicBezTo>
                <a:cubicBezTo>
                  <a:pt x="1783" y="214"/>
                  <a:pt x="1783" y="214"/>
                  <a:pt x="1783" y="214"/>
                </a:cubicBezTo>
                <a:cubicBezTo>
                  <a:pt x="1784" y="213"/>
                  <a:pt x="1784" y="213"/>
                  <a:pt x="1784" y="213"/>
                </a:cubicBezTo>
                <a:cubicBezTo>
                  <a:pt x="1785" y="214"/>
                  <a:pt x="1785" y="214"/>
                  <a:pt x="1785" y="214"/>
                </a:cubicBezTo>
                <a:cubicBezTo>
                  <a:pt x="1784" y="215"/>
                  <a:pt x="1784" y="215"/>
                  <a:pt x="1784" y="215"/>
                </a:cubicBezTo>
                <a:cubicBezTo>
                  <a:pt x="1785" y="216"/>
                  <a:pt x="1785" y="216"/>
                  <a:pt x="1785" y="216"/>
                </a:cubicBezTo>
                <a:cubicBezTo>
                  <a:pt x="1785" y="217"/>
                  <a:pt x="1785" y="217"/>
                  <a:pt x="1785" y="217"/>
                </a:cubicBezTo>
                <a:cubicBezTo>
                  <a:pt x="1787" y="217"/>
                  <a:pt x="1787" y="217"/>
                  <a:pt x="1787" y="217"/>
                </a:cubicBezTo>
                <a:cubicBezTo>
                  <a:pt x="1788" y="216"/>
                  <a:pt x="1788" y="216"/>
                  <a:pt x="1788" y="216"/>
                </a:cubicBezTo>
                <a:cubicBezTo>
                  <a:pt x="1791" y="216"/>
                  <a:pt x="1791" y="216"/>
                  <a:pt x="1791" y="216"/>
                </a:cubicBezTo>
                <a:cubicBezTo>
                  <a:pt x="1790" y="217"/>
                  <a:pt x="1790" y="217"/>
                  <a:pt x="1790" y="217"/>
                </a:cubicBezTo>
                <a:cubicBezTo>
                  <a:pt x="1792" y="217"/>
                  <a:pt x="1792" y="217"/>
                  <a:pt x="1792" y="217"/>
                </a:cubicBezTo>
                <a:cubicBezTo>
                  <a:pt x="1794" y="216"/>
                  <a:pt x="1794" y="216"/>
                  <a:pt x="1794" y="216"/>
                </a:cubicBezTo>
                <a:cubicBezTo>
                  <a:pt x="1794" y="218"/>
                  <a:pt x="1794" y="218"/>
                  <a:pt x="1794" y="218"/>
                </a:cubicBezTo>
                <a:cubicBezTo>
                  <a:pt x="1796" y="220"/>
                  <a:pt x="1796" y="220"/>
                  <a:pt x="1796" y="220"/>
                </a:cubicBezTo>
                <a:cubicBezTo>
                  <a:pt x="1798" y="219"/>
                  <a:pt x="1798" y="219"/>
                  <a:pt x="1798" y="219"/>
                </a:cubicBezTo>
                <a:cubicBezTo>
                  <a:pt x="1799" y="220"/>
                  <a:pt x="1799" y="220"/>
                  <a:pt x="1799" y="220"/>
                </a:cubicBezTo>
                <a:cubicBezTo>
                  <a:pt x="1800" y="221"/>
                  <a:pt x="1800" y="221"/>
                  <a:pt x="1800" y="221"/>
                </a:cubicBezTo>
                <a:cubicBezTo>
                  <a:pt x="1802" y="221"/>
                  <a:pt x="1802" y="221"/>
                  <a:pt x="1802" y="221"/>
                </a:cubicBezTo>
                <a:cubicBezTo>
                  <a:pt x="1804" y="221"/>
                  <a:pt x="1804" y="221"/>
                  <a:pt x="1804" y="221"/>
                </a:cubicBezTo>
                <a:cubicBezTo>
                  <a:pt x="1806" y="220"/>
                  <a:pt x="1806" y="220"/>
                  <a:pt x="1806" y="220"/>
                </a:cubicBezTo>
                <a:cubicBezTo>
                  <a:pt x="1808" y="222"/>
                  <a:pt x="1808" y="222"/>
                  <a:pt x="1808" y="222"/>
                </a:cubicBezTo>
                <a:cubicBezTo>
                  <a:pt x="1811" y="223"/>
                  <a:pt x="1811" y="223"/>
                  <a:pt x="1811" y="223"/>
                </a:cubicBezTo>
                <a:cubicBezTo>
                  <a:pt x="1817" y="223"/>
                  <a:pt x="1817" y="223"/>
                  <a:pt x="1817" y="223"/>
                </a:cubicBezTo>
                <a:cubicBezTo>
                  <a:pt x="1822" y="223"/>
                  <a:pt x="1822" y="223"/>
                  <a:pt x="1822" y="223"/>
                </a:cubicBezTo>
                <a:cubicBezTo>
                  <a:pt x="1822" y="222"/>
                  <a:pt x="1822" y="222"/>
                  <a:pt x="1822" y="222"/>
                </a:cubicBezTo>
                <a:cubicBezTo>
                  <a:pt x="1825" y="222"/>
                  <a:pt x="1825" y="222"/>
                  <a:pt x="1825" y="222"/>
                </a:cubicBezTo>
                <a:cubicBezTo>
                  <a:pt x="1827" y="221"/>
                  <a:pt x="1827" y="221"/>
                  <a:pt x="1827" y="221"/>
                </a:cubicBezTo>
                <a:cubicBezTo>
                  <a:pt x="1830" y="220"/>
                  <a:pt x="1830" y="220"/>
                  <a:pt x="1830" y="220"/>
                </a:cubicBezTo>
                <a:cubicBezTo>
                  <a:pt x="1833" y="218"/>
                  <a:pt x="1833" y="218"/>
                  <a:pt x="1833" y="218"/>
                </a:cubicBezTo>
                <a:cubicBezTo>
                  <a:pt x="1837" y="213"/>
                  <a:pt x="1837" y="213"/>
                  <a:pt x="1837" y="213"/>
                </a:cubicBezTo>
                <a:cubicBezTo>
                  <a:pt x="1837" y="212"/>
                  <a:pt x="1837" y="212"/>
                  <a:pt x="1837" y="212"/>
                </a:cubicBezTo>
                <a:cubicBezTo>
                  <a:pt x="1839" y="209"/>
                  <a:pt x="1839" y="209"/>
                  <a:pt x="1839" y="209"/>
                </a:cubicBezTo>
                <a:cubicBezTo>
                  <a:pt x="1839" y="208"/>
                  <a:pt x="1839" y="208"/>
                  <a:pt x="1839" y="208"/>
                </a:cubicBezTo>
                <a:cubicBezTo>
                  <a:pt x="1840" y="206"/>
                  <a:pt x="1840" y="206"/>
                  <a:pt x="1840" y="206"/>
                </a:cubicBezTo>
                <a:cubicBezTo>
                  <a:pt x="1840" y="203"/>
                  <a:pt x="1840" y="203"/>
                  <a:pt x="1840" y="203"/>
                </a:cubicBezTo>
                <a:cubicBezTo>
                  <a:pt x="1840" y="201"/>
                  <a:pt x="1840" y="201"/>
                  <a:pt x="1840" y="201"/>
                </a:cubicBezTo>
                <a:cubicBezTo>
                  <a:pt x="1840" y="198"/>
                  <a:pt x="1840" y="198"/>
                  <a:pt x="1840" y="198"/>
                </a:cubicBezTo>
                <a:cubicBezTo>
                  <a:pt x="1840" y="197"/>
                  <a:pt x="1840" y="197"/>
                  <a:pt x="1840" y="197"/>
                </a:cubicBezTo>
                <a:cubicBezTo>
                  <a:pt x="1839" y="198"/>
                  <a:pt x="1839" y="198"/>
                  <a:pt x="1839" y="198"/>
                </a:cubicBezTo>
                <a:cubicBezTo>
                  <a:pt x="1837" y="195"/>
                  <a:pt x="1837" y="195"/>
                  <a:pt x="1837" y="195"/>
                </a:cubicBezTo>
                <a:cubicBezTo>
                  <a:pt x="1836" y="194"/>
                  <a:pt x="1836" y="194"/>
                  <a:pt x="1836" y="194"/>
                </a:cubicBezTo>
                <a:cubicBezTo>
                  <a:pt x="1835" y="192"/>
                  <a:pt x="1835" y="192"/>
                  <a:pt x="1835" y="192"/>
                </a:cubicBezTo>
                <a:cubicBezTo>
                  <a:pt x="1833" y="190"/>
                  <a:pt x="1833" y="190"/>
                  <a:pt x="1833" y="190"/>
                </a:cubicBezTo>
                <a:cubicBezTo>
                  <a:pt x="1831" y="189"/>
                  <a:pt x="1831" y="189"/>
                  <a:pt x="1831" y="189"/>
                </a:cubicBezTo>
                <a:cubicBezTo>
                  <a:pt x="1831" y="190"/>
                  <a:pt x="1831" y="190"/>
                  <a:pt x="1831" y="190"/>
                </a:cubicBezTo>
                <a:cubicBezTo>
                  <a:pt x="1829" y="189"/>
                  <a:pt x="1829" y="189"/>
                  <a:pt x="1829" y="189"/>
                </a:cubicBezTo>
                <a:cubicBezTo>
                  <a:pt x="1829" y="188"/>
                  <a:pt x="1829" y="188"/>
                  <a:pt x="1829" y="188"/>
                </a:cubicBezTo>
                <a:cubicBezTo>
                  <a:pt x="1825" y="185"/>
                  <a:pt x="1825" y="185"/>
                  <a:pt x="1825" y="185"/>
                </a:cubicBezTo>
                <a:cubicBezTo>
                  <a:pt x="1825" y="183"/>
                  <a:pt x="1825" y="183"/>
                  <a:pt x="1825" y="183"/>
                </a:cubicBezTo>
                <a:cubicBezTo>
                  <a:pt x="1823" y="181"/>
                  <a:pt x="1823" y="181"/>
                  <a:pt x="1823" y="181"/>
                </a:cubicBezTo>
                <a:cubicBezTo>
                  <a:pt x="1822" y="181"/>
                  <a:pt x="1822" y="181"/>
                  <a:pt x="1822" y="181"/>
                </a:cubicBezTo>
                <a:cubicBezTo>
                  <a:pt x="1822" y="182"/>
                  <a:pt x="1822" y="182"/>
                  <a:pt x="1822" y="182"/>
                </a:cubicBezTo>
                <a:cubicBezTo>
                  <a:pt x="1824" y="184"/>
                  <a:pt x="1824" y="184"/>
                  <a:pt x="1824" y="184"/>
                </a:cubicBezTo>
                <a:cubicBezTo>
                  <a:pt x="1822" y="185"/>
                  <a:pt x="1822" y="185"/>
                  <a:pt x="1822" y="185"/>
                </a:cubicBezTo>
                <a:cubicBezTo>
                  <a:pt x="1820" y="183"/>
                  <a:pt x="1820" y="183"/>
                  <a:pt x="1820" y="183"/>
                </a:cubicBezTo>
                <a:cubicBezTo>
                  <a:pt x="1818" y="182"/>
                  <a:pt x="1818" y="182"/>
                  <a:pt x="1818" y="182"/>
                </a:cubicBezTo>
                <a:cubicBezTo>
                  <a:pt x="1815" y="180"/>
                  <a:pt x="1815" y="180"/>
                  <a:pt x="1815" y="180"/>
                </a:cubicBezTo>
                <a:cubicBezTo>
                  <a:pt x="1814" y="180"/>
                  <a:pt x="1814" y="180"/>
                  <a:pt x="1814" y="180"/>
                </a:cubicBezTo>
                <a:cubicBezTo>
                  <a:pt x="1814" y="181"/>
                  <a:pt x="1814" y="181"/>
                  <a:pt x="1814" y="181"/>
                </a:cubicBezTo>
                <a:cubicBezTo>
                  <a:pt x="1815" y="182"/>
                  <a:pt x="1815" y="182"/>
                  <a:pt x="1815" y="182"/>
                </a:cubicBezTo>
                <a:cubicBezTo>
                  <a:pt x="1813" y="181"/>
                  <a:pt x="1813" y="181"/>
                  <a:pt x="1813" y="181"/>
                </a:cubicBezTo>
                <a:cubicBezTo>
                  <a:pt x="1811" y="178"/>
                  <a:pt x="1811" y="178"/>
                  <a:pt x="1811" y="178"/>
                </a:cubicBezTo>
                <a:cubicBezTo>
                  <a:pt x="1809" y="177"/>
                  <a:pt x="1809" y="177"/>
                  <a:pt x="1809" y="177"/>
                </a:cubicBezTo>
                <a:cubicBezTo>
                  <a:pt x="1807" y="176"/>
                  <a:pt x="1807" y="176"/>
                  <a:pt x="1807" y="176"/>
                </a:cubicBezTo>
                <a:cubicBezTo>
                  <a:pt x="1800" y="171"/>
                  <a:pt x="1800" y="171"/>
                  <a:pt x="1800" y="171"/>
                </a:cubicBezTo>
                <a:cubicBezTo>
                  <a:pt x="1790" y="165"/>
                  <a:pt x="1790" y="165"/>
                  <a:pt x="1790" y="165"/>
                </a:cubicBezTo>
                <a:cubicBezTo>
                  <a:pt x="1788" y="164"/>
                  <a:pt x="1788" y="164"/>
                  <a:pt x="1788" y="164"/>
                </a:cubicBezTo>
                <a:cubicBezTo>
                  <a:pt x="1787" y="165"/>
                  <a:pt x="1787" y="165"/>
                  <a:pt x="1787" y="165"/>
                </a:cubicBezTo>
                <a:cubicBezTo>
                  <a:pt x="1785" y="164"/>
                  <a:pt x="1785" y="164"/>
                  <a:pt x="1785" y="164"/>
                </a:cubicBezTo>
                <a:cubicBezTo>
                  <a:pt x="1783" y="164"/>
                  <a:pt x="1783" y="164"/>
                  <a:pt x="1783" y="164"/>
                </a:cubicBezTo>
                <a:cubicBezTo>
                  <a:pt x="1783" y="164"/>
                  <a:pt x="1783" y="164"/>
                  <a:pt x="1783" y="164"/>
                </a:cubicBezTo>
                <a:cubicBezTo>
                  <a:pt x="1782" y="165"/>
                  <a:pt x="1782" y="165"/>
                  <a:pt x="1782" y="165"/>
                </a:cubicBezTo>
                <a:cubicBezTo>
                  <a:pt x="1780" y="165"/>
                  <a:pt x="1780" y="165"/>
                  <a:pt x="1780" y="165"/>
                </a:cubicBezTo>
                <a:cubicBezTo>
                  <a:pt x="1777" y="164"/>
                  <a:pt x="1777" y="164"/>
                  <a:pt x="1777" y="164"/>
                </a:cubicBezTo>
                <a:cubicBezTo>
                  <a:pt x="1775" y="163"/>
                  <a:pt x="1775" y="163"/>
                  <a:pt x="1775" y="163"/>
                </a:cubicBezTo>
                <a:cubicBezTo>
                  <a:pt x="1773" y="162"/>
                  <a:pt x="1773" y="162"/>
                  <a:pt x="1773" y="162"/>
                </a:cubicBezTo>
                <a:cubicBezTo>
                  <a:pt x="1773" y="162"/>
                  <a:pt x="1773" y="162"/>
                  <a:pt x="1773" y="162"/>
                </a:cubicBezTo>
                <a:cubicBezTo>
                  <a:pt x="1774" y="164"/>
                  <a:pt x="1774" y="164"/>
                  <a:pt x="1774" y="164"/>
                </a:cubicBezTo>
                <a:cubicBezTo>
                  <a:pt x="1774" y="165"/>
                  <a:pt x="1774" y="165"/>
                  <a:pt x="1774" y="165"/>
                </a:cubicBezTo>
                <a:cubicBezTo>
                  <a:pt x="1773" y="164"/>
                  <a:pt x="1773" y="164"/>
                  <a:pt x="1773" y="164"/>
                </a:cubicBezTo>
                <a:cubicBezTo>
                  <a:pt x="1771" y="164"/>
                  <a:pt x="1771" y="164"/>
                  <a:pt x="1771" y="164"/>
                </a:cubicBezTo>
                <a:cubicBezTo>
                  <a:pt x="1770" y="165"/>
                  <a:pt x="1770" y="165"/>
                  <a:pt x="1770" y="165"/>
                </a:cubicBezTo>
                <a:cubicBezTo>
                  <a:pt x="1770" y="166"/>
                  <a:pt x="1770" y="166"/>
                  <a:pt x="1770" y="166"/>
                </a:cubicBezTo>
                <a:cubicBezTo>
                  <a:pt x="1769" y="168"/>
                  <a:pt x="1769" y="168"/>
                  <a:pt x="1769" y="168"/>
                </a:cubicBezTo>
                <a:cubicBezTo>
                  <a:pt x="1767" y="169"/>
                  <a:pt x="1767" y="169"/>
                  <a:pt x="1767" y="169"/>
                </a:cubicBezTo>
                <a:cubicBezTo>
                  <a:pt x="1768" y="167"/>
                  <a:pt x="1768" y="167"/>
                  <a:pt x="1768" y="167"/>
                </a:cubicBezTo>
                <a:cubicBezTo>
                  <a:pt x="1769" y="166"/>
                  <a:pt x="1769" y="166"/>
                  <a:pt x="1769" y="166"/>
                </a:cubicBezTo>
                <a:cubicBezTo>
                  <a:pt x="1769" y="165"/>
                  <a:pt x="1769" y="165"/>
                  <a:pt x="1769" y="165"/>
                </a:cubicBezTo>
                <a:cubicBezTo>
                  <a:pt x="1767" y="165"/>
                  <a:pt x="1767" y="165"/>
                  <a:pt x="1767" y="165"/>
                </a:cubicBezTo>
                <a:cubicBezTo>
                  <a:pt x="1767" y="164"/>
                  <a:pt x="1767" y="164"/>
                  <a:pt x="1767" y="164"/>
                </a:cubicBezTo>
                <a:cubicBezTo>
                  <a:pt x="1768" y="163"/>
                  <a:pt x="1768" y="163"/>
                  <a:pt x="1768" y="163"/>
                </a:cubicBezTo>
                <a:cubicBezTo>
                  <a:pt x="1767" y="163"/>
                  <a:pt x="1767" y="163"/>
                  <a:pt x="1767" y="163"/>
                </a:cubicBezTo>
                <a:cubicBezTo>
                  <a:pt x="1766" y="164"/>
                  <a:pt x="1766" y="164"/>
                  <a:pt x="1766" y="164"/>
                </a:cubicBezTo>
                <a:cubicBezTo>
                  <a:pt x="1765" y="166"/>
                  <a:pt x="1765" y="166"/>
                  <a:pt x="1765" y="166"/>
                </a:cubicBezTo>
                <a:cubicBezTo>
                  <a:pt x="1765" y="165"/>
                  <a:pt x="1765" y="165"/>
                  <a:pt x="1765" y="165"/>
                </a:cubicBezTo>
                <a:cubicBezTo>
                  <a:pt x="1765" y="164"/>
                  <a:pt x="1765" y="164"/>
                  <a:pt x="1765" y="164"/>
                </a:cubicBezTo>
                <a:cubicBezTo>
                  <a:pt x="1764" y="163"/>
                  <a:pt x="1764" y="163"/>
                  <a:pt x="1764" y="163"/>
                </a:cubicBezTo>
                <a:cubicBezTo>
                  <a:pt x="1763" y="164"/>
                  <a:pt x="1763" y="164"/>
                  <a:pt x="1763" y="164"/>
                </a:cubicBezTo>
                <a:cubicBezTo>
                  <a:pt x="1763" y="165"/>
                  <a:pt x="1763" y="165"/>
                  <a:pt x="1763" y="165"/>
                </a:cubicBezTo>
                <a:cubicBezTo>
                  <a:pt x="1763" y="163"/>
                  <a:pt x="1763" y="163"/>
                  <a:pt x="1763" y="163"/>
                </a:cubicBezTo>
                <a:cubicBezTo>
                  <a:pt x="1761" y="163"/>
                  <a:pt x="1761" y="163"/>
                  <a:pt x="1761" y="163"/>
                </a:cubicBezTo>
                <a:cubicBezTo>
                  <a:pt x="1759" y="164"/>
                  <a:pt x="1759" y="164"/>
                  <a:pt x="1759" y="164"/>
                </a:cubicBezTo>
                <a:cubicBezTo>
                  <a:pt x="1759" y="162"/>
                  <a:pt x="1759" y="162"/>
                  <a:pt x="1759" y="162"/>
                </a:cubicBezTo>
                <a:cubicBezTo>
                  <a:pt x="1758" y="162"/>
                  <a:pt x="1758" y="162"/>
                  <a:pt x="1758" y="162"/>
                </a:cubicBezTo>
                <a:cubicBezTo>
                  <a:pt x="1757" y="163"/>
                  <a:pt x="1757" y="163"/>
                  <a:pt x="1757" y="163"/>
                </a:cubicBezTo>
                <a:cubicBezTo>
                  <a:pt x="1756" y="161"/>
                  <a:pt x="1756" y="161"/>
                  <a:pt x="1756" y="161"/>
                </a:cubicBezTo>
                <a:cubicBezTo>
                  <a:pt x="1756" y="159"/>
                  <a:pt x="1756" y="159"/>
                  <a:pt x="1756" y="159"/>
                </a:cubicBezTo>
                <a:cubicBezTo>
                  <a:pt x="1757" y="157"/>
                  <a:pt x="1757" y="157"/>
                  <a:pt x="1757" y="157"/>
                </a:cubicBezTo>
                <a:cubicBezTo>
                  <a:pt x="1757" y="159"/>
                  <a:pt x="1757" y="159"/>
                  <a:pt x="1757" y="159"/>
                </a:cubicBezTo>
                <a:cubicBezTo>
                  <a:pt x="1759" y="160"/>
                  <a:pt x="1759" y="160"/>
                  <a:pt x="1759" y="160"/>
                </a:cubicBezTo>
                <a:cubicBezTo>
                  <a:pt x="1761" y="160"/>
                  <a:pt x="1761" y="160"/>
                  <a:pt x="1761" y="160"/>
                </a:cubicBezTo>
                <a:cubicBezTo>
                  <a:pt x="1763" y="161"/>
                  <a:pt x="1763" y="161"/>
                  <a:pt x="1763" y="161"/>
                </a:cubicBezTo>
                <a:cubicBezTo>
                  <a:pt x="1764" y="159"/>
                  <a:pt x="1764" y="159"/>
                  <a:pt x="1764" y="159"/>
                </a:cubicBezTo>
                <a:cubicBezTo>
                  <a:pt x="1764" y="158"/>
                  <a:pt x="1764" y="158"/>
                  <a:pt x="1764" y="158"/>
                </a:cubicBezTo>
                <a:cubicBezTo>
                  <a:pt x="1763" y="157"/>
                  <a:pt x="1763" y="157"/>
                  <a:pt x="1763" y="157"/>
                </a:cubicBezTo>
                <a:cubicBezTo>
                  <a:pt x="1763" y="157"/>
                  <a:pt x="1763" y="157"/>
                  <a:pt x="1763" y="157"/>
                </a:cubicBezTo>
                <a:cubicBezTo>
                  <a:pt x="1761" y="156"/>
                  <a:pt x="1761" y="156"/>
                  <a:pt x="1761" y="156"/>
                </a:cubicBezTo>
                <a:cubicBezTo>
                  <a:pt x="1760" y="157"/>
                  <a:pt x="1760" y="157"/>
                  <a:pt x="1760" y="157"/>
                </a:cubicBezTo>
                <a:cubicBezTo>
                  <a:pt x="1759" y="156"/>
                  <a:pt x="1759" y="156"/>
                  <a:pt x="1759" y="156"/>
                </a:cubicBezTo>
                <a:cubicBezTo>
                  <a:pt x="1758" y="154"/>
                  <a:pt x="1758" y="154"/>
                  <a:pt x="1758" y="154"/>
                </a:cubicBezTo>
                <a:cubicBezTo>
                  <a:pt x="1756" y="153"/>
                  <a:pt x="1756" y="153"/>
                  <a:pt x="1756" y="153"/>
                </a:cubicBezTo>
                <a:cubicBezTo>
                  <a:pt x="1754" y="153"/>
                  <a:pt x="1754" y="153"/>
                  <a:pt x="1754" y="153"/>
                </a:cubicBezTo>
                <a:cubicBezTo>
                  <a:pt x="1754" y="154"/>
                  <a:pt x="1754" y="154"/>
                  <a:pt x="1754" y="154"/>
                </a:cubicBezTo>
                <a:cubicBezTo>
                  <a:pt x="1755" y="155"/>
                  <a:pt x="1755" y="155"/>
                  <a:pt x="1755" y="155"/>
                </a:cubicBezTo>
                <a:cubicBezTo>
                  <a:pt x="1755" y="155"/>
                  <a:pt x="1755" y="155"/>
                  <a:pt x="1755" y="155"/>
                </a:cubicBezTo>
                <a:cubicBezTo>
                  <a:pt x="1755" y="156"/>
                  <a:pt x="1755" y="156"/>
                  <a:pt x="1755" y="156"/>
                </a:cubicBezTo>
                <a:cubicBezTo>
                  <a:pt x="1754" y="156"/>
                  <a:pt x="1754" y="156"/>
                  <a:pt x="1754" y="156"/>
                </a:cubicBezTo>
                <a:cubicBezTo>
                  <a:pt x="1753" y="156"/>
                  <a:pt x="1753" y="156"/>
                  <a:pt x="1753" y="156"/>
                </a:cubicBezTo>
                <a:cubicBezTo>
                  <a:pt x="1753" y="157"/>
                  <a:pt x="1753" y="157"/>
                  <a:pt x="1753" y="157"/>
                </a:cubicBezTo>
                <a:cubicBezTo>
                  <a:pt x="1754" y="158"/>
                  <a:pt x="1754" y="158"/>
                  <a:pt x="1754" y="158"/>
                </a:cubicBezTo>
                <a:cubicBezTo>
                  <a:pt x="1754" y="158"/>
                  <a:pt x="1754" y="158"/>
                  <a:pt x="1754" y="158"/>
                </a:cubicBezTo>
                <a:cubicBezTo>
                  <a:pt x="1752" y="158"/>
                  <a:pt x="1752" y="158"/>
                  <a:pt x="1752" y="158"/>
                </a:cubicBezTo>
                <a:cubicBezTo>
                  <a:pt x="1751" y="160"/>
                  <a:pt x="1751" y="160"/>
                  <a:pt x="1751" y="160"/>
                </a:cubicBezTo>
                <a:cubicBezTo>
                  <a:pt x="1751" y="162"/>
                  <a:pt x="1751" y="162"/>
                  <a:pt x="1751" y="162"/>
                </a:cubicBezTo>
                <a:cubicBezTo>
                  <a:pt x="1750" y="161"/>
                  <a:pt x="1750" y="161"/>
                  <a:pt x="1750" y="161"/>
                </a:cubicBezTo>
                <a:cubicBezTo>
                  <a:pt x="1750" y="159"/>
                  <a:pt x="1750" y="159"/>
                  <a:pt x="1750" y="159"/>
                </a:cubicBezTo>
                <a:cubicBezTo>
                  <a:pt x="1749" y="158"/>
                  <a:pt x="1749" y="158"/>
                  <a:pt x="1749" y="158"/>
                </a:cubicBezTo>
                <a:cubicBezTo>
                  <a:pt x="1747" y="158"/>
                  <a:pt x="1747" y="158"/>
                  <a:pt x="1747" y="158"/>
                </a:cubicBezTo>
                <a:cubicBezTo>
                  <a:pt x="1747" y="158"/>
                  <a:pt x="1747" y="158"/>
                  <a:pt x="1747" y="158"/>
                </a:cubicBezTo>
                <a:cubicBezTo>
                  <a:pt x="1747" y="158"/>
                  <a:pt x="1747" y="158"/>
                  <a:pt x="1747" y="158"/>
                </a:cubicBezTo>
                <a:cubicBezTo>
                  <a:pt x="1745" y="157"/>
                  <a:pt x="1745" y="157"/>
                  <a:pt x="1745" y="157"/>
                </a:cubicBezTo>
                <a:cubicBezTo>
                  <a:pt x="1744" y="157"/>
                  <a:pt x="1744" y="157"/>
                  <a:pt x="1744" y="157"/>
                </a:cubicBezTo>
                <a:cubicBezTo>
                  <a:pt x="1744" y="157"/>
                  <a:pt x="1744" y="157"/>
                  <a:pt x="1744" y="157"/>
                </a:cubicBezTo>
                <a:cubicBezTo>
                  <a:pt x="1744" y="158"/>
                  <a:pt x="1744" y="158"/>
                  <a:pt x="1744" y="158"/>
                </a:cubicBezTo>
                <a:cubicBezTo>
                  <a:pt x="1743" y="158"/>
                  <a:pt x="1743" y="158"/>
                  <a:pt x="1743" y="158"/>
                </a:cubicBezTo>
                <a:cubicBezTo>
                  <a:pt x="1742" y="156"/>
                  <a:pt x="1742" y="156"/>
                  <a:pt x="1742" y="156"/>
                </a:cubicBezTo>
                <a:cubicBezTo>
                  <a:pt x="1741" y="156"/>
                  <a:pt x="1741" y="156"/>
                  <a:pt x="1741" y="156"/>
                </a:cubicBezTo>
                <a:cubicBezTo>
                  <a:pt x="1741" y="157"/>
                  <a:pt x="1741" y="157"/>
                  <a:pt x="1741" y="157"/>
                </a:cubicBezTo>
                <a:cubicBezTo>
                  <a:pt x="1741" y="160"/>
                  <a:pt x="1741" y="160"/>
                  <a:pt x="1741" y="160"/>
                </a:cubicBezTo>
                <a:cubicBezTo>
                  <a:pt x="1740" y="159"/>
                  <a:pt x="1740" y="159"/>
                  <a:pt x="1740" y="159"/>
                </a:cubicBezTo>
                <a:cubicBezTo>
                  <a:pt x="1740" y="158"/>
                  <a:pt x="1740" y="158"/>
                  <a:pt x="1740" y="158"/>
                </a:cubicBezTo>
                <a:cubicBezTo>
                  <a:pt x="1738" y="159"/>
                  <a:pt x="1738" y="159"/>
                  <a:pt x="1738" y="159"/>
                </a:cubicBezTo>
                <a:cubicBezTo>
                  <a:pt x="1738" y="160"/>
                  <a:pt x="1738" y="160"/>
                  <a:pt x="1738" y="160"/>
                </a:cubicBezTo>
                <a:cubicBezTo>
                  <a:pt x="1737" y="158"/>
                  <a:pt x="1737" y="158"/>
                  <a:pt x="1737" y="158"/>
                </a:cubicBezTo>
                <a:cubicBezTo>
                  <a:pt x="1737" y="156"/>
                  <a:pt x="1737" y="156"/>
                  <a:pt x="1737" y="156"/>
                </a:cubicBezTo>
                <a:cubicBezTo>
                  <a:pt x="1736" y="156"/>
                  <a:pt x="1736" y="156"/>
                  <a:pt x="1736" y="156"/>
                </a:cubicBezTo>
                <a:cubicBezTo>
                  <a:pt x="1735" y="154"/>
                  <a:pt x="1735" y="154"/>
                  <a:pt x="1735" y="154"/>
                </a:cubicBezTo>
                <a:cubicBezTo>
                  <a:pt x="1734" y="153"/>
                  <a:pt x="1734" y="153"/>
                  <a:pt x="1734" y="153"/>
                </a:cubicBezTo>
                <a:cubicBezTo>
                  <a:pt x="1733" y="153"/>
                  <a:pt x="1733" y="153"/>
                  <a:pt x="1733" y="153"/>
                </a:cubicBezTo>
                <a:cubicBezTo>
                  <a:pt x="1731" y="153"/>
                  <a:pt x="1731" y="153"/>
                  <a:pt x="1731" y="153"/>
                </a:cubicBezTo>
                <a:cubicBezTo>
                  <a:pt x="1729" y="153"/>
                  <a:pt x="1729" y="153"/>
                  <a:pt x="1729" y="153"/>
                </a:cubicBezTo>
                <a:cubicBezTo>
                  <a:pt x="1728" y="151"/>
                  <a:pt x="1728" y="151"/>
                  <a:pt x="1728" y="151"/>
                </a:cubicBezTo>
                <a:cubicBezTo>
                  <a:pt x="1728" y="151"/>
                  <a:pt x="1728" y="151"/>
                  <a:pt x="1728" y="151"/>
                </a:cubicBezTo>
                <a:cubicBezTo>
                  <a:pt x="1731" y="151"/>
                  <a:pt x="1731" y="151"/>
                  <a:pt x="1731" y="151"/>
                </a:cubicBezTo>
                <a:cubicBezTo>
                  <a:pt x="1733" y="151"/>
                  <a:pt x="1733" y="151"/>
                  <a:pt x="1733" y="151"/>
                </a:cubicBezTo>
                <a:cubicBezTo>
                  <a:pt x="1736" y="152"/>
                  <a:pt x="1736" y="152"/>
                  <a:pt x="1736" y="152"/>
                </a:cubicBezTo>
                <a:cubicBezTo>
                  <a:pt x="1739" y="152"/>
                  <a:pt x="1739" y="152"/>
                  <a:pt x="1739" y="152"/>
                </a:cubicBezTo>
                <a:cubicBezTo>
                  <a:pt x="1742" y="151"/>
                  <a:pt x="1742" y="151"/>
                  <a:pt x="1742" y="151"/>
                </a:cubicBezTo>
                <a:cubicBezTo>
                  <a:pt x="1744" y="148"/>
                  <a:pt x="1744" y="148"/>
                  <a:pt x="1744" y="148"/>
                </a:cubicBezTo>
                <a:cubicBezTo>
                  <a:pt x="1748" y="147"/>
                  <a:pt x="1748" y="147"/>
                  <a:pt x="1748" y="147"/>
                </a:cubicBezTo>
                <a:cubicBezTo>
                  <a:pt x="1749" y="145"/>
                  <a:pt x="1749" y="145"/>
                  <a:pt x="1749" y="145"/>
                </a:cubicBezTo>
                <a:cubicBezTo>
                  <a:pt x="1749" y="145"/>
                  <a:pt x="1749" y="145"/>
                  <a:pt x="1749" y="145"/>
                </a:cubicBezTo>
                <a:cubicBezTo>
                  <a:pt x="1748" y="144"/>
                  <a:pt x="1748" y="144"/>
                  <a:pt x="1748" y="144"/>
                </a:cubicBezTo>
                <a:cubicBezTo>
                  <a:pt x="1748" y="143"/>
                  <a:pt x="1748" y="143"/>
                  <a:pt x="1748" y="143"/>
                </a:cubicBezTo>
                <a:cubicBezTo>
                  <a:pt x="1746" y="143"/>
                  <a:pt x="1746" y="143"/>
                  <a:pt x="1746" y="143"/>
                </a:cubicBezTo>
                <a:cubicBezTo>
                  <a:pt x="1745" y="143"/>
                  <a:pt x="1745" y="143"/>
                  <a:pt x="1745" y="143"/>
                </a:cubicBezTo>
                <a:cubicBezTo>
                  <a:pt x="1742" y="141"/>
                  <a:pt x="1742" y="141"/>
                  <a:pt x="1742" y="141"/>
                </a:cubicBezTo>
                <a:cubicBezTo>
                  <a:pt x="1741" y="141"/>
                  <a:pt x="1741" y="141"/>
                  <a:pt x="1741" y="141"/>
                </a:cubicBezTo>
                <a:cubicBezTo>
                  <a:pt x="1739" y="143"/>
                  <a:pt x="1739" y="143"/>
                  <a:pt x="1739" y="143"/>
                </a:cubicBezTo>
                <a:cubicBezTo>
                  <a:pt x="1738" y="143"/>
                  <a:pt x="1738" y="143"/>
                  <a:pt x="1738" y="143"/>
                </a:cubicBezTo>
                <a:cubicBezTo>
                  <a:pt x="1738" y="142"/>
                  <a:pt x="1738" y="142"/>
                  <a:pt x="1738" y="142"/>
                </a:cubicBezTo>
                <a:cubicBezTo>
                  <a:pt x="1740" y="141"/>
                  <a:pt x="1740" y="141"/>
                  <a:pt x="1740" y="141"/>
                </a:cubicBezTo>
                <a:cubicBezTo>
                  <a:pt x="1740" y="140"/>
                  <a:pt x="1740" y="140"/>
                  <a:pt x="1740" y="140"/>
                </a:cubicBezTo>
                <a:cubicBezTo>
                  <a:pt x="1738" y="139"/>
                  <a:pt x="1738" y="139"/>
                  <a:pt x="1738" y="139"/>
                </a:cubicBezTo>
                <a:cubicBezTo>
                  <a:pt x="1738" y="139"/>
                  <a:pt x="1738" y="139"/>
                  <a:pt x="1738" y="139"/>
                </a:cubicBezTo>
                <a:cubicBezTo>
                  <a:pt x="1736" y="139"/>
                  <a:pt x="1736" y="139"/>
                  <a:pt x="1736" y="139"/>
                </a:cubicBezTo>
                <a:cubicBezTo>
                  <a:pt x="1735" y="141"/>
                  <a:pt x="1735" y="141"/>
                  <a:pt x="1735" y="141"/>
                </a:cubicBezTo>
                <a:cubicBezTo>
                  <a:pt x="1734" y="141"/>
                  <a:pt x="1734" y="141"/>
                  <a:pt x="1734" y="141"/>
                </a:cubicBezTo>
                <a:cubicBezTo>
                  <a:pt x="1734" y="139"/>
                  <a:pt x="1734" y="139"/>
                  <a:pt x="1734" y="139"/>
                </a:cubicBezTo>
                <a:cubicBezTo>
                  <a:pt x="1733" y="139"/>
                  <a:pt x="1733" y="139"/>
                  <a:pt x="1733" y="139"/>
                </a:cubicBezTo>
                <a:cubicBezTo>
                  <a:pt x="1733" y="141"/>
                  <a:pt x="1733" y="141"/>
                  <a:pt x="1733" y="141"/>
                </a:cubicBezTo>
                <a:cubicBezTo>
                  <a:pt x="1732" y="141"/>
                  <a:pt x="1732" y="141"/>
                  <a:pt x="1732" y="141"/>
                </a:cubicBezTo>
                <a:cubicBezTo>
                  <a:pt x="1731" y="140"/>
                  <a:pt x="1731" y="140"/>
                  <a:pt x="1731" y="140"/>
                </a:cubicBezTo>
                <a:cubicBezTo>
                  <a:pt x="1733" y="139"/>
                  <a:pt x="1733" y="139"/>
                  <a:pt x="1733" y="139"/>
                </a:cubicBezTo>
                <a:cubicBezTo>
                  <a:pt x="1733" y="137"/>
                  <a:pt x="1733" y="137"/>
                  <a:pt x="1733" y="137"/>
                </a:cubicBezTo>
                <a:cubicBezTo>
                  <a:pt x="1731" y="136"/>
                  <a:pt x="1731" y="136"/>
                  <a:pt x="1731" y="136"/>
                </a:cubicBezTo>
                <a:cubicBezTo>
                  <a:pt x="1729" y="136"/>
                  <a:pt x="1729" y="136"/>
                  <a:pt x="1729" y="136"/>
                </a:cubicBezTo>
                <a:cubicBezTo>
                  <a:pt x="1728" y="137"/>
                  <a:pt x="1728" y="137"/>
                  <a:pt x="1728" y="137"/>
                </a:cubicBezTo>
                <a:cubicBezTo>
                  <a:pt x="1727" y="140"/>
                  <a:pt x="1727" y="140"/>
                  <a:pt x="1727" y="140"/>
                </a:cubicBezTo>
                <a:cubicBezTo>
                  <a:pt x="1726" y="140"/>
                  <a:pt x="1726" y="140"/>
                  <a:pt x="1726" y="140"/>
                </a:cubicBezTo>
                <a:cubicBezTo>
                  <a:pt x="1726" y="141"/>
                  <a:pt x="1726" y="141"/>
                  <a:pt x="1726" y="141"/>
                </a:cubicBezTo>
                <a:cubicBezTo>
                  <a:pt x="1727" y="144"/>
                  <a:pt x="1727" y="144"/>
                  <a:pt x="1727" y="144"/>
                </a:cubicBezTo>
                <a:cubicBezTo>
                  <a:pt x="1727" y="145"/>
                  <a:pt x="1727" y="145"/>
                  <a:pt x="1727" y="145"/>
                </a:cubicBezTo>
                <a:cubicBezTo>
                  <a:pt x="1726" y="146"/>
                  <a:pt x="1726" y="146"/>
                  <a:pt x="1726" y="146"/>
                </a:cubicBezTo>
                <a:cubicBezTo>
                  <a:pt x="1725" y="145"/>
                  <a:pt x="1725" y="145"/>
                  <a:pt x="1725" y="145"/>
                </a:cubicBezTo>
                <a:cubicBezTo>
                  <a:pt x="1724" y="144"/>
                  <a:pt x="1724" y="144"/>
                  <a:pt x="1724" y="144"/>
                </a:cubicBezTo>
                <a:cubicBezTo>
                  <a:pt x="1723" y="145"/>
                  <a:pt x="1723" y="145"/>
                  <a:pt x="1723" y="145"/>
                </a:cubicBezTo>
                <a:cubicBezTo>
                  <a:pt x="1722" y="145"/>
                  <a:pt x="1722" y="145"/>
                  <a:pt x="1722" y="145"/>
                </a:cubicBezTo>
                <a:cubicBezTo>
                  <a:pt x="1719" y="146"/>
                  <a:pt x="1719" y="146"/>
                  <a:pt x="1719" y="146"/>
                </a:cubicBezTo>
                <a:cubicBezTo>
                  <a:pt x="1721" y="143"/>
                  <a:pt x="1721" y="143"/>
                  <a:pt x="1721" y="143"/>
                </a:cubicBezTo>
                <a:cubicBezTo>
                  <a:pt x="1723" y="143"/>
                  <a:pt x="1723" y="143"/>
                  <a:pt x="1723" y="143"/>
                </a:cubicBezTo>
                <a:cubicBezTo>
                  <a:pt x="1724" y="141"/>
                  <a:pt x="1724" y="141"/>
                  <a:pt x="1724" y="141"/>
                </a:cubicBezTo>
                <a:cubicBezTo>
                  <a:pt x="1723" y="140"/>
                  <a:pt x="1723" y="140"/>
                  <a:pt x="1723" y="140"/>
                </a:cubicBezTo>
                <a:cubicBezTo>
                  <a:pt x="1723" y="140"/>
                  <a:pt x="1723" y="140"/>
                  <a:pt x="1723" y="140"/>
                </a:cubicBezTo>
                <a:cubicBezTo>
                  <a:pt x="1721" y="142"/>
                  <a:pt x="1721" y="142"/>
                  <a:pt x="1721" y="142"/>
                </a:cubicBezTo>
                <a:cubicBezTo>
                  <a:pt x="1720" y="141"/>
                  <a:pt x="1720" y="141"/>
                  <a:pt x="1720" y="141"/>
                </a:cubicBezTo>
                <a:cubicBezTo>
                  <a:pt x="1720" y="140"/>
                  <a:pt x="1720" y="140"/>
                  <a:pt x="1720" y="140"/>
                </a:cubicBezTo>
                <a:cubicBezTo>
                  <a:pt x="1721" y="139"/>
                  <a:pt x="1721" y="139"/>
                  <a:pt x="1721" y="139"/>
                </a:cubicBezTo>
                <a:cubicBezTo>
                  <a:pt x="1721" y="138"/>
                  <a:pt x="1721" y="138"/>
                  <a:pt x="1721" y="138"/>
                </a:cubicBezTo>
                <a:cubicBezTo>
                  <a:pt x="1719" y="138"/>
                  <a:pt x="1719" y="138"/>
                  <a:pt x="1719" y="138"/>
                </a:cubicBezTo>
                <a:cubicBezTo>
                  <a:pt x="1719" y="137"/>
                  <a:pt x="1719" y="137"/>
                  <a:pt x="1719" y="137"/>
                </a:cubicBezTo>
                <a:cubicBezTo>
                  <a:pt x="1721" y="137"/>
                  <a:pt x="1721" y="137"/>
                  <a:pt x="1721" y="137"/>
                </a:cubicBezTo>
                <a:cubicBezTo>
                  <a:pt x="1721" y="137"/>
                  <a:pt x="1721" y="137"/>
                  <a:pt x="1721" y="137"/>
                </a:cubicBezTo>
                <a:cubicBezTo>
                  <a:pt x="1723" y="137"/>
                  <a:pt x="1723" y="137"/>
                  <a:pt x="1723" y="137"/>
                </a:cubicBezTo>
                <a:cubicBezTo>
                  <a:pt x="1725" y="134"/>
                  <a:pt x="1725" y="134"/>
                  <a:pt x="1725" y="134"/>
                </a:cubicBezTo>
                <a:cubicBezTo>
                  <a:pt x="1724" y="133"/>
                  <a:pt x="1724" y="133"/>
                  <a:pt x="1724" y="133"/>
                </a:cubicBezTo>
                <a:cubicBezTo>
                  <a:pt x="1722" y="133"/>
                  <a:pt x="1722" y="133"/>
                  <a:pt x="1722" y="133"/>
                </a:cubicBezTo>
                <a:cubicBezTo>
                  <a:pt x="1721" y="133"/>
                  <a:pt x="1721" y="133"/>
                  <a:pt x="1721" y="133"/>
                </a:cubicBezTo>
                <a:cubicBezTo>
                  <a:pt x="1722" y="131"/>
                  <a:pt x="1722" y="131"/>
                  <a:pt x="1722" y="131"/>
                </a:cubicBezTo>
                <a:cubicBezTo>
                  <a:pt x="1721" y="130"/>
                  <a:pt x="1721" y="130"/>
                  <a:pt x="1721" y="130"/>
                </a:cubicBezTo>
                <a:cubicBezTo>
                  <a:pt x="1720" y="131"/>
                  <a:pt x="1720" y="131"/>
                  <a:pt x="1720" y="131"/>
                </a:cubicBezTo>
                <a:cubicBezTo>
                  <a:pt x="1719" y="131"/>
                  <a:pt x="1719" y="131"/>
                  <a:pt x="1719" y="131"/>
                </a:cubicBezTo>
                <a:cubicBezTo>
                  <a:pt x="1718" y="130"/>
                  <a:pt x="1718" y="130"/>
                  <a:pt x="1718" y="130"/>
                </a:cubicBezTo>
                <a:cubicBezTo>
                  <a:pt x="1716" y="131"/>
                  <a:pt x="1716" y="131"/>
                  <a:pt x="1716" y="131"/>
                </a:cubicBezTo>
                <a:cubicBezTo>
                  <a:pt x="1716" y="132"/>
                  <a:pt x="1716" y="132"/>
                  <a:pt x="1716" y="132"/>
                </a:cubicBezTo>
                <a:cubicBezTo>
                  <a:pt x="1717" y="134"/>
                  <a:pt x="1717" y="134"/>
                  <a:pt x="1717" y="134"/>
                </a:cubicBezTo>
                <a:cubicBezTo>
                  <a:pt x="1717" y="135"/>
                  <a:pt x="1717" y="135"/>
                  <a:pt x="1717" y="135"/>
                </a:cubicBezTo>
                <a:cubicBezTo>
                  <a:pt x="1716" y="135"/>
                  <a:pt x="1716" y="135"/>
                  <a:pt x="1716" y="135"/>
                </a:cubicBezTo>
                <a:cubicBezTo>
                  <a:pt x="1714" y="133"/>
                  <a:pt x="1714" y="133"/>
                  <a:pt x="1714" y="133"/>
                </a:cubicBezTo>
                <a:cubicBezTo>
                  <a:pt x="1713" y="134"/>
                  <a:pt x="1713" y="134"/>
                  <a:pt x="1713" y="134"/>
                </a:cubicBezTo>
                <a:cubicBezTo>
                  <a:pt x="1713" y="136"/>
                  <a:pt x="1713" y="136"/>
                  <a:pt x="1713" y="136"/>
                </a:cubicBezTo>
                <a:cubicBezTo>
                  <a:pt x="1713" y="136"/>
                  <a:pt x="1713" y="136"/>
                  <a:pt x="1713" y="136"/>
                </a:cubicBezTo>
                <a:cubicBezTo>
                  <a:pt x="1715" y="136"/>
                  <a:pt x="1715" y="136"/>
                  <a:pt x="1715" y="136"/>
                </a:cubicBezTo>
                <a:cubicBezTo>
                  <a:pt x="1716" y="137"/>
                  <a:pt x="1716" y="137"/>
                  <a:pt x="1716" y="137"/>
                </a:cubicBezTo>
                <a:cubicBezTo>
                  <a:pt x="1715" y="138"/>
                  <a:pt x="1715" y="138"/>
                  <a:pt x="1715" y="138"/>
                </a:cubicBezTo>
                <a:cubicBezTo>
                  <a:pt x="1714" y="138"/>
                  <a:pt x="1714" y="138"/>
                  <a:pt x="1714" y="138"/>
                </a:cubicBezTo>
                <a:cubicBezTo>
                  <a:pt x="1714" y="140"/>
                  <a:pt x="1714" y="140"/>
                  <a:pt x="1714" y="140"/>
                </a:cubicBezTo>
                <a:cubicBezTo>
                  <a:pt x="1713" y="141"/>
                  <a:pt x="1713" y="141"/>
                  <a:pt x="1713" y="141"/>
                </a:cubicBezTo>
                <a:cubicBezTo>
                  <a:pt x="1713" y="142"/>
                  <a:pt x="1713" y="142"/>
                  <a:pt x="1713" y="142"/>
                </a:cubicBezTo>
                <a:cubicBezTo>
                  <a:pt x="1713" y="142"/>
                  <a:pt x="1713" y="142"/>
                  <a:pt x="1713" y="142"/>
                </a:cubicBezTo>
                <a:cubicBezTo>
                  <a:pt x="1712" y="143"/>
                  <a:pt x="1712" y="143"/>
                  <a:pt x="1712" y="143"/>
                </a:cubicBezTo>
                <a:cubicBezTo>
                  <a:pt x="1713" y="145"/>
                  <a:pt x="1713" y="145"/>
                  <a:pt x="1713" y="145"/>
                </a:cubicBezTo>
                <a:cubicBezTo>
                  <a:pt x="1712" y="146"/>
                  <a:pt x="1712" y="146"/>
                  <a:pt x="1712" y="146"/>
                </a:cubicBezTo>
                <a:cubicBezTo>
                  <a:pt x="1711" y="145"/>
                  <a:pt x="1711" y="145"/>
                  <a:pt x="1711" y="145"/>
                </a:cubicBezTo>
                <a:cubicBezTo>
                  <a:pt x="1710" y="146"/>
                  <a:pt x="1710" y="146"/>
                  <a:pt x="1710" y="146"/>
                </a:cubicBezTo>
                <a:cubicBezTo>
                  <a:pt x="1710" y="147"/>
                  <a:pt x="1710" y="147"/>
                  <a:pt x="1710" y="147"/>
                </a:cubicBezTo>
                <a:cubicBezTo>
                  <a:pt x="1708" y="147"/>
                  <a:pt x="1708" y="147"/>
                  <a:pt x="1708" y="147"/>
                </a:cubicBezTo>
                <a:cubicBezTo>
                  <a:pt x="1708" y="146"/>
                  <a:pt x="1708" y="146"/>
                  <a:pt x="1708" y="146"/>
                </a:cubicBezTo>
                <a:cubicBezTo>
                  <a:pt x="1710" y="142"/>
                  <a:pt x="1710" y="142"/>
                  <a:pt x="1710" y="142"/>
                </a:cubicBezTo>
                <a:cubicBezTo>
                  <a:pt x="1708" y="141"/>
                  <a:pt x="1708" y="141"/>
                  <a:pt x="1708" y="141"/>
                </a:cubicBezTo>
                <a:cubicBezTo>
                  <a:pt x="1708" y="141"/>
                  <a:pt x="1708" y="141"/>
                  <a:pt x="1708" y="141"/>
                </a:cubicBezTo>
                <a:cubicBezTo>
                  <a:pt x="1709" y="139"/>
                  <a:pt x="1709" y="139"/>
                  <a:pt x="1709" y="139"/>
                </a:cubicBezTo>
                <a:cubicBezTo>
                  <a:pt x="1709" y="136"/>
                  <a:pt x="1709" y="136"/>
                  <a:pt x="1709" y="136"/>
                </a:cubicBezTo>
                <a:cubicBezTo>
                  <a:pt x="1709" y="135"/>
                  <a:pt x="1709" y="135"/>
                  <a:pt x="1709" y="135"/>
                </a:cubicBezTo>
                <a:cubicBezTo>
                  <a:pt x="1708" y="135"/>
                  <a:pt x="1708" y="135"/>
                  <a:pt x="1708" y="135"/>
                </a:cubicBezTo>
                <a:cubicBezTo>
                  <a:pt x="1705" y="140"/>
                  <a:pt x="1705" y="140"/>
                  <a:pt x="1705" y="140"/>
                </a:cubicBezTo>
                <a:cubicBezTo>
                  <a:pt x="1705" y="142"/>
                  <a:pt x="1705" y="142"/>
                  <a:pt x="1705" y="142"/>
                </a:cubicBezTo>
                <a:cubicBezTo>
                  <a:pt x="1703" y="145"/>
                  <a:pt x="1703" y="145"/>
                  <a:pt x="1703" y="145"/>
                </a:cubicBezTo>
                <a:cubicBezTo>
                  <a:pt x="1702" y="148"/>
                  <a:pt x="1702" y="148"/>
                  <a:pt x="1702" y="148"/>
                </a:cubicBezTo>
                <a:cubicBezTo>
                  <a:pt x="1703" y="149"/>
                  <a:pt x="1703" y="149"/>
                  <a:pt x="1703" y="149"/>
                </a:cubicBezTo>
                <a:cubicBezTo>
                  <a:pt x="1702" y="151"/>
                  <a:pt x="1702" y="151"/>
                  <a:pt x="1702" y="151"/>
                </a:cubicBezTo>
                <a:cubicBezTo>
                  <a:pt x="1700" y="154"/>
                  <a:pt x="1700" y="154"/>
                  <a:pt x="1700" y="154"/>
                </a:cubicBezTo>
                <a:cubicBezTo>
                  <a:pt x="1698" y="154"/>
                  <a:pt x="1698" y="154"/>
                  <a:pt x="1698" y="154"/>
                </a:cubicBezTo>
                <a:cubicBezTo>
                  <a:pt x="1698" y="153"/>
                  <a:pt x="1698" y="153"/>
                  <a:pt x="1698" y="153"/>
                </a:cubicBezTo>
                <a:cubicBezTo>
                  <a:pt x="1698" y="151"/>
                  <a:pt x="1698" y="151"/>
                  <a:pt x="1698" y="151"/>
                </a:cubicBezTo>
                <a:cubicBezTo>
                  <a:pt x="1700" y="149"/>
                  <a:pt x="1700" y="149"/>
                  <a:pt x="1700" y="149"/>
                </a:cubicBezTo>
                <a:cubicBezTo>
                  <a:pt x="1699" y="147"/>
                  <a:pt x="1699" y="147"/>
                  <a:pt x="1699" y="147"/>
                </a:cubicBezTo>
                <a:cubicBezTo>
                  <a:pt x="1700" y="146"/>
                  <a:pt x="1700" y="146"/>
                  <a:pt x="1700" y="146"/>
                </a:cubicBezTo>
                <a:cubicBezTo>
                  <a:pt x="1699" y="144"/>
                  <a:pt x="1699" y="144"/>
                  <a:pt x="1699" y="144"/>
                </a:cubicBezTo>
                <a:cubicBezTo>
                  <a:pt x="1702" y="141"/>
                  <a:pt x="1702" y="141"/>
                  <a:pt x="1702" y="141"/>
                </a:cubicBezTo>
                <a:cubicBezTo>
                  <a:pt x="1703" y="139"/>
                  <a:pt x="1703" y="139"/>
                  <a:pt x="1703" y="139"/>
                </a:cubicBezTo>
                <a:cubicBezTo>
                  <a:pt x="1703" y="138"/>
                  <a:pt x="1703" y="138"/>
                  <a:pt x="1703" y="138"/>
                </a:cubicBezTo>
                <a:cubicBezTo>
                  <a:pt x="1703" y="137"/>
                  <a:pt x="1703" y="137"/>
                  <a:pt x="1703" y="137"/>
                </a:cubicBezTo>
                <a:cubicBezTo>
                  <a:pt x="1701" y="137"/>
                  <a:pt x="1701" y="137"/>
                  <a:pt x="1701" y="137"/>
                </a:cubicBezTo>
                <a:cubicBezTo>
                  <a:pt x="1700" y="135"/>
                  <a:pt x="1700" y="135"/>
                  <a:pt x="1700" y="135"/>
                </a:cubicBezTo>
                <a:cubicBezTo>
                  <a:pt x="1699" y="136"/>
                  <a:pt x="1699" y="136"/>
                  <a:pt x="1699" y="136"/>
                </a:cubicBezTo>
                <a:cubicBezTo>
                  <a:pt x="1699" y="138"/>
                  <a:pt x="1699" y="138"/>
                  <a:pt x="1699" y="138"/>
                </a:cubicBezTo>
                <a:cubicBezTo>
                  <a:pt x="1698" y="139"/>
                  <a:pt x="1698" y="139"/>
                  <a:pt x="1698" y="139"/>
                </a:cubicBezTo>
                <a:cubicBezTo>
                  <a:pt x="1698" y="137"/>
                  <a:pt x="1698" y="137"/>
                  <a:pt x="1698" y="137"/>
                </a:cubicBezTo>
                <a:cubicBezTo>
                  <a:pt x="1697" y="136"/>
                  <a:pt x="1697" y="136"/>
                  <a:pt x="1697" y="136"/>
                </a:cubicBezTo>
                <a:cubicBezTo>
                  <a:pt x="1695" y="135"/>
                  <a:pt x="1695" y="135"/>
                  <a:pt x="1695" y="135"/>
                </a:cubicBezTo>
                <a:cubicBezTo>
                  <a:pt x="1694" y="136"/>
                  <a:pt x="1694" y="136"/>
                  <a:pt x="1694" y="136"/>
                </a:cubicBezTo>
                <a:cubicBezTo>
                  <a:pt x="1694" y="139"/>
                  <a:pt x="1694" y="139"/>
                  <a:pt x="1694" y="139"/>
                </a:cubicBezTo>
                <a:cubicBezTo>
                  <a:pt x="1693" y="140"/>
                  <a:pt x="1693" y="140"/>
                  <a:pt x="1693" y="140"/>
                </a:cubicBezTo>
                <a:cubicBezTo>
                  <a:pt x="1693" y="139"/>
                  <a:pt x="1693" y="139"/>
                  <a:pt x="1693" y="139"/>
                </a:cubicBezTo>
                <a:cubicBezTo>
                  <a:pt x="1691" y="138"/>
                  <a:pt x="1691" y="138"/>
                  <a:pt x="1691" y="138"/>
                </a:cubicBezTo>
                <a:cubicBezTo>
                  <a:pt x="1691" y="139"/>
                  <a:pt x="1691" y="139"/>
                  <a:pt x="1691" y="139"/>
                </a:cubicBezTo>
                <a:cubicBezTo>
                  <a:pt x="1691" y="140"/>
                  <a:pt x="1691" y="140"/>
                  <a:pt x="1691" y="140"/>
                </a:cubicBezTo>
                <a:cubicBezTo>
                  <a:pt x="1693" y="141"/>
                  <a:pt x="1693" y="141"/>
                  <a:pt x="1693" y="141"/>
                </a:cubicBezTo>
                <a:cubicBezTo>
                  <a:pt x="1694" y="143"/>
                  <a:pt x="1694" y="143"/>
                  <a:pt x="1694" y="143"/>
                </a:cubicBezTo>
                <a:cubicBezTo>
                  <a:pt x="1693" y="143"/>
                  <a:pt x="1693" y="143"/>
                  <a:pt x="1693" y="143"/>
                </a:cubicBezTo>
                <a:cubicBezTo>
                  <a:pt x="1692" y="142"/>
                  <a:pt x="1692" y="142"/>
                  <a:pt x="1692" y="142"/>
                </a:cubicBezTo>
                <a:cubicBezTo>
                  <a:pt x="1691" y="144"/>
                  <a:pt x="1691" y="144"/>
                  <a:pt x="1691" y="144"/>
                </a:cubicBezTo>
                <a:cubicBezTo>
                  <a:pt x="1691" y="145"/>
                  <a:pt x="1691" y="145"/>
                  <a:pt x="1691" y="145"/>
                </a:cubicBezTo>
                <a:cubicBezTo>
                  <a:pt x="1691" y="145"/>
                  <a:pt x="1691" y="145"/>
                  <a:pt x="1691" y="145"/>
                </a:cubicBezTo>
                <a:cubicBezTo>
                  <a:pt x="1691" y="146"/>
                  <a:pt x="1691" y="146"/>
                  <a:pt x="1691" y="146"/>
                </a:cubicBezTo>
                <a:cubicBezTo>
                  <a:pt x="1689" y="145"/>
                  <a:pt x="1689" y="145"/>
                  <a:pt x="1689" y="145"/>
                </a:cubicBezTo>
                <a:cubicBezTo>
                  <a:pt x="1688" y="145"/>
                  <a:pt x="1688" y="145"/>
                  <a:pt x="1688" y="145"/>
                </a:cubicBezTo>
                <a:cubicBezTo>
                  <a:pt x="1687" y="147"/>
                  <a:pt x="1687" y="147"/>
                  <a:pt x="1687" y="147"/>
                </a:cubicBezTo>
                <a:cubicBezTo>
                  <a:pt x="1686" y="148"/>
                  <a:pt x="1686" y="148"/>
                  <a:pt x="1686" y="148"/>
                </a:cubicBezTo>
                <a:cubicBezTo>
                  <a:pt x="1686" y="148"/>
                  <a:pt x="1686" y="148"/>
                  <a:pt x="1686" y="148"/>
                </a:cubicBezTo>
                <a:cubicBezTo>
                  <a:pt x="1686" y="149"/>
                  <a:pt x="1686" y="149"/>
                  <a:pt x="1686" y="149"/>
                </a:cubicBezTo>
                <a:cubicBezTo>
                  <a:pt x="1685" y="150"/>
                  <a:pt x="1685" y="150"/>
                  <a:pt x="1685" y="150"/>
                </a:cubicBezTo>
                <a:cubicBezTo>
                  <a:pt x="1684" y="152"/>
                  <a:pt x="1684" y="152"/>
                  <a:pt x="1684" y="152"/>
                </a:cubicBezTo>
                <a:cubicBezTo>
                  <a:pt x="1686" y="153"/>
                  <a:pt x="1686" y="153"/>
                  <a:pt x="1686" y="153"/>
                </a:cubicBezTo>
                <a:cubicBezTo>
                  <a:pt x="1685" y="154"/>
                  <a:pt x="1685" y="154"/>
                  <a:pt x="1685" y="154"/>
                </a:cubicBezTo>
                <a:cubicBezTo>
                  <a:pt x="1686" y="155"/>
                  <a:pt x="1686" y="155"/>
                  <a:pt x="1686" y="155"/>
                </a:cubicBezTo>
                <a:cubicBezTo>
                  <a:pt x="1687" y="156"/>
                  <a:pt x="1687" y="156"/>
                  <a:pt x="1687" y="156"/>
                </a:cubicBezTo>
                <a:cubicBezTo>
                  <a:pt x="1686" y="157"/>
                  <a:pt x="1686" y="157"/>
                  <a:pt x="1686" y="157"/>
                </a:cubicBezTo>
                <a:cubicBezTo>
                  <a:pt x="1683" y="156"/>
                  <a:pt x="1683" y="156"/>
                  <a:pt x="1683" y="156"/>
                </a:cubicBezTo>
                <a:cubicBezTo>
                  <a:pt x="1683" y="154"/>
                  <a:pt x="1683" y="154"/>
                  <a:pt x="1683" y="154"/>
                </a:cubicBezTo>
                <a:cubicBezTo>
                  <a:pt x="1682" y="154"/>
                  <a:pt x="1682" y="154"/>
                  <a:pt x="1682" y="154"/>
                </a:cubicBezTo>
                <a:cubicBezTo>
                  <a:pt x="1683" y="152"/>
                  <a:pt x="1683" y="152"/>
                  <a:pt x="1683" y="152"/>
                </a:cubicBezTo>
                <a:cubicBezTo>
                  <a:pt x="1681" y="151"/>
                  <a:pt x="1681" y="151"/>
                  <a:pt x="1681" y="151"/>
                </a:cubicBezTo>
                <a:cubicBezTo>
                  <a:pt x="1679" y="152"/>
                  <a:pt x="1679" y="152"/>
                  <a:pt x="1679" y="152"/>
                </a:cubicBezTo>
                <a:cubicBezTo>
                  <a:pt x="1677" y="151"/>
                  <a:pt x="1677" y="151"/>
                  <a:pt x="1677" y="151"/>
                </a:cubicBezTo>
                <a:cubicBezTo>
                  <a:pt x="1674" y="149"/>
                  <a:pt x="1674" y="149"/>
                  <a:pt x="1674" y="149"/>
                </a:cubicBezTo>
                <a:cubicBezTo>
                  <a:pt x="1673" y="149"/>
                  <a:pt x="1673" y="149"/>
                  <a:pt x="1673" y="149"/>
                </a:cubicBezTo>
                <a:cubicBezTo>
                  <a:pt x="1672" y="150"/>
                  <a:pt x="1672" y="150"/>
                  <a:pt x="1672" y="150"/>
                </a:cubicBezTo>
                <a:cubicBezTo>
                  <a:pt x="1671" y="149"/>
                  <a:pt x="1671" y="149"/>
                  <a:pt x="1671" y="149"/>
                </a:cubicBezTo>
                <a:cubicBezTo>
                  <a:pt x="1670" y="150"/>
                  <a:pt x="1670" y="150"/>
                  <a:pt x="1670" y="150"/>
                </a:cubicBezTo>
                <a:cubicBezTo>
                  <a:pt x="1668" y="151"/>
                  <a:pt x="1668" y="151"/>
                  <a:pt x="1668" y="151"/>
                </a:cubicBezTo>
                <a:cubicBezTo>
                  <a:pt x="1668" y="152"/>
                  <a:pt x="1668" y="152"/>
                  <a:pt x="1668" y="152"/>
                </a:cubicBezTo>
                <a:cubicBezTo>
                  <a:pt x="1670" y="154"/>
                  <a:pt x="1670" y="154"/>
                  <a:pt x="1670" y="154"/>
                </a:cubicBezTo>
                <a:cubicBezTo>
                  <a:pt x="1672" y="154"/>
                  <a:pt x="1672" y="154"/>
                  <a:pt x="1672" y="154"/>
                </a:cubicBezTo>
                <a:cubicBezTo>
                  <a:pt x="1673" y="155"/>
                  <a:pt x="1673" y="155"/>
                  <a:pt x="1673" y="155"/>
                </a:cubicBezTo>
                <a:cubicBezTo>
                  <a:pt x="1675" y="155"/>
                  <a:pt x="1675" y="155"/>
                  <a:pt x="1675" y="155"/>
                </a:cubicBezTo>
                <a:cubicBezTo>
                  <a:pt x="1674" y="157"/>
                  <a:pt x="1674" y="157"/>
                  <a:pt x="1674" y="157"/>
                </a:cubicBezTo>
                <a:cubicBezTo>
                  <a:pt x="1674" y="159"/>
                  <a:pt x="1674" y="159"/>
                  <a:pt x="1674" y="159"/>
                </a:cubicBezTo>
                <a:cubicBezTo>
                  <a:pt x="1676" y="161"/>
                  <a:pt x="1676" y="161"/>
                  <a:pt x="1676" y="161"/>
                </a:cubicBezTo>
                <a:cubicBezTo>
                  <a:pt x="1675" y="162"/>
                  <a:pt x="1675" y="162"/>
                  <a:pt x="1675" y="162"/>
                </a:cubicBezTo>
                <a:cubicBezTo>
                  <a:pt x="1674" y="161"/>
                  <a:pt x="1674" y="161"/>
                  <a:pt x="1674" y="161"/>
                </a:cubicBezTo>
                <a:cubicBezTo>
                  <a:pt x="1673" y="159"/>
                  <a:pt x="1673" y="159"/>
                  <a:pt x="1673" y="159"/>
                </a:cubicBezTo>
                <a:cubicBezTo>
                  <a:pt x="1671" y="158"/>
                  <a:pt x="1671" y="158"/>
                  <a:pt x="1671" y="158"/>
                </a:cubicBezTo>
                <a:cubicBezTo>
                  <a:pt x="1670" y="157"/>
                  <a:pt x="1670" y="157"/>
                  <a:pt x="1670" y="157"/>
                </a:cubicBezTo>
                <a:cubicBezTo>
                  <a:pt x="1669" y="159"/>
                  <a:pt x="1669" y="159"/>
                  <a:pt x="1669" y="159"/>
                </a:cubicBezTo>
                <a:cubicBezTo>
                  <a:pt x="1668" y="160"/>
                  <a:pt x="1668" y="160"/>
                  <a:pt x="1668" y="160"/>
                </a:cubicBezTo>
                <a:cubicBezTo>
                  <a:pt x="1668" y="158"/>
                  <a:pt x="1668" y="158"/>
                  <a:pt x="1668" y="158"/>
                </a:cubicBezTo>
                <a:cubicBezTo>
                  <a:pt x="1666" y="159"/>
                  <a:pt x="1666" y="159"/>
                  <a:pt x="1666" y="159"/>
                </a:cubicBezTo>
                <a:cubicBezTo>
                  <a:pt x="1666" y="160"/>
                  <a:pt x="1666" y="160"/>
                  <a:pt x="1666" y="160"/>
                </a:cubicBezTo>
                <a:cubicBezTo>
                  <a:pt x="1664" y="162"/>
                  <a:pt x="1664" y="162"/>
                  <a:pt x="1664" y="162"/>
                </a:cubicBezTo>
                <a:cubicBezTo>
                  <a:pt x="1664" y="163"/>
                  <a:pt x="1664" y="163"/>
                  <a:pt x="1664" y="163"/>
                </a:cubicBezTo>
                <a:cubicBezTo>
                  <a:pt x="1666" y="164"/>
                  <a:pt x="1666" y="164"/>
                  <a:pt x="1666" y="164"/>
                </a:cubicBezTo>
                <a:cubicBezTo>
                  <a:pt x="1667" y="166"/>
                  <a:pt x="1667" y="166"/>
                  <a:pt x="1667" y="166"/>
                </a:cubicBezTo>
                <a:cubicBezTo>
                  <a:pt x="1666" y="166"/>
                  <a:pt x="1666" y="166"/>
                  <a:pt x="1666" y="166"/>
                </a:cubicBezTo>
                <a:cubicBezTo>
                  <a:pt x="1665" y="165"/>
                  <a:pt x="1665" y="165"/>
                  <a:pt x="1665" y="165"/>
                </a:cubicBezTo>
                <a:cubicBezTo>
                  <a:pt x="1663" y="167"/>
                  <a:pt x="1663" y="167"/>
                  <a:pt x="1663" y="167"/>
                </a:cubicBezTo>
                <a:cubicBezTo>
                  <a:pt x="1663" y="168"/>
                  <a:pt x="1663" y="168"/>
                  <a:pt x="1663" y="168"/>
                </a:cubicBezTo>
                <a:cubicBezTo>
                  <a:pt x="1661" y="170"/>
                  <a:pt x="1661" y="170"/>
                  <a:pt x="1661" y="170"/>
                </a:cubicBezTo>
                <a:cubicBezTo>
                  <a:pt x="1661" y="169"/>
                  <a:pt x="1661" y="169"/>
                  <a:pt x="1661" y="169"/>
                </a:cubicBezTo>
                <a:cubicBezTo>
                  <a:pt x="1662" y="168"/>
                  <a:pt x="1662" y="168"/>
                  <a:pt x="1662" y="168"/>
                </a:cubicBezTo>
                <a:cubicBezTo>
                  <a:pt x="1662" y="167"/>
                  <a:pt x="1662" y="167"/>
                  <a:pt x="1662" y="167"/>
                </a:cubicBezTo>
                <a:cubicBezTo>
                  <a:pt x="1663" y="164"/>
                  <a:pt x="1663" y="164"/>
                  <a:pt x="1663" y="164"/>
                </a:cubicBezTo>
                <a:cubicBezTo>
                  <a:pt x="1662" y="158"/>
                  <a:pt x="1662" y="158"/>
                  <a:pt x="1662" y="158"/>
                </a:cubicBezTo>
                <a:cubicBezTo>
                  <a:pt x="1661" y="159"/>
                  <a:pt x="1661" y="159"/>
                  <a:pt x="1661" y="159"/>
                </a:cubicBezTo>
                <a:cubicBezTo>
                  <a:pt x="1658" y="163"/>
                  <a:pt x="1658" y="163"/>
                  <a:pt x="1658" y="163"/>
                </a:cubicBezTo>
                <a:cubicBezTo>
                  <a:pt x="1658" y="165"/>
                  <a:pt x="1658" y="165"/>
                  <a:pt x="1658" y="165"/>
                </a:cubicBezTo>
                <a:cubicBezTo>
                  <a:pt x="1659" y="166"/>
                  <a:pt x="1659" y="166"/>
                  <a:pt x="1659" y="166"/>
                </a:cubicBezTo>
                <a:cubicBezTo>
                  <a:pt x="1657" y="168"/>
                  <a:pt x="1657" y="168"/>
                  <a:pt x="1657" y="168"/>
                </a:cubicBezTo>
                <a:cubicBezTo>
                  <a:pt x="1657" y="166"/>
                  <a:pt x="1657" y="166"/>
                  <a:pt x="1657" y="166"/>
                </a:cubicBezTo>
                <a:cubicBezTo>
                  <a:pt x="1658" y="164"/>
                  <a:pt x="1658" y="164"/>
                  <a:pt x="1658" y="164"/>
                </a:cubicBezTo>
                <a:cubicBezTo>
                  <a:pt x="1657" y="161"/>
                  <a:pt x="1657" y="161"/>
                  <a:pt x="1657" y="161"/>
                </a:cubicBezTo>
                <a:cubicBezTo>
                  <a:pt x="1656" y="161"/>
                  <a:pt x="1656" y="161"/>
                  <a:pt x="1656" y="161"/>
                </a:cubicBezTo>
                <a:cubicBezTo>
                  <a:pt x="1654" y="162"/>
                  <a:pt x="1654" y="162"/>
                  <a:pt x="1654" y="162"/>
                </a:cubicBezTo>
                <a:cubicBezTo>
                  <a:pt x="1653" y="165"/>
                  <a:pt x="1653" y="165"/>
                  <a:pt x="1653" y="165"/>
                </a:cubicBezTo>
                <a:cubicBezTo>
                  <a:pt x="1654" y="167"/>
                  <a:pt x="1654" y="167"/>
                  <a:pt x="1654" y="167"/>
                </a:cubicBezTo>
                <a:cubicBezTo>
                  <a:pt x="1654" y="169"/>
                  <a:pt x="1654" y="169"/>
                  <a:pt x="1654" y="169"/>
                </a:cubicBezTo>
                <a:cubicBezTo>
                  <a:pt x="1656" y="171"/>
                  <a:pt x="1656" y="171"/>
                  <a:pt x="1656" y="171"/>
                </a:cubicBezTo>
                <a:cubicBezTo>
                  <a:pt x="1657" y="172"/>
                  <a:pt x="1657" y="172"/>
                  <a:pt x="1657" y="172"/>
                </a:cubicBezTo>
                <a:cubicBezTo>
                  <a:pt x="1656" y="174"/>
                  <a:pt x="1656" y="174"/>
                  <a:pt x="1656" y="174"/>
                </a:cubicBezTo>
                <a:cubicBezTo>
                  <a:pt x="1655" y="171"/>
                  <a:pt x="1655" y="171"/>
                  <a:pt x="1655" y="171"/>
                </a:cubicBezTo>
                <a:cubicBezTo>
                  <a:pt x="1653" y="171"/>
                  <a:pt x="1653" y="171"/>
                  <a:pt x="1653" y="171"/>
                </a:cubicBezTo>
                <a:cubicBezTo>
                  <a:pt x="1652" y="167"/>
                  <a:pt x="1652" y="167"/>
                  <a:pt x="1652" y="167"/>
                </a:cubicBezTo>
                <a:cubicBezTo>
                  <a:pt x="1651" y="167"/>
                  <a:pt x="1651" y="167"/>
                  <a:pt x="1651" y="167"/>
                </a:cubicBezTo>
                <a:cubicBezTo>
                  <a:pt x="1649" y="167"/>
                  <a:pt x="1649" y="167"/>
                  <a:pt x="1649" y="167"/>
                </a:cubicBezTo>
                <a:cubicBezTo>
                  <a:pt x="1648" y="169"/>
                  <a:pt x="1648" y="169"/>
                  <a:pt x="1648" y="169"/>
                </a:cubicBezTo>
                <a:cubicBezTo>
                  <a:pt x="1651" y="171"/>
                  <a:pt x="1651" y="171"/>
                  <a:pt x="1651" y="171"/>
                </a:cubicBezTo>
                <a:cubicBezTo>
                  <a:pt x="1652" y="171"/>
                  <a:pt x="1652" y="171"/>
                  <a:pt x="1652" y="171"/>
                </a:cubicBezTo>
                <a:cubicBezTo>
                  <a:pt x="1653" y="172"/>
                  <a:pt x="1653" y="172"/>
                  <a:pt x="1653" y="172"/>
                </a:cubicBezTo>
                <a:cubicBezTo>
                  <a:pt x="1651" y="171"/>
                  <a:pt x="1651" y="171"/>
                  <a:pt x="1651" y="171"/>
                </a:cubicBezTo>
                <a:cubicBezTo>
                  <a:pt x="1649" y="172"/>
                  <a:pt x="1649" y="172"/>
                  <a:pt x="1649" y="172"/>
                </a:cubicBezTo>
                <a:cubicBezTo>
                  <a:pt x="1650" y="174"/>
                  <a:pt x="1650" y="174"/>
                  <a:pt x="1650" y="174"/>
                </a:cubicBezTo>
                <a:cubicBezTo>
                  <a:pt x="1648" y="173"/>
                  <a:pt x="1648" y="173"/>
                  <a:pt x="1648" y="173"/>
                </a:cubicBezTo>
                <a:cubicBezTo>
                  <a:pt x="1648" y="170"/>
                  <a:pt x="1648" y="170"/>
                  <a:pt x="1648" y="170"/>
                </a:cubicBezTo>
                <a:cubicBezTo>
                  <a:pt x="1647" y="170"/>
                  <a:pt x="1647" y="170"/>
                  <a:pt x="1647" y="170"/>
                </a:cubicBezTo>
                <a:cubicBezTo>
                  <a:pt x="1647" y="168"/>
                  <a:pt x="1647" y="168"/>
                  <a:pt x="1647" y="168"/>
                </a:cubicBezTo>
                <a:cubicBezTo>
                  <a:pt x="1646" y="169"/>
                  <a:pt x="1646" y="169"/>
                  <a:pt x="1646" y="169"/>
                </a:cubicBezTo>
                <a:cubicBezTo>
                  <a:pt x="1645" y="172"/>
                  <a:pt x="1645" y="172"/>
                  <a:pt x="1645" y="172"/>
                </a:cubicBezTo>
                <a:cubicBezTo>
                  <a:pt x="1646" y="173"/>
                  <a:pt x="1646" y="173"/>
                  <a:pt x="1646" y="173"/>
                </a:cubicBezTo>
                <a:cubicBezTo>
                  <a:pt x="1646" y="175"/>
                  <a:pt x="1646" y="175"/>
                  <a:pt x="1646" y="175"/>
                </a:cubicBezTo>
                <a:cubicBezTo>
                  <a:pt x="1644" y="174"/>
                  <a:pt x="1644" y="174"/>
                  <a:pt x="1644" y="174"/>
                </a:cubicBezTo>
                <a:cubicBezTo>
                  <a:pt x="1643" y="175"/>
                  <a:pt x="1643" y="175"/>
                  <a:pt x="1643" y="175"/>
                </a:cubicBezTo>
                <a:cubicBezTo>
                  <a:pt x="1641" y="177"/>
                  <a:pt x="1641" y="177"/>
                  <a:pt x="1641" y="177"/>
                </a:cubicBezTo>
                <a:cubicBezTo>
                  <a:pt x="1641" y="177"/>
                  <a:pt x="1641" y="177"/>
                  <a:pt x="1641" y="177"/>
                </a:cubicBezTo>
                <a:cubicBezTo>
                  <a:pt x="1643" y="177"/>
                  <a:pt x="1643" y="177"/>
                  <a:pt x="1643" y="177"/>
                </a:cubicBezTo>
                <a:cubicBezTo>
                  <a:pt x="1644" y="178"/>
                  <a:pt x="1644" y="178"/>
                  <a:pt x="1644" y="178"/>
                </a:cubicBezTo>
                <a:cubicBezTo>
                  <a:pt x="1642" y="179"/>
                  <a:pt x="1642" y="179"/>
                  <a:pt x="1642" y="179"/>
                </a:cubicBezTo>
                <a:cubicBezTo>
                  <a:pt x="1641" y="179"/>
                  <a:pt x="1641" y="179"/>
                  <a:pt x="1641" y="179"/>
                </a:cubicBezTo>
                <a:cubicBezTo>
                  <a:pt x="1642" y="180"/>
                  <a:pt x="1642" y="180"/>
                  <a:pt x="1642" y="180"/>
                </a:cubicBezTo>
                <a:cubicBezTo>
                  <a:pt x="1642" y="181"/>
                  <a:pt x="1642" y="181"/>
                  <a:pt x="1642" y="181"/>
                </a:cubicBezTo>
                <a:cubicBezTo>
                  <a:pt x="1640" y="181"/>
                  <a:pt x="1640" y="181"/>
                  <a:pt x="1640" y="181"/>
                </a:cubicBezTo>
                <a:cubicBezTo>
                  <a:pt x="1640" y="182"/>
                  <a:pt x="1640" y="182"/>
                  <a:pt x="1640" y="182"/>
                </a:cubicBezTo>
                <a:cubicBezTo>
                  <a:pt x="1641" y="183"/>
                  <a:pt x="1641" y="183"/>
                  <a:pt x="1641" y="183"/>
                </a:cubicBezTo>
                <a:cubicBezTo>
                  <a:pt x="1639" y="183"/>
                  <a:pt x="1639" y="183"/>
                  <a:pt x="1639" y="183"/>
                </a:cubicBezTo>
                <a:cubicBezTo>
                  <a:pt x="1639" y="182"/>
                  <a:pt x="1639" y="182"/>
                  <a:pt x="1639" y="182"/>
                </a:cubicBezTo>
                <a:cubicBezTo>
                  <a:pt x="1637" y="182"/>
                  <a:pt x="1637" y="182"/>
                  <a:pt x="1637" y="182"/>
                </a:cubicBezTo>
                <a:cubicBezTo>
                  <a:pt x="1636" y="184"/>
                  <a:pt x="1636" y="184"/>
                  <a:pt x="1636" y="184"/>
                </a:cubicBezTo>
                <a:cubicBezTo>
                  <a:pt x="1636" y="185"/>
                  <a:pt x="1636" y="185"/>
                  <a:pt x="1636" y="185"/>
                </a:cubicBezTo>
                <a:cubicBezTo>
                  <a:pt x="1636" y="186"/>
                  <a:pt x="1636" y="186"/>
                  <a:pt x="1636" y="186"/>
                </a:cubicBezTo>
                <a:cubicBezTo>
                  <a:pt x="1634" y="186"/>
                  <a:pt x="1634" y="186"/>
                  <a:pt x="1634" y="186"/>
                </a:cubicBezTo>
                <a:cubicBezTo>
                  <a:pt x="1633" y="188"/>
                  <a:pt x="1633" y="188"/>
                  <a:pt x="1633" y="188"/>
                </a:cubicBezTo>
                <a:cubicBezTo>
                  <a:pt x="1634" y="188"/>
                  <a:pt x="1634" y="188"/>
                  <a:pt x="1634" y="188"/>
                </a:cubicBezTo>
                <a:cubicBezTo>
                  <a:pt x="1639" y="187"/>
                  <a:pt x="1639" y="187"/>
                  <a:pt x="1639" y="187"/>
                </a:cubicBezTo>
                <a:cubicBezTo>
                  <a:pt x="1640" y="187"/>
                  <a:pt x="1640" y="187"/>
                  <a:pt x="1640" y="187"/>
                </a:cubicBezTo>
                <a:cubicBezTo>
                  <a:pt x="1642" y="187"/>
                  <a:pt x="1642" y="187"/>
                  <a:pt x="1642" y="187"/>
                </a:cubicBezTo>
                <a:cubicBezTo>
                  <a:pt x="1643" y="186"/>
                  <a:pt x="1643" y="186"/>
                  <a:pt x="1643" y="186"/>
                </a:cubicBezTo>
                <a:cubicBezTo>
                  <a:pt x="1643" y="188"/>
                  <a:pt x="1643" y="188"/>
                  <a:pt x="1643" y="188"/>
                </a:cubicBezTo>
                <a:cubicBezTo>
                  <a:pt x="1642" y="189"/>
                  <a:pt x="1642" y="189"/>
                  <a:pt x="1642" y="189"/>
                </a:cubicBezTo>
                <a:cubicBezTo>
                  <a:pt x="1641" y="192"/>
                  <a:pt x="1641" y="192"/>
                  <a:pt x="1641" y="192"/>
                </a:cubicBezTo>
                <a:cubicBezTo>
                  <a:pt x="1641" y="193"/>
                  <a:pt x="1641" y="193"/>
                  <a:pt x="1641" y="193"/>
                </a:cubicBezTo>
                <a:cubicBezTo>
                  <a:pt x="1640" y="192"/>
                  <a:pt x="1640" y="192"/>
                  <a:pt x="1640" y="192"/>
                </a:cubicBezTo>
                <a:cubicBezTo>
                  <a:pt x="1640" y="190"/>
                  <a:pt x="1640" y="190"/>
                  <a:pt x="1640" y="190"/>
                </a:cubicBezTo>
                <a:cubicBezTo>
                  <a:pt x="1638" y="191"/>
                  <a:pt x="1638" y="191"/>
                  <a:pt x="1638" y="191"/>
                </a:cubicBezTo>
                <a:cubicBezTo>
                  <a:pt x="1637" y="190"/>
                  <a:pt x="1637" y="190"/>
                  <a:pt x="1637" y="190"/>
                </a:cubicBezTo>
                <a:cubicBezTo>
                  <a:pt x="1635" y="190"/>
                  <a:pt x="1635" y="190"/>
                  <a:pt x="1635" y="190"/>
                </a:cubicBezTo>
                <a:cubicBezTo>
                  <a:pt x="1636" y="190"/>
                  <a:pt x="1636" y="190"/>
                  <a:pt x="1636" y="190"/>
                </a:cubicBezTo>
                <a:cubicBezTo>
                  <a:pt x="1635" y="192"/>
                  <a:pt x="1635" y="192"/>
                  <a:pt x="1635" y="192"/>
                </a:cubicBezTo>
                <a:cubicBezTo>
                  <a:pt x="1634" y="191"/>
                  <a:pt x="1634" y="191"/>
                  <a:pt x="1634" y="191"/>
                </a:cubicBezTo>
                <a:cubicBezTo>
                  <a:pt x="1633" y="191"/>
                  <a:pt x="1633" y="191"/>
                  <a:pt x="1633" y="191"/>
                </a:cubicBezTo>
                <a:cubicBezTo>
                  <a:pt x="1634" y="192"/>
                  <a:pt x="1634" y="192"/>
                  <a:pt x="1634" y="192"/>
                </a:cubicBezTo>
                <a:cubicBezTo>
                  <a:pt x="1635" y="194"/>
                  <a:pt x="1635" y="194"/>
                  <a:pt x="1635" y="194"/>
                </a:cubicBezTo>
                <a:cubicBezTo>
                  <a:pt x="1634" y="194"/>
                  <a:pt x="1634" y="194"/>
                  <a:pt x="1634" y="194"/>
                </a:cubicBezTo>
                <a:cubicBezTo>
                  <a:pt x="1633" y="195"/>
                  <a:pt x="1633" y="195"/>
                  <a:pt x="1633" y="195"/>
                </a:cubicBezTo>
                <a:cubicBezTo>
                  <a:pt x="1634" y="196"/>
                  <a:pt x="1634" y="196"/>
                  <a:pt x="1634" y="196"/>
                </a:cubicBezTo>
                <a:cubicBezTo>
                  <a:pt x="1633" y="197"/>
                  <a:pt x="1633" y="197"/>
                  <a:pt x="1633" y="197"/>
                </a:cubicBezTo>
                <a:cubicBezTo>
                  <a:pt x="1632" y="196"/>
                  <a:pt x="1632" y="196"/>
                  <a:pt x="1632" y="196"/>
                </a:cubicBezTo>
                <a:cubicBezTo>
                  <a:pt x="1632" y="194"/>
                  <a:pt x="1632" y="194"/>
                  <a:pt x="1632" y="194"/>
                </a:cubicBezTo>
                <a:cubicBezTo>
                  <a:pt x="1631" y="192"/>
                  <a:pt x="1631" y="192"/>
                  <a:pt x="1631" y="192"/>
                </a:cubicBezTo>
                <a:cubicBezTo>
                  <a:pt x="1630" y="194"/>
                  <a:pt x="1630" y="194"/>
                  <a:pt x="1630" y="194"/>
                </a:cubicBezTo>
                <a:cubicBezTo>
                  <a:pt x="1628" y="194"/>
                  <a:pt x="1628" y="194"/>
                  <a:pt x="1628" y="194"/>
                </a:cubicBezTo>
                <a:cubicBezTo>
                  <a:pt x="1628" y="193"/>
                  <a:pt x="1628" y="193"/>
                  <a:pt x="1628" y="193"/>
                </a:cubicBezTo>
                <a:cubicBezTo>
                  <a:pt x="1628" y="192"/>
                  <a:pt x="1628" y="192"/>
                  <a:pt x="1628" y="192"/>
                </a:cubicBezTo>
                <a:cubicBezTo>
                  <a:pt x="1627" y="192"/>
                  <a:pt x="1627" y="192"/>
                  <a:pt x="1627" y="192"/>
                </a:cubicBezTo>
                <a:cubicBezTo>
                  <a:pt x="1625" y="194"/>
                  <a:pt x="1625" y="194"/>
                  <a:pt x="1625" y="194"/>
                </a:cubicBezTo>
                <a:cubicBezTo>
                  <a:pt x="1627" y="195"/>
                  <a:pt x="1627" y="195"/>
                  <a:pt x="1627" y="195"/>
                </a:cubicBezTo>
                <a:cubicBezTo>
                  <a:pt x="1629" y="195"/>
                  <a:pt x="1629" y="195"/>
                  <a:pt x="1629" y="195"/>
                </a:cubicBezTo>
                <a:cubicBezTo>
                  <a:pt x="1631" y="196"/>
                  <a:pt x="1631" y="196"/>
                  <a:pt x="1631" y="196"/>
                </a:cubicBezTo>
                <a:cubicBezTo>
                  <a:pt x="1630" y="198"/>
                  <a:pt x="1630" y="198"/>
                  <a:pt x="1630" y="198"/>
                </a:cubicBezTo>
                <a:cubicBezTo>
                  <a:pt x="1626" y="198"/>
                  <a:pt x="1626" y="198"/>
                  <a:pt x="1626" y="198"/>
                </a:cubicBezTo>
                <a:cubicBezTo>
                  <a:pt x="1625" y="197"/>
                  <a:pt x="1625" y="197"/>
                  <a:pt x="1625" y="197"/>
                </a:cubicBezTo>
                <a:cubicBezTo>
                  <a:pt x="1624" y="198"/>
                  <a:pt x="1624" y="198"/>
                  <a:pt x="1624" y="198"/>
                </a:cubicBezTo>
                <a:cubicBezTo>
                  <a:pt x="1623" y="199"/>
                  <a:pt x="1623" y="199"/>
                  <a:pt x="1623" y="199"/>
                </a:cubicBezTo>
                <a:cubicBezTo>
                  <a:pt x="1624" y="201"/>
                  <a:pt x="1624" y="201"/>
                  <a:pt x="1624" y="201"/>
                </a:cubicBezTo>
                <a:cubicBezTo>
                  <a:pt x="1623" y="202"/>
                  <a:pt x="1623" y="202"/>
                  <a:pt x="1623" y="202"/>
                </a:cubicBezTo>
                <a:cubicBezTo>
                  <a:pt x="1624" y="202"/>
                  <a:pt x="1624" y="202"/>
                  <a:pt x="1624" y="202"/>
                </a:cubicBezTo>
                <a:cubicBezTo>
                  <a:pt x="1626" y="200"/>
                  <a:pt x="1626" y="200"/>
                  <a:pt x="1626" y="200"/>
                </a:cubicBezTo>
                <a:cubicBezTo>
                  <a:pt x="1628" y="200"/>
                  <a:pt x="1628" y="200"/>
                  <a:pt x="1628" y="200"/>
                </a:cubicBezTo>
                <a:cubicBezTo>
                  <a:pt x="1629" y="201"/>
                  <a:pt x="1629" y="201"/>
                  <a:pt x="1629" y="201"/>
                </a:cubicBezTo>
                <a:cubicBezTo>
                  <a:pt x="1626" y="201"/>
                  <a:pt x="1626" y="201"/>
                  <a:pt x="1626" y="201"/>
                </a:cubicBezTo>
                <a:cubicBezTo>
                  <a:pt x="1626" y="203"/>
                  <a:pt x="1626" y="203"/>
                  <a:pt x="1626" y="203"/>
                </a:cubicBezTo>
                <a:cubicBezTo>
                  <a:pt x="1627" y="205"/>
                  <a:pt x="1627" y="205"/>
                  <a:pt x="1627" y="205"/>
                </a:cubicBezTo>
                <a:cubicBezTo>
                  <a:pt x="1629" y="206"/>
                  <a:pt x="1629" y="206"/>
                  <a:pt x="1629" y="206"/>
                </a:cubicBezTo>
                <a:cubicBezTo>
                  <a:pt x="1629" y="208"/>
                  <a:pt x="1629" y="208"/>
                  <a:pt x="1629" y="208"/>
                </a:cubicBezTo>
                <a:cubicBezTo>
                  <a:pt x="1627" y="207"/>
                  <a:pt x="1627" y="207"/>
                  <a:pt x="1627" y="207"/>
                </a:cubicBezTo>
                <a:cubicBezTo>
                  <a:pt x="1626" y="207"/>
                  <a:pt x="1626" y="207"/>
                  <a:pt x="1626" y="207"/>
                </a:cubicBezTo>
                <a:cubicBezTo>
                  <a:pt x="1625" y="205"/>
                  <a:pt x="1625" y="205"/>
                  <a:pt x="1625" y="205"/>
                </a:cubicBezTo>
                <a:cubicBezTo>
                  <a:pt x="1624" y="205"/>
                  <a:pt x="1624" y="205"/>
                  <a:pt x="1624" y="205"/>
                </a:cubicBezTo>
                <a:cubicBezTo>
                  <a:pt x="1622" y="206"/>
                  <a:pt x="1622" y="206"/>
                  <a:pt x="1622" y="206"/>
                </a:cubicBezTo>
                <a:cubicBezTo>
                  <a:pt x="1624" y="207"/>
                  <a:pt x="1624" y="207"/>
                  <a:pt x="1624" y="207"/>
                </a:cubicBezTo>
                <a:cubicBezTo>
                  <a:pt x="1622" y="207"/>
                  <a:pt x="1622" y="207"/>
                  <a:pt x="1622" y="207"/>
                </a:cubicBezTo>
                <a:cubicBezTo>
                  <a:pt x="1620" y="209"/>
                  <a:pt x="1620" y="209"/>
                  <a:pt x="1620" y="209"/>
                </a:cubicBezTo>
                <a:cubicBezTo>
                  <a:pt x="1620" y="210"/>
                  <a:pt x="1620" y="210"/>
                  <a:pt x="1620" y="210"/>
                </a:cubicBezTo>
                <a:cubicBezTo>
                  <a:pt x="1622" y="211"/>
                  <a:pt x="1622" y="211"/>
                  <a:pt x="1622" y="211"/>
                </a:cubicBezTo>
                <a:cubicBezTo>
                  <a:pt x="1624" y="210"/>
                  <a:pt x="1624" y="210"/>
                  <a:pt x="1624" y="210"/>
                </a:cubicBezTo>
                <a:cubicBezTo>
                  <a:pt x="1625" y="211"/>
                  <a:pt x="1625" y="211"/>
                  <a:pt x="1625" y="211"/>
                </a:cubicBezTo>
                <a:cubicBezTo>
                  <a:pt x="1627" y="210"/>
                  <a:pt x="1627" y="210"/>
                  <a:pt x="1627" y="210"/>
                </a:cubicBezTo>
                <a:cubicBezTo>
                  <a:pt x="1627" y="212"/>
                  <a:pt x="1627" y="212"/>
                  <a:pt x="1627" y="212"/>
                </a:cubicBezTo>
                <a:cubicBezTo>
                  <a:pt x="1628" y="213"/>
                  <a:pt x="1628" y="213"/>
                  <a:pt x="1628" y="213"/>
                </a:cubicBezTo>
                <a:cubicBezTo>
                  <a:pt x="1628" y="214"/>
                  <a:pt x="1628" y="214"/>
                  <a:pt x="1628" y="214"/>
                </a:cubicBezTo>
                <a:cubicBezTo>
                  <a:pt x="1626" y="212"/>
                  <a:pt x="1626" y="212"/>
                  <a:pt x="1626" y="212"/>
                </a:cubicBezTo>
                <a:cubicBezTo>
                  <a:pt x="1624" y="212"/>
                  <a:pt x="1624" y="212"/>
                  <a:pt x="1624" y="212"/>
                </a:cubicBezTo>
                <a:cubicBezTo>
                  <a:pt x="1623" y="213"/>
                  <a:pt x="1623" y="213"/>
                  <a:pt x="1623" y="213"/>
                </a:cubicBezTo>
                <a:cubicBezTo>
                  <a:pt x="1620" y="213"/>
                  <a:pt x="1620" y="213"/>
                  <a:pt x="1620" y="213"/>
                </a:cubicBezTo>
                <a:cubicBezTo>
                  <a:pt x="1620" y="215"/>
                  <a:pt x="1620" y="215"/>
                  <a:pt x="1620" y="215"/>
                </a:cubicBezTo>
                <a:cubicBezTo>
                  <a:pt x="1618" y="215"/>
                  <a:pt x="1618" y="215"/>
                  <a:pt x="1618" y="215"/>
                </a:cubicBezTo>
                <a:cubicBezTo>
                  <a:pt x="1617" y="215"/>
                  <a:pt x="1617" y="215"/>
                  <a:pt x="1617" y="215"/>
                </a:cubicBezTo>
                <a:cubicBezTo>
                  <a:pt x="1615" y="216"/>
                  <a:pt x="1615" y="216"/>
                  <a:pt x="1615" y="216"/>
                </a:cubicBezTo>
                <a:cubicBezTo>
                  <a:pt x="1614" y="216"/>
                  <a:pt x="1614" y="216"/>
                  <a:pt x="1614" y="216"/>
                </a:cubicBezTo>
                <a:cubicBezTo>
                  <a:pt x="1613" y="217"/>
                  <a:pt x="1613" y="217"/>
                  <a:pt x="1613" y="217"/>
                </a:cubicBezTo>
                <a:cubicBezTo>
                  <a:pt x="1615" y="218"/>
                  <a:pt x="1615" y="218"/>
                  <a:pt x="1615" y="218"/>
                </a:cubicBezTo>
                <a:cubicBezTo>
                  <a:pt x="1616" y="219"/>
                  <a:pt x="1616" y="219"/>
                  <a:pt x="1616" y="219"/>
                </a:cubicBezTo>
                <a:cubicBezTo>
                  <a:pt x="1615" y="220"/>
                  <a:pt x="1615" y="220"/>
                  <a:pt x="1615" y="220"/>
                </a:cubicBezTo>
                <a:cubicBezTo>
                  <a:pt x="1614" y="219"/>
                  <a:pt x="1614" y="219"/>
                  <a:pt x="1614" y="219"/>
                </a:cubicBezTo>
                <a:cubicBezTo>
                  <a:pt x="1613" y="220"/>
                  <a:pt x="1613" y="220"/>
                  <a:pt x="1613" y="220"/>
                </a:cubicBezTo>
                <a:cubicBezTo>
                  <a:pt x="1615" y="221"/>
                  <a:pt x="1615" y="221"/>
                  <a:pt x="1615" y="221"/>
                </a:cubicBezTo>
                <a:cubicBezTo>
                  <a:pt x="1614" y="222"/>
                  <a:pt x="1614" y="222"/>
                  <a:pt x="1614" y="222"/>
                </a:cubicBezTo>
                <a:cubicBezTo>
                  <a:pt x="1612" y="221"/>
                  <a:pt x="1612" y="221"/>
                  <a:pt x="1612" y="221"/>
                </a:cubicBezTo>
                <a:cubicBezTo>
                  <a:pt x="1612" y="221"/>
                  <a:pt x="1612" y="221"/>
                  <a:pt x="1612" y="221"/>
                </a:cubicBezTo>
                <a:cubicBezTo>
                  <a:pt x="1612" y="222"/>
                  <a:pt x="1612" y="222"/>
                  <a:pt x="1612" y="222"/>
                </a:cubicBezTo>
                <a:cubicBezTo>
                  <a:pt x="1613" y="223"/>
                  <a:pt x="1613" y="223"/>
                  <a:pt x="1613" y="223"/>
                </a:cubicBezTo>
                <a:cubicBezTo>
                  <a:pt x="1612" y="223"/>
                  <a:pt x="1612" y="223"/>
                  <a:pt x="1612" y="223"/>
                </a:cubicBezTo>
                <a:cubicBezTo>
                  <a:pt x="1612" y="224"/>
                  <a:pt x="1612" y="224"/>
                  <a:pt x="1612" y="224"/>
                </a:cubicBezTo>
                <a:cubicBezTo>
                  <a:pt x="1613" y="224"/>
                  <a:pt x="1613" y="224"/>
                  <a:pt x="1613" y="224"/>
                </a:cubicBezTo>
                <a:cubicBezTo>
                  <a:pt x="1612" y="225"/>
                  <a:pt x="1612" y="225"/>
                  <a:pt x="1612" y="225"/>
                </a:cubicBezTo>
                <a:cubicBezTo>
                  <a:pt x="1611" y="225"/>
                  <a:pt x="1611" y="225"/>
                  <a:pt x="1611" y="225"/>
                </a:cubicBezTo>
                <a:cubicBezTo>
                  <a:pt x="1610" y="225"/>
                  <a:pt x="1610" y="225"/>
                  <a:pt x="1610" y="225"/>
                </a:cubicBezTo>
                <a:cubicBezTo>
                  <a:pt x="1610" y="226"/>
                  <a:pt x="1610" y="226"/>
                  <a:pt x="1610" y="226"/>
                </a:cubicBezTo>
                <a:cubicBezTo>
                  <a:pt x="1610" y="227"/>
                  <a:pt x="1610" y="227"/>
                  <a:pt x="1610" y="227"/>
                </a:cubicBezTo>
                <a:cubicBezTo>
                  <a:pt x="1611" y="227"/>
                  <a:pt x="1611" y="227"/>
                  <a:pt x="1611" y="227"/>
                </a:cubicBezTo>
                <a:cubicBezTo>
                  <a:pt x="1613" y="228"/>
                  <a:pt x="1613" y="228"/>
                  <a:pt x="1613" y="228"/>
                </a:cubicBezTo>
                <a:cubicBezTo>
                  <a:pt x="1614" y="229"/>
                  <a:pt x="1614" y="229"/>
                  <a:pt x="1614" y="229"/>
                </a:cubicBezTo>
                <a:cubicBezTo>
                  <a:pt x="1615" y="230"/>
                  <a:pt x="1615" y="230"/>
                  <a:pt x="1615" y="230"/>
                </a:cubicBezTo>
                <a:cubicBezTo>
                  <a:pt x="1616" y="229"/>
                  <a:pt x="1616" y="229"/>
                  <a:pt x="1616" y="229"/>
                </a:cubicBezTo>
                <a:cubicBezTo>
                  <a:pt x="1615" y="230"/>
                  <a:pt x="1615" y="230"/>
                  <a:pt x="1615" y="230"/>
                </a:cubicBezTo>
                <a:cubicBezTo>
                  <a:pt x="1615" y="231"/>
                  <a:pt x="1615" y="231"/>
                  <a:pt x="1615" y="231"/>
                </a:cubicBezTo>
                <a:cubicBezTo>
                  <a:pt x="1613" y="231"/>
                  <a:pt x="1613" y="231"/>
                  <a:pt x="1613" y="231"/>
                </a:cubicBezTo>
                <a:cubicBezTo>
                  <a:pt x="1613" y="230"/>
                  <a:pt x="1613" y="230"/>
                  <a:pt x="1613" y="230"/>
                </a:cubicBezTo>
                <a:cubicBezTo>
                  <a:pt x="1610" y="230"/>
                  <a:pt x="1610" y="230"/>
                  <a:pt x="1610" y="230"/>
                </a:cubicBezTo>
                <a:cubicBezTo>
                  <a:pt x="1608" y="232"/>
                  <a:pt x="1608" y="232"/>
                  <a:pt x="1608" y="232"/>
                </a:cubicBezTo>
                <a:cubicBezTo>
                  <a:pt x="1609" y="233"/>
                  <a:pt x="1609" y="233"/>
                  <a:pt x="1609" y="233"/>
                </a:cubicBezTo>
                <a:cubicBezTo>
                  <a:pt x="1611" y="233"/>
                  <a:pt x="1611" y="233"/>
                  <a:pt x="1611" y="233"/>
                </a:cubicBezTo>
                <a:cubicBezTo>
                  <a:pt x="1611" y="234"/>
                  <a:pt x="1611" y="234"/>
                  <a:pt x="1611" y="234"/>
                </a:cubicBezTo>
                <a:cubicBezTo>
                  <a:pt x="1612" y="235"/>
                  <a:pt x="1612" y="235"/>
                  <a:pt x="1612" y="235"/>
                </a:cubicBezTo>
                <a:cubicBezTo>
                  <a:pt x="1612" y="237"/>
                  <a:pt x="1612" y="237"/>
                  <a:pt x="1612" y="237"/>
                </a:cubicBezTo>
                <a:cubicBezTo>
                  <a:pt x="1611" y="235"/>
                  <a:pt x="1611" y="235"/>
                  <a:pt x="1611" y="235"/>
                </a:cubicBezTo>
                <a:cubicBezTo>
                  <a:pt x="1610" y="235"/>
                  <a:pt x="1610" y="235"/>
                  <a:pt x="1610" y="235"/>
                </a:cubicBezTo>
                <a:cubicBezTo>
                  <a:pt x="1609" y="237"/>
                  <a:pt x="1609" y="237"/>
                  <a:pt x="1609" y="237"/>
                </a:cubicBezTo>
                <a:cubicBezTo>
                  <a:pt x="1609" y="238"/>
                  <a:pt x="1609" y="238"/>
                  <a:pt x="1609" y="238"/>
                </a:cubicBezTo>
                <a:cubicBezTo>
                  <a:pt x="1608" y="238"/>
                  <a:pt x="1608" y="238"/>
                  <a:pt x="1608" y="238"/>
                </a:cubicBezTo>
                <a:cubicBezTo>
                  <a:pt x="1609" y="239"/>
                  <a:pt x="1609" y="239"/>
                  <a:pt x="1609" y="239"/>
                </a:cubicBezTo>
                <a:cubicBezTo>
                  <a:pt x="1609" y="241"/>
                  <a:pt x="1609" y="241"/>
                  <a:pt x="1609" y="241"/>
                </a:cubicBezTo>
                <a:cubicBezTo>
                  <a:pt x="1609" y="241"/>
                  <a:pt x="1609" y="241"/>
                  <a:pt x="1609" y="241"/>
                </a:cubicBezTo>
                <a:cubicBezTo>
                  <a:pt x="1608" y="240"/>
                  <a:pt x="1608" y="240"/>
                  <a:pt x="1608" y="240"/>
                </a:cubicBezTo>
                <a:cubicBezTo>
                  <a:pt x="1607" y="240"/>
                  <a:pt x="1607" y="240"/>
                  <a:pt x="1607" y="240"/>
                </a:cubicBezTo>
                <a:cubicBezTo>
                  <a:pt x="1607" y="242"/>
                  <a:pt x="1607" y="242"/>
                  <a:pt x="1607" y="242"/>
                </a:cubicBezTo>
                <a:cubicBezTo>
                  <a:pt x="1609" y="242"/>
                  <a:pt x="1609" y="242"/>
                  <a:pt x="1609" y="242"/>
                </a:cubicBezTo>
                <a:cubicBezTo>
                  <a:pt x="1609" y="243"/>
                  <a:pt x="1609" y="243"/>
                  <a:pt x="1609" y="243"/>
                </a:cubicBezTo>
                <a:cubicBezTo>
                  <a:pt x="1609" y="244"/>
                  <a:pt x="1609" y="244"/>
                  <a:pt x="1609" y="244"/>
                </a:cubicBezTo>
                <a:cubicBezTo>
                  <a:pt x="1607" y="243"/>
                  <a:pt x="1607" y="243"/>
                  <a:pt x="1607" y="243"/>
                </a:cubicBezTo>
                <a:cubicBezTo>
                  <a:pt x="1606" y="243"/>
                  <a:pt x="1606" y="243"/>
                  <a:pt x="1606" y="243"/>
                </a:cubicBezTo>
                <a:cubicBezTo>
                  <a:pt x="1606" y="245"/>
                  <a:pt x="1606" y="245"/>
                  <a:pt x="1606" y="245"/>
                </a:cubicBezTo>
                <a:cubicBezTo>
                  <a:pt x="1606" y="245"/>
                  <a:pt x="1606" y="245"/>
                  <a:pt x="1606" y="245"/>
                </a:cubicBezTo>
                <a:cubicBezTo>
                  <a:pt x="1606" y="247"/>
                  <a:pt x="1606" y="247"/>
                  <a:pt x="1606" y="247"/>
                </a:cubicBezTo>
                <a:cubicBezTo>
                  <a:pt x="1607" y="248"/>
                  <a:pt x="1607" y="248"/>
                  <a:pt x="1607" y="248"/>
                </a:cubicBezTo>
                <a:cubicBezTo>
                  <a:pt x="1608" y="248"/>
                  <a:pt x="1608" y="248"/>
                  <a:pt x="1608" y="248"/>
                </a:cubicBezTo>
                <a:cubicBezTo>
                  <a:pt x="1609" y="247"/>
                  <a:pt x="1609" y="247"/>
                  <a:pt x="1609" y="247"/>
                </a:cubicBezTo>
                <a:cubicBezTo>
                  <a:pt x="1610" y="247"/>
                  <a:pt x="1610" y="247"/>
                  <a:pt x="1610" y="247"/>
                </a:cubicBezTo>
                <a:cubicBezTo>
                  <a:pt x="1609" y="249"/>
                  <a:pt x="1609" y="249"/>
                  <a:pt x="1609" y="249"/>
                </a:cubicBezTo>
                <a:cubicBezTo>
                  <a:pt x="1608" y="249"/>
                  <a:pt x="1608" y="249"/>
                  <a:pt x="1608" y="249"/>
                </a:cubicBezTo>
                <a:cubicBezTo>
                  <a:pt x="1606" y="251"/>
                  <a:pt x="1606" y="251"/>
                  <a:pt x="1606" y="251"/>
                </a:cubicBezTo>
                <a:cubicBezTo>
                  <a:pt x="1605" y="251"/>
                  <a:pt x="1605" y="251"/>
                  <a:pt x="1605" y="251"/>
                </a:cubicBezTo>
                <a:cubicBezTo>
                  <a:pt x="1603" y="252"/>
                  <a:pt x="1603" y="252"/>
                  <a:pt x="1603" y="252"/>
                </a:cubicBezTo>
                <a:cubicBezTo>
                  <a:pt x="1603" y="253"/>
                  <a:pt x="1603" y="253"/>
                  <a:pt x="1603" y="253"/>
                </a:cubicBezTo>
                <a:cubicBezTo>
                  <a:pt x="1602" y="253"/>
                  <a:pt x="1602" y="253"/>
                  <a:pt x="1602" y="253"/>
                </a:cubicBezTo>
                <a:cubicBezTo>
                  <a:pt x="1600" y="254"/>
                  <a:pt x="1600" y="254"/>
                  <a:pt x="1600" y="254"/>
                </a:cubicBezTo>
                <a:cubicBezTo>
                  <a:pt x="1602" y="255"/>
                  <a:pt x="1602" y="255"/>
                  <a:pt x="1602" y="255"/>
                </a:cubicBezTo>
                <a:cubicBezTo>
                  <a:pt x="1601" y="256"/>
                  <a:pt x="1601" y="256"/>
                  <a:pt x="1601" y="256"/>
                </a:cubicBezTo>
                <a:cubicBezTo>
                  <a:pt x="1599" y="256"/>
                  <a:pt x="1599" y="256"/>
                  <a:pt x="1599" y="256"/>
                </a:cubicBezTo>
                <a:cubicBezTo>
                  <a:pt x="1598" y="258"/>
                  <a:pt x="1598" y="258"/>
                  <a:pt x="1598" y="258"/>
                </a:cubicBezTo>
                <a:cubicBezTo>
                  <a:pt x="1598" y="259"/>
                  <a:pt x="1598" y="259"/>
                  <a:pt x="1598" y="259"/>
                </a:cubicBezTo>
                <a:cubicBezTo>
                  <a:pt x="1600" y="259"/>
                  <a:pt x="1600" y="259"/>
                  <a:pt x="1600" y="259"/>
                </a:cubicBezTo>
                <a:cubicBezTo>
                  <a:pt x="1598" y="260"/>
                  <a:pt x="1598" y="260"/>
                  <a:pt x="1598" y="260"/>
                </a:cubicBezTo>
                <a:cubicBezTo>
                  <a:pt x="1597" y="262"/>
                  <a:pt x="1597" y="262"/>
                  <a:pt x="1597" y="262"/>
                </a:cubicBezTo>
                <a:cubicBezTo>
                  <a:pt x="1596" y="262"/>
                  <a:pt x="1596" y="262"/>
                  <a:pt x="1596" y="262"/>
                </a:cubicBezTo>
                <a:cubicBezTo>
                  <a:pt x="1596" y="260"/>
                  <a:pt x="1596" y="260"/>
                  <a:pt x="1596" y="260"/>
                </a:cubicBezTo>
                <a:cubicBezTo>
                  <a:pt x="1595" y="260"/>
                  <a:pt x="1595" y="260"/>
                  <a:pt x="1595" y="260"/>
                </a:cubicBezTo>
                <a:cubicBezTo>
                  <a:pt x="1594" y="260"/>
                  <a:pt x="1594" y="260"/>
                  <a:pt x="1594" y="260"/>
                </a:cubicBezTo>
                <a:cubicBezTo>
                  <a:pt x="1593" y="260"/>
                  <a:pt x="1593" y="260"/>
                  <a:pt x="1593" y="260"/>
                </a:cubicBezTo>
                <a:cubicBezTo>
                  <a:pt x="1593" y="262"/>
                  <a:pt x="1593" y="262"/>
                  <a:pt x="1593" y="262"/>
                </a:cubicBezTo>
                <a:cubicBezTo>
                  <a:pt x="1592" y="262"/>
                  <a:pt x="1592" y="262"/>
                  <a:pt x="1592" y="262"/>
                </a:cubicBezTo>
                <a:cubicBezTo>
                  <a:pt x="1592" y="264"/>
                  <a:pt x="1592" y="264"/>
                  <a:pt x="1592" y="264"/>
                </a:cubicBezTo>
                <a:cubicBezTo>
                  <a:pt x="1593" y="265"/>
                  <a:pt x="1593" y="265"/>
                  <a:pt x="1593" y="265"/>
                </a:cubicBezTo>
                <a:cubicBezTo>
                  <a:pt x="1590" y="265"/>
                  <a:pt x="1590" y="265"/>
                  <a:pt x="1590" y="265"/>
                </a:cubicBezTo>
                <a:cubicBezTo>
                  <a:pt x="1589" y="265"/>
                  <a:pt x="1589" y="265"/>
                  <a:pt x="1589" y="265"/>
                </a:cubicBezTo>
                <a:cubicBezTo>
                  <a:pt x="1589" y="267"/>
                  <a:pt x="1589" y="267"/>
                  <a:pt x="1589" y="267"/>
                </a:cubicBezTo>
                <a:cubicBezTo>
                  <a:pt x="1588" y="268"/>
                  <a:pt x="1588" y="268"/>
                  <a:pt x="1588" y="268"/>
                </a:cubicBezTo>
                <a:cubicBezTo>
                  <a:pt x="1588" y="269"/>
                  <a:pt x="1588" y="269"/>
                  <a:pt x="1588" y="269"/>
                </a:cubicBezTo>
                <a:cubicBezTo>
                  <a:pt x="1588" y="271"/>
                  <a:pt x="1588" y="271"/>
                  <a:pt x="1588" y="271"/>
                </a:cubicBezTo>
                <a:cubicBezTo>
                  <a:pt x="1586" y="272"/>
                  <a:pt x="1586" y="272"/>
                  <a:pt x="1586" y="272"/>
                </a:cubicBezTo>
                <a:cubicBezTo>
                  <a:pt x="1584" y="274"/>
                  <a:pt x="1584" y="274"/>
                  <a:pt x="1584" y="274"/>
                </a:cubicBezTo>
                <a:cubicBezTo>
                  <a:pt x="1585" y="275"/>
                  <a:pt x="1585" y="275"/>
                  <a:pt x="1585" y="275"/>
                </a:cubicBezTo>
                <a:cubicBezTo>
                  <a:pt x="1587" y="273"/>
                  <a:pt x="1587" y="273"/>
                  <a:pt x="1587" y="273"/>
                </a:cubicBezTo>
                <a:cubicBezTo>
                  <a:pt x="1588" y="273"/>
                  <a:pt x="1588" y="273"/>
                  <a:pt x="1588" y="273"/>
                </a:cubicBezTo>
                <a:cubicBezTo>
                  <a:pt x="1588" y="275"/>
                  <a:pt x="1588" y="275"/>
                  <a:pt x="1588" y="275"/>
                </a:cubicBezTo>
                <a:cubicBezTo>
                  <a:pt x="1587" y="275"/>
                  <a:pt x="1587" y="275"/>
                  <a:pt x="1587" y="275"/>
                </a:cubicBezTo>
                <a:cubicBezTo>
                  <a:pt x="1586" y="277"/>
                  <a:pt x="1586" y="277"/>
                  <a:pt x="1586" y="277"/>
                </a:cubicBezTo>
                <a:cubicBezTo>
                  <a:pt x="1588" y="279"/>
                  <a:pt x="1588" y="279"/>
                  <a:pt x="1588" y="279"/>
                </a:cubicBezTo>
                <a:cubicBezTo>
                  <a:pt x="1590" y="277"/>
                  <a:pt x="1590" y="277"/>
                  <a:pt x="1590" y="277"/>
                </a:cubicBezTo>
                <a:cubicBezTo>
                  <a:pt x="1592" y="277"/>
                  <a:pt x="1592" y="277"/>
                  <a:pt x="1592" y="277"/>
                </a:cubicBezTo>
                <a:cubicBezTo>
                  <a:pt x="1595" y="274"/>
                  <a:pt x="1595" y="274"/>
                  <a:pt x="1595" y="274"/>
                </a:cubicBezTo>
                <a:cubicBezTo>
                  <a:pt x="1595" y="273"/>
                  <a:pt x="1595" y="273"/>
                  <a:pt x="1595" y="273"/>
                </a:cubicBezTo>
                <a:cubicBezTo>
                  <a:pt x="1594" y="273"/>
                  <a:pt x="1594" y="273"/>
                  <a:pt x="1594" y="273"/>
                </a:cubicBezTo>
                <a:cubicBezTo>
                  <a:pt x="1595" y="271"/>
                  <a:pt x="1595" y="271"/>
                  <a:pt x="1595" y="271"/>
                </a:cubicBezTo>
                <a:cubicBezTo>
                  <a:pt x="1595" y="269"/>
                  <a:pt x="1595" y="269"/>
                  <a:pt x="1595" y="269"/>
                </a:cubicBezTo>
                <a:cubicBezTo>
                  <a:pt x="1596" y="269"/>
                  <a:pt x="1596" y="269"/>
                  <a:pt x="1596" y="269"/>
                </a:cubicBezTo>
                <a:cubicBezTo>
                  <a:pt x="1597" y="268"/>
                  <a:pt x="1597" y="268"/>
                  <a:pt x="1597" y="268"/>
                </a:cubicBezTo>
                <a:cubicBezTo>
                  <a:pt x="1599" y="268"/>
                  <a:pt x="1599" y="268"/>
                  <a:pt x="1599" y="268"/>
                </a:cubicBezTo>
                <a:cubicBezTo>
                  <a:pt x="1600" y="268"/>
                  <a:pt x="1600" y="268"/>
                  <a:pt x="1600" y="268"/>
                </a:cubicBezTo>
                <a:cubicBezTo>
                  <a:pt x="1597" y="270"/>
                  <a:pt x="1597" y="270"/>
                  <a:pt x="1597" y="270"/>
                </a:cubicBezTo>
                <a:cubicBezTo>
                  <a:pt x="1597" y="272"/>
                  <a:pt x="1597" y="272"/>
                  <a:pt x="1597" y="272"/>
                </a:cubicBezTo>
                <a:cubicBezTo>
                  <a:pt x="1600" y="272"/>
                  <a:pt x="1600" y="272"/>
                  <a:pt x="1600" y="272"/>
                </a:cubicBezTo>
                <a:cubicBezTo>
                  <a:pt x="1599" y="274"/>
                  <a:pt x="1599" y="274"/>
                  <a:pt x="1599" y="274"/>
                </a:cubicBezTo>
                <a:cubicBezTo>
                  <a:pt x="1597" y="274"/>
                  <a:pt x="1597" y="274"/>
                  <a:pt x="1597" y="274"/>
                </a:cubicBezTo>
                <a:cubicBezTo>
                  <a:pt x="1594" y="277"/>
                  <a:pt x="1594" y="277"/>
                  <a:pt x="1594" y="277"/>
                </a:cubicBezTo>
                <a:cubicBezTo>
                  <a:pt x="1596" y="278"/>
                  <a:pt x="1596" y="278"/>
                  <a:pt x="1596" y="278"/>
                </a:cubicBezTo>
                <a:cubicBezTo>
                  <a:pt x="1595" y="279"/>
                  <a:pt x="1595" y="279"/>
                  <a:pt x="1595" y="279"/>
                </a:cubicBezTo>
                <a:cubicBezTo>
                  <a:pt x="1595" y="281"/>
                  <a:pt x="1595" y="281"/>
                  <a:pt x="1595" y="281"/>
                </a:cubicBezTo>
                <a:cubicBezTo>
                  <a:pt x="1593" y="281"/>
                  <a:pt x="1593" y="281"/>
                  <a:pt x="1593" y="281"/>
                </a:cubicBezTo>
                <a:cubicBezTo>
                  <a:pt x="1592" y="279"/>
                  <a:pt x="1592" y="279"/>
                  <a:pt x="1592" y="279"/>
                </a:cubicBezTo>
                <a:cubicBezTo>
                  <a:pt x="1590" y="279"/>
                  <a:pt x="1590" y="279"/>
                  <a:pt x="1590" y="279"/>
                </a:cubicBezTo>
                <a:cubicBezTo>
                  <a:pt x="1589" y="280"/>
                  <a:pt x="1589" y="280"/>
                  <a:pt x="1589" y="280"/>
                </a:cubicBezTo>
                <a:cubicBezTo>
                  <a:pt x="1589" y="282"/>
                  <a:pt x="1589" y="282"/>
                  <a:pt x="1589" y="282"/>
                </a:cubicBezTo>
                <a:cubicBezTo>
                  <a:pt x="1587" y="283"/>
                  <a:pt x="1587" y="283"/>
                  <a:pt x="1587" y="283"/>
                </a:cubicBezTo>
                <a:cubicBezTo>
                  <a:pt x="1585" y="284"/>
                  <a:pt x="1585" y="284"/>
                  <a:pt x="1585" y="284"/>
                </a:cubicBezTo>
                <a:cubicBezTo>
                  <a:pt x="1587" y="282"/>
                  <a:pt x="1587" y="282"/>
                  <a:pt x="1587" y="282"/>
                </a:cubicBezTo>
                <a:cubicBezTo>
                  <a:pt x="1587" y="282"/>
                  <a:pt x="1587" y="282"/>
                  <a:pt x="1587" y="282"/>
                </a:cubicBezTo>
                <a:cubicBezTo>
                  <a:pt x="1586" y="280"/>
                  <a:pt x="1586" y="280"/>
                  <a:pt x="1586" y="280"/>
                </a:cubicBezTo>
                <a:cubicBezTo>
                  <a:pt x="1586" y="278"/>
                  <a:pt x="1586" y="278"/>
                  <a:pt x="1586" y="278"/>
                </a:cubicBezTo>
                <a:cubicBezTo>
                  <a:pt x="1585" y="276"/>
                  <a:pt x="1585" y="276"/>
                  <a:pt x="1585" y="276"/>
                </a:cubicBezTo>
                <a:cubicBezTo>
                  <a:pt x="1583" y="276"/>
                  <a:pt x="1583" y="276"/>
                  <a:pt x="1583" y="276"/>
                </a:cubicBezTo>
                <a:cubicBezTo>
                  <a:pt x="1583" y="278"/>
                  <a:pt x="1583" y="278"/>
                  <a:pt x="1583" y="278"/>
                </a:cubicBezTo>
                <a:cubicBezTo>
                  <a:pt x="1581" y="278"/>
                  <a:pt x="1581" y="278"/>
                  <a:pt x="1581" y="278"/>
                </a:cubicBezTo>
                <a:cubicBezTo>
                  <a:pt x="1581" y="279"/>
                  <a:pt x="1581" y="279"/>
                  <a:pt x="1581" y="279"/>
                </a:cubicBezTo>
                <a:cubicBezTo>
                  <a:pt x="1583" y="279"/>
                  <a:pt x="1583" y="279"/>
                  <a:pt x="1583" y="279"/>
                </a:cubicBezTo>
                <a:cubicBezTo>
                  <a:pt x="1581" y="281"/>
                  <a:pt x="1581" y="281"/>
                  <a:pt x="1581" y="281"/>
                </a:cubicBezTo>
                <a:cubicBezTo>
                  <a:pt x="1579" y="280"/>
                  <a:pt x="1579" y="280"/>
                  <a:pt x="1579" y="280"/>
                </a:cubicBezTo>
                <a:cubicBezTo>
                  <a:pt x="1578" y="281"/>
                  <a:pt x="1578" y="281"/>
                  <a:pt x="1578" y="281"/>
                </a:cubicBezTo>
                <a:cubicBezTo>
                  <a:pt x="1576" y="282"/>
                  <a:pt x="1576" y="282"/>
                  <a:pt x="1576" y="282"/>
                </a:cubicBezTo>
                <a:cubicBezTo>
                  <a:pt x="1577" y="283"/>
                  <a:pt x="1577" y="283"/>
                  <a:pt x="1577" y="283"/>
                </a:cubicBezTo>
                <a:cubicBezTo>
                  <a:pt x="1578" y="282"/>
                  <a:pt x="1578" y="282"/>
                  <a:pt x="1578" y="282"/>
                </a:cubicBezTo>
                <a:cubicBezTo>
                  <a:pt x="1578" y="283"/>
                  <a:pt x="1578" y="283"/>
                  <a:pt x="1578" y="283"/>
                </a:cubicBezTo>
                <a:cubicBezTo>
                  <a:pt x="1576" y="284"/>
                  <a:pt x="1576" y="284"/>
                  <a:pt x="1576" y="284"/>
                </a:cubicBezTo>
                <a:cubicBezTo>
                  <a:pt x="1575" y="285"/>
                  <a:pt x="1575" y="285"/>
                  <a:pt x="1575" y="285"/>
                </a:cubicBezTo>
                <a:cubicBezTo>
                  <a:pt x="1574" y="284"/>
                  <a:pt x="1574" y="284"/>
                  <a:pt x="1574" y="284"/>
                </a:cubicBezTo>
                <a:cubicBezTo>
                  <a:pt x="1573" y="284"/>
                  <a:pt x="1573" y="284"/>
                  <a:pt x="1573" y="284"/>
                </a:cubicBezTo>
                <a:cubicBezTo>
                  <a:pt x="1573" y="285"/>
                  <a:pt x="1573" y="285"/>
                  <a:pt x="1573" y="285"/>
                </a:cubicBezTo>
                <a:cubicBezTo>
                  <a:pt x="1575" y="286"/>
                  <a:pt x="1575" y="286"/>
                  <a:pt x="1575" y="286"/>
                </a:cubicBezTo>
                <a:cubicBezTo>
                  <a:pt x="1578" y="286"/>
                  <a:pt x="1578" y="286"/>
                  <a:pt x="1578" y="286"/>
                </a:cubicBezTo>
                <a:cubicBezTo>
                  <a:pt x="1577" y="288"/>
                  <a:pt x="1577" y="288"/>
                  <a:pt x="1577" y="288"/>
                </a:cubicBezTo>
                <a:cubicBezTo>
                  <a:pt x="1578" y="288"/>
                  <a:pt x="1578" y="288"/>
                  <a:pt x="1578" y="288"/>
                </a:cubicBezTo>
                <a:cubicBezTo>
                  <a:pt x="1578" y="290"/>
                  <a:pt x="1578" y="290"/>
                  <a:pt x="1578" y="290"/>
                </a:cubicBezTo>
                <a:cubicBezTo>
                  <a:pt x="1576" y="289"/>
                  <a:pt x="1576" y="289"/>
                  <a:pt x="1576" y="289"/>
                </a:cubicBezTo>
                <a:cubicBezTo>
                  <a:pt x="1575" y="287"/>
                  <a:pt x="1575" y="287"/>
                  <a:pt x="1575" y="287"/>
                </a:cubicBezTo>
                <a:cubicBezTo>
                  <a:pt x="1574" y="287"/>
                  <a:pt x="1574" y="287"/>
                  <a:pt x="1574" y="287"/>
                </a:cubicBezTo>
                <a:cubicBezTo>
                  <a:pt x="1572" y="286"/>
                  <a:pt x="1572" y="286"/>
                  <a:pt x="1572" y="286"/>
                </a:cubicBezTo>
                <a:cubicBezTo>
                  <a:pt x="1572" y="285"/>
                  <a:pt x="1572" y="285"/>
                  <a:pt x="1572" y="285"/>
                </a:cubicBezTo>
                <a:cubicBezTo>
                  <a:pt x="1571" y="285"/>
                  <a:pt x="1571" y="285"/>
                  <a:pt x="1571" y="285"/>
                </a:cubicBezTo>
                <a:cubicBezTo>
                  <a:pt x="1571" y="286"/>
                  <a:pt x="1571" y="286"/>
                  <a:pt x="1571" y="286"/>
                </a:cubicBezTo>
                <a:cubicBezTo>
                  <a:pt x="1572" y="289"/>
                  <a:pt x="1572" y="289"/>
                  <a:pt x="1572" y="289"/>
                </a:cubicBezTo>
                <a:cubicBezTo>
                  <a:pt x="1574" y="290"/>
                  <a:pt x="1574" y="290"/>
                  <a:pt x="1574" y="290"/>
                </a:cubicBezTo>
                <a:cubicBezTo>
                  <a:pt x="1576" y="290"/>
                  <a:pt x="1576" y="290"/>
                  <a:pt x="1576" y="290"/>
                </a:cubicBezTo>
                <a:cubicBezTo>
                  <a:pt x="1577" y="291"/>
                  <a:pt x="1577" y="291"/>
                  <a:pt x="1577" y="291"/>
                </a:cubicBezTo>
                <a:cubicBezTo>
                  <a:pt x="1575" y="291"/>
                  <a:pt x="1575" y="291"/>
                  <a:pt x="1575" y="291"/>
                </a:cubicBezTo>
                <a:cubicBezTo>
                  <a:pt x="1572" y="290"/>
                  <a:pt x="1572" y="290"/>
                  <a:pt x="1572" y="290"/>
                </a:cubicBezTo>
                <a:cubicBezTo>
                  <a:pt x="1570" y="287"/>
                  <a:pt x="1570" y="287"/>
                  <a:pt x="1570" y="287"/>
                </a:cubicBezTo>
                <a:cubicBezTo>
                  <a:pt x="1568" y="288"/>
                  <a:pt x="1568" y="288"/>
                  <a:pt x="1568" y="288"/>
                </a:cubicBezTo>
                <a:cubicBezTo>
                  <a:pt x="1567" y="287"/>
                  <a:pt x="1567" y="287"/>
                  <a:pt x="1567" y="287"/>
                </a:cubicBezTo>
                <a:cubicBezTo>
                  <a:pt x="1565" y="287"/>
                  <a:pt x="1565" y="287"/>
                  <a:pt x="1565" y="287"/>
                </a:cubicBezTo>
                <a:cubicBezTo>
                  <a:pt x="1564" y="286"/>
                  <a:pt x="1564" y="286"/>
                  <a:pt x="1564" y="286"/>
                </a:cubicBezTo>
                <a:cubicBezTo>
                  <a:pt x="1563" y="287"/>
                  <a:pt x="1563" y="287"/>
                  <a:pt x="1563" y="287"/>
                </a:cubicBezTo>
                <a:cubicBezTo>
                  <a:pt x="1563" y="288"/>
                  <a:pt x="1563" y="288"/>
                  <a:pt x="1563" y="288"/>
                </a:cubicBezTo>
                <a:cubicBezTo>
                  <a:pt x="1562" y="289"/>
                  <a:pt x="1562" y="289"/>
                  <a:pt x="1562" y="289"/>
                </a:cubicBezTo>
                <a:cubicBezTo>
                  <a:pt x="1564" y="291"/>
                  <a:pt x="1564" y="291"/>
                  <a:pt x="1564" y="291"/>
                </a:cubicBezTo>
                <a:cubicBezTo>
                  <a:pt x="1567" y="290"/>
                  <a:pt x="1567" y="290"/>
                  <a:pt x="1567" y="290"/>
                </a:cubicBezTo>
                <a:cubicBezTo>
                  <a:pt x="1568" y="291"/>
                  <a:pt x="1568" y="291"/>
                  <a:pt x="1568" y="291"/>
                </a:cubicBezTo>
                <a:cubicBezTo>
                  <a:pt x="1566" y="292"/>
                  <a:pt x="1566" y="292"/>
                  <a:pt x="1566" y="292"/>
                </a:cubicBezTo>
                <a:cubicBezTo>
                  <a:pt x="1567" y="292"/>
                  <a:pt x="1567" y="292"/>
                  <a:pt x="1567" y="292"/>
                </a:cubicBezTo>
                <a:cubicBezTo>
                  <a:pt x="1569" y="291"/>
                  <a:pt x="1569" y="291"/>
                  <a:pt x="1569" y="291"/>
                </a:cubicBezTo>
                <a:cubicBezTo>
                  <a:pt x="1571" y="291"/>
                  <a:pt x="1571" y="291"/>
                  <a:pt x="1571" y="291"/>
                </a:cubicBezTo>
                <a:cubicBezTo>
                  <a:pt x="1570" y="292"/>
                  <a:pt x="1570" y="292"/>
                  <a:pt x="1570" y="292"/>
                </a:cubicBezTo>
                <a:cubicBezTo>
                  <a:pt x="1567" y="293"/>
                  <a:pt x="1567" y="293"/>
                  <a:pt x="1567" y="293"/>
                </a:cubicBezTo>
                <a:cubicBezTo>
                  <a:pt x="1566" y="295"/>
                  <a:pt x="1566" y="295"/>
                  <a:pt x="1566" y="295"/>
                </a:cubicBezTo>
                <a:cubicBezTo>
                  <a:pt x="1564" y="294"/>
                  <a:pt x="1564" y="294"/>
                  <a:pt x="1564" y="294"/>
                </a:cubicBezTo>
                <a:cubicBezTo>
                  <a:pt x="1562" y="292"/>
                  <a:pt x="1562" y="292"/>
                  <a:pt x="1562" y="292"/>
                </a:cubicBezTo>
                <a:cubicBezTo>
                  <a:pt x="1561" y="292"/>
                  <a:pt x="1561" y="292"/>
                  <a:pt x="1561" y="292"/>
                </a:cubicBezTo>
                <a:cubicBezTo>
                  <a:pt x="1560" y="293"/>
                  <a:pt x="1560" y="293"/>
                  <a:pt x="1560" y="293"/>
                </a:cubicBezTo>
                <a:cubicBezTo>
                  <a:pt x="1559" y="292"/>
                  <a:pt x="1559" y="292"/>
                  <a:pt x="1559" y="292"/>
                </a:cubicBezTo>
                <a:cubicBezTo>
                  <a:pt x="1558" y="293"/>
                  <a:pt x="1558" y="293"/>
                  <a:pt x="1558" y="293"/>
                </a:cubicBezTo>
                <a:cubicBezTo>
                  <a:pt x="1557" y="292"/>
                  <a:pt x="1557" y="292"/>
                  <a:pt x="1557" y="292"/>
                </a:cubicBezTo>
                <a:cubicBezTo>
                  <a:pt x="1555" y="293"/>
                  <a:pt x="1555" y="293"/>
                  <a:pt x="1555" y="293"/>
                </a:cubicBezTo>
                <a:cubicBezTo>
                  <a:pt x="1556" y="294"/>
                  <a:pt x="1556" y="294"/>
                  <a:pt x="1556" y="294"/>
                </a:cubicBezTo>
                <a:cubicBezTo>
                  <a:pt x="1559" y="294"/>
                  <a:pt x="1559" y="294"/>
                  <a:pt x="1559" y="294"/>
                </a:cubicBezTo>
                <a:cubicBezTo>
                  <a:pt x="1561" y="295"/>
                  <a:pt x="1561" y="295"/>
                  <a:pt x="1561" y="295"/>
                </a:cubicBezTo>
                <a:cubicBezTo>
                  <a:pt x="1563" y="297"/>
                  <a:pt x="1563" y="297"/>
                  <a:pt x="1563" y="297"/>
                </a:cubicBezTo>
                <a:cubicBezTo>
                  <a:pt x="1563" y="298"/>
                  <a:pt x="1563" y="298"/>
                  <a:pt x="1563" y="298"/>
                </a:cubicBezTo>
                <a:cubicBezTo>
                  <a:pt x="1564" y="300"/>
                  <a:pt x="1564" y="300"/>
                  <a:pt x="1564" y="300"/>
                </a:cubicBezTo>
                <a:cubicBezTo>
                  <a:pt x="1562" y="300"/>
                  <a:pt x="1562" y="300"/>
                  <a:pt x="1562" y="300"/>
                </a:cubicBezTo>
                <a:cubicBezTo>
                  <a:pt x="1561" y="300"/>
                  <a:pt x="1561" y="300"/>
                  <a:pt x="1561" y="300"/>
                </a:cubicBezTo>
                <a:cubicBezTo>
                  <a:pt x="1561" y="297"/>
                  <a:pt x="1561" y="297"/>
                  <a:pt x="1561" y="297"/>
                </a:cubicBezTo>
                <a:cubicBezTo>
                  <a:pt x="1560" y="296"/>
                  <a:pt x="1560" y="296"/>
                  <a:pt x="1560" y="296"/>
                </a:cubicBezTo>
                <a:cubicBezTo>
                  <a:pt x="1558" y="297"/>
                  <a:pt x="1558" y="297"/>
                  <a:pt x="1558" y="297"/>
                </a:cubicBezTo>
                <a:cubicBezTo>
                  <a:pt x="1559" y="298"/>
                  <a:pt x="1559" y="298"/>
                  <a:pt x="1559" y="298"/>
                </a:cubicBezTo>
                <a:cubicBezTo>
                  <a:pt x="1558" y="299"/>
                  <a:pt x="1558" y="299"/>
                  <a:pt x="1558" y="299"/>
                </a:cubicBezTo>
                <a:cubicBezTo>
                  <a:pt x="1556" y="298"/>
                  <a:pt x="1556" y="298"/>
                  <a:pt x="1556" y="298"/>
                </a:cubicBezTo>
                <a:cubicBezTo>
                  <a:pt x="1554" y="300"/>
                  <a:pt x="1554" y="300"/>
                  <a:pt x="1554" y="300"/>
                </a:cubicBezTo>
                <a:cubicBezTo>
                  <a:pt x="1556" y="301"/>
                  <a:pt x="1556" y="301"/>
                  <a:pt x="1556" y="301"/>
                </a:cubicBezTo>
                <a:cubicBezTo>
                  <a:pt x="1554" y="301"/>
                  <a:pt x="1554" y="301"/>
                  <a:pt x="1554" y="301"/>
                </a:cubicBezTo>
                <a:cubicBezTo>
                  <a:pt x="1553" y="302"/>
                  <a:pt x="1553" y="302"/>
                  <a:pt x="1553" y="302"/>
                </a:cubicBezTo>
                <a:cubicBezTo>
                  <a:pt x="1553" y="300"/>
                  <a:pt x="1553" y="300"/>
                  <a:pt x="1553" y="300"/>
                </a:cubicBezTo>
                <a:cubicBezTo>
                  <a:pt x="1550" y="300"/>
                  <a:pt x="1550" y="300"/>
                  <a:pt x="1550" y="300"/>
                </a:cubicBezTo>
                <a:cubicBezTo>
                  <a:pt x="1551" y="301"/>
                  <a:pt x="1551" y="301"/>
                  <a:pt x="1551" y="301"/>
                </a:cubicBezTo>
                <a:cubicBezTo>
                  <a:pt x="1550" y="302"/>
                  <a:pt x="1550" y="302"/>
                  <a:pt x="1550" y="302"/>
                </a:cubicBezTo>
                <a:cubicBezTo>
                  <a:pt x="1549" y="300"/>
                  <a:pt x="1549" y="300"/>
                  <a:pt x="1549" y="300"/>
                </a:cubicBezTo>
                <a:cubicBezTo>
                  <a:pt x="1547" y="299"/>
                  <a:pt x="1547" y="299"/>
                  <a:pt x="1547" y="299"/>
                </a:cubicBezTo>
                <a:cubicBezTo>
                  <a:pt x="1547" y="299"/>
                  <a:pt x="1547" y="299"/>
                  <a:pt x="1547" y="299"/>
                </a:cubicBezTo>
                <a:cubicBezTo>
                  <a:pt x="1547" y="300"/>
                  <a:pt x="1547" y="300"/>
                  <a:pt x="1547" y="300"/>
                </a:cubicBezTo>
                <a:cubicBezTo>
                  <a:pt x="1549" y="302"/>
                  <a:pt x="1549" y="302"/>
                  <a:pt x="1549" y="302"/>
                </a:cubicBezTo>
                <a:cubicBezTo>
                  <a:pt x="1548" y="303"/>
                  <a:pt x="1548" y="303"/>
                  <a:pt x="1548" y="303"/>
                </a:cubicBezTo>
                <a:cubicBezTo>
                  <a:pt x="1549" y="304"/>
                  <a:pt x="1549" y="304"/>
                  <a:pt x="1549" y="304"/>
                </a:cubicBezTo>
                <a:cubicBezTo>
                  <a:pt x="1551" y="303"/>
                  <a:pt x="1551" y="303"/>
                  <a:pt x="1551" y="303"/>
                </a:cubicBezTo>
                <a:cubicBezTo>
                  <a:pt x="1554" y="304"/>
                  <a:pt x="1554" y="304"/>
                  <a:pt x="1554" y="304"/>
                </a:cubicBezTo>
                <a:cubicBezTo>
                  <a:pt x="1556" y="305"/>
                  <a:pt x="1556" y="305"/>
                  <a:pt x="1556" y="305"/>
                </a:cubicBezTo>
                <a:cubicBezTo>
                  <a:pt x="1559" y="305"/>
                  <a:pt x="1559" y="305"/>
                  <a:pt x="1559" y="305"/>
                </a:cubicBezTo>
                <a:cubicBezTo>
                  <a:pt x="1560" y="305"/>
                  <a:pt x="1560" y="305"/>
                  <a:pt x="1560" y="305"/>
                </a:cubicBezTo>
                <a:cubicBezTo>
                  <a:pt x="1561" y="305"/>
                  <a:pt x="1561" y="305"/>
                  <a:pt x="1561" y="305"/>
                </a:cubicBezTo>
                <a:cubicBezTo>
                  <a:pt x="1559" y="306"/>
                  <a:pt x="1559" y="306"/>
                  <a:pt x="1559" y="306"/>
                </a:cubicBezTo>
                <a:cubicBezTo>
                  <a:pt x="1557" y="306"/>
                  <a:pt x="1557" y="306"/>
                  <a:pt x="1557" y="306"/>
                </a:cubicBezTo>
                <a:cubicBezTo>
                  <a:pt x="1556" y="307"/>
                  <a:pt x="1556" y="307"/>
                  <a:pt x="1556" y="307"/>
                </a:cubicBezTo>
                <a:cubicBezTo>
                  <a:pt x="1552" y="305"/>
                  <a:pt x="1552" y="305"/>
                  <a:pt x="1552" y="305"/>
                </a:cubicBezTo>
                <a:cubicBezTo>
                  <a:pt x="1550" y="306"/>
                  <a:pt x="1550" y="306"/>
                  <a:pt x="1550" y="306"/>
                </a:cubicBezTo>
                <a:cubicBezTo>
                  <a:pt x="1550" y="305"/>
                  <a:pt x="1550" y="305"/>
                  <a:pt x="1550" y="305"/>
                </a:cubicBezTo>
                <a:cubicBezTo>
                  <a:pt x="1548" y="306"/>
                  <a:pt x="1548" y="306"/>
                  <a:pt x="1548" y="306"/>
                </a:cubicBezTo>
                <a:cubicBezTo>
                  <a:pt x="1546" y="307"/>
                  <a:pt x="1546" y="307"/>
                  <a:pt x="1546" y="307"/>
                </a:cubicBezTo>
                <a:cubicBezTo>
                  <a:pt x="1546" y="308"/>
                  <a:pt x="1546" y="308"/>
                  <a:pt x="1546" y="308"/>
                </a:cubicBezTo>
                <a:cubicBezTo>
                  <a:pt x="1549" y="309"/>
                  <a:pt x="1549" y="309"/>
                  <a:pt x="1549" y="309"/>
                </a:cubicBezTo>
                <a:cubicBezTo>
                  <a:pt x="1548" y="310"/>
                  <a:pt x="1548" y="310"/>
                  <a:pt x="1548" y="310"/>
                </a:cubicBezTo>
                <a:cubicBezTo>
                  <a:pt x="1549" y="311"/>
                  <a:pt x="1549" y="311"/>
                  <a:pt x="1549" y="311"/>
                </a:cubicBezTo>
                <a:cubicBezTo>
                  <a:pt x="1550" y="310"/>
                  <a:pt x="1550" y="310"/>
                  <a:pt x="1550" y="310"/>
                </a:cubicBezTo>
                <a:cubicBezTo>
                  <a:pt x="1553" y="310"/>
                  <a:pt x="1553" y="310"/>
                  <a:pt x="1553" y="310"/>
                </a:cubicBezTo>
                <a:cubicBezTo>
                  <a:pt x="1551" y="311"/>
                  <a:pt x="1551" y="311"/>
                  <a:pt x="1551" y="311"/>
                </a:cubicBezTo>
                <a:cubicBezTo>
                  <a:pt x="1548" y="311"/>
                  <a:pt x="1548" y="311"/>
                  <a:pt x="1548" y="311"/>
                </a:cubicBezTo>
                <a:cubicBezTo>
                  <a:pt x="1548" y="312"/>
                  <a:pt x="1548" y="312"/>
                  <a:pt x="1548" y="312"/>
                </a:cubicBezTo>
                <a:cubicBezTo>
                  <a:pt x="1547" y="312"/>
                  <a:pt x="1547" y="312"/>
                  <a:pt x="1547" y="312"/>
                </a:cubicBezTo>
                <a:cubicBezTo>
                  <a:pt x="1547" y="312"/>
                  <a:pt x="1547" y="312"/>
                  <a:pt x="1547" y="312"/>
                </a:cubicBezTo>
                <a:cubicBezTo>
                  <a:pt x="1548" y="313"/>
                  <a:pt x="1548" y="313"/>
                  <a:pt x="1548" y="313"/>
                </a:cubicBezTo>
                <a:cubicBezTo>
                  <a:pt x="1549" y="313"/>
                  <a:pt x="1549" y="313"/>
                  <a:pt x="1549" y="313"/>
                </a:cubicBezTo>
                <a:cubicBezTo>
                  <a:pt x="1547" y="314"/>
                  <a:pt x="1547" y="314"/>
                  <a:pt x="1547" y="314"/>
                </a:cubicBezTo>
                <a:cubicBezTo>
                  <a:pt x="1547" y="314"/>
                  <a:pt x="1547" y="314"/>
                  <a:pt x="1547" y="314"/>
                </a:cubicBezTo>
                <a:cubicBezTo>
                  <a:pt x="1547" y="315"/>
                  <a:pt x="1547" y="315"/>
                  <a:pt x="1547" y="315"/>
                </a:cubicBezTo>
                <a:cubicBezTo>
                  <a:pt x="1548" y="316"/>
                  <a:pt x="1548" y="316"/>
                  <a:pt x="1548" y="316"/>
                </a:cubicBezTo>
                <a:cubicBezTo>
                  <a:pt x="1548" y="317"/>
                  <a:pt x="1548" y="317"/>
                  <a:pt x="1548" y="317"/>
                </a:cubicBezTo>
                <a:cubicBezTo>
                  <a:pt x="1551" y="317"/>
                  <a:pt x="1551" y="317"/>
                  <a:pt x="1551" y="317"/>
                </a:cubicBezTo>
                <a:cubicBezTo>
                  <a:pt x="1552" y="316"/>
                  <a:pt x="1552" y="316"/>
                  <a:pt x="1552" y="316"/>
                </a:cubicBezTo>
                <a:cubicBezTo>
                  <a:pt x="1555" y="315"/>
                  <a:pt x="1555" y="315"/>
                  <a:pt x="1555" y="315"/>
                </a:cubicBezTo>
                <a:cubicBezTo>
                  <a:pt x="1557" y="316"/>
                  <a:pt x="1557" y="316"/>
                  <a:pt x="1557" y="316"/>
                </a:cubicBezTo>
                <a:cubicBezTo>
                  <a:pt x="1558" y="316"/>
                  <a:pt x="1558" y="316"/>
                  <a:pt x="1558" y="316"/>
                </a:cubicBezTo>
                <a:cubicBezTo>
                  <a:pt x="1559" y="315"/>
                  <a:pt x="1559" y="315"/>
                  <a:pt x="1559" y="315"/>
                </a:cubicBezTo>
                <a:cubicBezTo>
                  <a:pt x="1559" y="314"/>
                  <a:pt x="1559" y="314"/>
                  <a:pt x="1559" y="314"/>
                </a:cubicBezTo>
                <a:cubicBezTo>
                  <a:pt x="1561" y="314"/>
                  <a:pt x="1561" y="314"/>
                  <a:pt x="1561" y="314"/>
                </a:cubicBezTo>
                <a:cubicBezTo>
                  <a:pt x="1561" y="315"/>
                  <a:pt x="1561" y="315"/>
                  <a:pt x="1561" y="315"/>
                </a:cubicBezTo>
                <a:cubicBezTo>
                  <a:pt x="1563" y="315"/>
                  <a:pt x="1563" y="315"/>
                  <a:pt x="1563" y="315"/>
                </a:cubicBezTo>
                <a:cubicBezTo>
                  <a:pt x="1565" y="313"/>
                  <a:pt x="1565" y="313"/>
                  <a:pt x="1565" y="313"/>
                </a:cubicBezTo>
                <a:cubicBezTo>
                  <a:pt x="1566" y="314"/>
                  <a:pt x="1566" y="314"/>
                  <a:pt x="1566" y="314"/>
                </a:cubicBezTo>
                <a:cubicBezTo>
                  <a:pt x="1565" y="314"/>
                  <a:pt x="1565" y="314"/>
                  <a:pt x="1565" y="314"/>
                </a:cubicBezTo>
                <a:cubicBezTo>
                  <a:pt x="1564" y="315"/>
                  <a:pt x="1564" y="315"/>
                  <a:pt x="1564" y="315"/>
                </a:cubicBezTo>
                <a:cubicBezTo>
                  <a:pt x="1566" y="316"/>
                  <a:pt x="1566" y="316"/>
                  <a:pt x="1566" y="316"/>
                </a:cubicBezTo>
                <a:cubicBezTo>
                  <a:pt x="1567" y="315"/>
                  <a:pt x="1567" y="315"/>
                  <a:pt x="1567" y="315"/>
                </a:cubicBezTo>
                <a:cubicBezTo>
                  <a:pt x="1567" y="314"/>
                  <a:pt x="1567" y="314"/>
                  <a:pt x="1567" y="314"/>
                </a:cubicBezTo>
                <a:cubicBezTo>
                  <a:pt x="1568" y="312"/>
                  <a:pt x="1568" y="312"/>
                  <a:pt x="1568" y="312"/>
                </a:cubicBezTo>
                <a:cubicBezTo>
                  <a:pt x="1568" y="313"/>
                  <a:pt x="1568" y="313"/>
                  <a:pt x="1568" y="313"/>
                </a:cubicBezTo>
                <a:cubicBezTo>
                  <a:pt x="1569" y="315"/>
                  <a:pt x="1569" y="315"/>
                  <a:pt x="1569" y="315"/>
                </a:cubicBezTo>
                <a:cubicBezTo>
                  <a:pt x="1568" y="317"/>
                  <a:pt x="1568" y="317"/>
                  <a:pt x="1568" y="317"/>
                </a:cubicBezTo>
                <a:cubicBezTo>
                  <a:pt x="1566" y="317"/>
                  <a:pt x="1566" y="317"/>
                  <a:pt x="1566" y="317"/>
                </a:cubicBezTo>
                <a:cubicBezTo>
                  <a:pt x="1564" y="318"/>
                  <a:pt x="1564" y="318"/>
                  <a:pt x="1564" y="318"/>
                </a:cubicBezTo>
                <a:cubicBezTo>
                  <a:pt x="1565" y="319"/>
                  <a:pt x="1565" y="319"/>
                  <a:pt x="1565" y="319"/>
                </a:cubicBezTo>
                <a:cubicBezTo>
                  <a:pt x="1564" y="320"/>
                  <a:pt x="1564" y="320"/>
                  <a:pt x="1564" y="320"/>
                </a:cubicBezTo>
                <a:cubicBezTo>
                  <a:pt x="1562" y="320"/>
                  <a:pt x="1562" y="320"/>
                  <a:pt x="1562" y="320"/>
                </a:cubicBezTo>
                <a:cubicBezTo>
                  <a:pt x="1562" y="319"/>
                  <a:pt x="1562" y="319"/>
                  <a:pt x="1562" y="319"/>
                </a:cubicBezTo>
                <a:cubicBezTo>
                  <a:pt x="1563" y="319"/>
                  <a:pt x="1563" y="319"/>
                  <a:pt x="1563" y="319"/>
                </a:cubicBezTo>
                <a:cubicBezTo>
                  <a:pt x="1563" y="317"/>
                  <a:pt x="1563" y="317"/>
                  <a:pt x="1563" y="317"/>
                </a:cubicBezTo>
                <a:cubicBezTo>
                  <a:pt x="1561" y="316"/>
                  <a:pt x="1561" y="316"/>
                  <a:pt x="1561" y="316"/>
                </a:cubicBezTo>
                <a:cubicBezTo>
                  <a:pt x="1559" y="318"/>
                  <a:pt x="1559" y="318"/>
                  <a:pt x="1559" y="318"/>
                </a:cubicBezTo>
                <a:cubicBezTo>
                  <a:pt x="1558" y="320"/>
                  <a:pt x="1558" y="320"/>
                  <a:pt x="1558" y="320"/>
                </a:cubicBezTo>
                <a:cubicBezTo>
                  <a:pt x="1557" y="318"/>
                  <a:pt x="1557" y="318"/>
                  <a:pt x="1557" y="318"/>
                </a:cubicBezTo>
                <a:cubicBezTo>
                  <a:pt x="1555" y="317"/>
                  <a:pt x="1555" y="317"/>
                  <a:pt x="1555" y="317"/>
                </a:cubicBezTo>
                <a:cubicBezTo>
                  <a:pt x="1553" y="318"/>
                  <a:pt x="1553" y="318"/>
                  <a:pt x="1553" y="318"/>
                </a:cubicBezTo>
                <a:cubicBezTo>
                  <a:pt x="1552" y="317"/>
                  <a:pt x="1552" y="317"/>
                  <a:pt x="1552" y="317"/>
                </a:cubicBezTo>
                <a:cubicBezTo>
                  <a:pt x="1549" y="319"/>
                  <a:pt x="1549" y="319"/>
                  <a:pt x="1549" y="319"/>
                </a:cubicBezTo>
                <a:cubicBezTo>
                  <a:pt x="1548" y="319"/>
                  <a:pt x="1548" y="319"/>
                  <a:pt x="1548" y="319"/>
                </a:cubicBezTo>
                <a:cubicBezTo>
                  <a:pt x="1547" y="318"/>
                  <a:pt x="1547" y="318"/>
                  <a:pt x="1547" y="318"/>
                </a:cubicBezTo>
                <a:cubicBezTo>
                  <a:pt x="1546" y="318"/>
                  <a:pt x="1546" y="318"/>
                  <a:pt x="1546" y="318"/>
                </a:cubicBezTo>
                <a:cubicBezTo>
                  <a:pt x="1547" y="320"/>
                  <a:pt x="1547" y="320"/>
                  <a:pt x="1547" y="320"/>
                </a:cubicBezTo>
                <a:cubicBezTo>
                  <a:pt x="1546" y="321"/>
                  <a:pt x="1546" y="321"/>
                  <a:pt x="1546" y="321"/>
                </a:cubicBezTo>
                <a:cubicBezTo>
                  <a:pt x="1547" y="321"/>
                  <a:pt x="1547" y="321"/>
                  <a:pt x="1547" y="321"/>
                </a:cubicBezTo>
                <a:cubicBezTo>
                  <a:pt x="1549" y="321"/>
                  <a:pt x="1549" y="321"/>
                  <a:pt x="1549" y="321"/>
                </a:cubicBezTo>
                <a:cubicBezTo>
                  <a:pt x="1550" y="320"/>
                  <a:pt x="1550" y="320"/>
                  <a:pt x="1550" y="320"/>
                </a:cubicBezTo>
                <a:cubicBezTo>
                  <a:pt x="1551" y="320"/>
                  <a:pt x="1551" y="320"/>
                  <a:pt x="1551" y="320"/>
                </a:cubicBezTo>
                <a:cubicBezTo>
                  <a:pt x="1549" y="322"/>
                  <a:pt x="1549" y="322"/>
                  <a:pt x="1549" y="322"/>
                </a:cubicBezTo>
                <a:cubicBezTo>
                  <a:pt x="1550" y="323"/>
                  <a:pt x="1550" y="323"/>
                  <a:pt x="1550" y="323"/>
                </a:cubicBezTo>
                <a:cubicBezTo>
                  <a:pt x="1549" y="324"/>
                  <a:pt x="1549" y="324"/>
                  <a:pt x="1549" y="324"/>
                </a:cubicBezTo>
                <a:cubicBezTo>
                  <a:pt x="1547" y="323"/>
                  <a:pt x="1547" y="323"/>
                  <a:pt x="1547" y="323"/>
                </a:cubicBezTo>
                <a:cubicBezTo>
                  <a:pt x="1548" y="325"/>
                  <a:pt x="1548" y="325"/>
                  <a:pt x="1548" y="325"/>
                </a:cubicBezTo>
                <a:cubicBezTo>
                  <a:pt x="1549" y="326"/>
                  <a:pt x="1549" y="326"/>
                  <a:pt x="1549" y="326"/>
                </a:cubicBezTo>
                <a:cubicBezTo>
                  <a:pt x="1552" y="323"/>
                  <a:pt x="1552" y="323"/>
                  <a:pt x="1552" y="323"/>
                </a:cubicBezTo>
                <a:cubicBezTo>
                  <a:pt x="1554" y="324"/>
                  <a:pt x="1554" y="324"/>
                  <a:pt x="1554" y="324"/>
                </a:cubicBezTo>
                <a:cubicBezTo>
                  <a:pt x="1553" y="325"/>
                  <a:pt x="1553" y="325"/>
                  <a:pt x="1553" y="325"/>
                </a:cubicBezTo>
                <a:cubicBezTo>
                  <a:pt x="1553" y="327"/>
                  <a:pt x="1553" y="327"/>
                  <a:pt x="1553" y="327"/>
                </a:cubicBezTo>
                <a:cubicBezTo>
                  <a:pt x="1551" y="328"/>
                  <a:pt x="1551" y="328"/>
                  <a:pt x="1551" y="328"/>
                </a:cubicBezTo>
                <a:cubicBezTo>
                  <a:pt x="1551" y="328"/>
                  <a:pt x="1551" y="328"/>
                  <a:pt x="1551" y="328"/>
                </a:cubicBezTo>
                <a:cubicBezTo>
                  <a:pt x="1553" y="329"/>
                  <a:pt x="1553" y="329"/>
                  <a:pt x="1553" y="329"/>
                </a:cubicBezTo>
                <a:cubicBezTo>
                  <a:pt x="1552" y="330"/>
                  <a:pt x="1552" y="330"/>
                  <a:pt x="1552" y="330"/>
                </a:cubicBezTo>
                <a:cubicBezTo>
                  <a:pt x="1553" y="332"/>
                  <a:pt x="1553" y="332"/>
                  <a:pt x="1553" y="332"/>
                </a:cubicBezTo>
                <a:cubicBezTo>
                  <a:pt x="1552" y="333"/>
                  <a:pt x="1552" y="333"/>
                  <a:pt x="1552" y="333"/>
                </a:cubicBezTo>
                <a:cubicBezTo>
                  <a:pt x="1553" y="334"/>
                  <a:pt x="1553" y="334"/>
                  <a:pt x="1553" y="334"/>
                </a:cubicBezTo>
                <a:cubicBezTo>
                  <a:pt x="1555" y="331"/>
                  <a:pt x="1555" y="331"/>
                  <a:pt x="1555" y="331"/>
                </a:cubicBezTo>
                <a:cubicBezTo>
                  <a:pt x="1556" y="330"/>
                  <a:pt x="1556" y="330"/>
                  <a:pt x="1556" y="330"/>
                </a:cubicBezTo>
                <a:cubicBezTo>
                  <a:pt x="1556" y="328"/>
                  <a:pt x="1556" y="328"/>
                  <a:pt x="1556" y="328"/>
                </a:cubicBezTo>
                <a:cubicBezTo>
                  <a:pt x="1560" y="327"/>
                  <a:pt x="1560" y="327"/>
                  <a:pt x="1560" y="327"/>
                </a:cubicBezTo>
                <a:cubicBezTo>
                  <a:pt x="1562" y="327"/>
                  <a:pt x="1562" y="327"/>
                  <a:pt x="1562" y="327"/>
                </a:cubicBezTo>
                <a:cubicBezTo>
                  <a:pt x="1563" y="327"/>
                  <a:pt x="1563" y="327"/>
                  <a:pt x="1563" y="327"/>
                </a:cubicBezTo>
                <a:cubicBezTo>
                  <a:pt x="1562" y="327"/>
                  <a:pt x="1562" y="327"/>
                  <a:pt x="1562" y="327"/>
                </a:cubicBezTo>
                <a:cubicBezTo>
                  <a:pt x="1560" y="329"/>
                  <a:pt x="1560" y="329"/>
                  <a:pt x="1560" y="329"/>
                </a:cubicBezTo>
                <a:cubicBezTo>
                  <a:pt x="1560" y="331"/>
                  <a:pt x="1560" y="331"/>
                  <a:pt x="1560" y="331"/>
                </a:cubicBezTo>
                <a:cubicBezTo>
                  <a:pt x="1561" y="333"/>
                  <a:pt x="1561" y="333"/>
                  <a:pt x="1561" y="333"/>
                </a:cubicBezTo>
                <a:cubicBezTo>
                  <a:pt x="1559" y="331"/>
                  <a:pt x="1559" y="331"/>
                  <a:pt x="1559" y="331"/>
                </a:cubicBezTo>
                <a:cubicBezTo>
                  <a:pt x="1559" y="329"/>
                  <a:pt x="1559" y="329"/>
                  <a:pt x="1559" y="329"/>
                </a:cubicBezTo>
                <a:cubicBezTo>
                  <a:pt x="1558" y="329"/>
                  <a:pt x="1558" y="329"/>
                  <a:pt x="1558" y="329"/>
                </a:cubicBezTo>
                <a:cubicBezTo>
                  <a:pt x="1557" y="331"/>
                  <a:pt x="1557" y="331"/>
                  <a:pt x="1557" y="331"/>
                </a:cubicBezTo>
                <a:cubicBezTo>
                  <a:pt x="1556" y="332"/>
                  <a:pt x="1556" y="332"/>
                  <a:pt x="1556" y="332"/>
                </a:cubicBezTo>
                <a:cubicBezTo>
                  <a:pt x="1558" y="333"/>
                  <a:pt x="1558" y="333"/>
                  <a:pt x="1558" y="333"/>
                </a:cubicBezTo>
                <a:cubicBezTo>
                  <a:pt x="1556" y="335"/>
                  <a:pt x="1556" y="335"/>
                  <a:pt x="1556" y="335"/>
                </a:cubicBezTo>
                <a:cubicBezTo>
                  <a:pt x="1555" y="335"/>
                  <a:pt x="1555" y="335"/>
                  <a:pt x="1555" y="335"/>
                </a:cubicBezTo>
                <a:cubicBezTo>
                  <a:pt x="1554" y="336"/>
                  <a:pt x="1554" y="336"/>
                  <a:pt x="1554" y="336"/>
                </a:cubicBezTo>
                <a:cubicBezTo>
                  <a:pt x="1555" y="337"/>
                  <a:pt x="1555" y="337"/>
                  <a:pt x="1555" y="337"/>
                </a:cubicBezTo>
                <a:cubicBezTo>
                  <a:pt x="1558" y="337"/>
                  <a:pt x="1558" y="337"/>
                  <a:pt x="1558" y="337"/>
                </a:cubicBezTo>
                <a:cubicBezTo>
                  <a:pt x="1558" y="338"/>
                  <a:pt x="1558" y="338"/>
                  <a:pt x="1558" y="338"/>
                </a:cubicBezTo>
                <a:cubicBezTo>
                  <a:pt x="1556" y="338"/>
                  <a:pt x="1556" y="338"/>
                  <a:pt x="1556" y="338"/>
                </a:cubicBezTo>
                <a:cubicBezTo>
                  <a:pt x="1556" y="339"/>
                  <a:pt x="1556" y="339"/>
                  <a:pt x="1556" y="339"/>
                </a:cubicBezTo>
                <a:cubicBezTo>
                  <a:pt x="1556" y="340"/>
                  <a:pt x="1556" y="340"/>
                  <a:pt x="1556" y="340"/>
                </a:cubicBezTo>
                <a:cubicBezTo>
                  <a:pt x="1553" y="339"/>
                  <a:pt x="1553" y="339"/>
                  <a:pt x="1553" y="339"/>
                </a:cubicBezTo>
                <a:cubicBezTo>
                  <a:pt x="1552" y="339"/>
                  <a:pt x="1552" y="339"/>
                  <a:pt x="1552" y="339"/>
                </a:cubicBezTo>
                <a:cubicBezTo>
                  <a:pt x="1552" y="341"/>
                  <a:pt x="1552" y="341"/>
                  <a:pt x="1552" y="341"/>
                </a:cubicBezTo>
                <a:cubicBezTo>
                  <a:pt x="1552" y="339"/>
                  <a:pt x="1552" y="339"/>
                  <a:pt x="1552" y="339"/>
                </a:cubicBezTo>
                <a:cubicBezTo>
                  <a:pt x="1550" y="340"/>
                  <a:pt x="1550" y="340"/>
                  <a:pt x="1550" y="340"/>
                </a:cubicBezTo>
                <a:cubicBezTo>
                  <a:pt x="1549" y="342"/>
                  <a:pt x="1549" y="342"/>
                  <a:pt x="1549" y="342"/>
                </a:cubicBezTo>
                <a:cubicBezTo>
                  <a:pt x="1549" y="344"/>
                  <a:pt x="1549" y="344"/>
                  <a:pt x="1549" y="344"/>
                </a:cubicBezTo>
                <a:cubicBezTo>
                  <a:pt x="1552" y="347"/>
                  <a:pt x="1552" y="347"/>
                  <a:pt x="1552" y="347"/>
                </a:cubicBezTo>
                <a:cubicBezTo>
                  <a:pt x="1552" y="345"/>
                  <a:pt x="1552" y="345"/>
                  <a:pt x="1552" y="345"/>
                </a:cubicBezTo>
                <a:cubicBezTo>
                  <a:pt x="1553" y="346"/>
                  <a:pt x="1553" y="346"/>
                  <a:pt x="1553" y="346"/>
                </a:cubicBezTo>
                <a:cubicBezTo>
                  <a:pt x="1555" y="345"/>
                  <a:pt x="1555" y="345"/>
                  <a:pt x="1555" y="345"/>
                </a:cubicBezTo>
                <a:cubicBezTo>
                  <a:pt x="1554" y="344"/>
                  <a:pt x="1554" y="344"/>
                  <a:pt x="1554" y="344"/>
                </a:cubicBezTo>
                <a:cubicBezTo>
                  <a:pt x="1555" y="343"/>
                  <a:pt x="1555" y="343"/>
                  <a:pt x="1555" y="343"/>
                </a:cubicBezTo>
                <a:cubicBezTo>
                  <a:pt x="1557" y="344"/>
                  <a:pt x="1557" y="344"/>
                  <a:pt x="1557" y="344"/>
                </a:cubicBezTo>
                <a:cubicBezTo>
                  <a:pt x="1556" y="345"/>
                  <a:pt x="1556" y="345"/>
                  <a:pt x="1556" y="345"/>
                </a:cubicBezTo>
                <a:cubicBezTo>
                  <a:pt x="1557" y="346"/>
                  <a:pt x="1557" y="346"/>
                  <a:pt x="1557" y="346"/>
                </a:cubicBezTo>
                <a:cubicBezTo>
                  <a:pt x="1557" y="348"/>
                  <a:pt x="1557" y="348"/>
                  <a:pt x="1557" y="348"/>
                </a:cubicBezTo>
                <a:cubicBezTo>
                  <a:pt x="1556" y="349"/>
                  <a:pt x="1556" y="349"/>
                  <a:pt x="1556" y="349"/>
                </a:cubicBezTo>
                <a:cubicBezTo>
                  <a:pt x="1557" y="351"/>
                  <a:pt x="1557" y="351"/>
                  <a:pt x="1557" y="351"/>
                </a:cubicBezTo>
                <a:cubicBezTo>
                  <a:pt x="1558" y="350"/>
                  <a:pt x="1558" y="350"/>
                  <a:pt x="1558" y="350"/>
                </a:cubicBezTo>
                <a:cubicBezTo>
                  <a:pt x="1560" y="350"/>
                  <a:pt x="1560" y="350"/>
                  <a:pt x="1560" y="350"/>
                </a:cubicBezTo>
                <a:cubicBezTo>
                  <a:pt x="1561" y="351"/>
                  <a:pt x="1561" y="351"/>
                  <a:pt x="1561" y="351"/>
                </a:cubicBezTo>
                <a:cubicBezTo>
                  <a:pt x="1559" y="351"/>
                  <a:pt x="1559" y="351"/>
                  <a:pt x="1559" y="351"/>
                </a:cubicBezTo>
                <a:cubicBezTo>
                  <a:pt x="1558" y="352"/>
                  <a:pt x="1558" y="352"/>
                  <a:pt x="1558" y="352"/>
                </a:cubicBezTo>
                <a:cubicBezTo>
                  <a:pt x="1559" y="354"/>
                  <a:pt x="1559" y="354"/>
                  <a:pt x="1559" y="354"/>
                </a:cubicBezTo>
                <a:cubicBezTo>
                  <a:pt x="1559" y="354"/>
                  <a:pt x="1559" y="354"/>
                  <a:pt x="1559" y="354"/>
                </a:cubicBezTo>
                <a:cubicBezTo>
                  <a:pt x="1555" y="352"/>
                  <a:pt x="1555" y="352"/>
                  <a:pt x="1555" y="352"/>
                </a:cubicBezTo>
                <a:cubicBezTo>
                  <a:pt x="1554" y="352"/>
                  <a:pt x="1554" y="352"/>
                  <a:pt x="1554" y="352"/>
                </a:cubicBezTo>
                <a:cubicBezTo>
                  <a:pt x="1553" y="351"/>
                  <a:pt x="1553" y="351"/>
                  <a:pt x="1553" y="351"/>
                </a:cubicBezTo>
                <a:cubicBezTo>
                  <a:pt x="1552" y="351"/>
                  <a:pt x="1552" y="351"/>
                  <a:pt x="1552" y="351"/>
                </a:cubicBezTo>
                <a:cubicBezTo>
                  <a:pt x="1552" y="353"/>
                  <a:pt x="1552" y="353"/>
                  <a:pt x="1552" y="353"/>
                </a:cubicBezTo>
                <a:cubicBezTo>
                  <a:pt x="1550" y="354"/>
                  <a:pt x="1550" y="354"/>
                  <a:pt x="1550" y="354"/>
                </a:cubicBezTo>
                <a:cubicBezTo>
                  <a:pt x="1553" y="358"/>
                  <a:pt x="1553" y="358"/>
                  <a:pt x="1553" y="358"/>
                </a:cubicBezTo>
                <a:cubicBezTo>
                  <a:pt x="1555" y="359"/>
                  <a:pt x="1555" y="359"/>
                  <a:pt x="1555" y="359"/>
                </a:cubicBezTo>
                <a:cubicBezTo>
                  <a:pt x="1558" y="361"/>
                  <a:pt x="1558" y="361"/>
                  <a:pt x="1558" y="361"/>
                </a:cubicBezTo>
                <a:cubicBezTo>
                  <a:pt x="1562" y="363"/>
                  <a:pt x="1562" y="363"/>
                  <a:pt x="1562" y="363"/>
                </a:cubicBezTo>
                <a:cubicBezTo>
                  <a:pt x="1562" y="364"/>
                  <a:pt x="1562" y="364"/>
                  <a:pt x="1562" y="364"/>
                </a:cubicBezTo>
                <a:cubicBezTo>
                  <a:pt x="1561" y="364"/>
                  <a:pt x="1561" y="364"/>
                  <a:pt x="1561" y="364"/>
                </a:cubicBezTo>
                <a:cubicBezTo>
                  <a:pt x="1563" y="366"/>
                  <a:pt x="1563" y="366"/>
                  <a:pt x="1563" y="366"/>
                </a:cubicBezTo>
                <a:cubicBezTo>
                  <a:pt x="1564" y="365"/>
                  <a:pt x="1564" y="365"/>
                  <a:pt x="1564" y="365"/>
                </a:cubicBezTo>
                <a:cubicBezTo>
                  <a:pt x="1563" y="363"/>
                  <a:pt x="1563" y="363"/>
                  <a:pt x="1563" y="363"/>
                </a:cubicBezTo>
                <a:cubicBezTo>
                  <a:pt x="1565" y="363"/>
                  <a:pt x="1565" y="363"/>
                  <a:pt x="1565" y="363"/>
                </a:cubicBezTo>
                <a:cubicBezTo>
                  <a:pt x="1566" y="364"/>
                  <a:pt x="1566" y="364"/>
                  <a:pt x="1566" y="364"/>
                </a:cubicBezTo>
                <a:cubicBezTo>
                  <a:pt x="1566" y="365"/>
                  <a:pt x="1566" y="365"/>
                  <a:pt x="1566" y="365"/>
                </a:cubicBezTo>
                <a:cubicBezTo>
                  <a:pt x="1568" y="367"/>
                  <a:pt x="1568" y="367"/>
                  <a:pt x="1568" y="367"/>
                </a:cubicBezTo>
                <a:cubicBezTo>
                  <a:pt x="1569" y="366"/>
                  <a:pt x="1569" y="366"/>
                  <a:pt x="1569" y="366"/>
                </a:cubicBezTo>
                <a:cubicBezTo>
                  <a:pt x="1569" y="366"/>
                  <a:pt x="1569" y="366"/>
                  <a:pt x="1569" y="366"/>
                </a:cubicBezTo>
                <a:cubicBezTo>
                  <a:pt x="1571" y="366"/>
                  <a:pt x="1571" y="366"/>
                  <a:pt x="1571" y="366"/>
                </a:cubicBezTo>
                <a:cubicBezTo>
                  <a:pt x="1573" y="364"/>
                  <a:pt x="1573" y="364"/>
                  <a:pt x="1573" y="364"/>
                </a:cubicBezTo>
                <a:cubicBezTo>
                  <a:pt x="1574" y="363"/>
                  <a:pt x="1574" y="363"/>
                  <a:pt x="1574" y="363"/>
                </a:cubicBezTo>
                <a:cubicBezTo>
                  <a:pt x="1575" y="362"/>
                  <a:pt x="1575" y="362"/>
                  <a:pt x="1575" y="362"/>
                </a:cubicBezTo>
                <a:cubicBezTo>
                  <a:pt x="1575" y="363"/>
                  <a:pt x="1575" y="363"/>
                  <a:pt x="1575" y="363"/>
                </a:cubicBezTo>
                <a:cubicBezTo>
                  <a:pt x="1576" y="364"/>
                  <a:pt x="1576" y="364"/>
                  <a:pt x="1576" y="364"/>
                </a:cubicBezTo>
                <a:cubicBezTo>
                  <a:pt x="1577" y="364"/>
                  <a:pt x="1577" y="364"/>
                  <a:pt x="1577" y="364"/>
                </a:cubicBezTo>
                <a:cubicBezTo>
                  <a:pt x="1581" y="361"/>
                  <a:pt x="1581" y="361"/>
                  <a:pt x="1581" y="361"/>
                </a:cubicBezTo>
                <a:cubicBezTo>
                  <a:pt x="1580" y="359"/>
                  <a:pt x="1580" y="359"/>
                  <a:pt x="1580" y="359"/>
                </a:cubicBezTo>
                <a:cubicBezTo>
                  <a:pt x="1579" y="357"/>
                  <a:pt x="1579" y="357"/>
                  <a:pt x="1579" y="357"/>
                </a:cubicBezTo>
                <a:cubicBezTo>
                  <a:pt x="1582" y="359"/>
                  <a:pt x="1582" y="359"/>
                  <a:pt x="1582" y="359"/>
                </a:cubicBezTo>
                <a:cubicBezTo>
                  <a:pt x="1584" y="357"/>
                  <a:pt x="1584" y="357"/>
                  <a:pt x="1584" y="357"/>
                </a:cubicBezTo>
                <a:cubicBezTo>
                  <a:pt x="1583" y="356"/>
                  <a:pt x="1583" y="356"/>
                  <a:pt x="1583" y="356"/>
                </a:cubicBezTo>
                <a:cubicBezTo>
                  <a:pt x="1584" y="355"/>
                  <a:pt x="1584" y="355"/>
                  <a:pt x="1584" y="355"/>
                </a:cubicBezTo>
                <a:cubicBezTo>
                  <a:pt x="1584" y="354"/>
                  <a:pt x="1584" y="354"/>
                  <a:pt x="1584" y="354"/>
                </a:cubicBezTo>
                <a:cubicBezTo>
                  <a:pt x="1586" y="353"/>
                  <a:pt x="1586" y="353"/>
                  <a:pt x="1586" y="353"/>
                </a:cubicBezTo>
                <a:cubicBezTo>
                  <a:pt x="1587" y="353"/>
                  <a:pt x="1587" y="353"/>
                  <a:pt x="1587" y="353"/>
                </a:cubicBezTo>
                <a:cubicBezTo>
                  <a:pt x="1588" y="351"/>
                  <a:pt x="1588" y="351"/>
                  <a:pt x="1588" y="351"/>
                </a:cubicBezTo>
                <a:cubicBezTo>
                  <a:pt x="1586" y="349"/>
                  <a:pt x="1586" y="349"/>
                  <a:pt x="1586" y="349"/>
                </a:cubicBezTo>
                <a:cubicBezTo>
                  <a:pt x="1587" y="348"/>
                  <a:pt x="1587" y="348"/>
                  <a:pt x="1587" y="348"/>
                </a:cubicBezTo>
                <a:cubicBezTo>
                  <a:pt x="1585" y="346"/>
                  <a:pt x="1585" y="346"/>
                  <a:pt x="1585" y="346"/>
                </a:cubicBezTo>
                <a:cubicBezTo>
                  <a:pt x="1584" y="345"/>
                  <a:pt x="1584" y="345"/>
                  <a:pt x="1584" y="345"/>
                </a:cubicBezTo>
                <a:cubicBezTo>
                  <a:pt x="1584" y="343"/>
                  <a:pt x="1584" y="343"/>
                  <a:pt x="1584" y="343"/>
                </a:cubicBezTo>
                <a:cubicBezTo>
                  <a:pt x="1585" y="344"/>
                  <a:pt x="1585" y="344"/>
                  <a:pt x="1585" y="344"/>
                </a:cubicBezTo>
                <a:cubicBezTo>
                  <a:pt x="1587" y="346"/>
                  <a:pt x="1587" y="346"/>
                  <a:pt x="1587" y="346"/>
                </a:cubicBezTo>
                <a:cubicBezTo>
                  <a:pt x="1587" y="349"/>
                  <a:pt x="1587" y="349"/>
                  <a:pt x="1587" y="349"/>
                </a:cubicBezTo>
                <a:cubicBezTo>
                  <a:pt x="1588" y="350"/>
                  <a:pt x="1588" y="350"/>
                  <a:pt x="1588" y="350"/>
                </a:cubicBezTo>
                <a:cubicBezTo>
                  <a:pt x="1589" y="350"/>
                  <a:pt x="1589" y="350"/>
                  <a:pt x="1589" y="350"/>
                </a:cubicBezTo>
                <a:cubicBezTo>
                  <a:pt x="1589" y="351"/>
                  <a:pt x="1589" y="351"/>
                  <a:pt x="1589" y="351"/>
                </a:cubicBezTo>
                <a:cubicBezTo>
                  <a:pt x="1590" y="352"/>
                  <a:pt x="1590" y="352"/>
                  <a:pt x="1590" y="352"/>
                </a:cubicBezTo>
                <a:cubicBezTo>
                  <a:pt x="1592" y="351"/>
                  <a:pt x="1592" y="351"/>
                  <a:pt x="1592" y="351"/>
                </a:cubicBezTo>
                <a:cubicBezTo>
                  <a:pt x="1591" y="350"/>
                  <a:pt x="1591" y="350"/>
                  <a:pt x="1591" y="350"/>
                </a:cubicBezTo>
                <a:cubicBezTo>
                  <a:pt x="1591" y="349"/>
                  <a:pt x="1591" y="349"/>
                  <a:pt x="1591" y="349"/>
                </a:cubicBezTo>
                <a:cubicBezTo>
                  <a:pt x="1591" y="348"/>
                  <a:pt x="1591" y="348"/>
                  <a:pt x="1591" y="348"/>
                </a:cubicBezTo>
                <a:cubicBezTo>
                  <a:pt x="1593" y="350"/>
                  <a:pt x="1593" y="350"/>
                  <a:pt x="1593" y="350"/>
                </a:cubicBezTo>
                <a:cubicBezTo>
                  <a:pt x="1593" y="350"/>
                  <a:pt x="1593" y="350"/>
                  <a:pt x="1593" y="350"/>
                </a:cubicBezTo>
                <a:cubicBezTo>
                  <a:pt x="1595" y="348"/>
                  <a:pt x="1595" y="348"/>
                  <a:pt x="1595" y="348"/>
                </a:cubicBezTo>
                <a:cubicBezTo>
                  <a:pt x="1596" y="346"/>
                  <a:pt x="1596" y="346"/>
                  <a:pt x="1596" y="346"/>
                </a:cubicBezTo>
                <a:cubicBezTo>
                  <a:pt x="1595" y="344"/>
                  <a:pt x="1595" y="344"/>
                  <a:pt x="1595" y="344"/>
                </a:cubicBezTo>
                <a:cubicBezTo>
                  <a:pt x="1594" y="343"/>
                  <a:pt x="1594" y="343"/>
                  <a:pt x="1594" y="343"/>
                </a:cubicBezTo>
                <a:cubicBezTo>
                  <a:pt x="1593" y="342"/>
                  <a:pt x="1593" y="342"/>
                  <a:pt x="1593" y="342"/>
                </a:cubicBezTo>
                <a:cubicBezTo>
                  <a:pt x="1594" y="342"/>
                  <a:pt x="1594" y="342"/>
                  <a:pt x="1594" y="342"/>
                </a:cubicBezTo>
                <a:cubicBezTo>
                  <a:pt x="1595" y="341"/>
                  <a:pt x="1595" y="341"/>
                  <a:pt x="1595" y="341"/>
                </a:cubicBezTo>
                <a:cubicBezTo>
                  <a:pt x="1595" y="341"/>
                  <a:pt x="1595" y="341"/>
                  <a:pt x="1595" y="341"/>
                </a:cubicBezTo>
                <a:cubicBezTo>
                  <a:pt x="1596" y="340"/>
                  <a:pt x="1596" y="340"/>
                  <a:pt x="1596" y="340"/>
                </a:cubicBezTo>
                <a:cubicBezTo>
                  <a:pt x="1595" y="338"/>
                  <a:pt x="1595" y="338"/>
                  <a:pt x="1595" y="338"/>
                </a:cubicBezTo>
                <a:cubicBezTo>
                  <a:pt x="1595" y="337"/>
                  <a:pt x="1595" y="337"/>
                  <a:pt x="1595" y="337"/>
                </a:cubicBezTo>
                <a:cubicBezTo>
                  <a:pt x="1597" y="335"/>
                  <a:pt x="1597" y="335"/>
                  <a:pt x="1597" y="335"/>
                </a:cubicBezTo>
                <a:cubicBezTo>
                  <a:pt x="1598" y="337"/>
                  <a:pt x="1598" y="337"/>
                  <a:pt x="1598" y="337"/>
                </a:cubicBezTo>
                <a:cubicBezTo>
                  <a:pt x="1597" y="339"/>
                  <a:pt x="1597" y="339"/>
                  <a:pt x="1597" y="339"/>
                </a:cubicBezTo>
                <a:cubicBezTo>
                  <a:pt x="1597" y="341"/>
                  <a:pt x="1597" y="341"/>
                  <a:pt x="1597" y="341"/>
                </a:cubicBezTo>
                <a:cubicBezTo>
                  <a:pt x="1597" y="343"/>
                  <a:pt x="1597" y="343"/>
                  <a:pt x="1597" y="343"/>
                </a:cubicBezTo>
                <a:cubicBezTo>
                  <a:pt x="1598" y="345"/>
                  <a:pt x="1598" y="345"/>
                  <a:pt x="1598" y="345"/>
                </a:cubicBezTo>
                <a:cubicBezTo>
                  <a:pt x="1599" y="346"/>
                  <a:pt x="1599" y="346"/>
                  <a:pt x="1599" y="346"/>
                </a:cubicBezTo>
                <a:cubicBezTo>
                  <a:pt x="1601" y="348"/>
                  <a:pt x="1601" y="348"/>
                  <a:pt x="1601" y="348"/>
                </a:cubicBezTo>
                <a:cubicBezTo>
                  <a:pt x="1603" y="348"/>
                  <a:pt x="1603" y="348"/>
                  <a:pt x="1603" y="348"/>
                </a:cubicBezTo>
                <a:cubicBezTo>
                  <a:pt x="1604" y="349"/>
                  <a:pt x="1604" y="349"/>
                  <a:pt x="1604" y="349"/>
                </a:cubicBezTo>
                <a:cubicBezTo>
                  <a:pt x="1603" y="349"/>
                  <a:pt x="1603" y="349"/>
                  <a:pt x="1603" y="349"/>
                </a:cubicBezTo>
                <a:cubicBezTo>
                  <a:pt x="1603" y="350"/>
                  <a:pt x="1603" y="350"/>
                  <a:pt x="1603" y="350"/>
                </a:cubicBezTo>
                <a:cubicBezTo>
                  <a:pt x="1602" y="351"/>
                  <a:pt x="1602" y="351"/>
                  <a:pt x="1602" y="351"/>
                </a:cubicBezTo>
                <a:cubicBezTo>
                  <a:pt x="1602" y="355"/>
                  <a:pt x="1602" y="355"/>
                  <a:pt x="1602" y="355"/>
                </a:cubicBezTo>
                <a:cubicBezTo>
                  <a:pt x="1603" y="356"/>
                  <a:pt x="1603" y="356"/>
                  <a:pt x="1603" y="356"/>
                </a:cubicBezTo>
                <a:cubicBezTo>
                  <a:pt x="1603" y="359"/>
                  <a:pt x="1603" y="359"/>
                  <a:pt x="1603" y="359"/>
                </a:cubicBezTo>
                <a:cubicBezTo>
                  <a:pt x="1605" y="360"/>
                  <a:pt x="1605" y="360"/>
                  <a:pt x="1605" y="360"/>
                </a:cubicBezTo>
                <a:cubicBezTo>
                  <a:pt x="1605" y="361"/>
                  <a:pt x="1605" y="361"/>
                  <a:pt x="1605" y="361"/>
                </a:cubicBezTo>
                <a:cubicBezTo>
                  <a:pt x="1605" y="363"/>
                  <a:pt x="1605" y="363"/>
                  <a:pt x="1605" y="363"/>
                </a:cubicBezTo>
                <a:cubicBezTo>
                  <a:pt x="1607" y="362"/>
                  <a:pt x="1607" y="362"/>
                  <a:pt x="1607" y="362"/>
                </a:cubicBezTo>
                <a:cubicBezTo>
                  <a:pt x="1606" y="361"/>
                  <a:pt x="1606" y="361"/>
                  <a:pt x="1606" y="361"/>
                </a:cubicBezTo>
                <a:cubicBezTo>
                  <a:pt x="1606" y="359"/>
                  <a:pt x="1606" y="359"/>
                  <a:pt x="1606" y="359"/>
                </a:cubicBezTo>
                <a:cubicBezTo>
                  <a:pt x="1607" y="359"/>
                  <a:pt x="1607" y="359"/>
                  <a:pt x="1607" y="359"/>
                </a:cubicBezTo>
                <a:cubicBezTo>
                  <a:pt x="1606" y="360"/>
                  <a:pt x="1606" y="360"/>
                  <a:pt x="1606" y="360"/>
                </a:cubicBezTo>
                <a:cubicBezTo>
                  <a:pt x="1608" y="361"/>
                  <a:pt x="1608" y="361"/>
                  <a:pt x="1608" y="361"/>
                </a:cubicBezTo>
                <a:cubicBezTo>
                  <a:pt x="1609" y="362"/>
                  <a:pt x="1609" y="362"/>
                  <a:pt x="1609" y="362"/>
                </a:cubicBezTo>
                <a:cubicBezTo>
                  <a:pt x="1607" y="364"/>
                  <a:pt x="1607" y="364"/>
                  <a:pt x="1607" y="364"/>
                </a:cubicBezTo>
                <a:cubicBezTo>
                  <a:pt x="1606" y="365"/>
                  <a:pt x="1606" y="365"/>
                  <a:pt x="1606" y="365"/>
                </a:cubicBezTo>
                <a:cubicBezTo>
                  <a:pt x="1607" y="367"/>
                  <a:pt x="1607" y="367"/>
                  <a:pt x="1607" y="367"/>
                </a:cubicBezTo>
                <a:cubicBezTo>
                  <a:pt x="1607" y="369"/>
                  <a:pt x="1607" y="369"/>
                  <a:pt x="1607" y="369"/>
                </a:cubicBezTo>
                <a:cubicBezTo>
                  <a:pt x="1606" y="370"/>
                  <a:pt x="1606" y="370"/>
                  <a:pt x="1606" y="370"/>
                </a:cubicBezTo>
                <a:cubicBezTo>
                  <a:pt x="1607" y="372"/>
                  <a:pt x="1607" y="372"/>
                  <a:pt x="1607" y="372"/>
                </a:cubicBezTo>
                <a:cubicBezTo>
                  <a:pt x="1608" y="372"/>
                  <a:pt x="1608" y="372"/>
                  <a:pt x="1608" y="372"/>
                </a:cubicBezTo>
                <a:cubicBezTo>
                  <a:pt x="1609" y="375"/>
                  <a:pt x="1609" y="375"/>
                  <a:pt x="1609" y="375"/>
                </a:cubicBezTo>
                <a:cubicBezTo>
                  <a:pt x="1610" y="376"/>
                  <a:pt x="1610" y="376"/>
                  <a:pt x="1610" y="376"/>
                </a:cubicBezTo>
                <a:cubicBezTo>
                  <a:pt x="1612" y="379"/>
                  <a:pt x="1612" y="379"/>
                  <a:pt x="1612" y="379"/>
                </a:cubicBezTo>
                <a:cubicBezTo>
                  <a:pt x="1612" y="382"/>
                  <a:pt x="1612" y="382"/>
                  <a:pt x="1612" y="382"/>
                </a:cubicBezTo>
                <a:cubicBezTo>
                  <a:pt x="1614" y="383"/>
                  <a:pt x="1614" y="383"/>
                  <a:pt x="1614" y="383"/>
                </a:cubicBezTo>
                <a:cubicBezTo>
                  <a:pt x="1615" y="385"/>
                  <a:pt x="1615" y="385"/>
                  <a:pt x="1615" y="385"/>
                </a:cubicBezTo>
                <a:cubicBezTo>
                  <a:pt x="1617" y="387"/>
                  <a:pt x="1617" y="387"/>
                  <a:pt x="1617" y="387"/>
                </a:cubicBezTo>
                <a:cubicBezTo>
                  <a:pt x="1619" y="386"/>
                  <a:pt x="1619" y="386"/>
                  <a:pt x="1619" y="386"/>
                </a:cubicBezTo>
                <a:cubicBezTo>
                  <a:pt x="1620" y="388"/>
                  <a:pt x="1620" y="388"/>
                  <a:pt x="1620" y="388"/>
                </a:cubicBezTo>
                <a:cubicBezTo>
                  <a:pt x="1618" y="391"/>
                  <a:pt x="1618" y="391"/>
                  <a:pt x="1618" y="391"/>
                </a:cubicBezTo>
                <a:cubicBezTo>
                  <a:pt x="1616" y="391"/>
                  <a:pt x="1616" y="391"/>
                  <a:pt x="1616" y="391"/>
                </a:cubicBezTo>
                <a:cubicBezTo>
                  <a:pt x="1615" y="392"/>
                  <a:pt x="1615" y="392"/>
                  <a:pt x="1615" y="392"/>
                </a:cubicBezTo>
                <a:cubicBezTo>
                  <a:pt x="1617" y="393"/>
                  <a:pt x="1617" y="393"/>
                  <a:pt x="1617" y="393"/>
                </a:cubicBezTo>
                <a:cubicBezTo>
                  <a:pt x="1617" y="395"/>
                  <a:pt x="1617" y="395"/>
                  <a:pt x="1617" y="395"/>
                </a:cubicBezTo>
                <a:cubicBezTo>
                  <a:pt x="1619" y="396"/>
                  <a:pt x="1619" y="396"/>
                  <a:pt x="1619" y="396"/>
                </a:cubicBezTo>
                <a:cubicBezTo>
                  <a:pt x="1620" y="400"/>
                  <a:pt x="1620" y="400"/>
                  <a:pt x="1620" y="400"/>
                </a:cubicBezTo>
                <a:cubicBezTo>
                  <a:pt x="1619" y="402"/>
                  <a:pt x="1619" y="402"/>
                  <a:pt x="1619" y="402"/>
                </a:cubicBezTo>
                <a:cubicBezTo>
                  <a:pt x="1620" y="403"/>
                  <a:pt x="1620" y="403"/>
                  <a:pt x="1620" y="403"/>
                </a:cubicBezTo>
                <a:cubicBezTo>
                  <a:pt x="1622" y="403"/>
                  <a:pt x="1622" y="403"/>
                  <a:pt x="1622" y="403"/>
                </a:cubicBezTo>
                <a:cubicBezTo>
                  <a:pt x="1627" y="402"/>
                  <a:pt x="1627" y="402"/>
                  <a:pt x="1627" y="402"/>
                </a:cubicBezTo>
                <a:cubicBezTo>
                  <a:pt x="1630" y="403"/>
                  <a:pt x="1630" y="403"/>
                  <a:pt x="1630" y="403"/>
                </a:cubicBezTo>
                <a:cubicBezTo>
                  <a:pt x="1632" y="401"/>
                  <a:pt x="1632" y="401"/>
                  <a:pt x="1632" y="401"/>
                </a:cubicBezTo>
                <a:cubicBezTo>
                  <a:pt x="1631" y="399"/>
                  <a:pt x="1631" y="399"/>
                  <a:pt x="1631" y="399"/>
                </a:cubicBezTo>
                <a:cubicBezTo>
                  <a:pt x="1630" y="398"/>
                  <a:pt x="1630" y="398"/>
                  <a:pt x="1630" y="398"/>
                </a:cubicBezTo>
                <a:cubicBezTo>
                  <a:pt x="1632" y="395"/>
                  <a:pt x="1632" y="395"/>
                  <a:pt x="1632" y="395"/>
                </a:cubicBezTo>
                <a:cubicBezTo>
                  <a:pt x="1635" y="395"/>
                  <a:pt x="1635" y="395"/>
                  <a:pt x="1635" y="395"/>
                </a:cubicBezTo>
                <a:cubicBezTo>
                  <a:pt x="1635" y="391"/>
                  <a:pt x="1635" y="391"/>
                  <a:pt x="1635" y="391"/>
                </a:cubicBezTo>
                <a:cubicBezTo>
                  <a:pt x="1636" y="393"/>
                  <a:pt x="1636" y="393"/>
                  <a:pt x="1636" y="393"/>
                </a:cubicBezTo>
                <a:cubicBezTo>
                  <a:pt x="1640" y="393"/>
                  <a:pt x="1640" y="393"/>
                  <a:pt x="1640" y="393"/>
                </a:cubicBezTo>
                <a:cubicBezTo>
                  <a:pt x="1642" y="392"/>
                  <a:pt x="1642" y="392"/>
                  <a:pt x="1642" y="392"/>
                </a:cubicBezTo>
                <a:cubicBezTo>
                  <a:pt x="1644" y="393"/>
                  <a:pt x="1644" y="393"/>
                  <a:pt x="1644" y="393"/>
                </a:cubicBezTo>
                <a:cubicBezTo>
                  <a:pt x="1645" y="394"/>
                  <a:pt x="1645" y="394"/>
                  <a:pt x="1645" y="394"/>
                </a:cubicBezTo>
                <a:cubicBezTo>
                  <a:pt x="1647" y="392"/>
                  <a:pt x="1647" y="392"/>
                  <a:pt x="1647" y="392"/>
                </a:cubicBezTo>
                <a:cubicBezTo>
                  <a:pt x="1648" y="388"/>
                  <a:pt x="1648" y="388"/>
                  <a:pt x="1648" y="388"/>
                </a:cubicBezTo>
                <a:cubicBezTo>
                  <a:pt x="1649" y="386"/>
                  <a:pt x="1649" y="386"/>
                  <a:pt x="1649" y="386"/>
                </a:cubicBezTo>
                <a:cubicBezTo>
                  <a:pt x="1650" y="381"/>
                  <a:pt x="1650" y="381"/>
                  <a:pt x="1650" y="381"/>
                </a:cubicBezTo>
                <a:cubicBezTo>
                  <a:pt x="1651" y="379"/>
                  <a:pt x="1651" y="379"/>
                  <a:pt x="1651" y="379"/>
                </a:cubicBezTo>
                <a:cubicBezTo>
                  <a:pt x="1649" y="378"/>
                  <a:pt x="1649" y="378"/>
                  <a:pt x="1649" y="378"/>
                </a:cubicBezTo>
                <a:cubicBezTo>
                  <a:pt x="1649" y="376"/>
                  <a:pt x="1649" y="376"/>
                  <a:pt x="1649" y="376"/>
                </a:cubicBezTo>
                <a:cubicBezTo>
                  <a:pt x="1651" y="374"/>
                  <a:pt x="1651" y="374"/>
                  <a:pt x="1651" y="374"/>
                </a:cubicBezTo>
                <a:cubicBezTo>
                  <a:pt x="1649" y="372"/>
                  <a:pt x="1649" y="372"/>
                  <a:pt x="1649" y="372"/>
                </a:cubicBezTo>
                <a:cubicBezTo>
                  <a:pt x="1651" y="370"/>
                  <a:pt x="1651" y="370"/>
                  <a:pt x="1651" y="370"/>
                </a:cubicBezTo>
                <a:cubicBezTo>
                  <a:pt x="1649" y="369"/>
                  <a:pt x="1649" y="369"/>
                  <a:pt x="1649" y="369"/>
                </a:cubicBezTo>
                <a:cubicBezTo>
                  <a:pt x="1650" y="367"/>
                  <a:pt x="1650" y="367"/>
                  <a:pt x="1650" y="367"/>
                </a:cubicBezTo>
                <a:cubicBezTo>
                  <a:pt x="1648" y="365"/>
                  <a:pt x="1648" y="365"/>
                  <a:pt x="1648" y="365"/>
                </a:cubicBezTo>
                <a:cubicBezTo>
                  <a:pt x="1651" y="366"/>
                  <a:pt x="1651" y="366"/>
                  <a:pt x="1651" y="366"/>
                </a:cubicBezTo>
                <a:cubicBezTo>
                  <a:pt x="1653" y="366"/>
                  <a:pt x="1653" y="366"/>
                  <a:pt x="1653" y="366"/>
                </a:cubicBezTo>
                <a:cubicBezTo>
                  <a:pt x="1651" y="364"/>
                  <a:pt x="1651" y="364"/>
                  <a:pt x="1651" y="364"/>
                </a:cubicBezTo>
                <a:cubicBezTo>
                  <a:pt x="1652" y="361"/>
                  <a:pt x="1652" y="361"/>
                  <a:pt x="1652" y="361"/>
                </a:cubicBezTo>
                <a:cubicBezTo>
                  <a:pt x="1652" y="360"/>
                  <a:pt x="1652" y="360"/>
                  <a:pt x="1652" y="360"/>
                </a:cubicBezTo>
                <a:cubicBezTo>
                  <a:pt x="1649" y="359"/>
                  <a:pt x="1649" y="359"/>
                  <a:pt x="1649" y="359"/>
                </a:cubicBezTo>
                <a:cubicBezTo>
                  <a:pt x="1653" y="359"/>
                  <a:pt x="1653" y="359"/>
                  <a:pt x="1653" y="359"/>
                </a:cubicBezTo>
                <a:cubicBezTo>
                  <a:pt x="1651" y="357"/>
                  <a:pt x="1651" y="357"/>
                  <a:pt x="1651" y="357"/>
                </a:cubicBezTo>
                <a:cubicBezTo>
                  <a:pt x="1649" y="357"/>
                  <a:pt x="1649" y="357"/>
                  <a:pt x="1649" y="357"/>
                </a:cubicBezTo>
                <a:cubicBezTo>
                  <a:pt x="1650" y="355"/>
                  <a:pt x="1650" y="355"/>
                  <a:pt x="1650" y="355"/>
                </a:cubicBezTo>
                <a:cubicBezTo>
                  <a:pt x="1651" y="355"/>
                  <a:pt x="1651" y="355"/>
                  <a:pt x="1651" y="355"/>
                </a:cubicBezTo>
                <a:cubicBezTo>
                  <a:pt x="1651" y="356"/>
                  <a:pt x="1651" y="356"/>
                  <a:pt x="1651" y="356"/>
                </a:cubicBezTo>
                <a:cubicBezTo>
                  <a:pt x="1653" y="355"/>
                  <a:pt x="1653" y="355"/>
                  <a:pt x="1653" y="355"/>
                </a:cubicBezTo>
                <a:cubicBezTo>
                  <a:pt x="1653" y="353"/>
                  <a:pt x="1653" y="353"/>
                  <a:pt x="1653" y="353"/>
                </a:cubicBezTo>
                <a:cubicBezTo>
                  <a:pt x="1654" y="355"/>
                  <a:pt x="1654" y="355"/>
                  <a:pt x="1654" y="355"/>
                </a:cubicBezTo>
                <a:cubicBezTo>
                  <a:pt x="1654" y="353"/>
                  <a:pt x="1654" y="353"/>
                  <a:pt x="1654" y="353"/>
                </a:cubicBezTo>
                <a:cubicBezTo>
                  <a:pt x="1656" y="351"/>
                  <a:pt x="1656" y="351"/>
                  <a:pt x="1656" y="351"/>
                </a:cubicBezTo>
                <a:cubicBezTo>
                  <a:pt x="1657" y="351"/>
                  <a:pt x="1657" y="351"/>
                  <a:pt x="1657" y="351"/>
                </a:cubicBezTo>
                <a:cubicBezTo>
                  <a:pt x="1657" y="350"/>
                  <a:pt x="1657" y="350"/>
                  <a:pt x="1657" y="350"/>
                </a:cubicBezTo>
                <a:cubicBezTo>
                  <a:pt x="1658" y="348"/>
                  <a:pt x="1658" y="348"/>
                  <a:pt x="1658" y="348"/>
                </a:cubicBezTo>
                <a:cubicBezTo>
                  <a:pt x="1658" y="349"/>
                  <a:pt x="1658" y="349"/>
                  <a:pt x="1658" y="349"/>
                </a:cubicBezTo>
                <a:cubicBezTo>
                  <a:pt x="1658" y="351"/>
                  <a:pt x="1658" y="351"/>
                  <a:pt x="1658" y="351"/>
                </a:cubicBezTo>
                <a:cubicBezTo>
                  <a:pt x="1659" y="351"/>
                  <a:pt x="1659" y="351"/>
                  <a:pt x="1659" y="351"/>
                </a:cubicBezTo>
                <a:cubicBezTo>
                  <a:pt x="1661" y="349"/>
                  <a:pt x="1661" y="349"/>
                  <a:pt x="1661" y="349"/>
                </a:cubicBezTo>
                <a:cubicBezTo>
                  <a:pt x="1662" y="349"/>
                  <a:pt x="1662" y="349"/>
                  <a:pt x="1662" y="349"/>
                </a:cubicBezTo>
                <a:cubicBezTo>
                  <a:pt x="1664" y="347"/>
                  <a:pt x="1664" y="347"/>
                  <a:pt x="1664" y="347"/>
                </a:cubicBezTo>
                <a:cubicBezTo>
                  <a:pt x="1663" y="346"/>
                  <a:pt x="1663" y="346"/>
                  <a:pt x="1663" y="346"/>
                </a:cubicBezTo>
                <a:cubicBezTo>
                  <a:pt x="1662" y="345"/>
                  <a:pt x="1662" y="345"/>
                  <a:pt x="1662" y="345"/>
                </a:cubicBezTo>
                <a:cubicBezTo>
                  <a:pt x="1660" y="344"/>
                  <a:pt x="1660" y="344"/>
                  <a:pt x="1660" y="344"/>
                </a:cubicBezTo>
                <a:cubicBezTo>
                  <a:pt x="1658" y="345"/>
                  <a:pt x="1658" y="345"/>
                  <a:pt x="1658" y="345"/>
                </a:cubicBezTo>
                <a:cubicBezTo>
                  <a:pt x="1657" y="344"/>
                  <a:pt x="1657" y="344"/>
                  <a:pt x="1657" y="344"/>
                </a:cubicBezTo>
                <a:cubicBezTo>
                  <a:pt x="1655" y="345"/>
                  <a:pt x="1655" y="345"/>
                  <a:pt x="1655" y="345"/>
                </a:cubicBezTo>
                <a:cubicBezTo>
                  <a:pt x="1654" y="344"/>
                  <a:pt x="1654" y="344"/>
                  <a:pt x="1654" y="344"/>
                </a:cubicBezTo>
                <a:cubicBezTo>
                  <a:pt x="1652" y="343"/>
                  <a:pt x="1652" y="343"/>
                  <a:pt x="1652" y="343"/>
                </a:cubicBezTo>
                <a:cubicBezTo>
                  <a:pt x="1651" y="342"/>
                  <a:pt x="1651" y="342"/>
                  <a:pt x="1651" y="342"/>
                </a:cubicBezTo>
                <a:cubicBezTo>
                  <a:pt x="1648" y="342"/>
                  <a:pt x="1648" y="342"/>
                  <a:pt x="1648" y="342"/>
                </a:cubicBezTo>
                <a:cubicBezTo>
                  <a:pt x="1648" y="343"/>
                  <a:pt x="1648" y="343"/>
                  <a:pt x="1648" y="343"/>
                </a:cubicBezTo>
                <a:cubicBezTo>
                  <a:pt x="1647" y="343"/>
                  <a:pt x="1647" y="343"/>
                  <a:pt x="1647" y="343"/>
                </a:cubicBezTo>
                <a:cubicBezTo>
                  <a:pt x="1644" y="342"/>
                  <a:pt x="1644" y="342"/>
                  <a:pt x="1644" y="342"/>
                </a:cubicBezTo>
                <a:cubicBezTo>
                  <a:pt x="1644" y="342"/>
                  <a:pt x="1644" y="342"/>
                  <a:pt x="1644" y="342"/>
                </a:cubicBezTo>
                <a:cubicBezTo>
                  <a:pt x="1645" y="341"/>
                  <a:pt x="1645" y="341"/>
                  <a:pt x="1645" y="341"/>
                </a:cubicBezTo>
                <a:cubicBezTo>
                  <a:pt x="1647" y="342"/>
                  <a:pt x="1647" y="342"/>
                  <a:pt x="1647" y="342"/>
                </a:cubicBezTo>
                <a:cubicBezTo>
                  <a:pt x="1648" y="340"/>
                  <a:pt x="1648" y="340"/>
                  <a:pt x="1648" y="340"/>
                </a:cubicBezTo>
                <a:cubicBezTo>
                  <a:pt x="1649" y="341"/>
                  <a:pt x="1649" y="341"/>
                  <a:pt x="1649" y="341"/>
                </a:cubicBezTo>
                <a:cubicBezTo>
                  <a:pt x="1651" y="340"/>
                  <a:pt x="1651" y="340"/>
                  <a:pt x="1651" y="340"/>
                </a:cubicBezTo>
                <a:cubicBezTo>
                  <a:pt x="1651" y="339"/>
                  <a:pt x="1651" y="339"/>
                  <a:pt x="1651" y="339"/>
                </a:cubicBezTo>
                <a:cubicBezTo>
                  <a:pt x="1653" y="339"/>
                  <a:pt x="1653" y="339"/>
                  <a:pt x="1653" y="339"/>
                </a:cubicBezTo>
                <a:cubicBezTo>
                  <a:pt x="1654" y="340"/>
                  <a:pt x="1654" y="340"/>
                  <a:pt x="1654" y="340"/>
                </a:cubicBezTo>
                <a:cubicBezTo>
                  <a:pt x="1655" y="340"/>
                  <a:pt x="1655" y="340"/>
                  <a:pt x="1655" y="340"/>
                </a:cubicBezTo>
                <a:cubicBezTo>
                  <a:pt x="1655" y="339"/>
                  <a:pt x="1655" y="339"/>
                  <a:pt x="1655" y="339"/>
                </a:cubicBezTo>
                <a:cubicBezTo>
                  <a:pt x="1656" y="340"/>
                  <a:pt x="1656" y="340"/>
                  <a:pt x="1656" y="340"/>
                </a:cubicBezTo>
                <a:cubicBezTo>
                  <a:pt x="1659" y="341"/>
                  <a:pt x="1659" y="341"/>
                  <a:pt x="1659" y="341"/>
                </a:cubicBezTo>
                <a:cubicBezTo>
                  <a:pt x="1658" y="342"/>
                  <a:pt x="1658" y="342"/>
                  <a:pt x="1658" y="342"/>
                </a:cubicBezTo>
                <a:cubicBezTo>
                  <a:pt x="1660" y="343"/>
                  <a:pt x="1660" y="343"/>
                  <a:pt x="1660" y="343"/>
                </a:cubicBezTo>
                <a:cubicBezTo>
                  <a:pt x="1663" y="342"/>
                  <a:pt x="1663" y="342"/>
                  <a:pt x="1663" y="342"/>
                </a:cubicBezTo>
                <a:cubicBezTo>
                  <a:pt x="1664" y="340"/>
                  <a:pt x="1664" y="340"/>
                  <a:pt x="1664" y="340"/>
                </a:cubicBezTo>
                <a:cubicBezTo>
                  <a:pt x="1666" y="338"/>
                  <a:pt x="1666" y="338"/>
                  <a:pt x="1666" y="338"/>
                </a:cubicBezTo>
                <a:cubicBezTo>
                  <a:pt x="1667" y="335"/>
                  <a:pt x="1667" y="335"/>
                  <a:pt x="1667" y="335"/>
                </a:cubicBezTo>
                <a:cubicBezTo>
                  <a:pt x="1665" y="333"/>
                  <a:pt x="1665" y="333"/>
                  <a:pt x="1665" y="333"/>
                </a:cubicBezTo>
                <a:cubicBezTo>
                  <a:pt x="1665" y="331"/>
                  <a:pt x="1665" y="331"/>
                  <a:pt x="1665" y="331"/>
                </a:cubicBezTo>
                <a:cubicBezTo>
                  <a:pt x="1662" y="329"/>
                  <a:pt x="1662" y="329"/>
                  <a:pt x="1662" y="329"/>
                </a:cubicBezTo>
                <a:cubicBezTo>
                  <a:pt x="1663" y="328"/>
                  <a:pt x="1663" y="328"/>
                  <a:pt x="1663" y="328"/>
                </a:cubicBezTo>
                <a:cubicBezTo>
                  <a:pt x="1659" y="325"/>
                  <a:pt x="1659" y="325"/>
                  <a:pt x="1659" y="325"/>
                </a:cubicBezTo>
                <a:cubicBezTo>
                  <a:pt x="1659" y="324"/>
                  <a:pt x="1659" y="324"/>
                  <a:pt x="1659" y="324"/>
                </a:cubicBezTo>
                <a:cubicBezTo>
                  <a:pt x="1657" y="323"/>
                  <a:pt x="1657" y="323"/>
                  <a:pt x="1657" y="323"/>
                </a:cubicBezTo>
                <a:cubicBezTo>
                  <a:pt x="1656" y="325"/>
                  <a:pt x="1656" y="325"/>
                  <a:pt x="1656" y="325"/>
                </a:cubicBezTo>
                <a:cubicBezTo>
                  <a:pt x="1655" y="323"/>
                  <a:pt x="1655" y="323"/>
                  <a:pt x="1655" y="323"/>
                </a:cubicBezTo>
                <a:cubicBezTo>
                  <a:pt x="1654" y="323"/>
                  <a:pt x="1654" y="323"/>
                  <a:pt x="1654" y="323"/>
                </a:cubicBezTo>
                <a:cubicBezTo>
                  <a:pt x="1654" y="322"/>
                  <a:pt x="1654" y="322"/>
                  <a:pt x="1654" y="322"/>
                </a:cubicBezTo>
                <a:cubicBezTo>
                  <a:pt x="1652" y="321"/>
                  <a:pt x="1652" y="321"/>
                  <a:pt x="1652" y="321"/>
                </a:cubicBezTo>
                <a:cubicBezTo>
                  <a:pt x="1651" y="320"/>
                  <a:pt x="1651" y="320"/>
                  <a:pt x="1651" y="320"/>
                </a:cubicBezTo>
                <a:cubicBezTo>
                  <a:pt x="1650" y="318"/>
                  <a:pt x="1650" y="318"/>
                  <a:pt x="1650" y="318"/>
                </a:cubicBezTo>
                <a:cubicBezTo>
                  <a:pt x="1652" y="317"/>
                  <a:pt x="1652" y="317"/>
                  <a:pt x="1652" y="317"/>
                </a:cubicBezTo>
                <a:cubicBezTo>
                  <a:pt x="1650" y="314"/>
                  <a:pt x="1650" y="314"/>
                  <a:pt x="1650" y="314"/>
                </a:cubicBezTo>
                <a:cubicBezTo>
                  <a:pt x="1651" y="314"/>
                  <a:pt x="1651" y="314"/>
                  <a:pt x="1651" y="314"/>
                </a:cubicBezTo>
                <a:cubicBezTo>
                  <a:pt x="1651" y="313"/>
                  <a:pt x="1651" y="313"/>
                  <a:pt x="1651" y="313"/>
                </a:cubicBezTo>
                <a:cubicBezTo>
                  <a:pt x="1650" y="312"/>
                  <a:pt x="1650" y="312"/>
                  <a:pt x="1650" y="312"/>
                </a:cubicBezTo>
                <a:cubicBezTo>
                  <a:pt x="1651" y="310"/>
                  <a:pt x="1651" y="310"/>
                  <a:pt x="1651" y="310"/>
                </a:cubicBezTo>
                <a:cubicBezTo>
                  <a:pt x="1651" y="307"/>
                  <a:pt x="1651" y="307"/>
                  <a:pt x="1651" y="307"/>
                </a:cubicBezTo>
                <a:cubicBezTo>
                  <a:pt x="1651" y="307"/>
                  <a:pt x="1651" y="307"/>
                  <a:pt x="1651" y="307"/>
                </a:cubicBezTo>
                <a:cubicBezTo>
                  <a:pt x="1653" y="308"/>
                  <a:pt x="1653" y="308"/>
                  <a:pt x="1653" y="308"/>
                </a:cubicBezTo>
                <a:cubicBezTo>
                  <a:pt x="1653" y="306"/>
                  <a:pt x="1653" y="306"/>
                  <a:pt x="1653" y="306"/>
                </a:cubicBezTo>
                <a:cubicBezTo>
                  <a:pt x="1651" y="304"/>
                  <a:pt x="1651" y="304"/>
                  <a:pt x="1651" y="304"/>
                </a:cubicBezTo>
                <a:cubicBezTo>
                  <a:pt x="1652" y="301"/>
                  <a:pt x="1652" y="301"/>
                  <a:pt x="1652" y="301"/>
                </a:cubicBezTo>
                <a:cubicBezTo>
                  <a:pt x="1651" y="299"/>
                  <a:pt x="1651" y="299"/>
                  <a:pt x="1651" y="299"/>
                </a:cubicBezTo>
                <a:cubicBezTo>
                  <a:pt x="1652" y="298"/>
                  <a:pt x="1652" y="298"/>
                  <a:pt x="1652" y="298"/>
                </a:cubicBezTo>
                <a:cubicBezTo>
                  <a:pt x="1652" y="296"/>
                  <a:pt x="1652" y="296"/>
                  <a:pt x="1652" y="296"/>
                </a:cubicBezTo>
                <a:cubicBezTo>
                  <a:pt x="1649" y="293"/>
                  <a:pt x="1649" y="293"/>
                  <a:pt x="1649" y="293"/>
                </a:cubicBezTo>
                <a:cubicBezTo>
                  <a:pt x="1651" y="293"/>
                  <a:pt x="1651" y="293"/>
                  <a:pt x="1651" y="293"/>
                </a:cubicBezTo>
                <a:cubicBezTo>
                  <a:pt x="1654" y="293"/>
                  <a:pt x="1654" y="293"/>
                  <a:pt x="1654" y="293"/>
                </a:cubicBezTo>
                <a:cubicBezTo>
                  <a:pt x="1655" y="290"/>
                  <a:pt x="1655" y="290"/>
                  <a:pt x="1655" y="290"/>
                </a:cubicBezTo>
                <a:cubicBezTo>
                  <a:pt x="1655" y="289"/>
                  <a:pt x="1655" y="289"/>
                  <a:pt x="1655" y="289"/>
                </a:cubicBezTo>
                <a:cubicBezTo>
                  <a:pt x="1655" y="287"/>
                  <a:pt x="1655" y="287"/>
                  <a:pt x="1655" y="287"/>
                </a:cubicBezTo>
                <a:cubicBezTo>
                  <a:pt x="1657" y="288"/>
                  <a:pt x="1657" y="288"/>
                  <a:pt x="1657" y="288"/>
                </a:cubicBezTo>
                <a:cubicBezTo>
                  <a:pt x="1660" y="286"/>
                  <a:pt x="1660" y="286"/>
                  <a:pt x="1660" y="286"/>
                </a:cubicBezTo>
                <a:cubicBezTo>
                  <a:pt x="1660" y="284"/>
                  <a:pt x="1660" y="284"/>
                  <a:pt x="1660" y="284"/>
                </a:cubicBezTo>
                <a:cubicBezTo>
                  <a:pt x="1659" y="284"/>
                  <a:pt x="1659" y="284"/>
                  <a:pt x="1659" y="284"/>
                </a:cubicBezTo>
                <a:cubicBezTo>
                  <a:pt x="1659" y="282"/>
                  <a:pt x="1659" y="282"/>
                  <a:pt x="1659" y="282"/>
                </a:cubicBezTo>
                <a:cubicBezTo>
                  <a:pt x="1660" y="281"/>
                  <a:pt x="1660" y="281"/>
                  <a:pt x="1660" y="281"/>
                </a:cubicBezTo>
                <a:cubicBezTo>
                  <a:pt x="1661" y="282"/>
                  <a:pt x="1661" y="282"/>
                  <a:pt x="1661" y="282"/>
                </a:cubicBezTo>
                <a:cubicBezTo>
                  <a:pt x="1662" y="282"/>
                  <a:pt x="1662" y="282"/>
                  <a:pt x="1662" y="282"/>
                </a:cubicBezTo>
                <a:cubicBezTo>
                  <a:pt x="1663" y="280"/>
                  <a:pt x="1663" y="280"/>
                  <a:pt x="1663" y="280"/>
                </a:cubicBezTo>
                <a:cubicBezTo>
                  <a:pt x="1664" y="280"/>
                  <a:pt x="1664" y="280"/>
                  <a:pt x="1664" y="280"/>
                </a:cubicBezTo>
                <a:cubicBezTo>
                  <a:pt x="1664" y="281"/>
                  <a:pt x="1664" y="281"/>
                  <a:pt x="1664" y="281"/>
                </a:cubicBezTo>
                <a:cubicBezTo>
                  <a:pt x="1666" y="280"/>
                  <a:pt x="1666" y="280"/>
                  <a:pt x="1666" y="280"/>
                </a:cubicBezTo>
                <a:cubicBezTo>
                  <a:pt x="1666" y="278"/>
                  <a:pt x="1666" y="278"/>
                  <a:pt x="1666" y="278"/>
                </a:cubicBezTo>
                <a:cubicBezTo>
                  <a:pt x="1667" y="275"/>
                  <a:pt x="1667" y="275"/>
                  <a:pt x="1667" y="275"/>
                </a:cubicBezTo>
                <a:cubicBezTo>
                  <a:pt x="1668" y="275"/>
                  <a:pt x="1668" y="275"/>
                  <a:pt x="1668" y="275"/>
                </a:cubicBezTo>
                <a:cubicBezTo>
                  <a:pt x="1669" y="277"/>
                  <a:pt x="1669" y="277"/>
                  <a:pt x="1669" y="277"/>
                </a:cubicBezTo>
                <a:cubicBezTo>
                  <a:pt x="1670" y="277"/>
                  <a:pt x="1670" y="277"/>
                  <a:pt x="1670" y="277"/>
                </a:cubicBezTo>
                <a:cubicBezTo>
                  <a:pt x="1671" y="275"/>
                  <a:pt x="1671" y="275"/>
                  <a:pt x="1671" y="275"/>
                </a:cubicBezTo>
                <a:cubicBezTo>
                  <a:pt x="1673" y="274"/>
                  <a:pt x="1673" y="274"/>
                  <a:pt x="1673" y="274"/>
                </a:cubicBezTo>
                <a:cubicBezTo>
                  <a:pt x="1672" y="272"/>
                  <a:pt x="1672" y="272"/>
                  <a:pt x="1672" y="272"/>
                </a:cubicBezTo>
                <a:cubicBezTo>
                  <a:pt x="1673" y="270"/>
                  <a:pt x="1673" y="270"/>
                  <a:pt x="1673" y="270"/>
                </a:cubicBezTo>
                <a:cubicBezTo>
                  <a:pt x="1674" y="271"/>
                  <a:pt x="1674" y="271"/>
                  <a:pt x="1674" y="271"/>
                </a:cubicBezTo>
                <a:cubicBezTo>
                  <a:pt x="1676" y="269"/>
                  <a:pt x="1676" y="269"/>
                  <a:pt x="1676" y="269"/>
                </a:cubicBezTo>
                <a:cubicBezTo>
                  <a:pt x="1677" y="269"/>
                  <a:pt x="1677" y="269"/>
                  <a:pt x="1677" y="269"/>
                </a:cubicBezTo>
                <a:cubicBezTo>
                  <a:pt x="1679" y="266"/>
                  <a:pt x="1679" y="266"/>
                  <a:pt x="1679" y="266"/>
                </a:cubicBezTo>
                <a:cubicBezTo>
                  <a:pt x="1679" y="263"/>
                  <a:pt x="1679" y="263"/>
                  <a:pt x="1679" y="263"/>
                </a:cubicBezTo>
                <a:cubicBezTo>
                  <a:pt x="1680" y="261"/>
                  <a:pt x="1680" y="261"/>
                  <a:pt x="1680" y="261"/>
                </a:cubicBezTo>
                <a:cubicBezTo>
                  <a:pt x="1682" y="261"/>
                  <a:pt x="1682" y="261"/>
                  <a:pt x="1682" y="261"/>
                </a:cubicBezTo>
                <a:cubicBezTo>
                  <a:pt x="1684" y="258"/>
                  <a:pt x="1684" y="258"/>
                  <a:pt x="1684" y="258"/>
                </a:cubicBezTo>
                <a:cubicBezTo>
                  <a:pt x="1682" y="258"/>
                  <a:pt x="1682" y="258"/>
                  <a:pt x="1682" y="258"/>
                </a:cubicBezTo>
                <a:cubicBezTo>
                  <a:pt x="1681" y="257"/>
                  <a:pt x="1681" y="257"/>
                  <a:pt x="1681" y="257"/>
                </a:cubicBezTo>
                <a:cubicBezTo>
                  <a:pt x="1682" y="256"/>
                  <a:pt x="1682" y="256"/>
                  <a:pt x="1682" y="256"/>
                </a:cubicBezTo>
                <a:cubicBezTo>
                  <a:pt x="1682" y="255"/>
                  <a:pt x="1682" y="255"/>
                  <a:pt x="1682" y="255"/>
                </a:cubicBezTo>
                <a:cubicBezTo>
                  <a:pt x="1680" y="255"/>
                  <a:pt x="1680" y="255"/>
                  <a:pt x="1680" y="255"/>
                </a:cubicBezTo>
                <a:cubicBezTo>
                  <a:pt x="1678" y="253"/>
                  <a:pt x="1678" y="253"/>
                  <a:pt x="1678" y="253"/>
                </a:cubicBezTo>
                <a:cubicBezTo>
                  <a:pt x="1680" y="253"/>
                  <a:pt x="1680" y="253"/>
                  <a:pt x="1680" y="253"/>
                </a:cubicBezTo>
                <a:cubicBezTo>
                  <a:pt x="1680" y="251"/>
                  <a:pt x="1680" y="251"/>
                  <a:pt x="1680" y="251"/>
                </a:cubicBezTo>
                <a:cubicBezTo>
                  <a:pt x="1681" y="248"/>
                  <a:pt x="1681" y="248"/>
                  <a:pt x="1681" y="248"/>
                </a:cubicBezTo>
                <a:cubicBezTo>
                  <a:pt x="1682" y="247"/>
                  <a:pt x="1682" y="247"/>
                  <a:pt x="1682" y="247"/>
                </a:cubicBezTo>
                <a:cubicBezTo>
                  <a:pt x="1681" y="245"/>
                  <a:pt x="1681" y="245"/>
                  <a:pt x="1681" y="245"/>
                </a:cubicBezTo>
                <a:cubicBezTo>
                  <a:pt x="1680" y="245"/>
                  <a:pt x="1680" y="245"/>
                  <a:pt x="1680" y="245"/>
                </a:cubicBezTo>
                <a:cubicBezTo>
                  <a:pt x="1679" y="244"/>
                  <a:pt x="1679" y="244"/>
                  <a:pt x="1679" y="244"/>
                </a:cubicBezTo>
                <a:cubicBezTo>
                  <a:pt x="1679" y="243"/>
                  <a:pt x="1679" y="243"/>
                  <a:pt x="1679" y="243"/>
                </a:cubicBezTo>
                <a:cubicBezTo>
                  <a:pt x="1681" y="244"/>
                  <a:pt x="1681" y="244"/>
                  <a:pt x="1681" y="244"/>
                </a:cubicBezTo>
                <a:cubicBezTo>
                  <a:pt x="1681" y="244"/>
                  <a:pt x="1681" y="244"/>
                  <a:pt x="1681" y="244"/>
                </a:cubicBezTo>
                <a:cubicBezTo>
                  <a:pt x="1682" y="244"/>
                  <a:pt x="1682" y="244"/>
                  <a:pt x="1682" y="244"/>
                </a:cubicBezTo>
                <a:cubicBezTo>
                  <a:pt x="1682" y="243"/>
                  <a:pt x="1682" y="243"/>
                  <a:pt x="1682" y="243"/>
                </a:cubicBezTo>
                <a:cubicBezTo>
                  <a:pt x="1680" y="242"/>
                  <a:pt x="1680" y="242"/>
                  <a:pt x="1680" y="242"/>
                </a:cubicBezTo>
                <a:cubicBezTo>
                  <a:pt x="1682" y="241"/>
                  <a:pt x="1682" y="241"/>
                  <a:pt x="1682" y="241"/>
                </a:cubicBezTo>
                <a:cubicBezTo>
                  <a:pt x="1683" y="241"/>
                  <a:pt x="1683" y="241"/>
                  <a:pt x="1683" y="241"/>
                </a:cubicBezTo>
                <a:cubicBezTo>
                  <a:pt x="1685" y="240"/>
                  <a:pt x="1685" y="240"/>
                  <a:pt x="1685" y="240"/>
                </a:cubicBezTo>
                <a:cubicBezTo>
                  <a:pt x="1684" y="239"/>
                  <a:pt x="1684" y="239"/>
                  <a:pt x="1684" y="239"/>
                </a:cubicBezTo>
                <a:cubicBezTo>
                  <a:pt x="1682" y="237"/>
                  <a:pt x="1682" y="237"/>
                  <a:pt x="1682" y="237"/>
                </a:cubicBezTo>
                <a:cubicBezTo>
                  <a:pt x="1684" y="237"/>
                  <a:pt x="1684" y="237"/>
                  <a:pt x="1684" y="237"/>
                </a:cubicBezTo>
                <a:cubicBezTo>
                  <a:pt x="1685" y="238"/>
                  <a:pt x="1685" y="238"/>
                  <a:pt x="1685" y="238"/>
                </a:cubicBezTo>
                <a:cubicBezTo>
                  <a:pt x="1686" y="238"/>
                  <a:pt x="1686" y="238"/>
                  <a:pt x="1686" y="238"/>
                </a:cubicBezTo>
                <a:cubicBezTo>
                  <a:pt x="1687" y="236"/>
                  <a:pt x="1687" y="236"/>
                  <a:pt x="1687" y="236"/>
                </a:cubicBezTo>
                <a:cubicBezTo>
                  <a:pt x="1687" y="234"/>
                  <a:pt x="1687" y="234"/>
                  <a:pt x="1687" y="234"/>
                </a:cubicBezTo>
                <a:cubicBezTo>
                  <a:pt x="1688" y="233"/>
                  <a:pt x="1688" y="233"/>
                  <a:pt x="1688" y="233"/>
                </a:cubicBezTo>
                <a:cubicBezTo>
                  <a:pt x="1689" y="236"/>
                  <a:pt x="1689" y="236"/>
                  <a:pt x="1689" y="236"/>
                </a:cubicBezTo>
                <a:cubicBezTo>
                  <a:pt x="1691" y="234"/>
                  <a:pt x="1691" y="234"/>
                  <a:pt x="1691" y="234"/>
                </a:cubicBezTo>
                <a:cubicBezTo>
                  <a:pt x="1692" y="235"/>
                  <a:pt x="1692" y="235"/>
                  <a:pt x="1692" y="235"/>
                </a:cubicBezTo>
                <a:cubicBezTo>
                  <a:pt x="1693" y="236"/>
                  <a:pt x="1693" y="236"/>
                  <a:pt x="1693" y="236"/>
                </a:cubicBezTo>
                <a:cubicBezTo>
                  <a:pt x="1694" y="234"/>
                  <a:pt x="1694" y="234"/>
                  <a:pt x="1694" y="234"/>
                </a:cubicBezTo>
                <a:cubicBezTo>
                  <a:pt x="1696" y="235"/>
                  <a:pt x="1696" y="235"/>
                  <a:pt x="1696" y="235"/>
                </a:cubicBezTo>
                <a:cubicBezTo>
                  <a:pt x="1698" y="234"/>
                  <a:pt x="1698" y="234"/>
                  <a:pt x="1698" y="234"/>
                </a:cubicBezTo>
                <a:cubicBezTo>
                  <a:pt x="1699" y="235"/>
                  <a:pt x="1699" y="235"/>
                  <a:pt x="1699" y="235"/>
                </a:cubicBezTo>
                <a:cubicBezTo>
                  <a:pt x="1701" y="235"/>
                  <a:pt x="1701" y="235"/>
                  <a:pt x="1701" y="235"/>
                </a:cubicBezTo>
                <a:cubicBezTo>
                  <a:pt x="1703" y="234"/>
                  <a:pt x="1703" y="234"/>
                  <a:pt x="1703" y="234"/>
                </a:cubicBezTo>
                <a:cubicBezTo>
                  <a:pt x="1703" y="234"/>
                  <a:pt x="1703" y="234"/>
                  <a:pt x="1703" y="234"/>
                </a:cubicBezTo>
                <a:cubicBezTo>
                  <a:pt x="1703" y="235"/>
                  <a:pt x="1703" y="235"/>
                  <a:pt x="1703" y="235"/>
                </a:cubicBezTo>
                <a:cubicBezTo>
                  <a:pt x="1705" y="235"/>
                  <a:pt x="1705" y="235"/>
                  <a:pt x="1705" y="235"/>
                </a:cubicBezTo>
                <a:cubicBezTo>
                  <a:pt x="1707" y="237"/>
                  <a:pt x="1707" y="237"/>
                  <a:pt x="1707" y="237"/>
                </a:cubicBezTo>
                <a:cubicBezTo>
                  <a:pt x="1711" y="237"/>
                  <a:pt x="1711" y="237"/>
                  <a:pt x="1711" y="237"/>
                </a:cubicBezTo>
                <a:cubicBezTo>
                  <a:pt x="1714" y="240"/>
                  <a:pt x="1714" y="240"/>
                  <a:pt x="1714" y="240"/>
                </a:cubicBezTo>
                <a:cubicBezTo>
                  <a:pt x="1712" y="240"/>
                  <a:pt x="1712" y="240"/>
                  <a:pt x="1712" y="240"/>
                </a:cubicBezTo>
                <a:cubicBezTo>
                  <a:pt x="1713" y="242"/>
                  <a:pt x="1713" y="242"/>
                  <a:pt x="1713" y="242"/>
                </a:cubicBezTo>
                <a:cubicBezTo>
                  <a:pt x="1713" y="245"/>
                  <a:pt x="1713" y="245"/>
                  <a:pt x="1713" y="245"/>
                </a:cubicBezTo>
                <a:cubicBezTo>
                  <a:pt x="1713" y="245"/>
                  <a:pt x="1713" y="245"/>
                  <a:pt x="1713" y="245"/>
                </a:cubicBezTo>
                <a:cubicBezTo>
                  <a:pt x="1716" y="248"/>
                  <a:pt x="1716" y="248"/>
                  <a:pt x="1716" y="248"/>
                </a:cubicBezTo>
                <a:cubicBezTo>
                  <a:pt x="1713" y="248"/>
                  <a:pt x="1713" y="248"/>
                  <a:pt x="1713" y="248"/>
                </a:cubicBezTo>
                <a:cubicBezTo>
                  <a:pt x="1713" y="248"/>
                  <a:pt x="1713" y="248"/>
                  <a:pt x="1713" y="248"/>
                </a:cubicBezTo>
                <a:cubicBezTo>
                  <a:pt x="1715" y="250"/>
                  <a:pt x="1715" y="250"/>
                  <a:pt x="1715" y="250"/>
                </a:cubicBezTo>
                <a:cubicBezTo>
                  <a:pt x="1715" y="252"/>
                  <a:pt x="1715" y="252"/>
                  <a:pt x="1715" y="252"/>
                </a:cubicBezTo>
                <a:cubicBezTo>
                  <a:pt x="1712" y="250"/>
                  <a:pt x="1712" y="250"/>
                  <a:pt x="1712" y="250"/>
                </a:cubicBezTo>
                <a:cubicBezTo>
                  <a:pt x="1710" y="250"/>
                  <a:pt x="1710" y="250"/>
                  <a:pt x="1710" y="250"/>
                </a:cubicBezTo>
                <a:cubicBezTo>
                  <a:pt x="1707" y="252"/>
                  <a:pt x="1707" y="252"/>
                  <a:pt x="1707" y="252"/>
                </a:cubicBezTo>
                <a:cubicBezTo>
                  <a:pt x="1707" y="253"/>
                  <a:pt x="1707" y="253"/>
                  <a:pt x="1707" y="253"/>
                </a:cubicBezTo>
                <a:cubicBezTo>
                  <a:pt x="1705" y="255"/>
                  <a:pt x="1705" y="255"/>
                  <a:pt x="1705" y="255"/>
                </a:cubicBezTo>
                <a:cubicBezTo>
                  <a:pt x="1705" y="257"/>
                  <a:pt x="1705" y="257"/>
                  <a:pt x="1705" y="257"/>
                </a:cubicBezTo>
                <a:cubicBezTo>
                  <a:pt x="1704" y="257"/>
                  <a:pt x="1704" y="257"/>
                  <a:pt x="1704" y="257"/>
                </a:cubicBezTo>
                <a:cubicBezTo>
                  <a:pt x="1701" y="260"/>
                  <a:pt x="1701" y="260"/>
                  <a:pt x="1701" y="260"/>
                </a:cubicBezTo>
                <a:cubicBezTo>
                  <a:pt x="1701" y="264"/>
                  <a:pt x="1701" y="264"/>
                  <a:pt x="1701" y="264"/>
                </a:cubicBezTo>
                <a:cubicBezTo>
                  <a:pt x="1700" y="264"/>
                  <a:pt x="1700" y="264"/>
                  <a:pt x="1700" y="264"/>
                </a:cubicBezTo>
                <a:cubicBezTo>
                  <a:pt x="1699" y="263"/>
                  <a:pt x="1699" y="263"/>
                  <a:pt x="1699" y="263"/>
                </a:cubicBezTo>
                <a:cubicBezTo>
                  <a:pt x="1699" y="263"/>
                  <a:pt x="1699" y="263"/>
                  <a:pt x="1699" y="263"/>
                </a:cubicBezTo>
                <a:cubicBezTo>
                  <a:pt x="1699" y="265"/>
                  <a:pt x="1699" y="265"/>
                  <a:pt x="1699" y="265"/>
                </a:cubicBezTo>
                <a:cubicBezTo>
                  <a:pt x="1699" y="267"/>
                  <a:pt x="1699" y="267"/>
                  <a:pt x="1699" y="267"/>
                </a:cubicBezTo>
                <a:cubicBezTo>
                  <a:pt x="1697" y="267"/>
                  <a:pt x="1697" y="267"/>
                  <a:pt x="1697" y="267"/>
                </a:cubicBezTo>
                <a:cubicBezTo>
                  <a:pt x="1695" y="269"/>
                  <a:pt x="1695" y="269"/>
                  <a:pt x="1695" y="269"/>
                </a:cubicBezTo>
                <a:cubicBezTo>
                  <a:pt x="1696" y="271"/>
                  <a:pt x="1696" y="271"/>
                  <a:pt x="1696" y="271"/>
                </a:cubicBezTo>
                <a:cubicBezTo>
                  <a:pt x="1697" y="272"/>
                  <a:pt x="1697" y="272"/>
                  <a:pt x="1697" y="272"/>
                </a:cubicBezTo>
                <a:cubicBezTo>
                  <a:pt x="1695" y="271"/>
                  <a:pt x="1695" y="271"/>
                  <a:pt x="1695" y="271"/>
                </a:cubicBezTo>
                <a:cubicBezTo>
                  <a:pt x="1694" y="270"/>
                  <a:pt x="1694" y="270"/>
                  <a:pt x="1694" y="270"/>
                </a:cubicBezTo>
                <a:cubicBezTo>
                  <a:pt x="1693" y="271"/>
                  <a:pt x="1693" y="271"/>
                  <a:pt x="1693" y="271"/>
                </a:cubicBezTo>
                <a:cubicBezTo>
                  <a:pt x="1692" y="273"/>
                  <a:pt x="1692" y="273"/>
                  <a:pt x="1692" y="273"/>
                </a:cubicBezTo>
                <a:cubicBezTo>
                  <a:pt x="1692" y="274"/>
                  <a:pt x="1692" y="274"/>
                  <a:pt x="1692" y="274"/>
                </a:cubicBezTo>
                <a:cubicBezTo>
                  <a:pt x="1691" y="274"/>
                  <a:pt x="1691" y="274"/>
                  <a:pt x="1691" y="274"/>
                </a:cubicBezTo>
                <a:cubicBezTo>
                  <a:pt x="1690" y="274"/>
                  <a:pt x="1690" y="274"/>
                  <a:pt x="1690" y="274"/>
                </a:cubicBezTo>
                <a:cubicBezTo>
                  <a:pt x="1692" y="276"/>
                  <a:pt x="1692" y="276"/>
                  <a:pt x="1692" y="276"/>
                </a:cubicBezTo>
                <a:cubicBezTo>
                  <a:pt x="1692" y="277"/>
                  <a:pt x="1692" y="277"/>
                  <a:pt x="1692" y="277"/>
                </a:cubicBezTo>
                <a:cubicBezTo>
                  <a:pt x="1691" y="278"/>
                  <a:pt x="1691" y="278"/>
                  <a:pt x="1691" y="278"/>
                </a:cubicBezTo>
                <a:cubicBezTo>
                  <a:pt x="1690" y="279"/>
                  <a:pt x="1690" y="279"/>
                  <a:pt x="1690" y="279"/>
                </a:cubicBezTo>
                <a:cubicBezTo>
                  <a:pt x="1688" y="280"/>
                  <a:pt x="1688" y="280"/>
                  <a:pt x="1688" y="280"/>
                </a:cubicBezTo>
                <a:cubicBezTo>
                  <a:pt x="1687" y="280"/>
                  <a:pt x="1687" y="280"/>
                  <a:pt x="1687" y="280"/>
                </a:cubicBezTo>
                <a:cubicBezTo>
                  <a:pt x="1687" y="279"/>
                  <a:pt x="1687" y="279"/>
                  <a:pt x="1687" y="279"/>
                </a:cubicBezTo>
                <a:cubicBezTo>
                  <a:pt x="1686" y="278"/>
                  <a:pt x="1686" y="278"/>
                  <a:pt x="1686" y="278"/>
                </a:cubicBezTo>
                <a:cubicBezTo>
                  <a:pt x="1684" y="279"/>
                  <a:pt x="1684" y="279"/>
                  <a:pt x="1684" y="279"/>
                </a:cubicBezTo>
                <a:cubicBezTo>
                  <a:pt x="1685" y="281"/>
                  <a:pt x="1685" y="281"/>
                  <a:pt x="1685" y="281"/>
                </a:cubicBezTo>
                <a:cubicBezTo>
                  <a:pt x="1684" y="282"/>
                  <a:pt x="1684" y="282"/>
                  <a:pt x="1684" y="282"/>
                </a:cubicBezTo>
                <a:cubicBezTo>
                  <a:pt x="1685" y="284"/>
                  <a:pt x="1685" y="284"/>
                  <a:pt x="1685" y="284"/>
                </a:cubicBezTo>
                <a:cubicBezTo>
                  <a:pt x="1684" y="285"/>
                  <a:pt x="1684" y="285"/>
                  <a:pt x="1684" y="285"/>
                </a:cubicBezTo>
                <a:cubicBezTo>
                  <a:pt x="1683" y="286"/>
                  <a:pt x="1683" y="286"/>
                  <a:pt x="1683" y="286"/>
                </a:cubicBezTo>
                <a:cubicBezTo>
                  <a:pt x="1682" y="287"/>
                  <a:pt x="1682" y="287"/>
                  <a:pt x="1682" y="287"/>
                </a:cubicBezTo>
                <a:cubicBezTo>
                  <a:pt x="1683" y="289"/>
                  <a:pt x="1683" y="289"/>
                  <a:pt x="1683" y="289"/>
                </a:cubicBezTo>
                <a:cubicBezTo>
                  <a:pt x="1683" y="290"/>
                  <a:pt x="1683" y="290"/>
                  <a:pt x="1683" y="290"/>
                </a:cubicBezTo>
                <a:cubicBezTo>
                  <a:pt x="1683" y="292"/>
                  <a:pt x="1683" y="292"/>
                  <a:pt x="1683" y="292"/>
                </a:cubicBezTo>
                <a:cubicBezTo>
                  <a:pt x="1683" y="293"/>
                  <a:pt x="1683" y="293"/>
                  <a:pt x="1683" y="293"/>
                </a:cubicBezTo>
                <a:cubicBezTo>
                  <a:pt x="1684" y="293"/>
                  <a:pt x="1684" y="293"/>
                  <a:pt x="1684" y="293"/>
                </a:cubicBezTo>
                <a:cubicBezTo>
                  <a:pt x="1685" y="294"/>
                  <a:pt x="1685" y="294"/>
                  <a:pt x="1685" y="294"/>
                </a:cubicBezTo>
                <a:cubicBezTo>
                  <a:pt x="1685" y="296"/>
                  <a:pt x="1685" y="296"/>
                  <a:pt x="1685" y="296"/>
                </a:cubicBezTo>
                <a:cubicBezTo>
                  <a:pt x="1684" y="297"/>
                  <a:pt x="1684" y="297"/>
                  <a:pt x="1684" y="297"/>
                </a:cubicBezTo>
                <a:cubicBezTo>
                  <a:pt x="1685" y="299"/>
                  <a:pt x="1685" y="299"/>
                  <a:pt x="1685" y="299"/>
                </a:cubicBezTo>
                <a:cubicBezTo>
                  <a:pt x="1685" y="300"/>
                  <a:pt x="1685" y="300"/>
                  <a:pt x="1685" y="300"/>
                </a:cubicBezTo>
                <a:cubicBezTo>
                  <a:pt x="1687" y="303"/>
                  <a:pt x="1687" y="303"/>
                  <a:pt x="1687" y="303"/>
                </a:cubicBezTo>
                <a:cubicBezTo>
                  <a:pt x="1688" y="304"/>
                  <a:pt x="1688" y="304"/>
                  <a:pt x="1688" y="304"/>
                </a:cubicBezTo>
                <a:cubicBezTo>
                  <a:pt x="1687" y="305"/>
                  <a:pt x="1687" y="305"/>
                  <a:pt x="1687" y="305"/>
                </a:cubicBezTo>
                <a:cubicBezTo>
                  <a:pt x="1688" y="307"/>
                  <a:pt x="1688" y="307"/>
                  <a:pt x="1688" y="307"/>
                </a:cubicBezTo>
                <a:cubicBezTo>
                  <a:pt x="1687" y="308"/>
                  <a:pt x="1687" y="308"/>
                  <a:pt x="1687" y="308"/>
                </a:cubicBezTo>
                <a:cubicBezTo>
                  <a:pt x="1687" y="311"/>
                  <a:pt x="1687" y="311"/>
                  <a:pt x="1687" y="311"/>
                </a:cubicBezTo>
                <a:cubicBezTo>
                  <a:pt x="1687" y="312"/>
                  <a:pt x="1687" y="312"/>
                  <a:pt x="1687" y="312"/>
                </a:cubicBezTo>
                <a:cubicBezTo>
                  <a:pt x="1687" y="316"/>
                  <a:pt x="1687" y="316"/>
                  <a:pt x="1687" y="316"/>
                </a:cubicBezTo>
                <a:cubicBezTo>
                  <a:pt x="1688" y="318"/>
                  <a:pt x="1688" y="318"/>
                  <a:pt x="1688" y="318"/>
                </a:cubicBezTo>
                <a:cubicBezTo>
                  <a:pt x="1687" y="320"/>
                  <a:pt x="1687" y="320"/>
                  <a:pt x="1687" y="320"/>
                </a:cubicBezTo>
                <a:cubicBezTo>
                  <a:pt x="1687" y="322"/>
                  <a:pt x="1687" y="322"/>
                  <a:pt x="1687" y="322"/>
                </a:cubicBezTo>
                <a:cubicBezTo>
                  <a:pt x="1687" y="323"/>
                  <a:pt x="1687" y="323"/>
                  <a:pt x="1687" y="323"/>
                </a:cubicBezTo>
                <a:cubicBezTo>
                  <a:pt x="1690" y="322"/>
                  <a:pt x="1690" y="322"/>
                  <a:pt x="1690" y="322"/>
                </a:cubicBezTo>
                <a:cubicBezTo>
                  <a:pt x="1691" y="322"/>
                  <a:pt x="1691" y="322"/>
                  <a:pt x="1691" y="322"/>
                </a:cubicBezTo>
                <a:cubicBezTo>
                  <a:pt x="1692" y="321"/>
                  <a:pt x="1692" y="321"/>
                  <a:pt x="1692" y="321"/>
                </a:cubicBezTo>
                <a:cubicBezTo>
                  <a:pt x="1694" y="324"/>
                  <a:pt x="1694" y="324"/>
                  <a:pt x="1694" y="324"/>
                </a:cubicBezTo>
                <a:cubicBezTo>
                  <a:pt x="1695" y="323"/>
                  <a:pt x="1695" y="323"/>
                  <a:pt x="1695" y="323"/>
                </a:cubicBezTo>
                <a:cubicBezTo>
                  <a:pt x="1697" y="325"/>
                  <a:pt x="1697" y="325"/>
                  <a:pt x="1697" y="325"/>
                </a:cubicBezTo>
                <a:cubicBezTo>
                  <a:pt x="1700" y="324"/>
                  <a:pt x="1700" y="324"/>
                  <a:pt x="1700" y="324"/>
                </a:cubicBezTo>
                <a:cubicBezTo>
                  <a:pt x="1700" y="325"/>
                  <a:pt x="1700" y="325"/>
                  <a:pt x="1700" y="325"/>
                </a:cubicBezTo>
                <a:cubicBezTo>
                  <a:pt x="1700" y="326"/>
                  <a:pt x="1700" y="326"/>
                  <a:pt x="1700" y="326"/>
                </a:cubicBezTo>
                <a:cubicBezTo>
                  <a:pt x="1701" y="326"/>
                  <a:pt x="1701" y="326"/>
                  <a:pt x="1701" y="326"/>
                </a:cubicBezTo>
                <a:cubicBezTo>
                  <a:pt x="1703" y="324"/>
                  <a:pt x="1703" y="324"/>
                  <a:pt x="1703" y="324"/>
                </a:cubicBezTo>
                <a:cubicBezTo>
                  <a:pt x="1703" y="326"/>
                  <a:pt x="1703" y="326"/>
                  <a:pt x="1703" y="326"/>
                </a:cubicBezTo>
                <a:cubicBezTo>
                  <a:pt x="1702" y="327"/>
                  <a:pt x="1702" y="327"/>
                  <a:pt x="1702" y="327"/>
                </a:cubicBezTo>
                <a:cubicBezTo>
                  <a:pt x="1704" y="331"/>
                  <a:pt x="1704" y="331"/>
                  <a:pt x="1704" y="331"/>
                </a:cubicBezTo>
                <a:cubicBezTo>
                  <a:pt x="1705" y="332"/>
                  <a:pt x="1705" y="332"/>
                  <a:pt x="1705" y="332"/>
                </a:cubicBezTo>
                <a:cubicBezTo>
                  <a:pt x="1704" y="334"/>
                  <a:pt x="1704" y="334"/>
                  <a:pt x="1704" y="334"/>
                </a:cubicBezTo>
                <a:cubicBezTo>
                  <a:pt x="1705" y="335"/>
                  <a:pt x="1705" y="335"/>
                  <a:pt x="1705" y="335"/>
                </a:cubicBezTo>
                <a:cubicBezTo>
                  <a:pt x="1706" y="332"/>
                  <a:pt x="1706" y="332"/>
                  <a:pt x="1706" y="332"/>
                </a:cubicBezTo>
                <a:cubicBezTo>
                  <a:pt x="1707" y="331"/>
                  <a:pt x="1707" y="331"/>
                  <a:pt x="1707" y="331"/>
                </a:cubicBezTo>
                <a:cubicBezTo>
                  <a:pt x="1707" y="332"/>
                  <a:pt x="1707" y="332"/>
                  <a:pt x="1707" y="332"/>
                </a:cubicBezTo>
                <a:cubicBezTo>
                  <a:pt x="1709" y="332"/>
                  <a:pt x="1709" y="332"/>
                  <a:pt x="1709" y="332"/>
                </a:cubicBezTo>
                <a:cubicBezTo>
                  <a:pt x="1711" y="332"/>
                  <a:pt x="1711" y="332"/>
                  <a:pt x="1711" y="332"/>
                </a:cubicBezTo>
                <a:cubicBezTo>
                  <a:pt x="1714" y="329"/>
                  <a:pt x="1714" y="329"/>
                  <a:pt x="1714" y="329"/>
                </a:cubicBezTo>
                <a:cubicBezTo>
                  <a:pt x="1716" y="329"/>
                  <a:pt x="1716" y="329"/>
                  <a:pt x="1716" y="329"/>
                </a:cubicBezTo>
                <a:cubicBezTo>
                  <a:pt x="1720" y="327"/>
                  <a:pt x="1720" y="327"/>
                  <a:pt x="1720" y="327"/>
                </a:cubicBezTo>
                <a:cubicBezTo>
                  <a:pt x="1720" y="326"/>
                  <a:pt x="1720" y="326"/>
                  <a:pt x="1720" y="326"/>
                </a:cubicBezTo>
                <a:cubicBezTo>
                  <a:pt x="1723" y="326"/>
                  <a:pt x="1723" y="326"/>
                  <a:pt x="1723" y="326"/>
                </a:cubicBezTo>
                <a:cubicBezTo>
                  <a:pt x="1724" y="326"/>
                  <a:pt x="1724" y="326"/>
                  <a:pt x="1724" y="326"/>
                </a:cubicBezTo>
                <a:cubicBezTo>
                  <a:pt x="1726" y="324"/>
                  <a:pt x="1726" y="324"/>
                  <a:pt x="1726" y="324"/>
                </a:cubicBezTo>
                <a:cubicBezTo>
                  <a:pt x="1726" y="324"/>
                  <a:pt x="1726" y="324"/>
                  <a:pt x="1726" y="324"/>
                </a:cubicBezTo>
                <a:cubicBezTo>
                  <a:pt x="1726" y="326"/>
                  <a:pt x="1726" y="326"/>
                  <a:pt x="1726" y="326"/>
                </a:cubicBezTo>
                <a:cubicBezTo>
                  <a:pt x="1727" y="327"/>
                  <a:pt x="1727" y="327"/>
                  <a:pt x="1727" y="327"/>
                </a:cubicBezTo>
                <a:cubicBezTo>
                  <a:pt x="1728" y="324"/>
                  <a:pt x="1728" y="324"/>
                  <a:pt x="1728" y="324"/>
                </a:cubicBezTo>
                <a:cubicBezTo>
                  <a:pt x="1729" y="324"/>
                  <a:pt x="1729" y="324"/>
                  <a:pt x="1729" y="324"/>
                </a:cubicBezTo>
                <a:cubicBezTo>
                  <a:pt x="1728" y="322"/>
                  <a:pt x="1728" y="322"/>
                  <a:pt x="1728" y="322"/>
                </a:cubicBezTo>
                <a:cubicBezTo>
                  <a:pt x="1729" y="321"/>
                  <a:pt x="1729" y="321"/>
                  <a:pt x="1729" y="321"/>
                </a:cubicBezTo>
                <a:cubicBezTo>
                  <a:pt x="1730" y="323"/>
                  <a:pt x="1730" y="323"/>
                  <a:pt x="1730" y="323"/>
                </a:cubicBezTo>
                <a:cubicBezTo>
                  <a:pt x="1731" y="324"/>
                  <a:pt x="1731" y="324"/>
                  <a:pt x="1731" y="324"/>
                </a:cubicBezTo>
                <a:cubicBezTo>
                  <a:pt x="1731" y="322"/>
                  <a:pt x="1731" y="322"/>
                  <a:pt x="1731" y="322"/>
                </a:cubicBezTo>
                <a:cubicBezTo>
                  <a:pt x="1732" y="324"/>
                  <a:pt x="1732" y="324"/>
                  <a:pt x="1732" y="324"/>
                </a:cubicBezTo>
                <a:cubicBezTo>
                  <a:pt x="1733" y="324"/>
                  <a:pt x="1733" y="324"/>
                  <a:pt x="1733" y="324"/>
                </a:cubicBezTo>
                <a:cubicBezTo>
                  <a:pt x="1734" y="323"/>
                  <a:pt x="1734" y="323"/>
                  <a:pt x="1734" y="323"/>
                </a:cubicBezTo>
                <a:cubicBezTo>
                  <a:pt x="1735" y="323"/>
                  <a:pt x="1735" y="323"/>
                  <a:pt x="1735" y="323"/>
                </a:cubicBezTo>
                <a:cubicBezTo>
                  <a:pt x="1735" y="324"/>
                  <a:pt x="1735" y="324"/>
                  <a:pt x="1735" y="324"/>
                </a:cubicBezTo>
                <a:cubicBezTo>
                  <a:pt x="1737" y="323"/>
                  <a:pt x="1737" y="323"/>
                  <a:pt x="1737" y="323"/>
                </a:cubicBezTo>
                <a:cubicBezTo>
                  <a:pt x="1739" y="322"/>
                  <a:pt x="1739" y="322"/>
                  <a:pt x="1739" y="322"/>
                </a:cubicBezTo>
                <a:cubicBezTo>
                  <a:pt x="1741" y="323"/>
                  <a:pt x="1741" y="323"/>
                  <a:pt x="1741" y="323"/>
                </a:cubicBezTo>
                <a:cubicBezTo>
                  <a:pt x="1744" y="323"/>
                  <a:pt x="1744" y="323"/>
                  <a:pt x="1744" y="323"/>
                </a:cubicBezTo>
                <a:cubicBezTo>
                  <a:pt x="1744" y="322"/>
                  <a:pt x="1744" y="322"/>
                  <a:pt x="1744" y="322"/>
                </a:cubicBezTo>
                <a:cubicBezTo>
                  <a:pt x="1743" y="321"/>
                  <a:pt x="1743" y="321"/>
                  <a:pt x="1743" y="321"/>
                </a:cubicBezTo>
                <a:cubicBezTo>
                  <a:pt x="1744" y="321"/>
                  <a:pt x="1744" y="321"/>
                  <a:pt x="1744" y="321"/>
                </a:cubicBezTo>
                <a:cubicBezTo>
                  <a:pt x="1745" y="321"/>
                  <a:pt x="1745" y="321"/>
                  <a:pt x="1745" y="321"/>
                </a:cubicBezTo>
                <a:cubicBezTo>
                  <a:pt x="1746" y="322"/>
                  <a:pt x="1746" y="322"/>
                  <a:pt x="1746" y="322"/>
                </a:cubicBezTo>
                <a:cubicBezTo>
                  <a:pt x="1748" y="323"/>
                  <a:pt x="1748" y="323"/>
                  <a:pt x="1748" y="323"/>
                </a:cubicBezTo>
                <a:cubicBezTo>
                  <a:pt x="1748" y="323"/>
                  <a:pt x="1748" y="322"/>
                  <a:pt x="1749" y="321"/>
                </a:cubicBezTo>
                <a:cubicBezTo>
                  <a:pt x="1748" y="318"/>
                  <a:pt x="1748" y="318"/>
                  <a:pt x="1748" y="318"/>
                </a:cubicBezTo>
                <a:cubicBezTo>
                  <a:pt x="1749" y="321"/>
                  <a:pt x="1749" y="321"/>
                  <a:pt x="1749" y="321"/>
                </a:cubicBezTo>
                <a:cubicBezTo>
                  <a:pt x="1749" y="321"/>
                  <a:pt x="1749" y="321"/>
                  <a:pt x="1749" y="321"/>
                </a:cubicBezTo>
                <a:cubicBezTo>
                  <a:pt x="1749" y="321"/>
                  <a:pt x="1749" y="320"/>
                  <a:pt x="1749" y="320"/>
                </a:cubicBezTo>
                <a:cubicBezTo>
                  <a:pt x="1749" y="320"/>
                  <a:pt x="1752" y="319"/>
                  <a:pt x="1752" y="319"/>
                </a:cubicBezTo>
                <a:cubicBezTo>
                  <a:pt x="1754" y="318"/>
                  <a:pt x="1754" y="318"/>
                  <a:pt x="1754" y="318"/>
                </a:cubicBezTo>
                <a:cubicBezTo>
                  <a:pt x="1753" y="320"/>
                  <a:pt x="1753" y="320"/>
                  <a:pt x="1753" y="320"/>
                </a:cubicBezTo>
                <a:cubicBezTo>
                  <a:pt x="1753" y="321"/>
                  <a:pt x="1753" y="321"/>
                  <a:pt x="1753" y="321"/>
                </a:cubicBezTo>
                <a:cubicBezTo>
                  <a:pt x="1753" y="323"/>
                  <a:pt x="1753" y="323"/>
                  <a:pt x="1753" y="323"/>
                </a:cubicBezTo>
                <a:cubicBezTo>
                  <a:pt x="1751" y="321"/>
                  <a:pt x="1751" y="321"/>
                  <a:pt x="1751" y="321"/>
                </a:cubicBezTo>
                <a:cubicBezTo>
                  <a:pt x="1751" y="322"/>
                  <a:pt x="1751" y="322"/>
                  <a:pt x="1751" y="322"/>
                </a:cubicBezTo>
                <a:cubicBezTo>
                  <a:pt x="1753" y="325"/>
                  <a:pt x="1753" y="325"/>
                  <a:pt x="1753" y="325"/>
                </a:cubicBezTo>
                <a:cubicBezTo>
                  <a:pt x="1755" y="325"/>
                  <a:pt x="1755" y="325"/>
                  <a:pt x="1755" y="325"/>
                </a:cubicBezTo>
                <a:cubicBezTo>
                  <a:pt x="1757" y="327"/>
                  <a:pt x="1757" y="327"/>
                  <a:pt x="1757" y="327"/>
                </a:cubicBezTo>
                <a:cubicBezTo>
                  <a:pt x="1759" y="327"/>
                  <a:pt x="1759" y="327"/>
                  <a:pt x="1759" y="327"/>
                </a:cubicBezTo>
                <a:cubicBezTo>
                  <a:pt x="1760" y="327"/>
                  <a:pt x="1760" y="327"/>
                  <a:pt x="1760" y="327"/>
                </a:cubicBezTo>
                <a:cubicBezTo>
                  <a:pt x="1762" y="327"/>
                  <a:pt x="1762" y="327"/>
                  <a:pt x="1762" y="327"/>
                </a:cubicBezTo>
                <a:cubicBezTo>
                  <a:pt x="1763" y="329"/>
                  <a:pt x="1763" y="329"/>
                  <a:pt x="1763" y="329"/>
                </a:cubicBezTo>
                <a:cubicBezTo>
                  <a:pt x="1762" y="331"/>
                  <a:pt x="1762" y="331"/>
                  <a:pt x="1762" y="331"/>
                </a:cubicBezTo>
                <a:cubicBezTo>
                  <a:pt x="1759" y="330"/>
                  <a:pt x="1759" y="330"/>
                  <a:pt x="1759" y="330"/>
                </a:cubicBezTo>
                <a:cubicBezTo>
                  <a:pt x="1758" y="330"/>
                  <a:pt x="1758" y="330"/>
                  <a:pt x="1758" y="330"/>
                </a:cubicBezTo>
                <a:cubicBezTo>
                  <a:pt x="1757" y="332"/>
                  <a:pt x="1757" y="332"/>
                  <a:pt x="1757" y="332"/>
                </a:cubicBezTo>
                <a:cubicBezTo>
                  <a:pt x="1755" y="334"/>
                  <a:pt x="1755" y="334"/>
                  <a:pt x="1755" y="334"/>
                </a:cubicBezTo>
                <a:cubicBezTo>
                  <a:pt x="1753" y="332"/>
                  <a:pt x="1753" y="332"/>
                  <a:pt x="1753" y="332"/>
                </a:cubicBezTo>
                <a:cubicBezTo>
                  <a:pt x="1752" y="333"/>
                  <a:pt x="1752" y="333"/>
                  <a:pt x="1752" y="333"/>
                </a:cubicBezTo>
                <a:cubicBezTo>
                  <a:pt x="1752" y="335"/>
                  <a:pt x="1752" y="335"/>
                  <a:pt x="1752" y="335"/>
                </a:cubicBezTo>
                <a:cubicBezTo>
                  <a:pt x="1750" y="336"/>
                  <a:pt x="1750" y="336"/>
                  <a:pt x="1750" y="336"/>
                </a:cubicBezTo>
                <a:cubicBezTo>
                  <a:pt x="1749" y="334"/>
                  <a:pt x="1749" y="334"/>
                  <a:pt x="1749" y="334"/>
                </a:cubicBezTo>
                <a:cubicBezTo>
                  <a:pt x="1748" y="335"/>
                  <a:pt x="1748" y="335"/>
                  <a:pt x="1748" y="335"/>
                </a:cubicBezTo>
                <a:cubicBezTo>
                  <a:pt x="1748" y="336"/>
                  <a:pt x="1748" y="336"/>
                  <a:pt x="1748" y="336"/>
                </a:cubicBezTo>
                <a:cubicBezTo>
                  <a:pt x="1749" y="337"/>
                  <a:pt x="1749" y="337"/>
                  <a:pt x="1749" y="337"/>
                </a:cubicBezTo>
                <a:cubicBezTo>
                  <a:pt x="1749" y="339"/>
                  <a:pt x="1749" y="339"/>
                  <a:pt x="1749" y="339"/>
                </a:cubicBezTo>
                <a:cubicBezTo>
                  <a:pt x="1749" y="340"/>
                  <a:pt x="1749" y="340"/>
                  <a:pt x="1749" y="340"/>
                </a:cubicBezTo>
                <a:cubicBezTo>
                  <a:pt x="1750" y="341"/>
                  <a:pt x="1750" y="341"/>
                  <a:pt x="1750" y="341"/>
                </a:cubicBezTo>
                <a:cubicBezTo>
                  <a:pt x="1749" y="340"/>
                  <a:pt x="1749" y="340"/>
                  <a:pt x="1749" y="340"/>
                </a:cubicBezTo>
                <a:cubicBezTo>
                  <a:pt x="1748" y="341"/>
                  <a:pt x="1748" y="341"/>
                  <a:pt x="1748" y="341"/>
                </a:cubicBezTo>
                <a:cubicBezTo>
                  <a:pt x="1740" y="340"/>
                  <a:pt x="1740" y="340"/>
                  <a:pt x="1740" y="340"/>
                </a:cubicBezTo>
                <a:cubicBezTo>
                  <a:pt x="1737" y="338"/>
                  <a:pt x="1737" y="338"/>
                  <a:pt x="1737" y="338"/>
                </a:cubicBezTo>
                <a:cubicBezTo>
                  <a:pt x="1733" y="338"/>
                  <a:pt x="1733" y="338"/>
                  <a:pt x="1733" y="338"/>
                </a:cubicBezTo>
                <a:cubicBezTo>
                  <a:pt x="1731" y="337"/>
                  <a:pt x="1731" y="337"/>
                  <a:pt x="1731" y="337"/>
                </a:cubicBezTo>
                <a:cubicBezTo>
                  <a:pt x="1729" y="338"/>
                  <a:pt x="1729" y="338"/>
                  <a:pt x="1729" y="338"/>
                </a:cubicBezTo>
                <a:cubicBezTo>
                  <a:pt x="1727" y="336"/>
                  <a:pt x="1727" y="336"/>
                  <a:pt x="1727" y="336"/>
                </a:cubicBezTo>
                <a:cubicBezTo>
                  <a:pt x="1727" y="337"/>
                  <a:pt x="1727" y="337"/>
                  <a:pt x="1727" y="337"/>
                </a:cubicBezTo>
                <a:cubicBezTo>
                  <a:pt x="1726" y="337"/>
                  <a:pt x="1726" y="337"/>
                  <a:pt x="1726" y="337"/>
                </a:cubicBezTo>
                <a:cubicBezTo>
                  <a:pt x="1726" y="338"/>
                  <a:pt x="1726" y="338"/>
                  <a:pt x="1726" y="338"/>
                </a:cubicBezTo>
                <a:cubicBezTo>
                  <a:pt x="1727" y="339"/>
                  <a:pt x="1727" y="339"/>
                  <a:pt x="1727" y="339"/>
                </a:cubicBezTo>
                <a:cubicBezTo>
                  <a:pt x="1725" y="340"/>
                  <a:pt x="1725" y="340"/>
                  <a:pt x="1725" y="340"/>
                </a:cubicBezTo>
                <a:cubicBezTo>
                  <a:pt x="1724" y="339"/>
                  <a:pt x="1724" y="339"/>
                  <a:pt x="1724" y="339"/>
                </a:cubicBezTo>
                <a:cubicBezTo>
                  <a:pt x="1720" y="339"/>
                  <a:pt x="1720" y="339"/>
                  <a:pt x="1720" y="339"/>
                </a:cubicBezTo>
                <a:cubicBezTo>
                  <a:pt x="1720" y="338"/>
                  <a:pt x="1720" y="338"/>
                  <a:pt x="1720" y="338"/>
                </a:cubicBezTo>
                <a:cubicBezTo>
                  <a:pt x="1719" y="340"/>
                  <a:pt x="1719" y="340"/>
                  <a:pt x="1719" y="340"/>
                </a:cubicBezTo>
                <a:cubicBezTo>
                  <a:pt x="1717" y="340"/>
                  <a:pt x="1717" y="340"/>
                  <a:pt x="1717" y="340"/>
                </a:cubicBezTo>
                <a:cubicBezTo>
                  <a:pt x="1715" y="341"/>
                  <a:pt x="1715" y="341"/>
                  <a:pt x="1715" y="341"/>
                </a:cubicBezTo>
                <a:cubicBezTo>
                  <a:pt x="1715" y="342"/>
                  <a:pt x="1715" y="342"/>
                  <a:pt x="1715" y="342"/>
                </a:cubicBezTo>
                <a:cubicBezTo>
                  <a:pt x="1714" y="342"/>
                  <a:pt x="1714" y="342"/>
                  <a:pt x="1714" y="342"/>
                </a:cubicBezTo>
                <a:cubicBezTo>
                  <a:pt x="1711" y="343"/>
                  <a:pt x="1711" y="343"/>
                  <a:pt x="1711" y="343"/>
                </a:cubicBezTo>
                <a:cubicBezTo>
                  <a:pt x="1709" y="345"/>
                  <a:pt x="1709" y="345"/>
                  <a:pt x="1709" y="345"/>
                </a:cubicBezTo>
                <a:cubicBezTo>
                  <a:pt x="1710" y="352"/>
                  <a:pt x="1710" y="352"/>
                  <a:pt x="1710" y="352"/>
                </a:cubicBezTo>
                <a:cubicBezTo>
                  <a:pt x="1711" y="352"/>
                  <a:pt x="1711" y="352"/>
                  <a:pt x="1711" y="352"/>
                </a:cubicBezTo>
                <a:cubicBezTo>
                  <a:pt x="1712" y="351"/>
                  <a:pt x="1712" y="351"/>
                  <a:pt x="1712" y="351"/>
                </a:cubicBezTo>
                <a:cubicBezTo>
                  <a:pt x="1713" y="352"/>
                  <a:pt x="1713" y="352"/>
                  <a:pt x="1713" y="352"/>
                </a:cubicBezTo>
                <a:cubicBezTo>
                  <a:pt x="1712" y="353"/>
                  <a:pt x="1712" y="353"/>
                  <a:pt x="1712" y="353"/>
                </a:cubicBezTo>
                <a:cubicBezTo>
                  <a:pt x="1711" y="353"/>
                  <a:pt x="1711" y="353"/>
                  <a:pt x="1711" y="353"/>
                </a:cubicBezTo>
                <a:cubicBezTo>
                  <a:pt x="1711" y="356"/>
                  <a:pt x="1711" y="356"/>
                  <a:pt x="1711" y="356"/>
                </a:cubicBezTo>
                <a:cubicBezTo>
                  <a:pt x="1713" y="358"/>
                  <a:pt x="1713" y="358"/>
                  <a:pt x="1713" y="358"/>
                </a:cubicBezTo>
                <a:cubicBezTo>
                  <a:pt x="1716" y="361"/>
                  <a:pt x="1716" y="361"/>
                  <a:pt x="1716" y="361"/>
                </a:cubicBezTo>
                <a:cubicBezTo>
                  <a:pt x="1717" y="361"/>
                  <a:pt x="1717" y="361"/>
                  <a:pt x="1717" y="361"/>
                </a:cubicBezTo>
                <a:cubicBezTo>
                  <a:pt x="1717" y="359"/>
                  <a:pt x="1717" y="359"/>
                  <a:pt x="1717" y="359"/>
                </a:cubicBezTo>
                <a:cubicBezTo>
                  <a:pt x="1719" y="357"/>
                  <a:pt x="1719" y="357"/>
                  <a:pt x="1719" y="357"/>
                </a:cubicBezTo>
                <a:cubicBezTo>
                  <a:pt x="1720" y="359"/>
                  <a:pt x="1720" y="359"/>
                  <a:pt x="1720" y="359"/>
                </a:cubicBezTo>
                <a:cubicBezTo>
                  <a:pt x="1719" y="364"/>
                  <a:pt x="1719" y="364"/>
                  <a:pt x="1719" y="364"/>
                </a:cubicBezTo>
                <a:cubicBezTo>
                  <a:pt x="1719" y="368"/>
                  <a:pt x="1719" y="368"/>
                  <a:pt x="1719" y="368"/>
                </a:cubicBezTo>
                <a:cubicBezTo>
                  <a:pt x="1719" y="372"/>
                  <a:pt x="1719" y="372"/>
                  <a:pt x="1719" y="372"/>
                </a:cubicBezTo>
                <a:cubicBezTo>
                  <a:pt x="1718" y="376"/>
                  <a:pt x="1718" y="376"/>
                  <a:pt x="1718" y="376"/>
                </a:cubicBezTo>
                <a:cubicBezTo>
                  <a:pt x="1715" y="379"/>
                  <a:pt x="1715" y="379"/>
                  <a:pt x="1715" y="379"/>
                </a:cubicBezTo>
                <a:cubicBezTo>
                  <a:pt x="1713" y="379"/>
                  <a:pt x="1713" y="379"/>
                  <a:pt x="1713" y="379"/>
                </a:cubicBezTo>
                <a:cubicBezTo>
                  <a:pt x="1710" y="377"/>
                  <a:pt x="1710" y="377"/>
                  <a:pt x="1710" y="377"/>
                </a:cubicBezTo>
                <a:cubicBezTo>
                  <a:pt x="1710" y="375"/>
                  <a:pt x="1710" y="375"/>
                  <a:pt x="1710" y="375"/>
                </a:cubicBezTo>
                <a:cubicBezTo>
                  <a:pt x="1705" y="370"/>
                  <a:pt x="1705" y="370"/>
                  <a:pt x="1705" y="370"/>
                </a:cubicBezTo>
                <a:cubicBezTo>
                  <a:pt x="1705" y="367"/>
                  <a:pt x="1705" y="367"/>
                  <a:pt x="1705" y="367"/>
                </a:cubicBezTo>
                <a:cubicBezTo>
                  <a:pt x="1704" y="367"/>
                  <a:pt x="1704" y="367"/>
                  <a:pt x="1704" y="367"/>
                </a:cubicBezTo>
                <a:cubicBezTo>
                  <a:pt x="1703" y="369"/>
                  <a:pt x="1703" y="369"/>
                  <a:pt x="1703" y="369"/>
                </a:cubicBezTo>
                <a:cubicBezTo>
                  <a:pt x="1700" y="370"/>
                  <a:pt x="1700" y="370"/>
                  <a:pt x="1700" y="370"/>
                </a:cubicBezTo>
                <a:cubicBezTo>
                  <a:pt x="1699" y="371"/>
                  <a:pt x="1699" y="371"/>
                  <a:pt x="1699" y="371"/>
                </a:cubicBezTo>
                <a:cubicBezTo>
                  <a:pt x="1697" y="371"/>
                  <a:pt x="1697" y="371"/>
                  <a:pt x="1697" y="371"/>
                </a:cubicBezTo>
                <a:cubicBezTo>
                  <a:pt x="1695" y="373"/>
                  <a:pt x="1695" y="373"/>
                  <a:pt x="1695" y="373"/>
                </a:cubicBezTo>
                <a:cubicBezTo>
                  <a:pt x="1695" y="375"/>
                  <a:pt x="1695" y="375"/>
                  <a:pt x="1695" y="375"/>
                </a:cubicBezTo>
                <a:cubicBezTo>
                  <a:pt x="1694" y="375"/>
                  <a:pt x="1694" y="375"/>
                  <a:pt x="1694" y="375"/>
                </a:cubicBezTo>
                <a:cubicBezTo>
                  <a:pt x="1695" y="378"/>
                  <a:pt x="1695" y="378"/>
                  <a:pt x="1695" y="378"/>
                </a:cubicBezTo>
                <a:cubicBezTo>
                  <a:pt x="1692" y="381"/>
                  <a:pt x="1692" y="381"/>
                  <a:pt x="1692" y="381"/>
                </a:cubicBezTo>
                <a:cubicBezTo>
                  <a:pt x="1692" y="383"/>
                  <a:pt x="1692" y="383"/>
                  <a:pt x="1692" y="383"/>
                </a:cubicBezTo>
                <a:cubicBezTo>
                  <a:pt x="1692" y="385"/>
                  <a:pt x="1692" y="385"/>
                  <a:pt x="1692" y="385"/>
                </a:cubicBezTo>
                <a:cubicBezTo>
                  <a:pt x="1690" y="387"/>
                  <a:pt x="1690" y="387"/>
                  <a:pt x="1690" y="387"/>
                </a:cubicBezTo>
                <a:cubicBezTo>
                  <a:pt x="1691" y="392"/>
                  <a:pt x="1691" y="392"/>
                  <a:pt x="1691" y="392"/>
                </a:cubicBezTo>
                <a:cubicBezTo>
                  <a:pt x="1693" y="393"/>
                  <a:pt x="1693" y="393"/>
                  <a:pt x="1693" y="393"/>
                </a:cubicBezTo>
                <a:cubicBezTo>
                  <a:pt x="1693" y="393"/>
                  <a:pt x="1693" y="393"/>
                  <a:pt x="1693" y="393"/>
                </a:cubicBezTo>
                <a:cubicBezTo>
                  <a:pt x="1693" y="396"/>
                  <a:pt x="1693" y="396"/>
                  <a:pt x="1693" y="396"/>
                </a:cubicBezTo>
                <a:cubicBezTo>
                  <a:pt x="1694" y="399"/>
                  <a:pt x="1694" y="399"/>
                  <a:pt x="1694" y="399"/>
                </a:cubicBezTo>
                <a:cubicBezTo>
                  <a:pt x="1693" y="400"/>
                  <a:pt x="1693" y="400"/>
                  <a:pt x="1693" y="400"/>
                </a:cubicBezTo>
                <a:cubicBezTo>
                  <a:pt x="1693" y="400"/>
                  <a:pt x="1693" y="400"/>
                  <a:pt x="1693" y="400"/>
                </a:cubicBezTo>
                <a:cubicBezTo>
                  <a:pt x="1697" y="400"/>
                  <a:pt x="1697" y="400"/>
                  <a:pt x="1697" y="400"/>
                </a:cubicBezTo>
                <a:cubicBezTo>
                  <a:pt x="1699" y="403"/>
                  <a:pt x="1699" y="403"/>
                  <a:pt x="1699" y="403"/>
                </a:cubicBezTo>
                <a:cubicBezTo>
                  <a:pt x="1702" y="405"/>
                  <a:pt x="1702" y="405"/>
                  <a:pt x="1702" y="405"/>
                </a:cubicBezTo>
                <a:cubicBezTo>
                  <a:pt x="1706" y="404"/>
                  <a:pt x="1706" y="404"/>
                  <a:pt x="1706" y="404"/>
                </a:cubicBezTo>
                <a:cubicBezTo>
                  <a:pt x="1707" y="405"/>
                  <a:pt x="1707" y="405"/>
                  <a:pt x="1707" y="405"/>
                </a:cubicBezTo>
                <a:cubicBezTo>
                  <a:pt x="1708" y="407"/>
                  <a:pt x="1708" y="407"/>
                  <a:pt x="1708" y="407"/>
                </a:cubicBezTo>
                <a:cubicBezTo>
                  <a:pt x="1709" y="407"/>
                  <a:pt x="1709" y="407"/>
                  <a:pt x="1709" y="407"/>
                </a:cubicBezTo>
                <a:cubicBezTo>
                  <a:pt x="1710" y="408"/>
                  <a:pt x="1710" y="408"/>
                  <a:pt x="1710" y="408"/>
                </a:cubicBezTo>
                <a:cubicBezTo>
                  <a:pt x="1709" y="410"/>
                  <a:pt x="1709" y="410"/>
                  <a:pt x="1709" y="410"/>
                </a:cubicBezTo>
                <a:cubicBezTo>
                  <a:pt x="1709" y="413"/>
                  <a:pt x="1709" y="413"/>
                  <a:pt x="1709" y="413"/>
                </a:cubicBezTo>
                <a:cubicBezTo>
                  <a:pt x="1711" y="413"/>
                  <a:pt x="1711" y="413"/>
                  <a:pt x="1711" y="413"/>
                </a:cubicBezTo>
                <a:cubicBezTo>
                  <a:pt x="1698" y="414"/>
                  <a:pt x="1698" y="414"/>
                  <a:pt x="1698" y="414"/>
                </a:cubicBezTo>
                <a:cubicBezTo>
                  <a:pt x="1685" y="413"/>
                  <a:pt x="1685" y="413"/>
                  <a:pt x="1685" y="413"/>
                </a:cubicBezTo>
                <a:cubicBezTo>
                  <a:pt x="1684" y="414"/>
                  <a:pt x="1684" y="414"/>
                  <a:pt x="1684" y="414"/>
                </a:cubicBezTo>
                <a:cubicBezTo>
                  <a:pt x="1680" y="417"/>
                  <a:pt x="1680" y="417"/>
                  <a:pt x="1680" y="417"/>
                </a:cubicBezTo>
                <a:cubicBezTo>
                  <a:pt x="1677" y="418"/>
                  <a:pt x="1677" y="418"/>
                  <a:pt x="1677" y="418"/>
                </a:cubicBezTo>
                <a:cubicBezTo>
                  <a:pt x="1676" y="417"/>
                  <a:pt x="1676" y="417"/>
                  <a:pt x="1676" y="417"/>
                </a:cubicBezTo>
                <a:cubicBezTo>
                  <a:pt x="1679" y="415"/>
                  <a:pt x="1679" y="415"/>
                  <a:pt x="1679" y="415"/>
                </a:cubicBezTo>
                <a:cubicBezTo>
                  <a:pt x="1682" y="413"/>
                  <a:pt x="1682" y="413"/>
                  <a:pt x="1682" y="413"/>
                </a:cubicBezTo>
                <a:cubicBezTo>
                  <a:pt x="1681" y="413"/>
                  <a:pt x="1681" y="413"/>
                  <a:pt x="1681" y="413"/>
                </a:cubicBezTo>
                <a:cubicBezTo>
                  <a:pt x="1679" y="415"/>
                  <a:pt x="1679" y="415"/>
                  <a:pt x="1679" y="415"/>
                </a:cubicBezTo>
                <a:cubicBezTo>
                  <a:pt x="1675" y="417"/>
                  <a:pt x="1675" y="417"/>
                  <a:pt x="1675" y="417"/>
                </a:cubicBezTo>
                <a:cubicBezTo>
                  <a:pt x="1671" y="415"/>
                  <a:pt x="1671" y="415"/>
                  <a:pt x="1671" y="415"/>
                </a:cubicBezTo>
                <a:cubicBezTo>
                  <a:pt x="1670" y="413"/>
                  <a:pt x="1670" y="413"/>
                  <a:pt x="1670" y="413"/>
                </a:cubicBezTo>
                <a:cubicBezTo>
                  <a:pt x="1671" y="411"/>
                  <a:pt x="1671" y="411"/>
                  <a:pt x="1671" y="411"/>
                </a:cubicBezTo>
                <a:cubicBezTo>
                  <a:pt x="1673" y="412"/>
                  <a:pt x="1673" y="412"/>
                  <a:pt x="1673" y="412"/>
                </a:cubicBezTo>
                <a:cubicBezTo>
                  <a:pt x="1674" y="412"/>
                  <a:pt x="1674" y="412"/>
                  <a:pt x="1674" y="412"/>
                </a:cubicBezTo>
                <a:cubicBezTo>
                  <a:pt x="1674" y="412"/>
                  <a:pt x="1674" y="412"/>
                  <a:pt x="1674" y="412"/>
                </a:cubicBezTo>
                <a:cubicBezTo>
                  <a:pt x="1671" y="410"/>
                  <a:pt x="1671" y="410"/>
                  <a:pt x="1671" y="410"/>
                </a:cubicBezTo>
                <a:cubicBezTo>
                  <a:pt x="1666" y="409"/>
                  <a:pt x="1666" y="409"/>
                  <a:pt x="1666" y="409"/>
                </a:cubicBezTo>
                <a:cubicBezTo>
                  <a:pt x="1662" y="411"/>
                  <a:pt x="1662" y="411"/>
                  <a:pt x="1662" y="411"/>
                </a:cubicBezTo>
                <a:cubicBezTo>
                  <a:pt x="1659" y="411"/>
                  <a:pt x="1659" y="411"/>
                  <a:pt x="1659" y="411"/>
                </a:cubicBezTo>
                <a:cubicBezTo>
                  <a:pt x="1656" y="412"/>
                  <a:pt x="1656" y="412"/>
                  <a:pt x="1656" y="412"/>
                </a:cubicBezTo>
                <a:cubicBezTo>
                  <a:pt x="1654" y="414"/>
                  <a:pt x="1654" y="414"/>
                  <a:pt x="1654" y="414"/>
                </a:cubicBezTo>
                <a:cubicBezTo>
                  <a:pt x="1652" y="415"/>
                  <a:pt x="1652" y="415"/>
                  <a:pt x="1652" y="415"/>
                </a:cubicBezTo>
                <a:cubicBezTo>
                  <a:pt x="1650" y="417"/>
                  <a:pt x="1650" y="417"/>
                  <a:pt x="1650" y="417"/>
                </a:cubicBezTo>
                <a:cubicBezTo>
                  <a:pt x="1650" y="418"/>
                  <a:pt x="1650" y="418"/>
                  <a:pt x="1650" y="418"/>
                </a:cubicBezTo>
                <a:cubicBezTo>
                  <a:pt x="1647" y="418"/>
                  <a:pt x="1647" y="418"/>
                  <a:pt x="1647" y="418"/>
                </a:cubicBezTo>
                <a:cubicBezTo>
                  <a:pt x="1642" y="421"/>
                  <a:pt x="1642" y="421"/>
                  <a:pt x="1642" y="421"/>
                </a:cubicBezTo>
                <a:cubicBezTo>
                  <a:pt x="1639" y="421"/>
                  <a:pt x="1639" y="421"/>
                  <a:pt x="1639" y="421"/>
                </a:cubicBezTo>
                <a:cubicBezTo>
                  <a:pt x="1637" y="424"/>
                  <a:pt x="1637" y="424"/>
                  <a:pt x="1637" y="424"/>
                </a:cubicBezTo>
                <a:cubicBezTo>
                  <a:pt x="1637" y="426"/>
                  <a:pt x="1637" y="426"/>
                  <a:pt x="1637" y="426"/>
                </a:cubicBezTo>
                <a:cubicBezTo>
                  <a:pt x="1636" y="426"/>
                  <a:pt x="1636" y="426"/>
                  <a:pt x="1636" y="426"/>
                </a:cubicBezTo>
                <a:cubicBezTo>
                  <a:pt x="1636" y="427"/>
                  <a:pt x="1636" y="427"/>
                  <a:pt x="1636" y="427"/>
                </a:cubicBezTo>
                <a:cubicBezTo>
                  <a:pt x="1635" y="427"/>
                  <a:pt x="1635" y="427"/>
                  <a:pt x="1635" y="427"/>
                </a:cubicBezTo>
                <a:cubicBezTo>
                  <a:pt x="1633" y="428"/>
                  <a:pt x="1633" y="428"/>
                  <a:pt x="1633" y="428"/>
                </a:cubicBezTo>
                <a:cubicBezTo>
                  <a:pt x="1632" y="426"/>
                  <a:pt x="1632" y="426"/>
                  <a:pt x="1632" y="426"/>
                </a:cubicBezTo>
                <a:cubicBezTo>
                  <a:pt x="1630" y="427"/>
                  <a:pt x="1630" y="427"/>
                  <a:pt x="1630" y="427"/>
                </a:cubicBezTo>
                <a:cubicBezTo>
                  <a:pt x="1629" y="425"/>
                  <a:pt x="1629" y="425"/>
                  <a:pt x="1629" y="425"/>
                </a:cubicBezTo>
                <a:cubicBezTo>
                  <a:pt x="1629" y="423"/>
                  <a:pt x="1629" y="423"/>
                  <a:pt x="1629" y="423"/>
                </a:cubicBezTo>
                <a:cubicBezTo>
                  <a:pt x="1628" y="422"/>
                  <a:pt x="1628" y="422"/>
                  <a:pt x="1628" y="422"/>
                </a:cubicBezTo>
                <a:cubicBezTo>
                  <a:pt x="1626" y="422"/>
                  <a:pt x="1626" y="422"/>
                  <a:pt x="1626" y="422"/>
                </a:cubicBezTo>
                <a:cubicBezTo>
                  <a:pt x="1623" y="419"/>
                  <a:pt x="1623" y="419"/>
                  <a:pt x="1623" y="419"/>
                </a:cubicBezTo>
                <a:cubicBezTo>
                  <a:pt x="1621" y="419"/>
                  <a:pt x="1621" y="419"/>
                  <a:pt x="1621" y="419"/>
                </a:cubicBezTo>
                <a:cubicBezTo>
                  <a:pt x="1621" y="418"/>
                  <a:pt x="1621" y="418"/>
                  <a:pt x="1621" y="418"/>
                </a:cubicBezTo>
                <a:cubicBezTo>
                  <a:pt x="1620" y="419"/>
                  <a:pt x="1620" y="419"/>
                  <a:pt x="1620" y="419"/>
                </a:cubicBezTo>
                <a:cubicBezTo>
                  <a:pt x="1618" y="419"/>
                  <a:pt x="1618" y="419"/>
                  <a:pt x="1618" y="419"/>
                </a:cubicBezTo>
                <a:cubicBezTo>
                  <a:pt x="1616" y="420"/>
                  <a:pt x="1616" y="420"/>
                  <a:pt x="1616" y="420"/>
                </a:cubicBezTo>
                <a:cubicBezTo>
                  <a:pt x="1615" y="419"/>
                  <a:pt x="1615" y="419"/>
                  <a:pt x="1615" y="419"/>
                </a:cubicBezTo>
                <a:cubicBezTo>
                  <a:pt x="1616" y="418"/>
                  <a:pt x="1616" y="418"/>
                  <a:pt x="1616" y="418"/>
                </a:cubicBezTo>
                <a:cubicBezTo>
                  <a:pt x="1616" y="419"/>
                  <a:pt x="1616" y="419"/>
                  <a:pt x="1616" y="419"/>
                </a:cubicBezTo>
                <a:cubicBezTo>
                  <a:pt x="1617" y="418"/>
                  <a:pt x="1617" y="418"/>
                  <a:pt x="1617" y="418"/>
                </a:cubicBezTo>
                <a:cubicBezTo>
                  <a:pt x="1619" y="417"/>
                  <a:pt x="1619" y="417"/>
                  <a:pt x="1619" y="417"/>
                </a:cubicBezTo>
                <a:cubicBezTo>
                  <a:pt x="1616" y="417"/>
                  <a:pt x="1616" y="417"/>
                  <a:pt x="1616" y="417"/>
                </a:cubicBezTo>
                <a:cubicBezTo>
                  <a:pt x="1616" y="417"/>
                  <a:pt x="1616" y="417"/>
                  <a:pt x="1616" y="417"/>
                </a:cubicBezTo>
                <a:cubicBezTo>
                  <a:pt x="1615" y="418"/>
                  <a:pt x="1615" y="418"/>
                  <a:pt x="1615" y="418"/>
                </a:cubicBezTo>
                <a:cubicBezTo>
                  <a:pt x="1613" y="419"/>
                  <a:pt x="1613" y="419"/>
                  <a:pt x="1613" y="419"/>
                </a:cubicBezTo>
                <a:cubicBezTo>
                  <a:pt x="1613" y="420"/>
                  <a:pt x="1613" y="420"/>
                  <a:pt x="1613" y="420"/>
                </a:cubicBezTo>
                <a:cubicBezTo>
                  <a:pt x="1609" y="421"/>
                  <a:pt x="1609" y="421"/>
                  <a:pt x="1609" y="421"/>
                </a:cubicBezTo>
                <a:cubicBezTo>
                  <a:pt x="1608" y="423"/>
                  <a:pt x="1608" y="423"/>
                  <a:pt x="1608" y="423"/>
                </a:cubicBezTo>
                <a:cubicBezTo>
                  <a:pt x="1608" y="424"/>
                  <a:pt x="1608" y="424"/>
                  <a:pt x="1608" y="424"/>
                </a:cubicBezTo>
                <a:cubicBezTo>
                  <a:pt x="1606" y="424"/>
                  <a:pt x="1606" y="424"/>
                  <a:pt x="1606" y="424"/>
                </a:cubicBezTo>
                <a:cubicBezTo>
                  <a:pt x="1605" y="423"/>
                  <a:pt x="1605" y="423"/>
                  <a:pt x="1605" y="423"/>
                </a:cubicBezTo>
                <a:cubicBezTo>
                  <a:pt x="1603" y="423"/>
                  <a:pt x="1603" y="423"/>
                  <a:pt x="1603" y="423"/>
                </a:cubicBezTo>
                <a:cubicBezTo>
                  <a:pt x="1602" y="423"/>
                  <a:pt x="1602" y="423"/>
                  <a:pt x="1602" y="423"/>
                </a:cubicBezTo>
                <a:cubicBezTo>
                  <a:pt x="1600" y="423"/>
                  <a:pt x="1600" y="423"/>
                  <a:pt x="1600" y="423"/>
                </a:cubicBezTo>
                <a:cubicBezTo>
                  <a:pt x="1601" y="421"/>
                  <a:pt x="1601" y="421"/>
                  <a:pt x="1601" y="421"/>
                </a:cubicBezTo>
                <a:cubicBezTo>
                  <a:pt x="1603" y="422"/>
                  <a:pt x="1603" y="422"/>
                  <a:pt x="1603" y="422"/>
                </a:cubicBezTo>
                <a:cubicBezTo>
                  <a:pt x="1604" y="420"/>
                  <a:pt x="1604" y="420"/>
                  <a:pt x="1604" y="420"/>
                </a:cubicBezTo>
                <a:cubicBezTo>
                  <a:pt x="1604" y="418"/>
                  <a:pt x="1604" y="418"/>
                  <a:pt x="1604" y="418"/>
                </a:cubicBezTo>
                <a:cubicBezTo>
                  <a:pt x="1603" y="418"/>
                  <a:pt x="1603" y="418"/>
                  <a:pt x="1603" y="418"/>
                </a:cubicBezTo>
                <a:cubicBezTo>
                  <a:pt x="1602" y="419"/>
                  <a:pt x="1602" y="419"/>
                  <a:pt x="1602" y="419"/>
                </a:cubicBezTo>
                <a:cubicBezTo>
                  <a:pt x="1601" y="420"/>
                  <a:pt x="1601" y="420"/>
                  <a:pt x="1601" y="420"/>
                </a:cubicBezTo>
                <a:cubicBezTo>
                  <a:pt x="1598" y="418"/>
                  <a:pt x="1598" y="418"/>
                  <a:pt x="1598" y="418"/>
                </a:cubicBezTo>
                <a:cubicBezTo>
                  <a:pt x="1598" y="417"/>
                  <a:pt x="1598" y="417"/>
                  <a:pt x="1598" y="417"/>
                </a:cubicBezTo>
                <a:cubicBezTo>
                  <a:pt x="1597" y="418"/>
                  <a:pt x="1597" y="418"/>
                  <a:pt x="1597" y="418"/>
                </a:cubicBezTo>
                <a:cubicBezTo>
                  <a:pt x="1596" y="419"/>
                  <a:pt x="1596" y="419"/>
                  <a:pt x="1596" y="419"/>
                </a:cubicBezTo>
                <a:cubicBezTo>
                  <a:pt x="1595" y="420"/>
                  <a:pt x="1595" y="420"/>
                  <a:pt x="1595" y="420"/>
                </a:cubicBezTo>
                <a:cubicBezTo>
                  <a:pt x="1594" y="418"/>
                  <a:pt x="1594" y="418"/>
                  <a:pt x="1594" y="418"/>
                </a:cubicBezTo>
                <a:cubicBezTo>
                  <a:pt x="1592" y="418"/>
                  <a:pt x="1592" y="418"/>
                  <a:pt x="1592" y="418"/>
                </a:cubicBezTo>
                <a:cubicBezTo>
                  <a:pt x="1592" y="416"/>
                  <a:pt x="1592" y="416"/>
                  <a:pt x="1592" y="416"/>
                </a:cubicBezTo>
                <a:cubicBezTo>
                  <a:pt x="1593" y="415"/>
                  <a:pt x="1593" y="415"/>
                  <a:pt x="1593" y="415"/>
                </a:cubicBezTo>
                <a:cubicBezTo>
                  <a:pt x="1594" y="413"/>
                  <a:pt x="1594" y="413"/>
                  <a:pt x="1594" y="413"/>
                </a:cubicBezTo>
                <a:cubicBezTo>
                  <a:pt x="1592" y="413"/>
                  <a:pt x="1592" y="413"/>
                  <a:pt x="1592" y="413"/>
                </a:cubicBezTo>
                <a:cubicBezTo>
                  <a:pt x="1590" y="411"/>
                  <a:pt x="1590" y="411"/>
                  <a:pt x="1590" y="411"/>
                </a:cubicBezTo>
                <a:cubicBezTo>
                  <a:pt x="1590" y="411"/>
                  <a:pt x="1590" y="411"/>
                  <a:pt x="1590" y="411"/>
                </a:cubicBezTo>
                <a:cubicBezTo>
                  <a:pt x="1590" y="409"/>
                  <a:pt x="1590" y="409"/>
                  <a:pt x="1590" y="409"/>
                </a:cubicBezTo>
                <a:cubicBezTo>
                  <a:pt x="1589" y="408"/>
                  <a:pt x="1589" y="408"/>
                  <a:pt x="1589" y="408"/>
                </a:cubicBezTo>
                <a:cubicBezTo>
                  <a:pt x="1588" y="408"/>
                  <a:pt x="1588" y="408"/>
                  <a:pt x="1588" y="408"/>
                </a:cubicBezTo>
                <a:cubicBezTo>
                  <a:pt x="1588" y="407"/>
                  <a:pt x="1588" y="407"/>
                  <a:pt x="1588" y="407"/>
                </a:cubicBezTo>
                <a:cubicBezTo>
                  <a:pt x="1590" y="406"/>
                  <a:pt x="1590" y="406"/>
                  <a:pt x="1590" y="406"/>
                </a:cubicBezTo>
                <a:cubicBezTo>
                  <a:pt x="1590" y="404"/>
                  <a:pt x="1590" y="404"/>
                  <a:pt x="1590" y="404"/>
                </a:cubicBezTo>
                <a:cubicBezTo>
                  <a:pt x="1589" y="404"/>
                  <a:pt x="1589" y="404"/>
                  <a:pt x="1589" y="404"/>
                </a:cubicBezTo>
                <a:cubicBezTo>
                  <a:pt x="1589" y="402"/>
                  <a:pt x="1589" y="402"/>
                  <a:pt x="1589" y="402"/>
                </a:cubicBezTo>
                <a:cubicBezTo>
                  <a:pt x="1593" y="400"/>
                  <a:pt x="1593" y="400"/>
                  <a:pt x="1593" y="400"/>
                </a:cubicBezTo>
                <a:cubicBezTo>
                  <a:pt x="1592" y="400"/>
                  <a:pt x="1592" y="400"/>
                  <a:pt x="1592" y="400"/>
                </a:cubicBezTo>
                <a:cubicBezTo>
                  <a:pt x="1593" y="398"/>
                  <a:pt x="1593" y="398"/>
                  <a:pt x="1593" y="398"/>
                </a:cubicBezTo>
                <a:cubicBezTo>
                  <a:pt x="1594" y="399"/>
                  <a:pt x="1594" y="399"/>
                  <a:pt x="1594" y="399"/>
                </a:cubicBezTo>
                <a:cubicBezTo>
                  <a:pt x="1596" y="398"/>
                  <a:pt x="1596" y="398"/>
                  <a:pt x="1596" y="398"/>
                </a:cubicBezTo>
                <a:cubicBezTo>
                  <a:pt x="1596" y="395"/>
                  <a:pt x="1596" y="395"/>
                  <a:pt x="1596" y="395"/>
                </a:cubicBezTo>
                <a:cubicBezTo>
                  <a:pt x="1595" y="393"/>
                  <a:pt x="1595" y="393"/>
                  <a:pt x="1595" y="393"/>
                </a:cubicBezTo>
                <a:cubicBezTo>
                  <a:pt x="1596" y="392"/>
                  <a:pt x="1596" y="392"/>
                  <a:pt x="1596" y="392"/>
                </a:cubicBezTo>
                <a:cubicBezTo>
                  <a:pt x="1598" y="392"/>
                  <a:pt x="1598" y="392"/>
                  <a:pt x="1598" y="392"/>
                </a:cubicBezTo>
                <a:cubicBezTo>
                  <a:pt x="1599" y="393"/>
                  <a:pt x="1599" y="393"/>
                  <a:pt x="1599" y="393"/>
                </a:cubicBezTo>
                <a:cubicBezTo>
                  <a:pt x="1600" y="393"/>
                  <a:pt x="1600" y="393"/>
                  <a:pt x="1600" y="393"/>
                </a:cubicBezTo>
                <a:cubicBezTo>
                  <a:pt x="1601" y="393"/>
                  <a:pt x="1601" y="393"/>
                  <a:pt x="1601" y="393"/>
                </a:cubicBezTo>
                <a:cubicBezTo>
                  <a:pt x="1602" y="392"/>
                  <a:pt x="1602" y="392"/>
                  <a:pt x="1602" y="392"/>
                </a:cubicBezTo>
                <a:cubicBezTo>
                  <a:pt x="1602" y="390"/>
                  <a:pt x="1602" y="390"/>
                  <a:pt x="1602" y="390"/>
                </a:cubicBezTo>
                <a:cubicBezTo>
                  <a:pt x="1600" y="388"/>
                  <a:pt x="1600" y="388"/>
                  <a:pt x="1600" y="388"/>
                </a:cubicBezTo>
                <a:cubicBezTo>
                  <a:pt x="1599" y="389"/>
                  <a:pt x="1599" y="389"/>
                  <a:pt x="1599" y="389"/>
                </a:cubicBezTo>
                <a:cubicBezTo>
                  <a:pt x="1597" y="389"/>
                  <a:pt x="1597" y="389"/>
                  <a:pt x="1597" y="389"/>
                </a:cubicBezTo>
                <a:cubicBezTo>
                  <a:pt x="1596" y="388"/>
                  <a:pt x="1596" y="388"/>
                  <a:pt x="1596" y="388"/>
                </a:cubicBezTo>
                <a:cubicBezTo>
                  <a:pt x="1595" y="386"/>
                  <a:pt x="1595" y="386"/>
                  <a:pt x="1595" y="386"/>
                </a:cubicBezTo>
                <a:cubicBezTo>
                  <a:pt x="1594" y="386"/>
                  <a:pt x="1594" y="386"/>
                  <a:pt x="1594" y="386"/>
                </a:cubicBezTo>
                <a:cubicBezTo>
                  <a:pt x="1595" y="385"/>
                  <a:pt x="1595" y="385"/>
                  <a:pt x="1595" y="385"/>
                </a:cubicBezTo>
                <a:cubicBezTo>
                  <a:pt x="1595" y="383"/>
                  <a:pt x="1595" y="383"/>
                  <a:pt x="1595" y="383"/>
                </a:cubicBezTo>
                <a:cubicBezTo>
                  <a:pt x="1593" y="382"/>
                  <a:pt x="1593" y="382"/>
                  <a:pt x="1593" y="382"/>
                </a:cubicBezTo>
                <a:cubicBezTo>
                  <a:pt x="1590" y="382"/>
                  <a:pt x="1590" y="382"/>
                  <a:pt x="1590" y="382"/>
                </a:cubicBezTo>
                <a:cubicBezTo>
                  <a:pt x="1588" y="382"/>
                  <a:pt x="1588" y="382"/>
                  <a:pt x="1588" y="382"/>
                </a:cubicBezTo>
                <a:cubicBezTo>
                  <a:pt x="1587" y="382"/>
                  <a:pt x="1587" y="382"/>
                  <a:pt x="1587" y="382"/>
                </a:cubicBezTo>
                <a:cubicBezTo>
                  <a:pt x="1586" y="383"/>
                  <a:pt x="1586" y="383"/>
                  <a:pt x="1586" y="383"/>
                </a:cubicBezTo>
                <a:cubicBezTo>
                  <a:pt x="1588" y="385"/>
                  <a:pt x="1588" y="385"/>
                  <a:pt x="1588" y="385"/>
                </a:cubicBezTo>
                <a:cubicBezTo>
                  <a:pt x="1587" y="386"/>
                  <a:pt x="1587" y="386"/>
                  <a:pt x="1587" y="386"/>
                </a:cubicBezTo>
                <a:cubicBezTo>
                  <a:pt x="1589" y="388"/>
                  <a:pt x="1589" y="388"/>
                  <a:pt x="1589" y="388"/>
                </a:cubicBezTo>
                <a:cubicBezTo>
                  <a:pt x="1589" y="389"/>
                  <a:pt x="1589" y="389"/>
                  <a:pt x="1589" y="389"/>
                </a:cubicBezTo>
                <a:cubicBezTo>
                  <a:pt x="1587" y="388"/>
                  <a:pt x="1587" y="388"/>
                  <a:pt x="1587" y="388"/>
                </a:cubicBezTo>
                <a:cubicBezTo>
                  <a:pt x="1585" y="388"/>
                  <a:pt x="1585" y="388"/>
                  <a:pt x="1585" y="388"/>
                </a:cubicBezTo>
                <a:cubicBezTo>
                  <a:pt x="1585" y="387"/>
                  <a:pt x="1585" y="387"/>
                  <a:pt x="1585" y="387"/>
                </a:cubicBezTo>
                <a:cubicBezTo>
                  <a:pt x="1586" y="386"/>
                  <a:pt x="1586" y="386"/>
                  <a:pt x="1586" y="386"/>
                </a:cubicBezTo>
                <a:cubicBezTo>
                  <a:pt x="1585" y="384"/>
                  <a:pt x="1585" y="384"/>
                  <a:pt x="1585" y="384"/>
                </a:cubicBezTo>
                <a:cubicBezTo>
                  <a:pt x="1585" y="384"/>
                  <a:pt x="1585" y="384"/>
                  <a:pt x="1585" y="384"/>
                </a:cubicBezTo>
                <a:cubicBezTo>
                  <a:pt x="1583" y="387"/>
                  <a:pt x="1583" y="387"/>
                  <a:pt x="1583" y="387"/>
                </a:cubicBezTo>
                <a:cubicBezTo>
                  <a:pt x="1584" y="388"/>
                  <a:pt x="1584" y="388"/>
                  <a:pt x="1584" y="388"/>
                </a:cubicBezTo>
                <a:cubicBezTo>
                  <a:pt x="1582" y="389"/>
                  <a:pt x="1582" y="389"/>
                  <a:pt x="1582" y="389"/>
                </a:cubicBezTo>
                <a:cubicBezTo>
                  <a:pt x="1581" y="388"/>
                  <a:pt x="1581" y="388"/>
                  <a:pt x="1581" y="388"/>
                </a:cubicBezTo>
                <a:cubicBezTo>
                  <a:pt x="1579" y="388"/>
                  <a:pt x="1579" y="388"/>
                  <a:pt x="1579" y="388"/>
                </a:cubicBezTo>
                <a:cubicBezTo>
                  <a:pt x="1578" y="387"/>
                  <a:pt x="1578" y="387"/>
                  <a:pt x="1578" y="387"/>
                </a:cubicBezTo>
                <a:cubicBezTo>
                  <a:pt x="1577" y="389"/>
                  <a:pt x="1577" y="389"/>
                  <a:pt x="1577" y="389"/>
                </a:cubicBezTo>
                <a:cubicBezTo>
                  <a:pt x="1579" y="390"/>
                  <a:pt x="1579" y="390"/>
                  <a:pt x="1579" y="390"/>
                </a:cubicBezTo>
                <a:cubicBezTo>
                  <a:pt x="1579" y="392"/>
                  <a:pt x="1579" y="392"/>
                  <a:pt x="1579" y="392"/>
                </a:cubicBezTo>
                <a:cubicBezTo>
                  <a:pt x="1577" y="391"/>
                  <a:pt x="1577" y="391"/>
                  <a:pt x="1577" y="391"/>
                </a:cubicBezTo>
                <a:cubicBezTo>
                  <a:pt x="1577" y="392"/>
                  <a:pt x="1577" y="392"/>
                  <a:pt x="1577" y="392"/>
                </a:cubicBezTo>
                <a:cubicBezTo>
                  <a:pt x="1577" y="394"/>
                  <a:pt x="1577" y="394"/>
                  <a:pt x="1577" y="394"/>
                </a:cubicBezTo>
                <a:cubicBezTo>
                  <a:pt x="1578" y="395"/>
                  <a:pt x="1578" y="395"/>
                  <a:pt x="1578" y="395"/>
                </a:cubicBezTo>
                <a:cubicBezTo>
                  <a:pt x="1578" y="397"/>
                  <a:pt x="1578" y="397"/>
                  <a:pt x="1578" y="397"/>
                </a:cubicBezTo>
                <a:cubicBezTo>
                  <a:pt x="1580" y="398"/>
                  <a:pt x="1580" y="398"/>
                  <a:pt x="1580" y="398"/>
                </a:cubicBezTo>
                <a:cubicBezTo>
                  <a:pt x="1577" y="400"/>
                  <a:pt x="1577" y="400"/>
                  <a:pt x="1577" y="400"/>
                </a:cubicBezTo>
                <a:cubicBezTo>
                  <a:pt x="1576" y="403"/>
                  <a:pt x="1576" y="403"/>
                  <a:pt x="1576" y="403"/>
                </a:cubicBezTo>
                <a:cubicBezTo>
                  <a:pt x="1577" y="403"/>
                  <a:pt x="1577" y="403"/>
                  <a:pt x="1577" y="403"/>
                </a:cubicBezTo>
                <a:cubicBezTo>
                  <a:pt x="1578" y="403"/>
                  <a:pt x="1578" y="403"/>
                  <a:pt x="1578" y="403"/>
                </a:cubicBezTo>
                <a:cubicBezTo>
                  <a:pt x="1581" y="405"/>
                  <a:pt x="1581" y="405"/>
                  <a:pt x="1581" y="405"/>
                </a:cubicBezTo>
                <a:cubicBezTo>
                  <a:pt x="1581" y="408"/>
                  <a:pt x="1581" y="408"/>
                  <a:pt x="1581" y="408"/>
                </a:cubicBezTo>
                <a:cubicBezTo>
                  <a:pt x="1580" y="408"/>
                  <a:pt x="1580" y="408"/>
                  <a:pt x="1580" y="408"/>
                </a:cubicBezTo>
                <a:cubicBezTo>
                  <a:pt x="1581" y="410"/>
                  <a:pt x="1581" y="410"/>
                  <a:pt x="1581" y="410"/>
                </a:cubicBezTo>
                <a:cubicBezTo>
                  <a:pt x="1581" y="410"/>
                  <a:pt x="1581" y="410"/>
                  <a:pt x="1581" y="410"/>
                </a:cubicBezTo>
                <a:cubicBezTo>
                  <a:pt x="1581" y="412"/>
                  <a:pt x="1581" y="412"/>
                  <a:pt x="1581" y="412"/>
                </a:cubicBezTo>
                <a:cubicBezTo>
                  <a:pt x="1582" y="413"/>
                  <a:pt x="1582" y="413"/>
                  <a:pt x="1582" y="413"/>
                </a:cubicBezTo>
                <a:cubicBezTo>
                  <a:pt x="1583" y="413"/>
                  <a:pt x="1583" y="413"/>
                  <a:pt x="1583" y="413"/>
                </a:cubicBezTo>
                <a:cubicBezTo>
                  <a:pt x="1583" y="414"/>
                  <a:pt x="1583" y="414"/>
                  <a:pt x="1583" y="414"/>
                </a:cubicBezTo>
                <a:cubicBezTo>
                  <a:pt x="1585" y="416"/>
                  <a:pt x="1585" y="416"/>
                  <a:pt x="1585" y="416"/>
                </a:cubicBezTo>
                <a:cubicBezTo>
                  <a:pt x="1583" y="417"/>
                  <a:pt x="1583" y="417"/>
                  <a:pt x="1583" y="417"/>
                </a:cubicBezTo>
                <a:cubicBezTo>
                  <a:pt x="1582" y="417"/>
                  <a:pt x="1582" y="417"/>
                  <a:pt x="1582" y="417"/>
                </a:cubicBezTo>
                <a:cubicBezTo>
                  <a:pt x="1582" y="419"/>
                  <a:pt x="1582" y="419"/>
                  <a:pt x="1582" y="419"/>
                </a:cubicBezTo>
                <a:cubicBezTo>
                  <a:pt x="1584" y="418"/>
                  <a:pt x="1584" y="418"/>
                  <a:pt x="1584" y="418"/>
                </a:cubicBezTo>
                <a:cubicBezTo>
                  <a:pt x="1584" y="420"/>
                  <a:pt x="1584" y="420"/>
                  <a:pt x="1584" y="420"/>
                </a:cubicBezTo>
                <a:cubicBezTo>
                  <a:pt x="1585" y="422"/>
                  <a:pt x="1585" y="422"/>
                  <a:pt x="1585" y="422"/>
                </a:cubicBezTo>
                <a:cubicBezTo>
                  <a:pt x="1584" y="423"/>
                  <a:pt x="1584" y="423"/>
                  <a:pt x="1584" y="423"/>
                </a:cubicBezTo>
                <a:cubicBezTo>
                  <a:pt x="1584" y="424"/>
                  <a:pt x="1584" y="424"/>
                  <a:pt x="1584" y="424"/>
                </a:cubicBezTo>
                <a:cubicBezTo>
                  <a:pt x="1585" y="425"/>
                  <a:pt x="1585" y="425"/>
                  <a:pt x="1585" y="425"/>
                </a:cubicBezTo>
                <a:cubicBezTo>
                  <a:pt x="1588" y="425"/>
                  <a:pt x="1588" y="425"/>
                  <a:pt x="1588" y="425"/>
                </a:cubicBezTo>
                <a:cubicBezTo>
                  <a:pt x="1591" y="429"/>
                  <a:pt x="1591" y="429"/>
                  <a:pt x="1591" y="429"/>
                </a:cubicBezTo>
                <a:cubicBezTo>
                  <a:pt x="1595" y="430"/>
                  <a:pt x="1595" y="430"/>
                  <a:pt x="1595" y="430"/>
                </a:cubicBezTo>
                <a:cubicBezTo>
                  <a:pt x="1591" y="429"/>
                  <a:pt x="1591" y="429"/>
                  <a:pt x="1591" y="429"/>
                </a:cubicBezTo>
                <a:cubicBezTo>
                  <a:pt x="1587" y="426"/>
                  <a:pt x="1587" y="426"/>
                  <a:pt x="1587" y="426"/>
                </a:cubicBezTo>
                <a:cubicBezTo>
                  <a:pt x="1585" y="427"/>
                  <a:pt x="1585" y="427"/>
                  <a:pt x="1585" y="427"/>
                </a:cubicBezTo>
                <a:cubicBezTo>
                  <a:pt x="1584" y="426"/>
                  <a:pt x="1584" y="426"/>
                  <a:pt x="1584" y="426"/>
                </a:cubicBezTo>
                <a:cubicBezTo>
                  <a:pt x="1582" y="426"/>
                  <a:pt x="1582" y="426"/>
                  <a:pt x="1582" y="426"/>
                </a:cubicBezTo>
                <a:cubicBezTo>
                  <a:pt x="1581" y="428"/>
                  <a:pt x="1581" y="428"/>
                  <a:pt x="1581" y="428"/>
                </a:cubicBezTo>
                <a:cubicBezTo>
                  <a:pt x="1581" y="430"/>
                  <a:pt x="1581" y="430"/>
                  <a:pt x="1581" y="430"/>
                </a:cubicBezTo>
                <a:cubicBezTo>
                  <a:pt x="1581" y="433"/>
                  <a:pt x="1581" y="433"/>
                  <a:pt x="1581" y="433"/>
                </a:cubicBezTo>
                <a:cubicBezTo>
                  <a:pt x="1582" y="435"/>
                  <a:pt x="1582" y="435"/>
                  <a:pt x="1582" y="435"/>
                </a:cubicBezTo>
                <a:cubicBezTo>
                  <a:pt x="1580" y="432"/>
                  <a:pt x="1580" y="432"/>
                  <a:pt x="1580" y="432"/>
                </a:cubicBezTo>
                <a:cubicBezTo>
                  <a:pt x="1580" y="430"/>
                  <a:pt x="1580" y="430"/>
                  <a:pt x="1580" y="430"/>
                </a:cubicBezTo>
                <a:cubicBezTo>
                  <a:pt x="1579" y="429"/>
                  <a:pt x="1579" y="429"/>
                  <a:pt x="1579" y="429"/>
                </a:cubicBezTo>
                <a:cubicBezTo>
                  <a:pt x="1578" y="429"/>
                  <a:pt x="1578" y="429"/>
                  <a:pt x="1578" y="429"/>
                </a:cubicBezTo>
                <a:cubicBezTo>
                  <a:pt x="1578" y="430"/>
                  <a:pt x="1578" y="430"/>
                  <a:pt x="1578" y="430"/>
                </a:cubicBezTo>
                <a:cubicBezTo>
                  <a:pt x="1579" y="432"/>
                  <a:pt x="1579" y="432"/>
                  <a:pt x="1579" y="432"/>
                </a:cubicBezTo>
                <a:cubicBezTo>
                  <a:pt x="1578" y="433"/>
                  <a:pt x="1578" y="433"/>
                  <a:pt x="1578" y="433"/>
                </a:cubicBezTo>
                <a:cubicBezTo>
                  <a:pt x="1576" y="431"/>
                  <a:pt x="1576" y="431"/>
                  <a:pt x="1576" y="431"/>
                </a:cubicBezTo>
                <a:cubicBezTo>
                  <a:pt x="1576" y="429"/>
                  <a:pt x="1576" y="429"/>
                  <a:pt x="1576" y="429"/>
                </a:cubicBezTo>
                <a:cubicBezTo>
                  <a:pt x="1574" y="427"/>
                  <a:pt x="1574" y="427"/>
                  <a:pt x="1574" y="427"/>
                </a:cubicBezTo>
                <a:cubicBezTo>
                  <a:pt x="1572" y="428"/>
                  <a:pt x="1572" y="428"/>
                  <a:pt x="1572" y="428"/>
                </a:cubicBezTo>
                <a:cubicBezTo>
                  <a:pt x="1568" y="429"/>
                  <a:pt x="1568" y="429"/>
                  <a:pt x="1568" y="429"/>
                </a:cubicBezTo>
                <a:cubicBezTo>
                  <a:pt x="1568" y="431"/>
                  <a:pt x="1568" y="431"/>
                  <a:pt x="1568" y="431"/>
                </a:cubicBezTo>
                <a:cubicBezTo>
                  <a:pt x="1568" y="433"/>
                  <a:pt x="1568" y="433"/>
                  <a:pt x="1568" y="433"/>
                </a:cubicBezTo>
                <a:cubicBezTo>
                  <a:pt x="1571" y="433"/>
                  <a:pt x="1571" y="433"/>
                  <a:pt x="1571" y="433"/>
                </a:cubicBezTo>
                <a:cubicBezTo>
                  <a:pt x="1571" y="435"/>
                  <a:pt x="1571" y="435"/>
                  <a:pt x="1571" y="435"/>
                </a:cubicBezTo>
                <a:cubicBezTo>
                  <a:pt x="1571" y="435"/>
                  <a:pt x="1571" y="435"/>
                  <a:pt x="1571" y="435"/>
                </a:cubicBezTo>
                <a:cubicBezTo>
                  <a:pt x="1569" y="435"/>
                  <a:pt x="1569" y="435"/>
                  <a:pt x="1569" y="435"/>
                </a:cubicBezTo>
                <a:cubicBezTo>
                  <a:pt x="1567" y="433"/>
                  <a:pt x="1567" y="433"/>
                  <a:pt x="1567" y="433"/>
                </a:cubicBezTo>
                <a:cubicBezTo>
                  <a:pt x="1565" y="432"/>
                  <a:pt x="1565" y="432"/>
                  <a:pt x="1565" y="432"/>
                </a:cubicBezTo>
                <a:cubicBezTo>
                  <a:pt x="1562" y="432"/>
                  <a:pt x="1562" y="432"/>
                  <a:pt x="1562" y="432"/>
                </a:cubicBezTo>
                <a:cubicBezTo>
                  <a:pt x="1560" y="434"/>
                  <a:pt x="1560" y="434"/>
                  <a:pt x="1560" y="434"/>
                </a:cubicBezTo>
                <a:cubicBezTo>
                  <a:pt x="1558" y="433"/>
                  <a:pt x="1558" y="433"/>
                  <a:pt x="1558" y="433"/>
                </a:cubicBezTo>
                <a:cubicBezTo>
                  <a:pt x="1557" y="434"/>
                  <a:pt x="1557" y="434"/>
                  <a:pt x="1557" y="434"/>
                </a:cubicBezTo>
                <a:cubicBezTo>
                  <a:pt x="1555" y="434"/>
                  <a:pt x="1555" y="434"/>
                  <a:pt x="1555" y="434"/>
                </a:cubicBezTo>
                <a:cubicBezTo>
                  <a:pt x="1552" y="436"/>
                  <a:pt x="1552" y="436"/>
                  <a:pt x="1552" y="436"/>
                </a:cubicBezTo>
                <a:cubicBezTo>
                  <a:pt x="1549" y="438"/>
                  <a:pt x="1549" y="438"/>
                  <a:pt x="1549" y="438"/>
                </a:cubicBezTo>
                <a:cubicBezTo>
                  <a:pt x="1548" y="438"/>
                  <a:pt x="1548" y="438"/>
                  <a:pt x="1548" y="438"/>
                </a:cubicBezTo>
                <a:cubicBezTo>
                  <a:pt x="1546" y="439"/>
                  <a:pt x="1546" y="439"/>
                  <a:pt x="1546" y="439"/>
                </a:cubicBezTo>
                <a:cubicBezTo>
                  <a:pt x="1546" y="441"/>
                  <a:pt x="1546" y="441"/>
                  <a:pt x="1546" y="441"/>
                </a:cubicBezTo>
                <a:cubicBezTo>
                  <a:pt x="1544" y="443"/>
                  <a:pt x="1544" y="443"/>
                  <a:pt x="1544" y="443"/>
                </a:cubicBezTo>
                <a:cubicBezTo>
                  <a:pt x="1544" y="445"/>
                  <a:pt x="1544" y="445"/>
                  <a:pt x="1544" y="445"/>
                </a:cubicBezTo>
                <a:cubicBezTo>
                  <a:pt x="1544" y="447"/>
                  <a:pt x="1544" y="447"/>
                  <a:pt x="1544" y="447"/>
                </a:cubicBezTo>
                <a:cubicBezTo>
                  <a:pt x="1543" y="449"/>
                  <a:pt x="1543" y="449"/>
                  <a:pt x="1543" y="449"/>
                </a:cubicBezTo>
                <a:cubicBezTo>
                  <a:pt x="1542" y="450"/>
                  <a:pt x="1542" y="450"/>
                  <a:pt x="1542" y="450"/>
                </a:cubicBezTo>
                <a:cubicBezTo>
                  <a:pt x="1541" y="451"/>
                  <a:pt x="1541" y="451"/>
                  <a:pt x="1541" y="451"/>
                </a:cubicBezTo>
                <a:cubicBezTo>
                  <a:pt x="1541" y="453"/>
                  <a:pt x="1541" y="453"/>
                  <a:pt x="1541" y="453"/>
                </a:cubicBezTo>
                <a:cubicBezTo>
                  <a:pt x="1543" y="455"/>
                  <a:pt x="1543" y="455"/>
                  <a:pt x="1543" y="455"/>
                </a:cubicBezTo>
                <a:cubicBezTo>
                  <a:pt x="1545" y="455"/>
                  <a:pt x="1545" y="455"/>
                  <a:pt x="1545" y="455"/>
                </a:cubicBezTo>
                <a:cubicBezTo>
                  <a:pt x="1543" y="455"/>
                  <a:pt x="1543" y="455"/>
                  <a:pt x="1543" y="455"/>
                </a:cubicBezTo>
                <a:cubicBezTo>
                  <a:pt x="1542" y="456"/>
                  <a:pt x="1542" y="456"/>
                  <a:pt x="1542" y="456"/>
                </a:cubicBezTo>
                <a:cubicBezTo>
                  <a:pt x="1541" y="457"/>
                  <a:pt x="1541" y="457"/>
                  <a:pt x="1541" y="457"/>
                </a:cubicBezTo>
                <a:cubicBezTo>
                  <a:pt x="1542" y="458"/>
                  <a:pt x="1542" y="458"/>
                  <a:pt x="1542" y="458"/>
                </a:cubicBezTo>
                <a:cubicBezTo>
                  <a:pt x="1543" y="458"/>
                  <a:pt x="1543" y="458"/>
                  <a:pt x="1543" y="458"/>
                </a:cubicBezTo>
                <a:cubicBezTo>
                  <a:pt x="1543" y="459"/>
                  <a:pt x="1543" y="459"/>
                  <a:pt x="1543" y="459"/>
                </a:cubicBezTo>
                <a:cubicBezTo>
                  <a:pt x="1542" y="459"/>
                  <a:pt x="1542" y="459"/>
                  <a:pt x="1542" y="459"/>
                </a:cubicBezTo>
                <a:cubicBezTo>
                  <a:pt x="1540" y="458"/>
                  <a:pt x="1540" y="458"/>
                  <a:pt x="1540" y="458"/>
                </a:cubicBezTo>
                <a:cubicBezTo>
                  <a:pt x="1538" y="457"/>
                  <a:pt x="1538" y="457"/>
                  <a:pt x="1538" y="457"/>
                </a:cubicBezTo>
                <a:cubicBezTo>
                  <a:pt x="1536" y="457"/>
                  <a:pt x="1536" y="457"/>
                  <a:pt x="1536" y="457"/>
                </a:cubicBezTo>
                <a:cubicBezTo>
                  <a:pt x="1537" y="458"/>
                  <a:pt x="1537" y="458"/>
                  <a:pt x="1537" y="458"/>
                </a:cubicBezTo>
                <a:cubicBezTo>
                  <a:pt x="1539" y="459"/>
                  <a:pt x="1539" y="459"/>
                  <a:pt x="1539" y="459"/>
                </a:cubicBezTo>
                <a:cubicBezTo>
                  <a:pt x="1540" y="460"/>
                  <a:pt x="1540" y="460"/>
                  <a:pt x="1540" y="460"/>
                </a:cubicBezTo>
                <a:cubicBezTo>
                  <a:pt x="1541" y="460"/>
                  <a:pt x="1541" y="460"/>
                  <a:pt x="1541" y="460"/>
                </a:cubicBezTo>
                <a:cubicBezTo>
                  <a:pt x="1543" y="461"/>
                  <a:pt x="1543" y="461"/>
                  <a:pt x="1543" y="461"/>
                </a:cubicBezTo>
                <a:cubicBezTo>
                  <a:pt x="1541" y="460"/>
                  <a:pt x="1541" y="460"/>
                  <a:pt x="1541" y="460"/>
                </a:cubicBezTo>
                <a:cubicBezTo>
                  <a:pt x="1540" y="460"/>
                  <a:pt x="1540" y="460"/>
                  <a:pt x="1540" y="460"/>
                </a:cubicBezTo>
                <a:cubicBezTo>
                  <a:pt x="1537" y="459"/>
                  <a:pt x="1537" y="459"/>
                  <a:pt x="1537" y="459"/>
                </a:cubicBezTo>
                <a:cubicBezTo>
                  <a:pt x="1535" y="459"/>
                  <a:pt x="1535" y="459"/>
                  <a:pt x="1535" y="459"/>
                </a:cubicBezTo>
                <a:cubicBezTo>
                  <a:pt x="1535" y="460"/>
                  <a:pt x="1535" y="460"/>
                  <a:pt x="1535" y="460"/>
                </a:cubicBezTo>
                <a:cubicBezTo>
                  <a:pt x="1533" y="461"/>
                  <a:pt x="1533" y="461"/>
                  <a:pt x="1533" y="461"/>
                </a:cubicBezTo>
                <a:cubicBezTo>
                  <a:pt x="1532" y="464"/>
                  <a:pt x="1532" y="464"/>
                  <a:pt x="1532" y="464"/>
                </a:cubicBezTo>
                <a:cubicBezTo>
                  <a:pt x="1531" y="464"/>
                  <a:pt x="1531" y="464"/>
                  <a:pt x="1531" y="464"/>
                </a:cubicBezTo>
                <a:cubicBezTo>
                  <a:pt x="1528" y="465"/>
                  <a:pt x="1528" y="465"/>
                  <a:pt x="1528" y="465"/>
                </a:cubicBezTo>
                <a:cubicBezTo>
                  <a:pt x="1527" y="465"/>
                  <a:pt x="1527" y="465"/>
                  <a:pt x="1527" y="465"/>
                </a:cubicBezTo>
                <a:cubicBezTo>
                  <a:pt x="1524" y="466"/>
                  <a:pt x="1524" y="466"/>
                  <a:pt x="1524" y="466"/>
                </a:cubicBezTo>
                <a:cubicBezTo>
                  <a:pt x="1523" y="468"/>
                  <a:pt x="1523" y="468"/>
                  <a:pt x="1523" y="468"/>
                </a:cubicBezTo>
                <a:cubicBezTo>
                  <a:pt x="1524" y="471"/>
                  <a:pt x="1524" y="471"/>
                  <a:pt x="1524" y="471"/>
                </a:cubicBezTo>
                <a:cubicBezTo>
                  <a:pt x="1523" y="475"/>
                  <a:pt x="1523" y="475"/>
                  <a:pt x="1523" y="475"/>
                </a:cubicBezTo>
                <a:cubicBezTo>
                  <a:pt x="1520" y="477"/>
                  <a:pt x="1520" y="477"/>
                  <a:pt x="1520" y="477"/>
                </a:cubicBezTo>
                <a:cubicBezTo>
                  <a:pt x="1520" y="479"/>
                  <a:pt x="1520" y="479"/>
                  <a:pt x="1520" y="479"/>
                </a:cubicBezTo>
                <a:cubicBezTo>
                  <a:pt x="1517" y="480"/>
                  <a:pt x="1517" y="480"/>
                  <a:pt x="1517" y="480"/>
                </a:cubicBezTo>
                <a:cubicBezTo>
                  <a:pt x="1515" y="480"/>
                  <a:pt x="1515" y="480"/>
                  <a:pt x="1515" y="480"/>
                </a:cubicBezTo>
                <a:cubicBezTo>
                  <a:pt x="1513" y="479"/>
                  <a:pt x="1513" y="479"/>
                  <a:pt x="1513" y="479"/>
                </a:cubicBezTo>
                <a:cubicBezTo>
                  <a:pt x="1510" y="481"/>
                  <a:pt x="1510" y="481"/>
                  <a:pt x="1510" y="481"/>
                </a:cubicBezTo>
                <a:cubicBezTo>
                  <a:pt x="1509" y="483"/>
                  <a:pt x="1509" y="483"/>
                  <a:pt x="1509" y="483"/>
                </a:cubicBezTo>
                <a:cubicBezTo>
                  <a:pt x="1509" y="484"/>
                  <a:pt x="1509" y="484"/>
                  <a:pt x="1509" y="484"/>
                </a:cubicBezTo>
                <a:cubicBezTo>
                  <a:pt x="1511" y="485"/>
                  <a:pt x="1511" y="485"/>
                  <a:pt x="1511" y="485"/>
                </a:cubicBezTo>
                <a:cubicBezTo>
                  <a:pt x="1509" y="486"/>
                  <a:pt x="1509" y="486"/>
                  <a:pt x="1509" y="486"/>
                </a:cubicBezTo>
                <a:cubicBezTo>
                  <a:pt x="1506" y="487"/>
                  <a:pt x="1506" y="487"/>
                  <a:pt x="1506" y="487"/>
                </a:cubicBezTo>
                <a:cubicBezTo>
                  <a:pt x="1502" y="486"/>
                  <a:pt x="1502" y="486"/>
                  <a:pt x="1502" y="486"/>
                </a:cubicBezTo>
                <a:cubicBezTo>
                  <a:pt x="1500" y="485"/>
                  <a:pt x="1500" y="485"/>
                  <a:pt x="1500" y="485"/>
                </a:cubicBezTo>
                <a:cubicBezTo>
                  <a:pt x="1499" y="486"/>
                  <a:pt x="1499" y="486"/>
                  <a:pt x="1499" y="486"/>
                </a:cubicBezTo>
                <a:cubicBezTo>
                  <a:pt x="1498" y="485"/>
                  <a:pt x="1498" y="485"/>
                  <a:pt x="1498" y="485"/>
                </a:cubicBezTo>
                <a:cubicBezTo>
                  <a:pt x="1497" y="484"/>
                  <a:pt x="1497" y="484"/>
                  <a:pt x="1497" y="484"/>
                </a:cubicBezTo>
                <a:cubicBezTo>
                  <a:pt x="1497" y="482"/>
                  <a:pt x="1497" y="482"/>
                  <a:pt x="1497" y="482"/>
                </a:cubicBezTo>
                <a:cubicBezTo>
                  <a:pt x="1496" y="482"/>
                  <a:pt x="1496" y="482"/>
                  <a:pt x="1496" y="482"/>
                </a:cubicBezTo>
                <a:cubicBezTo>
                  <a:pt x="1494" y="482"/>
                  <a:pt x="1494" y="482"/>
                  <a:pt x="1494" y="482"/>
                </a:cubicBezTo>
                <a:cubicBezTo>
                  <a:pt x="1492" y="482"/>
                  <a:pt x="1492" y="482"/>
                  <a:pt x="1492" y="482"/>
                </a:cubicBezTo>
                <a:cubicBezTo>
                  <a:pt x="1491" y="482"/>
                  <a:pt x="1491" y="482"/>
                  <a:pt x="1491" y="482"/>
                </a:cubicBezTo>
                <a:cubicBezTo>
                  <a:pt x="1491" y="484"/>
                  <a:pt x="1491" y="484"/>
                  <a:pt x="1491" y="484"/>
                </a:cubicBezTo>
                <a:cubicBezTo>
                  <a:pt x="1491" y="485"/>
                  <a:pt x="1491" y="485"/>
                  <a:pt x="1491" y="485"/>
                </a:cubicBezTo>
                <a:cubicBezTo>
                  <a:pt x="1494" y="488"/>
                  <a:pt x="1494" y="488"/>
                  <a:pt x="1494" y="488"/>
                </a:cubicBezTo>
                <a:cubicBezTo>
                  <a:pt x="1494" y="489"/>
                  <a:pt x="1494" y="489"/>
                  <a:pt x="1494" y="489"/>
                </a:cubicBezTo>
                <a:cubicBezTo>
                  <a:pt x="1494" y="491"/>
                  <a:pt x="1494" y="491"/>
                  <a:pt x="1494" y="491"/>
                </a:cubicBezTo>
                <a:cubicBezTo>
                  <a:pt x="1494" y="492"/>
                  <a:pt x="1494" y="492"/>
                  <a:pt x="1494" y="492"/>
                </a:cubicBezTo>
                <a:cubicBezTo>
                  <a:pt x="1495" y="494"/>
                  <a:pt x="1495" y="494"/>
                  <a:pt x="1495" y="494"/>
                </a:cubicBezTo>
                <a:cubicBezTo>
                  <a:pt x="1495" y="495"/>
                  <a:pt x="1495" y="495"/>
                  <a:pt x="1495" y="495"/>
                </a:cubicBezTo>
                <a:cubicBezTo>
                  <a:pt x="1491" y="495"/>
                  <a:pt x="1491" y="495"/>
                  <a:pt x="1491" y="495"/>
                </a:cubicBezTo>
                <a:cubicBezTo>
                  <a:pt x="1490" y="495"/>
                  <a:pt x="1490" y="495"/>
                  <a:pt x="1490" y="495"/>
                </a:cubicBezTo>
                <a:cubicBezTo>
                  <a:pt x="1489" y="495"/>
                  <a:pt x="1489" y="495"/>
                  <a:pt x="1489" y="495"/>
                </a:cubicBezTo>
                <a:cubicBezTo>
                  <a:pt x="1487" y="495"/>
                  <a:pt x="1487" y="495"/>
                  <a:pt x="1487" y="495"/>
                </a:cubicBezTo>
                <a:cubicBezTo>
                  <a:pt x="1486" y="495"/>
                  <a:pt x="1486" y="495"/>
                  <a:pt x="1486" y="495"/>
                </a:cubicBezTo>
                <a:cubicBezTo>
                  <a:pt x="1484" y="497"/>
                  <a:pt x="1484" y="497"/>
                  <a:pt x="1484" y="497"/>
                </a:cubicBezTo>
                <a:cubicBezTo>
                  <a:pt x="1481" y="493"/>
                  <a:pt x="1481" y="493"/>
                  <a:pt x="1481" y="493"/>
                </a:cubicBezTo>
                <a:cubicBezTo>
                  <a:pt x="1479" y="492"/>
                  <a:pt x="1479" y="492"/>
                  <a:pt x="1479" y="492"/>
                </a:cubicBezTo>
                <a:cubicBezTo>
                  <a:pt x="1477" y="493"/>
                  <a:pt x="1477" y="493"/>
                  <a:pt x="1477" y="493"/>
                </a:cubicBezTo>
                <a:cubicBezTo>
                  <a:pt x="1475" y="495"/>
                  <a:pt x="1475" y="495"/>
                  <a:pt x="1475" y="495"/>
                </a:cubicBezTo>
                <a:cubicBezTo>
                  <a:pt x="1474" y="494"/>
                  <a:pt x="1474" y="494"/>
                  <a:pt x="1474" y="494"/>
                </a:cubicBezTo>
                <a:cubicBezTo>
                  <a:pt x="1473" y="495"/>
                  <a:pt x="1473" y="495"/>
                  <a:pt x="1473" y="495"/>
                </a:cubicBezTo>
                <a:cubicBezTo>
                  <a:pt x="1472" y="494"/>
                  <a:pt x="1472" y="494"/>
                  <a:pt x="1472" y="494"/>
                </a:cubicBezTo>
                <a:cubicBezTo>
                  <a:pt x="1470" y="495"/>
                  <a:pt x="1470" y="495"/>
                  <a:pt x="1470" y="495"/>
                </a:cubicBezTo>
                <a:cubicBezTo>
                  <a:pt x="1469" y="496"/>
                  <a:pt x="1469" y="496"/>
                  <a:pt x="1469" y="496"/>
                </a:cubicBezTo>
                <a:cubicBezTo>
                  <a:pt x="1466" y="496"/>
                  <a:pt x="1466" y="496"/>
                  <a:pt x="1466" y="496"/>
                </a:cubicBezTo>
                <a:cubicBezTo>
                  <a:pt x="1464" y="498"/>
                  <a:pt x="1464" y="498"/>
                  <a:pt x="1464" y="498"/>
                </a:cubicBezTo>
                <a:cubicBezTo>
                  <a:pt x="1465" y="499"/>
                  <a:pt x="1465" y="499"/>
                  <a:pt x="1465" y="499"/>
                </a:cubicBezTo>
                <a:cubicBezTo>
                  <a:pt x="1467" y="498"/>
                  <a:pt x="1467" y="498"/>
                  <a:pt x="1467" y="498"/>
                </a:cubicBezTo>
                <a:cubicBezTo>
                  <a:pt x="1468" y="499"/>
                  <a:pt x="1468" y="499"/>
                  <a:pt x="1468" y="499"/>
                </a:cubicBezTo>
                <a:cubicBezTo>
                  <a:pt x="1469" y="500"/>
                  <a:pt x="1469" y="500"/>
                  <a:pt x="1469" y="500"/>
                </a:cubicBezTo>
                <a:cubicBezTo>
                  <a:pt x="1467" y="499"/>
                  <a:pt x="1467" y="499"/>
                  <a:pt x="1467" y="499"/>
                </a:cubicBezTo>
                <a:cubicBezTo>
                  <a:pt x="1466" y="499"/>
                  <a:pt x="1466" y="499"/>
                  <a:pt x="1466" y="499"/>
                </a:cubicBezTo>
                <a:cubicBezTo>
                  <a:pt x="1467" y="501"/>
                  <a:pt x="1467" y="501"/>
                  <a:pt x="1467" y="501"/>
                </a:cubicBezTo>
                <a:cubicBezTo>
                  <a:pt x="1467" y="500"/>
                  <a:pt x="1467" y="500"/>
                  <a:pt x="1467" y="500"/>
                </a:cubicBezTo>
                <a:cubicBezTo>
                  <a:pt x="1468" y="500"/>
                  <a:pt x="1468" y="500"/>
                  <a:pt x="1468" y="500"/>
                </a:cubicBezTo>
                <a:cubicBezTo>
                  <a:pt x="1469" y="502"/>
                  <a:pt x="1469" y="502"/>
                  <a:pt x="1469" y="502"/>
                </a:cubicBezTo>
                <a:cubicBezTo>
                  <a:pt x="1468" y="502"/>
                  <a:pt x="1468" y="502"/>
                  <a:pt x="1468" y="502"/>
                </a:cubicBezTo>
                <a:cubicBezTo>
                  <a:pt x="1466" y="503"/>
                  <a:pt x="1466" y="503"/>
                  <a:pt x="1466" y="503"/>
                </a:cubicBezTo>
                <a:cubicBezTo>
                  <a:pt x="1466" y="503"/>
                  <a:pt x="1466" y="503"/>
                  <a:pt x="1466" y="503"/>
                </a:cubicBezTo>
                <a:cubicBezTo>
                  <a:pt x="1468" y="503"/>
                  <a:pt x="1468" y="503"/>
                  <a:pt x="1468" y="503"/>
                </a:cubicBezTo>
                <a:cubicBezTo>
                  <a:pt x="1468" y="506"/>
                  <a:pt x="1468" y="506"/>
                  <a:pt x="1468" y="506"/>
                </a:cubicBezTo>
                <a:cubicBezTo>
                  <a:pt x="1468" y="507"/>
                  <a:pt x="1468" y="507"/>
                  <a:pt x="1468" y="507"/>
                </a:cubicBezTo>
                <a:cubicBezTo>
                  <a:pt x="1470" y="505"/>
                  <a:pt x="1470" y="505"/>
                  <a:pt x="1470" y="505"/>
                </a:cubicBezTo>
                <a:cubicBezTo>
                  <a:pt x="1472" y="506"/>
                  <a:pt x="1472" y="506"/>
                  <a:pt x="1472" y="506"/>
                </a:cubicBezTo>
                <a:cubicBezTo>
                  <a:pt x="1473" y="506"/>
                  <a:pt x="1473" y="506"/>
                  <a:pt x="1473" y="506"/>
                </a:cubicBezTo>
                <a:cubicBezTo>
                  <a:pt x="1476" y="507"/>
                  <a:pt x="1476" y="507"/>
                  <a:pt x="1476" y="507"/>
                </a:cubicBezTo>
                <a:cubicBezTo>
                  <a:pt x="1477" y="508"/>
                  <a:pt x="1477" y="508"/>
                  <a:pt x="1477" y="508"/>
                </a:cubicBezTo>
                <a:cubicBezTo>
                  <a:pt x="1478" y="508"/>
                  <a:pt x="1478" y="508"/>
                  <a:pt x="1478" y="508"/>
                </a:cubicBezTo>
                <a:cubicBezTo>
                  <a:pt x="1480" y="509"/>
                  <a:pt x="1480" y="509"/>
                  <a:pt x="1480" y="509"/>
                </a:cubicBezTo>
                <a:cubicBezTo>
                  <a:pt x="1482" y="508"/>
                  <a:pt x="1482" y="508"/>
                  <a:pt x="1482" y="508"/>
                </a:cubicBezTo>
                <a:cubicBezTo>
                  <a:pt x="1483" y="508"/>
                  <a:pt x="1483" y="508"/>
                  <a:pt x="1483" y="508"/>
                </a:cubicBezTo>
                <a:cubicBezTo>
                  <a:pt x="1482" y="509"/>
                  <a:pt x="1482" y="509"/>
                  <a:pt x="1482" y="509"/>
                </a:cubicBezTo>
                <a:cubicBezTo>
                  <a:pt x="1483" y="510"/>
                  <a:pt x="1483" y="510"/>
                  <a:pt x="1483" y="510"/>
                </a:cubicBezTo>
                <a:cubicBezTo>
                  <a:pt x="1485" y="509"/>
                  <a:pt x="1485" y="509"/>
                  <a:pt x="1485" y="509"/>
                </a:cubicBezTo>
                <a:cubicBezTo>
                  <a:pt x="1486" y="510"/>
                  <a:pt x="1486" y="510"/>
                  <a:pt x="1486" y="510"/>
                </a:cubicBezTo>
                <a:cubicBezTo>
                  <a:pt x="1485" y="512"/>
                  <a:pt x="1485" y="512"/>
                  <a:pt x="1485" y="512"/>
                </a:cubicBezTo>
                <a:cubicBezTo>
                  <a:pt x="1486" y="513"/>
                  <a:pt x="1486" y="513"/>
                  <a:pt x="1486" y="513"/>
                </a:cubicBezTo>
                <a:cubicBezTo>
                  <a:pt x="1487" y="514"/>
                  <a:pt x="1487" y="514"/>
                  <a:pt x="1487" y="514"/>
                </a:cubicBezTo>
                <a:cubicBezTo>
                  <a:pt x="1489" y="512"/>
                  <a:pt x="1489" y="512"/>
                  <a:pt x="1489" y="512"/>
                </a:cubicBezTo>
                <a:cubicBezTo>
                  <a:pt x="1491" y="513"/>
                  <a:pt x="1491" y="513"/>
                  <a:pt x="1491" y="513"/>
                </a:cubicBezTo>
                <a:cubicBezTo>
                  <a:pt x="1492" y="514"/>
                  <a:pt x="1492" y="514"/>
                  <a:pt x="1492" y="514"/>
                </a:cubicBezTo>
                <a:cubicBezTo>
                  <a:pt x="1491" y="513"/>
                  <a:pt x="1491" y="513"/>
                  <a:pt x="1491" y="513"/>
                </a:cubicBezTo>
                <a:cubicBezTo>
                  <a:pt x="1489" y="513"/>
                  <a:pt x="1489" y="513"/>
                  <a:pt x="1489" y="513"/>
                </a:cubicBezTo>
                <a:cubicBezTo>
                  <a:pt x="1488" y="515"/>
                  <a:pt x="1488" y="515"/>
                  <a:pt x="1488" y="515"/>
                </a:cubicBezTo>
                <a:cubicBezTo>
                  <a:pt x="1489" y="516"/>
                  <a:pt x="1489" y="516"/>
                  <a:pt x="1489" y="516"/>
                </a:cubicBezTo>
                <a:cubicBezTo>
                  <a:pt x="1489" y="518"/>
                  <a:pt x="1489" y="518"/>
                  <a:pt x="1489" y="518"/>
                </a:cubicBezTo>
                <a:cubicBezTo>
                  <a:pt x="1488" y="519"/>
                  <a:pt x="1488" y="519"/>
                  <a:pt x="1488" y="519"/>
                </a:cubicBezTo>
                <a:cubicBezTo>
                  <a:pt x="1489" y="521"/>
                  <a:pt x="1489" y="521"/>
                  <a:pt x="1489" y="521"/>
                </a:cubicBezTo>
                <a:cubicBezTo>
                  <a:pt x="1490" y="521"/>
                  <a:pt x="1490" y="521"/>
                  <a:pt x="1490" y="521"/>
                </a:cubicBezTo>
                <a:cubicBezTo>
                  <a:pt x="1493" y="524"/>
                  <a:pt x="1493" y="524"/>
                  <a:pt x="1493" y="524"/>
                </a:cubicBezTo>
                <a:cubicBezTo>
                  <a:pt x="1495" y="524"/>
                  <a:pt x="1495" y="524"/>
                  <a:pt x="1495" y="524"/>
                </a:cubicBezTo>
                <a:cubicBezTo>
                  <a:pt x="1498" y="526"/>
                  <a:pt x="1498" y="526"/>
                  <a:pt x="1498" y="526"/>
                </a:cubicBezTo>
                <a:cubicBezTo>
                  <a:pt x="1498" y="527"/>
                  <a:pt x="1498" y="527"/>
                  <a:pt x="1498" y="527"/>
                </a:cubicBezTo>
                <a:cubicBezTo>
                  <a:pt x="1499" y="529"/>
                  <a:pt x="1499" y="529"/>
                  <a:pt x="1499" y="529"/>
                </a:cubicBezTo>
                <a:cubicBezTo>
                  <a:pt x="1498" y="531"/>
                  <a:pt x="1498" y="531"/>
                  <a:pt x="1498" y="531"/>
                </a:cubicBezTo>
                <a:cubicBezTo>
                  <a:pt x="1497" y="531"/>
                  <a:pt x="1497" y="531"/>
                  <a:pt x="1497" y="531"/>
                </a:cubicBezTo>
                <a:cubicBezTo>
                  <a:pt x="1497" y="533"/>
                  <a:pt x="1497" y="533"/>
                  <a:pt x="1497" y="533"/>
                </a:cubicBezTo>
                <a:cubicBezTo>
                  <a:pt x="1499" y="533"/>
                  <a:pt x="1499" y="533"/>
                  <a:pt x="1499" y="533"/>
                </a:cubicBezTo>
                <a:cubicBezTo>
                  <a:pt x="1502" y="536"/>
                  <a:pt x="1502" y="536"/>
                  <a:pt x="1502" y="536"/>
                </a:cubicBezTo>
                <a:cubicBezTo>
                  <a:pt x="1504" y="541"/>
                  <a:pt x="1504" y="541"/>
                  <a:pt x="1504" y="541"/>
                </a:cubicBezTo>
                <a:cubicBezTo>
                  <a:pt x="1501" y="539"/>
                  <a:pt x="1501" y="539"/>
                  <a:pt x="1501" y="539"/>
                </a:cubicBezTo>
                <a:cubicBezTo>
                  <a:pt x="1501" y="536"/>
                  <a:pt x="1501" y="536"/>
                  <a:pt x="1501" y="536"/>
                </a:cubicBezTo>
                <a:cubicBezTo>
                  <a:pt x="1499" y="535"/>
                  <a:pt x="1499" y="535"/>
                  <a:pt x="1499" y="535"/>
                </a:cubicBezTo>
                <a:cubicBezTo>
                  <a:pt x="1498" y="536"/>
                  <a:pt x="1498" y="536"/>
                  <a:pt x="1498" y="536"/>
                </a:cubicBezTo>
                <a:cubicBezTo>
                  <a:pt x="1497" y="541"/>
                  <a:pt x="1497" y="541"/>
                  <a:pt x="1497" y="541"/>
                </a:cubicBezTo>
                <a:cubicBezTo>
                  <a:pt x="1497" y="545"/>
                  <a:pt x="1497" y="545"/>
                  <a:pt x="1497" y="545"/>
                </a:cubicBezTo>
                <a:cubicBezTo>
                  <a:pt x="1498" y="546"/>
                  <a:pt x="1498" y="546"/>
                  <a:pt x="1498" y="546"/>
                </a:cubicBezTo>
                <a:cubicBezTo>
                  <a:pt x="1497" y="547"/>
                  <a:pt x="1497" y="547"/>
                  <a:pt x="1497" y="547"/>
                </a:cubicBezTo>
                <a:cubicBezTo>
                  <a:pt x="1496" y="554"/>
                  <a:pt x="1496" y="554"/>
                  <a:pt x="1496" y="554"/>
                </a:cubicBezTo>
                <a:cubicBezTo>
                  <a:pt x="1495" y="560"/>
                  <a:pt x="1495" y="560"/>
                  <a:pt x="1495" y="560"/>
                </a:cubicBezTo>
                <a:cubicBezTo>
                  <a:pt x="1492" y="561"/>
                  <a:pt x="1492" y="561"/>
                  <a:pt x="1492" y="561"/>
                </a:cubicBezTo>
                <a:cubicBezTo>
                  <a:pt x="1491" y="562"/>
                  <a:pt x="1491" y="562"/>
                  <a:pt x="1491" y="562"/>
                </a:cubicBezTo>
                <a:cubicBezTo>
                  <a:pt x="1490" y="562"/>
                  <a:pt x="1490" y="562"/>
                  <a:pt x="1490" y="562"/>
                </a:cubicBezTo>
                <a:cubicBezTo>
                  <a:pt x="1489" y="563"/>
                  <a:pt x="1489" y="563"/>
                  <a:pt x="1489" y="563"/>
                </a:cubicBezTo>
                <a:cubicBezTo>
                  <a:pt x="1484" y="560"/>
                  <a:pt x="1484" y="560"/>
                  <a:pt x="1484" y="560"/>
                </a:cubicBezTo>
                <a:cubicBezTo>
                  <a:pt x="1482" y="560"/>
                  <a:pt x="1482" y="560"/>
                  <a:pt x="1482" y="560"/>
                </a:cubicBezTo>
                <a:cubicBezTo>
                  <a:pt x="1480" y="562"/>
                  <a:pt x="1480" y="562"/>
                  <a:pt x="1480" y="562"/>
                </a:cubicBezTo>
                <a:cubicBezTo>
                  <a:pt x="1476" y="561"/>
                  <a:pt x="1476" y="561"/>
                  <a:pt x="1476" y="561"/>
                </a:cubicBezTo>
                <a:cubicBezTo>
                  <a:pt x="1476" y="560"/>
                  <a:pt x="1476" y="560"/>
                  <a:pt x="1476" y="560"/>
                </a:cubicBezTo>
                <a:cubicBezTo>
                  <a:pt x="1472" y="559"/>
                  <a:pt x="1472" y="559"/>
                  <a:pt x="1472" y="559"/>
                </a:cubicBezTo>
                <a:cubicBezTo>
                  <a:pt x="1467" y="561"/>
                  <a:pt x="1467" y="561"/>
                  <a:pt x="1467" y="561"/>
                </a:cubicBezTo>
                <a:cubicBezTo>
                  <a:pt x="1464" y="561"/>
                  <a:pt x="1464" y="561"/>
                  <a:pt x="1464" y="561"/>
                </a:cubicBezTo>
                <a:cubicBezTo>
                  <a:pt x="1457" y="559"/>
                  <a:pt x="1457" y="559"/>
                  <a:pt x="1457" y="559"/>
                </a:cubicBezTo>
                <a:cubicBezTo>
                  <a:pt x="1454" y="558"/>
                  <a:pt x="1454" y="558"/>
                  <a:pt x="1454" y="558"/>
                </a:cubicBezTo>
                <a:cubicBezTo>
                  <a:pt x="1453" y="557"/>
                  <a:pt x="1453" y="557"/>
                  <a:pt x="1453" y="557"/>
                </a:cubicBezTo>
                <a:cubicBezTo>
                  <a:pt x="1450" y="558"/>
                  <a:pt x="1450" y="558"/>
                  <a:pt x="1450" y="558"/>
                </a:cubicBezTo>
                <a:cubicBezTo>
                  <a:pt x="1448" y="559"/>
                  <a:pt x="1448" y="559"/>
                  <a:pt x="1448" y="559"/>
                </a:cubicBezTo>
                <a:cubicBezTo>
                  <a:pt x="1445" y="558"/>
                  <a:pt x="1445" y="558"/>
                  <a:pt x="1445" y="558"/>
                </a:cubicBezTo>
                <a:cubicBezTo>
                  <a:pt x="1443" y="558"/>
                  <a:pt x="1443" y="558"/>
                  <a:pt x="1443" y="558"/>
                </a:cubicBezTo>
                <a:cubicBezTo>
                  <a:pt x="1441" y="560"/>
                  <a:pt x="1441" y="560"/>
                  <a:pt x="1441" y="560"/>
                </a:cubicBezTo>
                <a:cubicBezTo>
                  <a:pt x="1439" y="557"/>
                  <a:pt x="1439" y="557"/>
                  <a:pt x="1439" y="557"/>
                </a:cubicBezTo>
                <a:cubicBezTo>
                  <a:pt x="1437" y="556"/>
                  <a:pt x="1437" y="556"/>
                  <a:pt x="1437" y="556"/>
                </a:cubicBezTo>
                <a:cubicBezTo>
                  <a:pt x="1435" y="557"/>
                  <a:pt x="1435" y="557"/>
                  <a:pt x="1435" y="557"/>
                </a:cubicBezTo>
                <a:cubicBezTo>
                  <a:pt x="1435" y="557"/>
                  <a:pt x="1435" y="557"/>
                  <a:pt x="1435" y="557"/>
                </a:cubicBezTo>
                <a:cubicBezTo>
                  <a:pt x="1431" y="559"/>
                  <a:pt x="1431" y="559"/>
                  <a:pt x="1431" y="559"/>
                </a:cubicBezTo>
                <a:cubicBezTo>
                  <a:pt x="1431" y="560"/>
                  <a:pt x="1431" y="560"/>
                  <a:pt x="1431" y="560"/>
                </a:cubicBezTo>
                <a:cubicBezTo>
                  <a:pt x="1432" y="561"/>
                  <a:pt x="1432" y="561"/>
                  <a:pt x="1432" y="561"/>
                </a:cubicBezTo>
                <a:cubicBezTo>
                  <a:pt x="1431" y="562"/>
                  <a:pt x="1431" y="562"/>
                  <a:pt x="1431" y="562"/>
                </a:cubicBezTo>
                <a:cubicBezTo>
                  <a:pt x="1428" y="563"/>
                  <a:pt x="1428" y="563"/>
                  <a:pt x="1428" y="563"/>
                </a:cubicBezTo>
                <a:cubicBezTo>
                  <a:pt x="1426" y="562"/>
                  <a:pt x="1426" y="562"/>
                  <a:pt x="1426" y="562"/>
                </a:cubicBezTo>
                <a:cubicBezTo>
                  <a:pt x="1422" y="563"/>
                  <a:pt x="1422" y="563"/>
                  <a:pt x="1422" y="563"/>
                </a:cubicBezTo>
                <a:cubicBezTo>
                  <a:pt x="1421" y="566"/>
                  <a:pt x="1421" y="566"/>
                  <a:pt x="1421" y="566"/>
                </a:cubicBezTo>
                <a:cubicBezTo>
                  <a:pt x="1422" y="568"/>
                  <a:pt x="1422" y="568"/>
                  <a:pt x="1422" y="568"/>
                </a:cubicBezTo>
                <a:cubicBezTo>
                  <a:pt x="1424" y="567"/>
                  <a:pt x="1424" y="567"/>
                  <a:pt x="1424" y="567"/>
                </a:cubicBezTo>
                <a:cubicBezTo>
                  <a:pt x="1424" y="568"/>
                  <a:pt x="1424" y="568"/>
                  <a:pt x="1424" y="568"/>
                </a:cubicBezTo>
                <a:cubicBezTo>
                  <a:pt x="1424" y="569"/>
                  <a:pt x="1424" y="569"/>
                  <a:pt x="1424" y="569"/>
                </a:cubicBezTo>
                <a:cubicBezTo>
                  <a:pt x="1424" y="572"/>
                  <a:pt x="1424" y="572"/>
                  <a:pt x="1424" y="572"/>
                </a:cubicBezTo>
                <a:cubicBezTo>
                  <a:pt x="1425" y="572"/>
                  <a:pt x="1425" y="572"/>
                  <a:pt x="1425" y="572"/>
                </a:cubicBezTo>
                <a:cubicBezTo>
                  <a:pt x="1426" y="570"/>
                  <a:pt x="1426" y="570"/>
                  <a:pt x="1426" y="570"/>
                </a:cubicBezTo>
                <a:cubicBezTo>
                  <a:pt x="1426" y="572"/>
                  <a:pt x="1426" y="572"/>
                  <a:pt x="1426" y="572"/>
                </a:cubicBezTo>
                <a:cubicBezTo>
                  <a:pt x="1427" y="573"/>
                  <a:pt x="1427" y="573"/>
                  <a:pt x="1427" y="573"/>
                </a:cubicBezTo>
                <a:cubicBezTo>
                  <a:pt x="1425" y="574"/>
                  <a:pt x="1425" y="574"/>
                  <a:pt x="1425" y="574"/>
                </a:cubicBezTo>
                <a:cubicBezTo>
                  <a:pt x="1427" y="575"/>
                  <a:pt x="1427" y="575"/>
                  <a:pt x="1427" y="575"/>
                </a:cubicBezTo>
                <a:cubicBezTo>
                  <a:pt x="1425" y="577"/>
                  <a:pt x="1425" y="577"/>
                  <a:pt x="1425" y="577"/>
                </a:cubicBezTo>
                <a:cubicBezTo>
                  <a:pt x="1425" y="577"/>
                  <a:pt x="1425" y="577"/>
                  <a:pt x="1425" y="577"/>
                </a:cubicBezTo>
                <a:cubicBezTo>
                  <a:pt x="1425" y="580"/>
                  <a:pt x="1425" y="580"/>
                  <a:pt x="1425" y="580"/>
                </a:cubicBezTo>
                <a:cubicBezTo>
                  <a:pt x="1426" y="583"/>
                  <a:pt x="1426" y="583"/>
                  <a:pt x="1426" y="583"/>
                </a:cubicBezTo>
                <a:cubicBezTo>
                  <a:pt x="1426" y="589"/>
                  <a:pt x="1426" y="589"/>
                  <a:pt x="1426" y="589"/>
                </a:cubicBezTo>
                <a:cubicBezTo>
                  <a:pt x="1426" y="590"/>
                  <a:pt x="1426" y="590"/>
                  <a:pt x="1426" y="590"/>
                </a:cubicBezTo>
                <a:cubicBezTo>
                  <a:pt x="1425" y="593"/>
                  <a:pt x="1425" y="593"/>
                  <a:pt x="1425" y="593"/>
                </a:cubicBezTo>
                <a:cubicBezTo>
                  <a:pt x="1427" y="595"/>
                  <a:pt x="1427" y="595"/>
                  <a:pt x="1427" y="595"/>
                </a:cubicBezTo>
                <a:cubicBezTo>
                  <a:pt x="1426" y="596"/>
                  <a:pt x="1426" y="596"/>
                  <a:pt x="1426" y="596"/>
                </a:cubicBezTo>
                <a:cubicBezTo>
                  <a:pt x="1425" y="599"/>
                  <a:pt x="1425" y="599"/>
                  <a:pt x="1425" y="599"/>
                </a:cubicBezTo>
                <a:cubicBezTo>
                  <a:pt x="1424" y="602"/>
                  <a:pt x="1424" y="602"/>
                  <a:pt x="1424" y="602"/>
                </a:cubicBezTo>
                <a:cubicBezTo>
                  <a:pt x="1422" y="605"/>
                  <a:pt x="1422" y="605"/>
                  <a:pt x="1422" y="605"/>
                </a:cubicBezTo>
                <a:cubicBezTo>
                  <a:pt x="1422" y="607"/>
                  <a:pt x="1422" y="607"/>
                  <a:pt x="1422" y="607"/>
                </a:cubicBezTo>
                <a:cubicBezTo>
                  <a:pt x="1419" y="611"/>
                  <a:pt x="1419" y="611"/>
                  <a:pt x="1419" y="611"/>
                </a:cubicBezTo>
                <a:cubicBezTo>
                  <a:pt x="1418" y="617"/>
                  <a:pt x="1418" y="617"/>
                  <a:pt x="1418" y="617"/>
                </a:cubicBezTo>
                <a:cubicBezTo>
                  <a:pt x="1418" y="619"/>
                  <a:pt x="1418" y="619"/>
                  <a:pt x="1418" y="619"/>
                </a:cubicBezTo>
                <a:cubicBezTo>
                  <a:pt x="1420" y="619"/>
                  <a:pt x="1420" y="619"/>
                  <a:pt x="1420" y="619"/>
                </a:cubicBezTo>
                <a:cubicBezTo>
                  <a:pt x="1421" y="617"/>
                  <a:pt x="1421" y="617"/>
                  <a:pt x="1421" y="617"/>
                </a:cubicBezTo>
                <a:cubicBezTo>
                  <a:pt x="1423" y="616"/>
                  <a:pt x="1423" y="616"/>
                  <a:pt x="1423" y="616"/>
                </a:cubicBezTo>
                <a:cubicBezTo>
                  <a:pt x="1423" y="617"/>
                  <a:pt x="1423" y="617"/>
                  <a:pt x="1423" y="617"/>
                </a:cubicBezTo>
                <a:cubicBezTo>
                  <a:pt x="1423" y="618"/>
                  <a:pt x="1423" y="618"/>
                  <a:pt x="1423" y="618"/>
                </a:cubicBezTo>
                <a:cubicBezTo>
                  <a:pt x="1420" y="620"/>
                  <a:pt x="1420" y="620"/>
                  <a:pt x="1420" y="620"/>
                </a:cubicBezTo>
                <a:cubicBezTo>
                  <a:pt x="1420" y="622"/>
                  <a:pt x="1420" y="622"/>
                  <a:pt x="1420" y="622"/>
                </a:cubicBezTo>
                <a:cubicBezTo>
                  <a:pt x="1421" y="623"/>
                  <a:pt x="1421" y="623"/>
                  <a:pt x="1421" y="623"/>
                </a:cubicBezTo>
                <a:cubicBezTo>
                  <a:pt x="1423" y="621"/>
                  <a:pt x="1423" y="621"/>
                  <a:pt x="1423" y="621"/>
                </a:cubicBezTo>
                <a:cubicBezTo>
                  <a:pt x="1425" y="621"/>
                  <a:pt x="1425" y="621"/>
                  <a:pt x="1425" y="621"/>
                </a:cubicBezTo>
                <a:cubicBezTo>
                  <a:pt x="1424" y="623"/>
                  <a:pt x="1424" y="623"/>
                  <a:pt x="1424" y="623"/>
                </a:cubicBezTo>
                <a:cubicBezTo>
                  <a:pt x="1425" y="625"/>
                  <a:pt x="1425" y="625"/>
                  <a:pt x="1425" y="625"/>
                </a:cubicBezTo>
                <a:cubicBezTo>
                  <a:pt x="1424" y="628"/>
                  <a:pt x="1424" y="628"/>
                  <a:pt x="1424" y="628"/>
                </a:cubicBezTo>
                <a:cubicBezTo>
                  <a:pt x="1424" y="633"/>
                  <a:pt x="1424" y="633"/>
                  <a:pt x="1424" y="633"/>
                </a:cubicBezTo>
                <a:cubicBezTo>
                  <a:pt x="1423" y="637"/>
                  <a:pt x="1423" y="637"/>
                  <a:pt x="1423" y="637"/>
                </a:cubicBezTo>
                <a:cubicBezTo>
                  <a:pt x="1422" y="638"/>
                  <a:pt x="1422" y="638"/>
                  <a:pt x="1422" y="638"/>
                </a:cubicBezTo>
                <a:cubicBezTo>
                  <a:pt x="1423" y="639"/>
                  <a:pt x="1423" y="639"/>
                  <a:pt x="1423" y="639"/>
                </a:cubicBezTo>
                <a:cubicBezTo>
                  <a:pt x="1426" y="637"/>
                  <a:pt x="1426" y="637"/>
                  <a:pt x="1426" y="637"/>
                </a:cubicBezTo>
                <a:cubicBezTo>
                  <a:pt x="1430" y="638"/>
                  <a:pt x="1430" y="638"/>
                  <a:pt x="1430" y="638"/>
                </a:cubicBezTo>
                <a:cubicBezTo>
                  <a:pt x="1432" y="640"/>
                  <a:pt x="1432" y="640"/>
                  <a:pt x="1432" y="640"/>
                </a:cubicBezTo>
                <a:cubicBezTo>
                  <a:pt x="1435" y="638"/>
                  <a:pt x="1435" y="638"/>
                  <a:pt x="1435" y="638"/>
                </a:cubicBezTo>
                <a:cubicBezTo>
                  <a:pt x="1438" y="638"/>
                  <a:pt x="1438" y="638"/>
                  <a:pt x="1438" y="638"/>
                </a:cubicBezTo>
                <a:cubicBezTo>
                  <a:pt x="1438" y="637"/>
                  <a:pt x="1438" y="637"/>
                  <a:pt x="1438" y="637"/>
                </a:cubicBezTo>
                <a:cubicBezTo>
                  <a:pt x="1438" y="637"/>
                  <a:pt x="1438" y="637"/>
                  <a:pt x="1438" y="637"/>
                </a:cubicBezTo>
                <a:cubicBezTo>
                  <a:pt x="1440" y="637"/>
                  <a:pt x="1440" y="637"/>
                  <a:pt x="1440" y="637"/>
                </a:cubicBezTo>
                <a:cubicBezTo>
                  <a:pt x="1443" y="638"/>
                  <a:pt x="1443" y="638"/>
                  <a:pt x="1443" y="638"/>
                </a:cubicBezTo>
                <a:cubicBezTo>
                  <a:pt x="1447" y="642"/>
                  <a:pt x="1447" y="642"/>
                  <a:pt x="1447" y="642"/>
                </a:cubicBezTo>
                <a:cubicBezTo>
                  <a:pt x="1447" y="642"/>
                  <a:pt x="1447" y="642"/>
                  <a:pt x="1447" y="642"/>
                </a:cubicBezTo>
                <a:cubicBezTo>
                  <a:pt x="1449" y="647"/>
                  <a:pt x="1449" y="647"/>
                  <a:pt x="1449" y="647"/>
                </a:cubicBezTo>
                <a:cubicBezTo>
                  <a:pt x="1452" y="650"/>
                  <a:pt x="1452" y="650"/>
                  <a:pt x="1452" y="650"/>
                </a:cubicBezTo>
                <a:cubicBezTo>
                  <a:pt x="1455" y="651"/>
                  <a:pt x="1455" y="651"/>
                  <a:pt x="1455" y="651"/>
                </a:cubicBezTo>
                <a:cubicBezTo>
                  <a:pt x="1458" y="649"/>
                  <a:pt x="1458" y="649"/>
                  <a:pt x="1458" y="649"/>
                </a:cubicBezTo>
                <a:cubicBezTo>
                  <a:pt x="1458" y="647"/>
                  <a:pt x="1458" y="647"/>
                  <a:pt x="1458" y="647"/>
                </a:cubicBezTo>
                <a:cubicBezTo>
                  <a:pt x="1460" y="646"/>
                  <a:pt x="1460" y="646"/>
                  <a:pt x="1460" y="646"/>
                </a:cubicBezTo>
                <a:cubicBezTo>
                  <a:pt x="1464" y="646"/>
                  <a:pt x="1464" y="646"/>
                  <a:pt x="1464" y="646"/>
                </a:cubicBezTo>
                <a:cubicBezTo>
                  <a:pt x="1467" y="643"/>
                  <a:pt x="1467" y="643"/>
                  <a:pt x="1467" y="643"/>
                </a:cubicBezTo>
                <a:cubicBezTo>
                  <a:pt x="1470" y="642"/>
                  <a:pt x="1470" y="642"/>
                  <a:pt x="1470" y="642"/>
                </a:cubicBezTo>
                <a:cubicBezTo>
                  <a:pt x="1472" y="641"/>
                  <a:pt x="1472" y="641"/>
                  <a:pt x="1472" y="641"/>
                </a:cubicBezTo>
                <a:cubicBezTo>
                  <a:pt x="1476" y="642"/>
                  <a:pt x="1476" y="642"/>
                  <a:pt x="1476" y="642"/>
                </a:cubicBezTo>
                <a:cubicBezTo>
                  <a:pt x="1479" y="643"/>
                  <a:pt x="1479" y="643"/>
                  <a:pt x="1479" y="643"/>
                </a:cubicBezTo>
                <a:cubicBezTo>
                  <a:pt x="1480" y="642"/>
                  <a:pt x="1480" y="642"/>
                  <a:pt x="1480" y="642"/>
                </a:cubicBezTo>
                <a:cubicBezTo>
                  <a:pt x="1481" y="642"/>
                  <a:pt x="1481" y="642"/>
                  <a:pt x="1481" y="642"/>
                </a:cubicBezTo>
                <a:cubicBezTo>
                  <a:pt x="1483" y="643"/>
                  <a:pt x="1483" y="643"/>
                  <a:pt x="1483" y="643"/>
                </a:cubicBezTo>
                <a:cubicBezTo>
                  <a:pt x="1485" y="642"/>
                  <a:pt x="1485" y="642"/>
                  <a:pt x="1485" y="642"/>
                </a:cubicBezTo>
                <a:cubicBezTo>
                  <a:pt x="1486" y="640"/>
                  <a:pt x="1486" y="640"/>
                  <a:pt x="1486" y="640"/>
                </a:cubicBezTo>
                <a:cubicBezTo>
                  <a:pt x="1488" y="642"/>
                  <a:pt x="1488" y="642"/>
                  <a:pt x="1488" y="642"/>
                </a:cubicBezTo>
                <a:cubicBezTo>
                  <a:pt x="1490" y="643"/>
                  <a:pt x="1490" y="643"/>
                  <a:pt x="1490" y="643"/>
                </a:cubicBezTo>
                <a:cubicBezTo>
                  <a:pt x="1492" y="639"/>
                  <a:pt x="1492" y="639"/>
                  <a:pt x="1492" y="639"/>
                </a:cubicBezTo>
                <a:cubicBezTo>
                  <a:pt x="1492" y="637"/>
                  <a:pt x="1492" y="637"/>
                  <a:pt x="1492" y="637"/>
                </a:cubicBezTo>
                <a:cubicBezTo>
                  <a:pt x="1498" y="634"/>
                  <a:pt x="1498" y="634"/>
                  <a:pt x="1498" y="634"/>
                </a:cubicBezTo>
                <a:cubicBezTo>
                  <a:pt x="1502" y="634"/>
                  <a:pt x="1502" y="634"/>
                  <a:pt x="1502" y="634"/>
                </a:cubicBezTo>
                <a:cubicBezTo>
                  <a:pt x="1503" y="633"/>
                  <a:pt x="1503" y="633"/>
                  <a:pt x="1503" y="633"/>
                </a:cubicBezTo>
                <a:cubicBezTo>
                  <a:pt x="1502" y="632"/>
                  <a:pt x="1502" y="632"/>
                  <a:pt x="1502" y="632"/>
                </a:cubicBezTo>
                <a:cubicBezTo>
                  <a:pt x="1502" y="629"/>
                  <a:pt x="1502" y="629"/>
                  <a:pt x="1502" y="629"/>
                </a:cubicBezTo>
                <a:cubicBezTo>
                  <a:pt x="1505" y="624"/>
                  <a:pt x="1505" y="624"/>
                  <a:pt x="1505" y="624"/>
                </a:cubicBezTo>
                <a:cubicBezTo>
                  <a:pt x="1505" y="622"/>
                  <a:pt x="1505" y="622"/>
                  <a:pt x="1505" y="622"/>
                </a:cubicBezTo>
                <a:cubicBezTo>
                  <a:pt x="1509" y="621"/>
                  <a:pt x="1509" y="621"/>
                  <a:pt x="1509" y="621"/>
                </a:cubicBezTo>
                <a:cubicBezTo>
                  <a:pt x="1511" y="619"/>
                  <a:pt x="1511" y="619"/>
                  <a:pt x="1511" y="619"/>
                </a:cubicBezTo>
                <a:cubicBezTo>
                  <a:pt x="1508" y="615"/>
                  <a:pt x="1508" y="615"/>
                  <a:pt x="1508" y="615"/>
                </a:cubicBezTo>
                <a:cubicBezTo>
                  <a:pt x="1507" y="615"/>
                  <a:pt x="1507" y="615"/>
                  <a:pt x="1507" y="615"/>
                </a:cubicBezTo>
                <a:cubicBezTo>
                  <a:pt x="1506" y="613"/>
                  <a:pt x="1506" y="613"/>
                  <a:pt x="1506" y="613"/>
                </a:cubicBezTo>
                <a:cubicBezTo>
                  <a:pt x="1505" y="610"/>
                  <a:pt x="1505" y="610"/>
                  <a:pt x="1505" y="610"/>
                </a:cubicBezTo>
                <a:cubicBezTo>
                  <a:pt x="1506" y="608"/>
                  <a:pt x="1506" y="608"/>
                  <a:pt x="1506" y="608"/>
                </a:cubicBezTo>
                <a:cubicBezTo>
                  <a:pt x="1510" y="602"/>
                  <a:pt x="1510" y="602"/>
                  <a:pt x="1510" y="602"/>
                </a:cubicBezTo>
                <a:cubicBezTo>
                  <a:pt x="1512" y="601"/>
                  <a:pt x="1512" y="601"/>
                  <a:pt x="1512" y="601"/>
                </a:cubicBezTo>
                <a:cubicBezTo>
                  <a:pt x="1515" y="596"/>
                  <a:pt x="1515" y="596"/>
                  <a:pt x="1515" y="596"/>
                </a:cubicBezTo>
                <a:cubicBezTo>
                  <a:pt x="1516" y="596"/>
                  <a:pt x="1516" y="596"/>
                  <a:pt x="1516" y="596"/>
                </a:cubicBezTo>
                <a:cubicBezTo>
                  <a:pt x="1515" y="596"/>
                  <a:pt x="1515" y="596"/>
                  <a:pt x="1515" y="596"/>
                </a:cubicBezTo>
                <a:cubicBezTo>
                  <a:pt x="1516" y="597"/>
                  <a:pt x="1516" y="597"/>
                  <a:pt x="1516" y="597"/>
                </a:cubicBezTo>
                <a:cubicBezTo>
                  <a:pt x="1517" y="596"/>
                  <a:pt x="1517" y="596"/>
                  <a:pt x="1517" y="596"/>
                </a:cubicBezTo>
                <a:cubicBezTo>
                  <a:pt x="1517" y="593"/>
                  <a:pt x="1517" y="593"/>
                  <a:pt x="1517" y="593"/>
                </a:cubicBezTo>
                <a:cubicBezTo>
                  <a:pt x="1516" y="592"/>
                  <a:pt x="1516" y="592"/>
                  <a:pt x="1516" y="592"/>
                </a:cubicBezTo>
                <a:cubicBezTo>
                  <a:pt x="1519" y="591"/>
                  <a:pt x="1519" y="591"/>
                  <a:pt x="1519" y="591"/>
                </a:cubicBezTo>
                <a:cubicBezTo>
                  <a:pt x="1521" y="589"/>
                  <a:pt x="1521" y="589"/>
                  <a:pt x="1521" y="589"/>
                </a:cubicBezTo>
                <a:cubicBezTo>
                  <a:pt x="1525" y="590"/>
                  <a:pt x="1525" y="590"/>
                  <a:pt x="1525" y="590"/>
                </a:cubicBezTo>
                <a:cubicBezTo>
                  <a:pt x="1525" y="590"/>
                  <a:pt x="1528" y="588"/>
                  <a:pt x="1528" y="588"/>
                </a:cubicBezTo>
                <a:cubicBezTo>
                  <a:pt x="1528" y="588"/>
                  <a:pt x="1530" y="586"/>
                  <a:pt x="1530" y="586"/>
                </a:cubicBezTo>
                <a:cubicBezTo>
                  <a:pt x="1534" y="584"/>
                  <a:pt x="1534" y="584"/>
                  <a:pt x="1534" y="584"/>
                </a:cubicBezTo>
                <a:cubicBezTo>
                  <a:pt x="1535" y="582"/>
                  <a:pt x="1535" y="582"/>
                  <a:pt x="1535" y="582"/>
                </a:cubicBezTo>
                <a:cubicBezTo>
                  <a:pt x="1535" y="579"/>
                  <a:pt x="1535" y="579"/>
                  <a:pt x="1535" y="579"/>
                </a:cubicBezTo>
                <a:cubicBezTo>
                  <a:pt x="1535" y="576"/>
                  <a:pt x="1535" y="576"/>
                  <a:pt x="1535" y="576"/>
                </a:cubicBezTo>
                <a:cubicBezTo>
                  <a:pt x="1536" y="575"/>
                  <a:pt x="1536" y="575"/>
                  <a:pt x="1536" y="575"/>
                </a:cubicBezTo>
                <a:cubicBezTo>
                  <a:pt x="1536" y="574"/>
                  <a:pt x="1536" y="574"/>
                  <a:pt x="1536" y="574"/>
                </a:cubicBezTo>
                <a:cubicBezTo>
                  <a:pt x="1536" y="573"/>
                  <a:pt x="1536" y="573"/>
                  <a:pt x="1536" y="573"/>
                </a:cubicBezTo>
                <a:cubicBezTo>
                  <a:pt x="1535" y="570"/>
                  <a:pt x="1535" y="570"/>
                  <a:pt x="1535" y="570"/>
                </a:cubicBezTo>
                <a:cubicBezTo>
                  <a:pt x="1536" y="567"/>
                  <a:pt x="1536" y="567"/>
                  <a:pt x="1536" y="567"/>
                </a:cubicBezTo>
                <a:cubicBezTo>
                  <a:pt x="1536" y="565"/>
                  <a:pt x="1536" y="565"/>
                  <a:pt x="1536" y="565"/>
                </a:cubicBezTo>
                <a:cubicBezTo>
                  <a:pt x="1538" y="563"/>
                  <a:pt x="1538" y="563"/>
                  <a:pt x="1538" y="563"/>
                </a:cubicBezTo>
                <a:cubicBezTo>
                  <a:pt x="1542" y="559"/>
                  <a:pt x="1542" y="559"/>
                  <a:pt x="1542" y="559"/>
                </a:cubicBezTo>
                <a:cubicBezTo>
                  <a:pt x="1543" y="559"/>
                  <a:pt x="1543" y="559"/>
                  <a:pt x="1543" y="559"/>
                </a:cubicBezTo>
                <a:cubicBezTo>
                  <a:pt x="1544" y="560"/>
                  <a:pt x="1544" y="560"/>
                  <a:pt x="1544" y="560"/>
                </a:cubicBezTo>
                <a:cubicBezTo>
                  <a:pt x="1547" y="560"/>
                  <a:pt x="1547" y="560"/>
                  <a:pt x="1547" y="560"/>
                </a:cubicBezTo>
                <a:cubicBezTo>
                  <a:pt x="1549" y="562"/>
                  <a:pt x="1549" y="562"/>
                  <a:pt x="1549" y="562"/>
                </a:cubicBezTo>
                <a:cubicBezTo>
                  <a:pt x="1551" y="562"/>
                  <a:pt x="1551" y="562"/>
                  <a:pt x="1551" y="562"/>
                </a:cubicBezTo>
                <a:cubicBezTo>
                  <a:pt x="1552" y="561"/>
                  <a:pt x="1552" y="561"/>
                  <a:pt x="1552" y="561"/>
                </a:cubicBezTo>
                <a:cubicBezTo>
                  <a:pt x="1554" y="560"/>
                  <a:pt x="1554" y="560"/>
                  <a:pt x="1554" y="560"/>
                </a:cubicBezTo>
                <a:cubicBezTo>
                  <a:pt x="1560" y="564"/>
                  <a:pt x="1560" y="564"/>
                  <a:pt x="1560" y="564"/>
                </a:cubicBezTo>
                <a:cubicBezTo>
                  <a:pt x="1562" y="566"/>
                  <a:pt x="1562" y="566"/>
                  <a:pt x="1562" y="566"/>
                </a:cubicBezTo>
                <a:cubicBezTo>
                  <a:pt x="1566" y="566"/>
                  <a:pt x="1566" y="566"/>
                  <a:pt x="1566" y="566"/>
                </a:cubicBezTo>
                <a:cubicBezTo>
                  <a:pt x="1568" y="564"/>
                  <a:pt x="1568" y="564"/>
                  <a:pt x="1568" y="564"/>
                </a:cubicBezTo>
                <a:cubicBezTo>
                  <a:pt x="1568" y="563"/>
                  <a:pt x="1568" y="563"/>
                  <a:pt x="1568" y="563"/>
                </a:cubicBezTo>
                <a:cubicBezTo>
                  <a:pt x="1569" y="561"/>
                  <a:pt x="1569" y="561"/>
                  <a:pt x="1569" y="561"/>
                </a:cubicBezTo>
                <a:cubicBezTo>
                  <a:pt x="1576" y="556"/>
                  <a:pt x="1576" y="556"/>
                  <a:pt x="1576" y="556"/>
                </a:cubicBezTo>
                <a:cubicBezTo>
                  <a:pt x="1576" y="556"/>
                  <a:pt x="1576" y="556"/>
                  <a:pt x="1576" y="556"/>
                </a:cubicBezTo>
                <a:cubicBezTo>
                  <a:pt x="1581" y="555"/>
                  <a:pt x="1581" y="555"/>
                  <a:pt x="1581" y="555"/>
                </a:cubicBezTo>
                <a:cubicBezTo>
                  <a:pt x="1583" y="553"/>
                  <a:pt x="1583" y="553"/>
                  <a:pt x="1583" y="553"/>
                </a:cubicBezTo>
                <a:cubicBezTo>
                  <a:pt x="1583" y="552"/>
                  <a:pt x="1583" y="552"/>
                  <a:pt x="1583" y="552"/>
                </a:cubicBezTo>
                <a:cubicBezTo>
                  <a:pt x="1588" y="549"/>
                  <a:pt x="1588" y="549"/>
                  <a:pt x="1588" y="549"/>
                </a:cubicBezTo>
                <a:cubicBezTo>
                  <a:pt x="1595" y="550"/>
                  <a:pt x="1595" y="550"/>
                  <a:pt x="1595" y="550"/>
                </a:cubicBezTo>
                <a:cubicBezTo>
                  <a:pt x="1597" y="552"/>
                  <a:pt x="1597" y="552"/>
                  <a:pt x="1597" y="552"/>
                </a:cubicBezTo>
                <a:cubicBezTo>
                  <a:pt x="1600" y="553"/>
                  <a:pt x="1600" y="553"/>
                  <a:pt x="1600" y="553"/>
                </a:cubicBezTo>
                <a:cubicBezTo>
                  <a:pt x="1600" y="554"/>
                  <a:pt x="1600" y="554"/>
                  <a:pt x="1600" y="554"/>
                </a:cubicBezTo>
                <a:cubicBezTo>
                  <a:pt x="1601" y="555"/>
                  <a:pt x="1601" y="555"/>
                  <a:pt x="1601" y="555"/>
                </a:cubicBezTo>
                <a:cubicBezTo>
                  <a:pt x="1602" y="557"/>
                  <a:pt x="1602" y="557"/>
                  <a:pt x="1602" y="557"/>
                </a:cubicBezTo>
                <a:cubicBezTo>
                  <a:pt x="1604" y="560"/>
                  <a:pt x="1604" y="560"/>
                  <a:pt x="1604" y="560"/>
                </a:cubicBezTo>
                <a:cubicBezTo>
                  <a:pt x="1604" y="562"/>
                  <a:pt x="1604" y="562"/>
                  <a:pt x="1604" y="562"/>
                </a:cubicBezTo>
                <a:cubicBezTo>
                  <a:pt x="1605" y="563"/>
                  <a:pt x="1605" y="563"/>
                  <a:pt x="1605" y="563"/>
                </a:cubicBezTo>
                <a:cubicBezTo>
                  <a:pt x="1605" y="565"/>
                  <a:pt x="1605" y="565"/>
                  <a:pt x="1605" y="565"/>
                </a:cubicBezTo>
                <a:cubicBezTo>
                  <a:pt x="1608" y="567"/>
                  <a:pt x="1608" y="567"/>
                  <a:pt x="1608" y="567"/>
                </a:cubicBezTo>
                <a:cubicBezTo>
                  <a:pt x="1609" y="568"/>
                  <a:pt x="1609" y="568"/>
                  <a:pt x="1609" y="568"/>
                </a:cubicBezTo>
                <a:cubicBezTo>
                  <a:pt x="1612" y="571"/>
                  <a:pt x="1612" y="571"/>
                  <a:pt x="1612" y="571"/>
                </a:cubicBezTo>
                <a:cubicBezTo>
                  <a:pt x="1612" y="573"/>
                  <a:pt x="1612" y="573"/>
                  <a:pt x="1612" y="573"/>
                </a:cubicBezTo>
                <a:cubicBezTo>
                  <a:pt x="1615" y="573"/>
                  <a:pt x="1615" y="573"/>
                  <a:pt x="1615" y="573"/>
                </a:cubicBezTo>
                <a:cubicBezTo>
                  <a:pt x="1617" y="575"/>
                  <a:pt x="1617" y="575"/>
                  <a:pt x="1617" y="575"/>
                </a:cubicBezTo>
                <a:cubicBezTo>
                  <a:pt x="1617" y="577"/>
                  <a:pt x="1617" y="577"/>
                  <a:pt x="1617" y="577"/>
                </a:cubicBezTo>
                <a:cubicBezTo>
                  <a:pt x="1619" y="577"/>
                  <a:pt x="1619" y="577"/>
                  <a:pt x="1619" y="577"/>
                </a:cubicBezTo>
                <a:cubicBezTo>
                  <a:pt x="1623" y="583"/>
                  <a:pt x="1623" y="583"/>
                  <a:pt x="1623" y="583"/>
                </a:cubicBezTo>
                <a:cubicBezTo>
                  <a:pt x="1627" y="586"/>
                  <a:pt x="1627" y="586"/>
                  <a:pt x="1627" y="586"/>
                </a:cubicBezTo>
                <a:cubicBezTo>
                  <a:pt x="1629" y="586"/>
                  <a:pt x="1629" y="586"/>
                  <a:pt x="1629" y="586"/>
                </a:cubicBezTo>
                <a:cubicBezTo>
                  <a:pt x="1630" y="587"/>
                  <a:pt x="1630" y="587"/>
                  <a:pt x="1630" y="587"/>
                </a:cubicBezTo>
                <a:cubicBezTo>
                  <a:pt x="1631" y="589"/>
                  <a:pt x="1631" y="589"/>
                  <a:pt x="1631" y="589"/>
                </a:cubicBezTo>
                <a:cubicBezTo>
                  <a:pt x="1633" y="589"/>
                  <a:pt x="1633" y="589"/>
                  <a:pt x="1633" y="589"/>
                </a:cubicBezTo>
                <a:cubicBezTo>
                  <a:pt x="1634" y="588"/>
                  <a:pt x="1634" y="588"/>
                  <a:pt x="1634" y="588"/>
                </a:cubicBezTo>
                <a:cubicBezTo>
                  <a:pt x="1636" y="588"/>
                  <a:pt x="1636" y="588"/>
                  <a:pt x="1636" y="588"/>
                </a:cubicBezTo>
                <a:cubicBezTo>
                  <a:pt x="1638" y="589"/>
                  <a:pt x="1638" y="589"/>
                  <a:pt x="1638" y="589"/>
                </a:cubicBezTo>
                <a:cubicBezTo>
                  <a:pt x="1640" y="593"/>
                  <a:pt x="1640" y="593"/>
                  <a:pt x="1640" y="593"/>
                </a:cubicBezTo>
                <a:cubicBezTo>
                  <a:pt x="1641" y="593"/>
                  <a:pt x="1641" y="593"/>
                  <a:pt x="1641" y="593"/>
                </a:cubicBezTo>
                <a:cubicBezTo>
                  <a:pt x="1643" y="593"/>
                  <a:pt x="1643" y="593"/>
                  <a:pt x="1643" y="593"/>
                </a:cubicBezTo>
                <a:cubicBezTo>
                  <a:pt x="1644" y="594"/>
                  <a:pt x="1644" y="594"/>
                  <a:pt x="1644" y="594"/>
                </a:cubicBezTo>
                <a:cubicBezTo>
                  <a:pt x="1644" y="595"/>
                  <a:pt x="1644" y="595"/>
                  <a:pt x="1644" y="595"/>
                </a:cubicBezTo>
                <a:cubicBezTo>
                  <a:pt x="1646" y="595"/>
                  <a:pt x="1646" y="595"/>
                  <a:pt x="1646" y="595"/>
                </a:cubicBezTo>
                <a:cubicBezTo>
                  <a:pt x="1648" y="595"/>
                  <a:pt x="1648" y="595"/>
                  <a:pt x="1648" y="595"/>
                </a:cubicBezTo>
                <a:cubicBezTo>
                  <a:pt x="1649" y="597"/>
                  <a:pt x="1649" y="597"/>
                  <a:pt x="1649" y="597"/>
                </a:cubicBezTo>
                <a:cubicBezTo>
                  <a:pt x="1649" y="599"/>
                  <a:pt x="1649" y="599"/>
                  <a:pt x="1649" y="599"/>
                </a:cubicBezTo>
                <a:cubicBezTo>
                  <a:pt x="1648" y="600"/>
                  <a:pt x="1648" y="600"/>
                  <a:pt x="1648" y="600"/>
                </a:cubicBezTo>
                <a:cubicBezTo>
                  <a:pt x="1649" y="601"/>
                  <a:pt x="1649" y="601"/>
                  <a:pt x="1649" y="601"/>
                </a:cubicBezTo>
                <a:cubicBezTo>
                  <a:pt x="1651" y="601"/>
                  <a:pt x="1651" y="601"/>
                  <a:pt x="1651" y="601"/>
                </a:cubicBezTo>
                <a:cubicBezTo>
                  <a:pt x="1652" y="602"/>
                  <a:pt x="1652" y="602"/>
                  <a:pt x="1652" y="602"/>
                </a:cubicBezTo>
                <a:cubicBezTo>
                  <a:pt x="1655" y="603"/>
                  <a:pt x="1655" y="603"/>
                  <a:pt x="1655" y="603"/>
                </a:cubicBezTo>
                <a:cubicBezTo>
                  <a:pt x="1656" y="602"/>
                  <a:pt x="1656" y="602"/>
                  <a:pt x="1656" y="602"/>
                </a:cubicBezTo>
                <a:cubicBezTo>
                  <a:pt x="1657" y="603"/>
                  <a:pt x="1657" y="603"/>
                  <a:pt x="1657" y="603"/>
                </a:cubicBezTo>
                <a:cubicBezTo>
                  <a:pt x="1658" y="606"/>
                  <a:pt x="1658" y="606"/>
                  <a:pt x="1658" y="606"/>
                </a:cubicBezTo>
                <a:cubicBezTo>
                  <a:pt x="1659" y="610"/>
                  <a:pt x="1659" y="610"/>
                  <a:pt x="1659" y="610"/>
                </a:cubicBezTo>
                <a:cubicBezTo>
                  <a:pt x="1660" y="611"/>
                  <a:pt x="1660" y="611"/>
                  <a:pt x="1660" y="611"/>
                </a:cubicBezTo>
                <a:cubicBezTo>
                  <a:pt x="1661" y="615"/>
                  <a:pt x="1661" y="615"/>
                  <a:pt x="1661" y="615"/>
                </a:cubicBezTo>
                <a:cubicBezTo>
                  <a:pt x="1662" y="616"/>
                  <a:pt x="1662" y="616"/>
                  <a:pt x="1662" y="616"/>
                </a:cubicBezTo>
                <a:cubicBezTo>
                  <a:pt x="1662" y="618"/>
                  <a:pt x="1662" y="618"/>
                  <a:pt x="1662" y="618"/>
                </a:cubicBezTo>
                <a:cubicBezTo>
                  <a:pt x="1661" y="619"/>
                  <a:pt x="1661" y="619"/>
                  <a:pt x="1661" y="619"/>
                </a:cubicBezTo>
                <a:cubicBezTo>
                  <a:pt x="1660" y="619"/>
                  <a:pt x="1660" y="619"/>
                  <a:pt x="1660" y="619"/>
                </a:cubicBezTo>
                <a:cubicBezTo>
                  <a:pt x="1659" y="620"/>
                  <a:pt x="1659" y="620"/>
                  <a:pt x="1659" y="620"/>
                </a:cubicBezTo>
                <a:cubicBezTo>
                  <a:pt x="1660" y="622"/>
                  <a:pt x="1660" y="622"/>
                  <a:pt x="1660" y="622"/>
                </a:cubicBezTo>
                <a:cubicBezTo>
                  <a:pt x="1659" y="624"/>
                  <a:pt x="1659" y="624"/>
                  <a:pt x="1659" y="624"/>
                </a:cubicBezTo>
                <a:cubicBezTo>
                  <a:pt x="1658" y="625"/>
                  <a:pt x="1658" y="625"/>
                  <a:pt x="1658" y="625"/>
                </a:cubicBezTo>
                <a:cubicBezTo>
                  <a:pt x="1657" y="626"/>
                  <a:pt x="1657" y="626"/>
                  <a:pt x="1657" y="626"/>
                </a:cubicBezTo>
                <a:cubicBezTo>
                  <a:pt x="1656" y="626"/>
                  <a:pt x="1656" y="626"/>
                  <a:pt x="1656" y="626"/>
                </a:cubicBezTo>
                <a:cubicBezTo>
                  <a:pt x="1657" y="628"/>
                  <a:pt x="1657" y="628"/>
                  <a:pt x="1657" y="628"/>
                </a:cubicBezTo>
                <a:cubicBezTo>
                  <a:pt x="1659" y="630"/>
                  <a:pt x="1659" y="630"/>
                  <a:pt x="1659" y="630"/>
                </a:cubicBezTo>
                <a:cubicBezTo>
                  <a:pt x="1662" y="630"/>
                  <a:pt x="1662" y="630"/>
                  <a:pt x="1662" y="630"/>
                </a:cubicBezTo>
                <a:cubicBezTo>
                  <a:pt x="1663" y="628"/>
                  <a:pt x="1663" y="628"/>
                  <a:pt x="1663" y="628"/>
                </a:cubicBezTo>
                <a:cubicBezTo>
                  <a:pt x="1663" y="626"/>
                  <a:pt x="1663" y="626"/>
                  <a:pt x="1663" y="626"/>
                </a:cubicBezTo>
                <a:cubicBezTo>
                  <a:pt x="1666" y="624"/>
                  <a:pt x="1666" y="624"/>
                  <a:pt x="1666" y="624"/>
                </a:cubicBezTo>
                <a:cubicBezTo>
                  <a:pt x="1666" y="619"/>
                  <a:pt x="1666" y="619"/>
                  <a:pt x="1666" y="619"/>
                </a:cubicBezTo>
                <a:cubicBezTo>
                  <a:pt x="1668" y="617"/>
                  <a:pt x="1668" y="617"/>
                  <a:pt x="1668" y="617"/>
                </a:cubicBezTo>
                <a:cubicBezTo>
                  <a:pt x="1670" y="617"/>
                  <a:pt x="1670" y="617"/>
                  <a:pt x="1670" y="617"/>
                </a:cubicBezTo>
                <a:cubicBezTo>
                  <a:pt x="1671" y="615"/>
                  <a:pt x="1671" y="615"/>
                  <a:pt x="1671" y="615"/>
                </a:cubicBezTo>
                <a:cubicBezTo>
                  <a:pt x="1670" y="614"/>
                  <a:pt x="1670" y="614"/>
                  <a:pt x="1670" y="614"/>
                </a:cubicBezTo>
                <a:cubicBezTo>
                  <a:pt x="1670" y="612"/>
                  <a:pt x="1670" y="612"/>
                  <a:pt x="1670" y="612"/>
                </a:cubicBezTo>
                <a:cubicBezTo>
                  <a:pt x="1670" y="611"/>
                  <a:pt x="1670" y="611"/>
                  <a:pt x="1670" y="611"/>
                </a:cubicBezTo>
                <a:cubicBezTo>
                  <a:pt x="1667" y="608"/>
                  <a:pt x="1667" y="608"/>
                  <a:pt x="1667" y="608"/>
                </a:cubicBezTo>
                <a:cubicBezTo>
                  <a:pt x="1665" y="608"/>
                  <a:pt x="1665" y="608"/>
                  <a:pt x="1665" y="608"/>
                </a:cubicBezTo>
                <a:cubicBezTo>
                  <a:pt x="1665" y="607"/>
                  <a:pt x="1665" y="607"/>
                  <a:pt x="1665" y="607"/>
                </a:cubicBezTo>
                <a:cubicBezTo>
                  <a:pt x="1665" y="605"/>
                  <a:pt x="1665" y="605"/>
                  <a:pt x="1665" y="605"/>
                </a:cubicBezTo>
                <a:cubicBezTo>
                  <a:pt x="1666" y="604"/>
                  <a:pt x="1666" y="604"/>
                  <a:pt x="1666" y="604"/>
                </a:cubicBezTo>
                <a:cubicBezTo>
                  <a:pt x="1666" y="603"/>
                  <a:pt x="1666" y="603"/>
                  <a:pt x="1666" y="603"/>
                </a:cubicBezTo>
                <a:cubicBezTo>
                  <a:pt x="1666" y="601"/>
                  <a:pt x="1666" y="601"/>
                  <a:pt x="1666" y="601"/>
                </a:cubicBezTo>
                <a:cubicBezTo>
                  <a:pt x="1668" y="600"/>
                  <a:pt x="1668" y="600"/>
                  <a:pt x="1668" y="600"/>
                </a:cubicBezTo>
                <a:cubicBezTo>
                  <a:pt x="1668" y="598"/>
                  <a:pt x="1668" y="598"/>
                  <a:pt x="1668" y="598"/>
                </a:cubicBezTo>
                <a:cubicBezTo>
                  <a:pt x="1669" y="597"/>
                  <a:pt x="1669" y="597"/>
                  <a:pt x="1669" y="597"/>
                </a:cubicBezTo>
                <a:cubicBezTo>
                  <a:pt x="1671" y="597"/>
                  <a:pt x="1671" y="597"/>
                  <a:pt x="1671" y="597"/>
                </a:cubicBezTo>
                <a:cubicBezTo>
                  <a:pt x="1673" y="598"/>
                  <a:pt x="1673" y="598"/>
                  <a:pt x="1673" y="598"/>
                </a:cubicBezTo>
                <a:cubicBezTo>
                  <a:pt x="1673" y="599"/>
                  <a:pt x="1673" y="599"/>
                  <a:pt x="1673" y="599"/>
                </a:cubicBezTo>
                <a:cubicBezTo>
                  <a:pt x="1676" y="599"/>
                  <a:pt x="1676" y="599"/>
                  <a:pt x="1676" y="599"/>
                </a:cubicBezTo>
                <a:cubicBezTo>
                  <a:pt x="1677" y="600"/>
                  <a:pt x="1677" y="600"/>
                  <a:pt x="1677" y="600"/>
                </a:cubicBezTo>
                <a:cubicBezTo>
                  <a:pt x="1677" y="601"/>
                  <a:pt x="1677" y="601"/>
                  <a:pt x="1677" y="601"/>
                </a:cubicBezTo>
                <a:cubicBezTo>
                  <a:pt x="1678" y="603"/>
                  <a:pt x="1678" y="603"/>
                  <a:pt x="1678" y="603"/>
                </a:cubicBezTo>
                <a:cubicBezTo>
                  <a:pt x="1679" y="605"/>
                  <a:pt x="1679" y="605"/>
                  <a:pt x="1679" y="605"/>
                </a:cubicBezTo>
                <a:cubicBezTo>
                  <a:pt x="1681" y="605"/>
                  <a:pt x="1681" y="605"/>
                  <a:pt x="1681" y="605"/>
                </a:cubicBezTo>
                <a:cubicBezTo>
                  <a:pt x="1681" y="605"/>
                  <a:pt x="1681" y="605"/>
                  <a:pt x="1681" y="605"/>
                </a:cubicBezTo>
                <a:cubicBezTo>
                  <a:pt x="1682" y="604"/>
                  <a:pt x="1682" y="604"/>
                  <a:pt x="1682" y="604"/>
                </a:cubicBezTo>
                <a:cubicBezTo>
                  <a:pt x="1682" y="603"/>
                  <a:pt x="1682" y="603"/>
                  <a:pt x="1682" y="603"/>
                </a:cubicBezTo>
                <a:cubicBezTo>
                  <a:pt x="1682" y="602"/>
                  <a:pt x="1682" y="602"/>
                  <a:pt x="1682" y="602"/>
                </a:cubicBezTo>
                <a:cubicBezTo>
                  <a:pt x="1683" y="599"/>
                  <a:pt x="1683" y="599"/>
                  <a:pt x="1683" y="599"/>
                </a:cubicBezTo>
                <a:cubicBezTo>
                  <a:pt x="1682" y="598"/>
                  <a:pt x="1682" y="598"/>
                  <a:pt x="1682" y="598"/>
                </a:cubicBezTo>
                <a:cubicBezTo>
                  <a:pt x="1680" y="596"/>
                  <a:pt x="1680" y="596"/>
                  <a:pt x="1680" y="596"/>
                </a:cubicBezTo>
                <a:cubicBezTo>
                  <a:pt x="1677" y="596"/>
                  <a:pt x="1677" y="596"/>
                  <a:pt x="1677" y="596"/>
                </a:cubicBezTo>
                <a:cubicBezTo>
                  <a:pt x="1675" y="593"/>
                  <a:pt x="1675" y="593"/>
                  <a:pt x="1675" y="593"/>
                </a:cubicBezTo>
                <a:cubicBezTo>
                  <a:pt x="1672" y="591"/>
                  <a:pt x="1672" y="591"/>
                  <a:pt x="1672" y="591"/>
                </a:cubicBezTo>
                <a:cubicBezTo>
                  <a:pt x="1664" y="587"/>
                  <a:pt x="1664" y="587"/>
                  <a:pt x="1664" y="587"/>
                </a:cubicBezTo>
                <a:cubicBezTo>
                  <a:pt x="1660" y="586"/>
                  <a:pt x="1660" y="586"/>
                  <a:pt x="1660" y="586"/>
                </a:cubicBezTo>
                <a:cubicBezTo>
                  <a:pt x="1658" y="586"/>
                  <a:pt x="1658" y="586"/>
                  <a:pt x="1658" y="586"/>
                </a:cubicBezTo>
                <a:cubicBezTo>
                  <a:pt x="1657" y="584"/>
                  <a:pt x="1657" y="584"/>
                  <a:pt x="1657" y="584"/>
                </a:cubicBezTo>
                <a:cubicBezTo>
                  <a:pt x="1657" y="583"/>
                  <a:pt x="1657" y="583"/>
                  <a:pt x="1657" y="583"/>
                </a:cubicBezTo>
                <a:cubicBezTo>
                  <a:pt x="1660" y="582"/>
                  <a:pt x="1660" y="582"/>
                  <a:pt x="1660" y="582"/>
                </a:cubicBezTo>
                <a:cubicBezTo>
                  <a:pt x="1660" y="580"/>
                  <a:pt x="1660" y="580"/>
                  <a:pt x="1660" y="580"/>
                </a:cubicBezTo>
                <a:cubicBezTo>
                  <a:pt x="1658" y="579"/>
                  <a:pt x="1658" y="579"/>
                  <a:pt x="1658" y="579"/>
                </a:cubicBezTo>
                <a:cubicBezTo>
                  <a:pt x="1656" y="580"/>
                  <a:pt x="1656" y="580"/>
                  <a:pt x="1656" y="580"/>
                </a:cubicBezTo>
                <a:cubicBezTo>
                  <a:pt x="1654" y="579"/>
                  <a:pt x="1654" y="579"/>
                  <a:pt x="1654" y="579"/>
                </a:cubicBezTo>
                <a:cubicBezTo>
                  <a:pt x="1650" y="579"/>
                  <a:pt x="1650" y="579"/>
                  <a:pt x="1650" y="579"/>
                </a:cubicBezTo>
                <a:cubicBezTo>
                  <a:pt x="1649" y="578"/>
                  <a:pt x="1649" y="578"/>
                  <a:pt x="1649" y="578"/>
                </a:cubicBezTo>
                <a:cubicBezTo>
                  <a:pt x="1647" y="578"/>
                  <a:pt x="1647" y="578"/>
                  <a:pt x="1647" y="578"/>
                </a:cubicBezTo>
                <a:cubicBezTo>
                  <a:pt x="1646" y="577"/>
                  <a:pt x="1646" y="577"/>
                  <a:pt x="1646" y="577"/>
                </a:cubicBezTo>
                <a:cubicBezTo>
                  <a:pt x="1643" y="574"/>
                  <a:pt x="1643" y="574"/>
                  <a:pt x="1643" y="574"/>
                </a:cubicBezTo>
                <a:cubicBezTo>
                  <a:pt x="1641" y="572"/>
                  <a:pt x="1641" y="572"/>
                  <a:pt x="1641" y="572"/>
                </a:cubicBezTo>
                <a:cubicBezTo>
                  <a:pt x="1640" y="570"/>
                  <a:pt x="1640" y="570"/>
                  <a:pt x="1640" y="570"/>
                </a:cubicBezTo>
                <a:cubicBezTo>
                  <a:pt x="1638" y="568"/>
                  <a:pt x="1638" y="568"/>
                  <a:pt x="1638" y="568"/>
                </a:cubicBezTo>
                <a:cubicBezTo>
                  <a:pt x="1638" y="566"/>
                  <a:pt x="1638" y="566"/>
                  <a:pt x="1638" y="566"/>
                </a:cubicBezTo>
                <a:cubicBezTo>
                  <a:pt x="1637" y="566"/>
                  <a:pt x="1637" y="566"/>
                  <a:pt x="1637" y="566"/>
                </a:cubicBezTo>
                <a:cubicBezTo>
                  <a:pt x="1637" y="564"/>
                  <a:pt x="1637" y="564"/>
                  <a:pt x="1637" y="564"/>
                </a:cubicBezTo>
                <a:cubicBezTo>
                  <a:pt x="1630" y="557"/>
                  <a:pt x="1630" y="557"/>
                  <a:pt x="1630" y="557"/>
                </a:cubicBezTo>
                <a:cubicBezTo>
                  <a:pt x="1629" y="556"/>
                  <a:pt x="1629" y="556"/>
                  <a:pt x="1629" y="556"/>
                </a:cubicBezTo>
                <a:cubicBezTo>
                  <a:pt x="1627" y="554"/>
                  <a:pt x="1627" y="554"/>
                  <a:pt x="1627" y="554"/>
                </a:cubicBezTo>
                <a:cubicBezTo>
                  <a:pt x="1622" y="552"/>
                  <a:pt x="1622" y="552"/>
                  <a:pt x="1622" y="552"/>
                </a:cubicBezTo>
                <a:cubicBezTo>
                  <a:pt x="1621" y="550"/>
                  <a:pt x="1621" y="550"/>
                  <a:pt x="1621" y="550"/>
                </a:cubicBezTo>
                <a:cubicBezTo>
                  <a:pt x="1621" y="547"/>
                  <a:pt x="1621" y="547"/>
                  <a:pt x="1621" y="547"/>
                </a:cubicBezTo>
                <a:cubicBezTo>
                  <a:pt x="1620" y="545"/>
                  <a:pt x="1620" y="545"/>
                  <a:pt x="1620" y="545"/>
                </a:cubicBezTo>
                <a:cubicBezTo>
                  <a:pt x="1621" y="544"/>
                  <a:pt x="1621" y="544"/>
                  <a:pt x="1621" y="544"/>
                </a:cubicBezTo>
                <a:cubicBezTo>
                  <a:pt x="1622" y="542"/>
                  <a:pt x="1622" y="542"/>
                  <a:pt x="1622" y="542"/>
                </a:cubicBezTo>
                <a:cubicBezTo>
                  <a:pt x="1621" y="540"/>
                  <a:pt x="1621" y="540"/>
                  <a:pt x="1621" y="540"/>
                </a:cubicBezTo>
                <a:cubicBezTo>
                  <a:pt x="1620" y="538"/>
                  <a:pt x="1620" y="538"/>
                  <a:pt x="1620" y="538"/>
                </a:cubicBezTo>
                <a:cubicBezTo>
                  <a:pt x="1621" y="536"/>
                  <a:pt x="1621" y="536"/>
                  <a:pt x="1621" y="536"/>
                </a:cubicBezTo>
                <a:cubicBezTo>
                  <a:pt x="1623" y="536"/>
                  <a:pt x="1623" y="536"/>
                  <a:pt x="1623" y="536"/>
                </a:cubicBezTo>
                <a:cubicBezTo>
                  <a:pt x="1625" y="534"/>
                  <a:pt x="1625" y="534"/>
                  <a:pt x="1625" y="534"/>
                </a:cubicBezTo>
                <a:cubicBezTo>
                  <a:pt x="1627" y="534"/>
                  <a:pt x="1627" y="534"/>
                  <a:pt x="1627" y="534"/>
                </a:cubicBezTo>
                <a:cubicBezTo>
                  <a:pt x="1629" y="533"/>
                  <a:pt x="1629" y="533"/>
                  <a:pt x="1629" y="533"/>
                </a:cubicBezTo>
                <a:cubicBezTo>
                  <a:pt x="1630" y="532"/>
                  <a:pt x="1630" y="532"/>
                  <a:pt x="1630" y="532"/>
                </a:cubicBezTo>
                <a:cubicBezTo>
                  <a:pt x="1632" y="533"/>
                  <a:pt x="1632" y="533"/>
                  <a:pt x="1632" y="533"/>
                </a:cubicBezTo>
                <a:cubicBezTo>
                  <a:pt x="1632" y="533"/>
                  <a:pt x="1632" y="533"/>
                  <a:pt x="1632" y="533"/>
                </a:cubicBezTo>
                <a:cubicBezTo>
                  <a:pt x="1634" y="534"/>
                  <a:pt x="1634" y="534"/>
                  <a:pt x="1634" y="534"/>
                </a:cubicBezTo>
                <a:cubicBezTo>
                  <a:pt x="1634" y="535"/>
                  <a:pt x="1634" y="535"/>
                  <a:pt x="1634" y="535"/>
                </a:cubicBezTo>
                <a:cubicBezTo>
                  <a:pt x="1633" y="536"/>
                  <a:pt x="1633" y="536"/>
                  <a:pt x="1633" y="536"/>
                </a:cubicBezTo>
                <a:cubicBezTo>
                  <a:pt x="1633" y="537"/>
                  <a:pt x="1633" y="537"/>
                  <a:pt x="1633" y="537"/>
                </a:cubicBezTo>
                <a:cubicBezTo>
                  <a:pt x="1633" y="538"/>
                  <a:pt x="1633" y="538"/>
                  <a:pt x="1633" y="538"/>
                </a:cubicBezTo>
                <a:cubicBezTo>
                  <a:pt x="1633" y="542"/>
                  <a:pt x="1633" y="542"/>
                  <a:pt x="1633" y="542"/>
                </a:cubicBezTo>
                <a:cubicBezTo>
                  <a:pt x="1635" y="544"/>
                  <a:pt x="1635" y="544"/>
                  <a:pt x="1635" y="544"/>
                </a:cubicBezTo>
                <a:cubicBezTo>
                  <a:pt x="1635" y="544"/>
                  <a:pt x="1635" y="544"/>
                  <a:pt x="1635" y="544"/>
                </a:cubicBezTo>
                <a:cubicBezTo>
                  <a:pt x="1636" y="545"/>
                  <a:pt x="1636" y="545"/>
                  <a:pt x="1636" y="545"/>
                </a:cubicBezTo>
                <a:cubicBezTo>
                  <a:pt x="1639" y="541"/>
                  <a:pt x="1639" y="541"/>
                  <a:pt x="1639" y="541"/>
                </a:cubicBezTo>
                <a:cubicBezTo>
                  <a:pt x="1639" y="539"/>
                  <a:pt x="1639" y="539"/>
                  <a:pt x="1639" y="539"/>
                </a:cubicBezTo>
                <a:cubicBezTo>
                  <a:pt x="1641" y="537"/>
                  <a:pt x="1641" y="537"/>
                  <a:pt x="1641" y="537"/>
                </a:cubicBezTo>
                <a:cubicBezTo>
                  <a:pt x="1643" y="537"/>
                  <a:pt x="1643" y="537"/>
                  <a:pt x="1643" y="537"/>
                </a:cubicBezTo>
                <a:cubicBezTo>
                  <a:pt x="1643" y="539"/>
                  <a:pt x="1643" y="539"/>
                  <a:pt x="1643" y="539"/>
                </a:cubicBezTo>
                <a:cubicBezTo>
                  <a:pt x="1645" y="541"/>
                  <a:pt x="1645" y="541"/>
                  <a:pt x="1645" y="541"/>
                </a:cubicBezTo>
                <a:cubicBezTo>
                  <a:pt x="1646" y="544"/>
                  <a:pt x="1646" y="544"/>
                  <a:pt x="1646" y="544"/>
                </a:cubicBezTo>
                <a:cubicBezTo>
                  <a:pt x="1648" y="547"/>
                  <a:pt x="1648" y="547"/>
                  <a:pt x="1648" y="547"/>
                </a:cubicBezTo>
                <a:cubicBezTo>
                  <a:pt x="1651" y="550"/>
                  <a:pt x="1651" y="550"/>
                  <a:pt x="1651" y="550"/>
                </a:cubicBezTo>
                <a:cubicBezTo>
                  <a:pt x="1651" y="550"/>
                  <a:pt x="1651" y="550"/>
                  <a:pt x="1651" y="550"/>
                </a:cubicBezTo>
                <a:cubicBezTo>
                  <a:pt x="1653" y="552"/>
                  <a:pt x="1653" y="552"/>
                  <a:pt x="1653" y="552"/>
                </a:cubicBezTo>
                <a:cubicBezTo>
                  <a:pt x="1652" y="551"/>
                  <a:pt x="1652" y="551"/>
                  <a:pt x="1652" y="551"/>
                </a:cubicBezTo>
                <a:cubicBezTo>
                  <a:pt x="1650" y="551"/>
                  <a:pt x="1650" y="551"/>
                  <a:pt x="1650" y="551"/>
                </a:cubicBezTo>
                <a:cubicBezTo>
                  <a:pt x="1649" y="553"/>
                  <a:pt x="1649" y="553"/>
                  <a:pt x="1649" y="553"/>
                </a:cubicBezTo>
                <a:cubicBezTo>
                  <a:pt x="1650" y="555"/>
                  <a:pt x="1650" y="555"/>
                  <a:pt x="1650" y="555"/>
                </a:cubicBezTo>
                <a:cubicBezTo>
                  <a:pt x="1652" y="555"/>
                  <a:pt x="1652" y="555"/>
                  <a:pt x="1652" y="555"/>
                </a:cubicBezTo>
                <a:cubicBezTo>
                  <a:pt x="1654" y="557"/>
                  <a:pt x="1654" y="557"/>
                  <a:pt x="1654" y="557"/>
                </a:cubicBezTo>
                <a:cubicBezTo>
                  <a:pt x="1657" y="558"/>
                  <a:pt x="1657" y="558"/>
                  <a:pt x="1657" y="558"/>
                </a:cubicBezTo>
                <a:cubicBezTo>
                  <a:pt x="1657" y="559"/>
                  <a:pt x="1657" y="559"/>
                  <a:pt x="1657" y="559"/>
                </a:cubicBezTo>
                <a:cubicBezTo>
                  <a:pt x="1659" y="561"/>
                  <a:pt x="1659" y="561"/>
                  <a:pt x="1659" y="561"/>
                </a:cubicBezTo>
                <a:cubicBezTo>
                  <a:pt x="1661" y="560"/>
                  <a:pt x="1661" y="560"/>
                  <a:pt x="1661" y="560"/>
                </a:cubicBezTo>
                <a:cubicBezTo>
                  <a:pt x="1665" y="561"/>
                  <a:pt x="1665" y="561"/>
                  <a:pt x="1665" y="561"/>
                </a:cubicBezTo>
                <a:cubicBezTo>
                  <a:pt x="1668" y="562"/>
                  <a:pt x="1668" y="562"/>
                  <a:pt x="1668" y="562"/>
                </a:cubicBezTo>
                <a:cubicBezTo>
                  <a:pt x="1673" y="567"/>
                  <a:pt x="1673" y="567"/>
                  <a:pt x="1673" y="567"/>
                </a:cubicBezTo>
                <a:cubicBezTo>
                  <a:pt x="1671" y="567"/>
                  <a:pt x="1671" y="567"/>
                  <a:pt x="1671" y="567"/>
                </a:cubicBezTo>
                <a:cubicBezTo>
                  <a:pt x="1669" y="566"/>
                  <a:pt x="1669" y="566"/>
                  <a:pt x="1669" y="566"/>
                </a:cubicBezTo>
                <a:cubicBezTo>
                  <a:pt x="1670" y="567"/>
                  <a:pt x="1670" y="567"/>
                  <a:pt x="1670" y="567"/>
                </a:cubicBezTo>
                <a:cubicBezTo>
                  <a:pt x="1672" y="568"/>
                  <a:pt x="1672" y="568"/>
                  <a:pt x="1672" y="568"/>
                </a:cubicBezTo>
                <a:cubicBezTo>
                  <a:pt x="1674" y="568"/>
                  <a:pt x="1674" y="568"/>
                  <a:pt x="1674" y="568"/>
                </a:cubicBezTo>
                <a:cubicBezTo>
                  <a:pt x="1677" y="569"/>
                  <a:pt x="1677" y="569"/>
                  <a:pt x="1677" y="569"/>
                </a:cubicBezTo>
                <a:cubicBezTo>
                  <a:pt x="1678" y="568"/>
                  <a:pt x="1678" y="568"/>
                  <a:pt x="1678" y="568"/>
                </a:cubicBezTo>
                <a:cubicBezTo>
                  <a:pt x="1681" y="571"/>
                  <a:pt x="1681" y="571"/>
                  <a:pt x="1681" y="571"/>
                </a:cubicBezTo>
                <a:cubicBezTo>
                  <a:pt x="1681" y="572"/>
                  <a:pt x="1681" y="572"/>
                  <a:pt x="1681" y="572"/>
                </a:cubicBezTo>
                <a:cubicBezTo>
                  <a:pt x="1683" y="573"/>
                  <a:pt x="1683" y="573"/>
                  <a:pt x="1683" y="573"/>
                </a:cubicBezTo>
                <a:cubicBezTo>
                  <a:pt x="1687" y="578"/>
                  <a:pt x="1687" y="578"/>
                  <a:pt x="1687" y="578"/>
                </a:cubicBezTo>
                <a:cubicBezTo>
                  <a:pt x="1687" y="579"/>
                  <a:pt x="1687" y="579"/>
                  <a:pt x="1687" y="579"/>
                </a:cubicBezTo>
                <a:cubicBezTo>
                  <a:pt x="1690" y="580"/>
                  <a:pt x="1690" y="580"/>
                  <a:pt x="1690" y="580"/>
                </a:cubicBezTo>
                <a:cubicBezTo>
                  <a:pt x="1693" y="582"/>
                  <a:pt x="1693" y="582"/>
                  <a:pt x="1693" y="582"/>
                </a:cubicBezTo>
                <a:cubicBezTo>
                  <a:pt x="1692" y="583"/>
                  <a:pt x="1692" y="583"/>
                  <a:pt x="1692" y="583"/>
                </a:cubicBezTo>
                <a:cubicBezTo>
                  <a:pt x="1691" y="584"/>
                  <a:pt x="1691" y="584"/>
                  <a:pt x="1691" y="584"/>
                </a:cubicBezTo>
                <a:cubicBezTo>
                  <a:pt x="1690" y="588"/>
                  <a:pt x="1690" y="588"/>
                  <a:pt x="1690" y="588"/>
                </a:cubicBezTo>
                <a:cubicBezTo>
                  <a:pt x="1692" y="591"/>
                  <a:pt x="1692" y="591"/>
                  <a:pt x="1692" y="591"/>
                </a:cubicBezTo>
                <a:cubicBezTo>
                  <a:pt x="1691" y="593"/>
                  <a:pt x="1691" y="593"/>
                  <a:pt x="1691" y="593"/>
                </a:cubicBezTo>
                <a:cubicBezTo>
                  <a:pt x="1691" y="596"/>
                  <a:pt x="1691" y="596"/>
                  <a:pt x="1691" y="596"/>
                </a:cubicBezTo>
                <a:cubicBezTo>
                  <a:pt x="1692" y="598"/>
                  <a:pt x="1692" y="598"/>
                  <a:pt x="1692" y="598"/>
                </a:cubicBezTo>
                <a:cubicBezTo>
                  <a:pt x="1691" y="600"/>
                  <a:pt x="1691" y="600"/>
                  <a:pt x="1691" y="600"/>
                </a:cubicBezTo>
                <a:cubicBezTo>
                  <a:pt x="1692" y="601"/>
                  <a:pt x="1692" y="601"/>
                  <a:pt x="1692" y="601"/>
                </a:cubicBezTo>
                <a:cubicBezTo>
                  <a:pt x="1696" y="601"/>
                  <a:pt x="1696" y="601"/>
                  <a:pt x="1696" y="601"/>
                </a:cubicBezTo>
                <a:cubicBezTo>
                  <a:pt x="1698" y="606"/>
                  <a:pt x="1698" y="606"/>
                  <a:pt x="1698" y="606"/>
                </a:cubicBezTo>
                <a:cubicBezTo>
                  <a:pt x="1699" y="607"/>
                  <a:pt x="1699" y="607"/>
                  <a:pt x="1699" y="607"/>
                </a:cubicBezTo>
                <a:cubicBezTo>
                  <a:pt x="1700" y="608"/>
                  <a:pt x="1700" y="608"/>
                  <a:pt x="1700" y="608"/>
                </a:cubicBezTo>
                <a:cubicBezTo>
                  <a:pt x="1700" y="611"/>
                  <a:pt x="1700" y="611"/>
                  <a:pt x="1700" y="611"/>
                </a:cubicBezTo>
                <a:cubicBezTo>
                  <a:pt x="1703" y="613"/>
                  <a:pt x="1703" y="613"/>
                  <a:pt x="1703" y="613"/>
                </a:cubicBezTo>
                <a:cubicBezTo>
                  <a:pt x="1705" y="616"/>
                  <a:pt x="1705" y="616"/>
                  <a:pt x="1705" y="616"/>
                </a:cubicBezTo>
                <a:cubicBezTo>
                  <a:pt x="1706" y="616"/>
                  <a:pt x="1706" y="616"/>
                  <a:pt x="1706" y="616"/>
                </a:cubicBezTo>
                <a:cubicBezTo>
                  <a:pt x="1706" y="617"/>
                  <a:pt x="1706" y="617"/>
                  <a:pt x="1706" y="617"/>
                </a:cubicBezTo>
                <a:cubicBezTo>
                  <a:pt x="1709" y="621"/>
                  <a:pt x="1709" y="621"/>
                  <a:pt x="1709" y="621"/>
                </a:cubicBezTo>
                <a:cubicBezTo>
                  <a:pt x="1710" y="624"/>
                  <a:pt x="1710" y="624"/>
                  <a:pt x="1710" y="624"/>
                </a:cubicBezTo>
                <a:cubicBezTo>
                  <a:pt x="1711" y="625"/>
                  <a:pt x="1711" y="625"/>
                  <a:pt x="1711" y="625"/>
                </a:cubicBezTo>
                <a:cubicBezTo>
                  <a:pt x="1713" y="623"/>
                  <a:pt x="1713" y="623"/>
                  <a:pt x="1713" y="623"/>
                </a:cubicBezTo>
                <a:cubicBezTo>
                  <a:pt x="1714" y="625"/>
                  <a:pt x="1714" y="625"/>
                  <a:pt x="1714" y="625"/>
                </a:cubicBezTo>
                <a:cubicBezTo>
                  <a:pt x="1717" y="625"/>
                  <a:pt x="1717" y="625"/>
                  <a:pt x="1717" y="625"/>
                </a:cubicBezTo>
                <a:cubicBezTo>
                  <a:pt x="1718" y="623"/>
                  <a:pt x="1718" y="623"/>
                  <a:pt x="1718" y="623"/>
                </a:cubicBezTo>
                <a:cubicBezTo>
                  <a:pt x="1719" y="623"/>
                  <a:pt x="1719" y="623"/>
                  <a:pt x="1719" y="623"/>
                </a:cubicBezTo>
                <a:cubicBezTo>
                  <a:pt x="1722" y="625"/>
                  <a:pt x="1722" y="625"/>
                  <a:pt x="1722" y="625"/>
                </a:cubicBezTo>
                <a:cubicBezTo>
                  <a:pt x="1724" y="624"/>
                  <a:pt x="1724" y="624"/>
                  <a:pt x="1724" y="624"/>
                </a:cubicBezTo>
                <a:cubicBezTo>
                  <a:pt x="1724" y="626"/>
                  <a:pt x="1724" y="626"/>
                  <a:pt x="1724" y="626"/>
                </a:cubicBezTo>
                <a:cubicBezTo>
                  <a:pt x="1725" y="626"/>
                  <a:pt x="1725" y="626"/>
                  <a:pt x="1725" y="626"/>
                </a:cubicBezTo>
                <a:cubicBezTo>
                  <a:pt x="1726" y="626"/>
                  <a:pt x="1726" y="626"/>
                  <a:pt x="1726" y="626"/>
                </a:cubicBezTo>
                <a:cubicBezTo>
                  <a:pt x="1728" y="627"/>
                  <a:pt x="1728" y="627"/>
                  <a:pt x="1728" y="627"/>
                </a:cubicBezTo>
                <a:cubicBezTo>
                  <a:pt x="1727" y="628"/>
                  <a:pt x="1727" y="628"/>
                  <a:pt x="1727" y="628"/>
                </a:cubicBezTo>
                <a:cubicBezTo>
                  <a:pt x="1726" y="629"/>
                  <a:pt x="1726" y="629"/>
                  <a:pt x="1726" y="629"/>
                </a:cubicBezTo>
                <a:cubicBezTo>
                  <a:pt x="1724" y="628"/>
                  <a:pt x="1724" y="628"/>
                  <a:pt x="1724" y="628"/>
                </a:cubicBezTo>
                <a:cubicBezTo>
                  <a:pt x="1722" y="628"/>
                  <a:pt x="1722" y="628"/>
                  <a:pt x="1722" y="628"/>
                </a:cubicBezTo>
                <a:cubicBezTo>
                  <a:pt x="1718" y="625"/>
                  <a:pt x="1718" y="625"/>
                  <a:pt x="1718" y="625"/>
                </a:cubicBezTo>
                <a:cubicBezTo>
                  <a:pt x="1717" y="626"/>
                  <a:pt x="1717" y="626"/>
                  <a:pt x="1717" y="626"/>
                </a:cubicBezTo>
                <a:cubicBezTo>
                  <a:pt x="1715" y="627"/>
                  <a:pt x="1715" y="627"/>
                  <a:pt x="1715" y="627"/>
                </a:cubicBezTo>
                <a:cubicBezTo>
                  <a:pt x="1713" y="626"/>
                  <a:pt x="1713" y="626"/>
                  <a:pt x="1713" y="626"/>
                </a:cubicBezTo>
                <a:cubicBezTo>
                  <a:pt x="1712" y="628"/>
                  <a:pt x="1712" y="628"/>
                  <a:pt x="1712" y="628"/>
                </a:cubicBezTo>
                <a:cubicBezTo>
                  <a:pt x="1711" y="628"/>
                  <a:pt x="1711" y="628"/>
                  <a:pt x="1711" y="628"/>
                </a:cubicBezTo>
                <a:cubicBezTo>
                  <a:pt x="1710" y="630"/>
                  <a:pt x="1710" y="630"/>
                  <a:pt x="1710" y="630"/>
                </a:cubicBezTo>
                <a:cubicBezTo>
                  <a:pt x="1712" y="632"/>
                  <a:pt x="1712" y="632"/>
                  <a:pt x="1712" y="632"/>
                </a:cubicBezTo>
                <a:cubicBezTo>
                  <a:pt x="1714" y="633"/>
                  <a:pt x="1714" y="633"/>
                  <a:pt x="1714" y="633"/>
                </a:cubicBezTo>
                <a:cubicBezTo>
                  <a:pt x="1716" y="635"/>
                  <a:pt x="1716" y="635"/>
                  <a:pt x="1716" y="635"/>
                </a:cubicBezTo>
                <a:cubicBezTo>
                  <a:pt x="1717" y="637"/>
                  <a:pt x="1717" y="637"/>
                  <a:pt x="1717" y="637"/>
                </a:cubicBezTo>
                <a:cubicBezTo>
                  <a:pt x="1716" y="638"/>
                  <a:pt x="1716" y="638"/>
                  <a:pt x="1716" y="638"/>
                </a:cubicBezTo>
                <a:cubicBezTo>
                  <a:pt x="1716" y="639"/>
                  <a:pt x="1716" y="639"/>
                  <a:pt x="1716" y="639"/>
                </a:cubicBezTo>
                <a:cubicBezTo>
                  <a:pt x="1718" y="642"/>
                  <a:pt x="1718" y="642"/>
                  <a:pt x="1718" y="642"/>
                </a:cubicBezTo>
                <a:cubicBezTo>
                  <a:pt x="1719" y="643"/>
                  <a:pt x="1719" y="643"/>
                  <a:pt x="1719" y="643"/>
                </a:cubicBezTo>
                <a:cubicBezTo>
                  <a:pt x="1720" y="642"/>
                  <a:pt x="1720" y="642"/>
                  <a:pt x="1720" y="642"/>
                </a:cubicBezTo>
                <a:cubicBezTo>
                  <a:pt x="1719" y="641"/>
                  <a:pt x="1719" y="641"/>
                  <a:pt x="1719" y="641"/>
                </a:cubicBezTo>
                <a:cubicBezTo>
                  <a:pt x="1720" y="639"/>
                  <a:pt x="1720" y="639"/>
                  <a:pt x="1720" y="639"/>
                </a:cubicBezTo>
                <a:cubicBezTo>
                  <a:pt x="1721" y="641"/>
                  <a:pt x="1721" y="641"/>
                  <a:pt x="1721" y="641"/>
                </a:cubicBezTo>
                <a:cubicBezTo>
                  <a:pt x="1723" y="643"/>
                  <a:pt x="1723" y="643"/>
                  <a:pt x="1723" y="643"/>
                </a:cubicBezTo>
                <a:cubicBezTo>
                  <a:pt x="1724" y="644"/>
                  <a:pt x="1724" y="644"/>
                  <a:pt x="1724" y="644"/>
                </a:cubicBezTo>
                <a:cubicBezTo>
                  <a:pt x="1723" y="646"/>
                  <a:pt x="1723" y="646"/>
                  <a:pt x="1723" y="646"/>
                </a:cubicBezTo>
                <a:cubicBezTo>
                  <a:pt x="1725" y="647"/>
                  <a:pt x="1725" y="647"/>
                  <a:pt x="1725" y="647"/>
                </a:cubicBezTo>
                <a:cubicBezTo>
                  <a:pt x="1725" y="644"/>
                  <a:pt x="1725" y="644"/>
                  <a:pt x="1725" y="644"/>
                </a:cubicBezTo>
                <a:cubicBezTo>
                  <a:pt x="1726" y="642"/>
                  <a:pt x="1726" y="642"/>
                  <a:pt x="1726" y="642"/>
                </a:cubicBezTo>
                <a:cubicBezTo>
                  <a:pt x="1727" y="642"/>
                  <a:pt x="1727" y="642"/>
                  <a:pt x="1727" y="642"/>
                </a:cubicBezTo>
                <a:cubicBezTo>
                  <a:pt x="1728" y="644"/>
                  <a:pt x="1728" y="644"/>
                  <a:pt x="1728" y="644"/>
                </a:cubicBezTo>
                <a:cubicBezTo>
                  <a:pt x="1731" y="646"/>
                  <a:pt x="1731" y="646"/>
                  <a:pt x="1731" y="646"/>
                </a:cubicBezTo>
                <a:cubicBezTo>
                  <a:pt x="1730" y="644"/>
                  <a:pt x="1730" y="644"/>
                  <a:pt x="1730" y="644"/>
                </a:cubicBezTo>
                <a:cubicBezTo>
                  <a:pt x="1730" y="642"/>
                  <a:pt x="1730" y="642"/>
                  <a:pt x="1730" y="642"/>
                </a:cubicBezTo>
                <a:cubicBezTo>
                  <a:pt x="1729" y="640"/>
                  <a:pt x="1729" y="640"/>
                  <a:pt x="1729" y="640"/>
                </a:cubicBezTo>
                <a:cubicBezTo>
                  <a:pt x="1728" y="637"/>
                  <a:pt x="1728" y="637"/>
                  <a:pt x="1728" y="637"/>
                </a:cubicBezTo>
                <a:cubicBezTo>
                  <a:pt x="1726" y="635"/>
                  <a:pt x="1726" y="635"/>
                  <a:pt x="1726" y="635"/>
                </a:cubicBezTo>
                <a:cubicBezTo>
                  <a:pt x="1727" y="634"/>
                  <a:pt x="1727" y="634"/>
                  <a:pt x="1727" y="634"/>
                </a:cubicBezTo>
                <a:cubicBezTo>
                  <a:pt x="1728" y="634"/>
                  <a:pt x="1728" y="634"/>
                  <a:pt x="1728" y="634"/>
                </a:cubicBezTo>
                <a:cubicBezTo>
                  <a:pt x="1730" y="635"/>
                  <a:pt x="1730" y="635"/>
                  <a:pt x="1730" y="635"/>
                </a:cubicBezTo>
                <a:cubicBezTo>
                  <a:pt x="1729" y="636"/>
                  <a:pt x="1729" y="636"/>
                  <a:pt x="1729" y="636"/>
                </a:cubicBezTo>
                <a:cubicBezTo>
                  <a:pt x="1730" y="637"/>
                  <a:pt x="1730" y="637"/>
                  <a:pt x="1730" y="637"/>
                </a:cubicBezTo>
                <a:cubicBezTo>
                  <a:pt x="1731" y="636"/>
                  <a:pt x="1731" y="636"/>
                  <a:pt x="1731" y="636"/>
                </a:cubicBezTo>
                <a:cubicBezTo>
                  <a:pt x="1733" y="636"/>
                  <a:pt x="1733" y="636"/>
                  <a:pt x="1733" y="636"/>
                </a:cubicBezTo>
                <a:cubicBezTo>
                  <a:pt x="1733" y="636"/>
                  <a:pt x="1733" y="636"/>
                  <a:pt x="1733" y="636"/>
                </a:cubicBezTo>
                <a:cubicBezTo>
                  <a:pt x="1733" y="635"/>
                  <a:pt x="1733" y="635"/>
                  <a:pt x="1733" y="635"/>
                </a:cubicBezTo>
                <a:cubicBezTo>
                  <a:pt x="1732" y="634"/>
                  <a:pt x="1732" y="634"/>
                  <a:pt x="1732" y="634"/>
                </a:cubicBezTo>
                <a:cubicBezTo>
                  <a:pt x="1732" y="634"/>
                  <a:pt x="1732" y="634"/>
                  <a:pt x="1732" y="634"/>
                </a:cubicBezTo>
                <a:cubicBezTo>
                  <a:pt x="1730" y="633"/>
                  <a:pt x="1730" y="633"/>
                  <a:pt x="1730" y="633"/>
                </a:cubicBezTo>
                <a:cubicBezTo>
                  <a:pt x="1730" y="632"/>
                  <a:pt x="1730" y="632"/>
                  <a:pt x="1730" y="632"/>
                </a:cubicBezTo>
                <a:cubicBezTo>
                  <a:pt x="1728" y="630"/>
                  <a:pt x="1728" y="630"/>
                  <a:pt x="1728" y="630"/>
                </a:cubicBezTo>
                <a:cubicBezTo>
                  <a:pt x="1730" y="630"/>
                  <a:pt x="1730" y="630"/>
                  <a:pt x="1730" y="630"/>
                </a:cubicBezTo>
                <a:cubicBezTo>
                  <a:pt x="1732" y="630"/>
                  <a:pt x="1732" y="630"/>
                  <a:pt x="1732" y="630"/>
                </a:cubicBezTo>
                <a:cubicBezTo>
                  <a:pt x="1733" y="629"/>
                  <a:pt x="1733" y="629"/>
                  <a:pt x="1733" y="629"/>
                </a:cubicBezTo>
                <a:cubicBezTo>
                  <a:pt x="1736" y="631"/>
                  <a:pt x="1736" y="631"/>
                  <a:pt x="1736" y="631"/>
                </a:cubicBezTo>
                <a:cubicBezTo>
                  <a:pt x="1736" y="631"/>
                  <a:pt x="1736" y="631"/>
                  <a:pt x="1736" y="631"/>
                </a:cubicBezTo>
                <a:cubicBezTo>
                  <a:pt x="1738" y="632"/>
                  <a:pt x="1738" y="632"/>
                  <a:pt x="1738" y="632"/>
                </a:cubicBezTo>
                <a:cubicBezTo>
                  <a:pt x="1738" y="631"/>
                  <a:pt x="1738" y="631"/>
                  <a:pt x="1738" y="631"/>
                </a:cubicBezTo>
                <a:cubicBezTo>
                  <a:pt x="1737" y="628"/>
                  <a:pt x="1737" y="628"/>
                  <a:pt x="1737" y="628"/>
                </a:cubicBezTo>
                <a:cubicBezTo>
                  <a:pt x="1737" y="626"/>
                  <a:pt x="1737" y="626"/>
                  <a:pt x="1737" y="626"/>
                </a:cubicBezTo>
                <a:cubicBezTo>
                  <a:pt x="1736" y="624"/>
                  <a:pt x="1736" y="624"/>
                  <a:pt x="1736" y="624"/>
                </a:cubicBezTo>
                <a:cubicBezTo>
                  <a:pt x="1732" y="622"/>
                  <a:pt x="1732" y="622"/>
                  <a:pt x="1732" y="622"/>
                </a:cubicBezTo>
                <a:cubicBezTo>
                  <a:pt x="1730" y="621"/>
                  <a:pt x="1730" y="621"/>
                  <a:pt x="1730" y="621"/>
                </a:cubicBezTo>
                <a:cubicBezTo>
                  <a:pt x="1730" y="620"/>
                  <a:pt x="1730" y="620"/>
                  <a:pt x="1730" y="620"/>
                </a:cubicBezTo>
                <a:cubicBezTo>
                  <a:pt x="1728" y="620"/>
                  <a:pt x="1728" y="620"/>
                  <a:pt x="1728" y="620"/>
                </a:cubicBezTo>
                <a:cubicBezTo>
                  <a:pt x="1727" y="619"/>
                  <a:pt x="1727" y="619"/>
                  <a:pt x="1727" y="619"/>
                </a:cubicBezTo>
                <a:cubicBezTo>
                  <a:pt x="1725" y="619"/>
                  <a:pt x="1725" y="619"/>
                  <a:pt x="1725" y="619"/>
                </a:cubicBezTo>
                <a:cubicBezTo>
                  <a:pt x="1723" y="617"/>
                  <a:pt x="1723" y="617"/>
                  <a:pt x="1723" y="617"/>
                </a:cubicBezTo>
                <a:cubicBezTo>
                  <a:pt x="1726" y="617"/>
                  <a:pt x="1726" y="617"/>
                  <a:pt x="1726" y="617"/>
                </a:cubicBezTo>
                <a:cubicBezTo>
                  <a:pt x="1727" y="615"/>
                  <a:pt x="1727" y="615"/>
                  <a:pt x="1727" y="615"/>
                </a:cubicBezTo>
                <a:cubicBezTo>
                  <a:pt x="1727" y="614"/>
                  <a:pt x="1727" y="614"/>
                  <a:pt x="1727" y="614"/>
                </a:cubicBezTo>
                <a:cubicBezTo>
                  <a:pt x="1725" y="614"/>
                  <a:pt x="1725" y="614"/>
                  <a:pt x="1725" y="614"/>
                </a:cubicBezTo>
                <a:cubicBezTo>
                  <a:pt x="1726" y="612"/>
                  <a:pt x="1726" y="612"/>
                  <a:pt x="1726" y="612"/>
                </a:cubicBezTo>
                <a:cubicBezTo>
                  <a:pt x="1726" y="611"/>
                  <a:pt x="1726" y="611"/>
                  <a:pt x="1726" y="611"/>
                </a:cubicBezTo>
                <a:cubicBezTo>
                  <a:pt x="1727" y="612"/>
                  <a:pt x="1727" y="612"/>
                  <a:pt x="1727" y="612"/>
                </a:cubicBezTo>
                <a:cubicBezTo>
                  <a:pt x="1729" y="613"/>
                  <a:pt x="1729" y="613"/>
                  <a:pt x="1729" y="613"/>
                </a:cubicBezTo>
                <a:cubicBezTo>
                  <a:pt x="1728" y="614"/>
                  <a:pt x="1728" y="614"/>
                  <a:pt x="1728" y="614"/>
                </a:cubicBezTo>
                <a:cubicBezTo>
                  <a:pt x="1728" y="615"/>
                  <a:pt x="1728" y="615"/>
                  <a:pt x="1728" y="615"/>
                </a:cubicBezTo>
                <a:cubicBezTo>
                  <a:pt x="1729" y="615"/>
                  <a:pt x="1729" y="615"/>
                  <a:pt x="1729" y="615"/>
                </a:cubicBezTo>
                <a:cubicBezTo>
                  <a:pt x="1730" y="612"/>
                  <a:pt x="1730" y="612"/>
                  <a:pt x="1730" y="612"/>
                </a:cubicBezTo>
                <a:cubicBezTo>
                  <a:pt x="1729" y="611"/>
                  <a:pt x="1729" y="611"/>
                  <a:pt x="1729" y="611"/>
                </a:cubicBezTo>
                <a:cubicBezTo>
                  <a:pt x="1726" y="607"/>
                  <a:pt x="1726" y="607"/>
                  <a:pt x="1726" y="607"/>
                </a:cubicBezTo>
                <a:cubicBezTo>
                  <a:pt x="1724" y="606"/>
                  <a:pt x="1724" y="606"/>
                  <a:pt x="1724" y="606"/>
                </a:cubicBezTo>
                <a:cubicBezTo>
                  <a:pt x="1724" y="605"/>
                  <a:pt x="1724" y="605"/>
                  <a:pt x="1724" y="605"/>
                </a:cubicBezTo>
                <a:cubicBezTo>
                  <a:pt x="1722" y="603"/>
                  <a:pt x="1722" y="603"/>
                  <a:pt x="1722" y="603"/>
                </a:cubicBezTo>
                <a:cubicBezTo>
                  <a:pt x="1722" y="602"/>
                  <a:pt x="1722" y="602"/>
                  <a:pt x="1722" y="602"/>
                </a:cubicBezTo>
                <a:cubicBezTo>
                  <a:pt x="1722" y="598"/>
                  <a:pt x="1722" y="598"/>
                  <a:pt x="1722" y="598"/>
                </a:cubicBezTo>
                <a:cubicBezTo>
                  <a:pt x="1723" y="595"/>
                  <a:pt x="1723" y="595"/>
                  <a:pt x="1723" y="595"/>
                </a:cubicBezTo>
                <a:cubicBezTo>
                  <a:pt x="1726" y="595"/>
                  <a:pt x="1726" y="595"/>
                  <a:pt x="1726" y="595"/>
                </a:cubicBezTo>
                <a:cubicBezTo>
                  <a:pt x="1726" y="597"/>
                  <a:pt x="1726" y="597"/>
                  <a:pt x="1726" y="597"/>
                </a:cubicBezTo>
                <a:cubicBezTo>
                  <a:pt x="1725" y="597"/>
                  <a:pt x="1725" y="597"/>
                  <a:pt x="1725" y="597"/>
                </a:cubicBezTo>
                <a:cubicBezTo>
                  <a:pt x="1725" y="598"/>
                  <a:pt x="1725" y="598"/>
                  <a:pt x="1725" y="598"/>
                </a:cubicBezTo>
                <a:cubicBezTo>
                  <a:pt x="1728" y="599"/>
                  <a:pt x="1728" y="599"/>
                  <a:pt x="1728" y="599"/>
                </a:cubicBezTo>
                <a:cubicBezTo>
                  <a:pt x="1729" y="602"/>
                  <a:pt x="1729" y="602"/>
                  <a:pt x="1729" y="602"/>
                </a:cubicBezTo>
                <a:cubicBezTo>
                  <a:pt x="1731" y="603"/>
                  <a:pt x="1731" y="603"/>
                  <a:pt x="1731" y="603"/>
                </a:cubicBezTo>
                <a:cubicBezTo>
                  <a:pt x="1733" y="603"/>
                  <a:pt x="1733" y="603"/>
                  <a:pt x="1733" y="603"/>
                </a:cubicBezTo>
                <a:cubicBezTo>
                  <a:pt x="1731" y="602"/>
                  <a:pt x="1731" y="602"/>
                  <a:pt x="1731" y="602"/>
                </a:cubicBezTo>
                <a:cubicBezTo>
                  <a:pt x="1730" y="601"/>
                  <a:pt x="1730" y="601"/>
                  <a:pt x="1730" y="601"/>
                </a:cubicBezTo>
                <a:cubicBezTo>
                  <a:pt x="1731" y="599"/>
                  <a:pt x="1731" y="599"/>
                  <a:pt x="1731" y="599"/>
                </a:cubicBezTo>
                <a:cubicBezTo>
                  <a:pt x="1733" y="600"/>
                  <a:pt x="1733" y="600"/>
                  <a:pt x="1733" y="600"/>
                </a:cubicBezTo>
                <a:cubicBezTo>
                  <a:pt x="1734" y="602"/>
                  <a:pt x="1734" y="602"/>
                  <a:pt x="1734" y="602"/>
                </a:cubicBezTo>
                <a:cubicBezTo>
                  <a:pt x="1736" y="603"/>
                  <a:pt x="1736" y="603"/>
                  <a:pt x="1736" y="603"/>
                </a:cubicBezTo>
                <a:cubicBezTo>
                  <a:pt x="1737" y="602"/>
                  <a:pt x="1737" y="602"/>
                  <a:pt x="1737" y="602"/>
                </a:cubicBezTo>
                <a:cubicBezTo>
                  <a:pt x="1735" y="600"/>
                  <a:pt x="1735" y="600"/>
                  <a:pt x="1735" y="600"/>
                </a:cubicBezTo>
                <a:cubicBezTo>
                  <a:pt x="1734" y="600"/>
                  <a:pt x="1734" y="600"/>
                  <a:pt x="1734" y="600"/>
                </a:cubicBezTo>
                <a:cubicBezTo>
                  <a:pt x="1734" y="599"/>
                  <a:pt x="1734" y="599"/>
                  <a:pt x="1734" y="599"/>
                </a:cubicBezTo>
                <a:cubicBezTo>
                  <a:pt x="1737" y="599"/>
                  <a:pt x="1737" y="599"/>
                  <a:pt x="1737" y="599"/>
                </a:cubicBezTo>
                <a:cubicBezTo>
                  <a:pt x="1739" y="600"/>
                  <a:pt x="1739" y="600"/>
                  <a:pt x="1739" y="600"/>
                </a:cubicBezTo>
                <a:cubicBezTo>
                  <a:pt x="1739" y="600"/>
                  <a:pt x="1739" y="600"/>
                  <a:pt x="1739" y="600"/>
                </a:cubicBezTo>
                <a:cubicBezTo>
                  <a:pt x="1737" y="598"/>
                  <a:pt x="1737" y="598"/>
                  <a:pt x="1737" y="598"/>
                </a:cubicBezTo>
                <a:cubicBezTo>
                  <a:pt x="1735" y="597"/>
                  <a:pt x="1735" y="597"/>
                  <a:pt x="1735" y="597"/>
                </a:cubicBezTo>
                <a:cubicBezTo>
                  <a:pt x="1733" y="595"/>
                  <a:pt x="1733" y="595"/>
                  <a:pt x="1733" y="595"/>
                </a:cubicBezTo>
                <a:cubicBezTo>
                  <a:pt x="1734" y="594"/>
                  <a:pt x="1734" y="594"/>
                  <a:pt x="1734" y="594"/>
                </a:cubicBezTo>
                <a:cubicBezTo>
                  <a:pt x="1736" y="595"/>
                  <a:pt x="1736" y="595"/>
                  <a:pt x="1736" y="595"/>
                </a:cubicBezTo>
                <a:cubicBezTo>
                  <a:pt x="1738" y="594"/>
                  <a:pt x="1738" y="594"/>
                  <a:pt x="1738" y="594"/>
                </a:cubicBezTo>
                <a:cubicBezTo>
                  <a:pt x="1739" y="591"/>
                  <a:pt x="1739" y="591"/>
                  <a:pt x="1739" y="591"/>
                </a:cubicBezTo>
                <a:cubicBezTo>
                  <a:pt x="1740" y="590"/>
                  <a:pt x="1740" y="590"/>
                  <a:pt x="1740" y="590"/>
                </a:cubicBezTo>
                <a:cubicBezTo>
                  <a:pt x="1742" y="592"/>
                  <a:pt x="1742" y="592"/>
                  <a:pt x="1742" y="592"/>
                </a:cubicBezTo>
                <a:cubicBezTo>
                  <a:pt x="1744" y="592"/>
                  <a:pt x="1744" y="592"/>
                  <a:pt x="1744" y="592"/>
                </a:cubicBezTo>
                <a:cubicBezTo>
                  <a:pt x="1746" y="590"/>
                  <a:pt x="1746" y="590"/>
                  <a:pt x="1746" y="590"/>
                </a:cubicBezTo>
                <a:cubicBezTo>
                  <a:pt x="1746" y="589"/>
                  <a:pt x="1746" y="589"/>
                  <a:pt x="1746" y="589"/>
                </a:cubicBezTo>
                <a:cubicBezTo>
                  <a:pt x="1747" y="589"/>
                  <a:pt x="1747" y="589"/>
                  <a:pt x="1747" y="589"/>
                </a:cubicBezTo>
                <a:cubicBezTo>
                  <a:pt x="1748" y="591"/>
                  <a:pt x="1748" y="591"/>
                  <a:pt x="1748" y="591"/>
                </a:cubicBezTo>
                <a:cubicBezTo>
                  <a:pt x="1752" y="591"/>
                  <a:pt x="1752" y="591"/>
                  <a:pt x="1752" y="591"/>
                </a:cubicBezTo>
                <a:cubicBezTo>
                  <a:pt x="1755" y="592"/>
                  <a:pt x="1755" y="592"/>
                  <a:pt x="1755" y="592"/>
                </a:cubicBezTo>
                <a:cubicBezTo>
                  <a:pt x="1756" y="592"/>
                  <a:pt x="1756" y="592"/>
                  <a:pt x="1756" y="592"/>
                </a:cubicBezTo>
                <a:cubicBezTo>
                  <a:pt x="1756" y="594"/>
                  <a:pt x="1756" y="594"/>
                  <a:pt x="1756" y="594"/>
                </a:cubicBezTo>
                <a:cubicBezTo>
                  <a:pt x="1758" y="595"/>
                  <a:pt x="1758" y="595"/>
                  <a:pt x="1758" y="595"/>
                </a:cubicBezTo>
                <a:cubicBezTo>
                  <a:pt x="1759" y="594"/>
                  <a:pt x="1759" y="594"/>
                  <a:pt x="1759" y="594"/>
                </a:cubicBezTo>
                <a:cubicBezTo>
                  <a:pt x="1760" y="595"/>
                  <a:pt x="1760" y="595"/>
                  <a:pt x="1760" y="595"/>
                </a:cubicBezTo>
                <a:cubicBezTo>
                  <a:pt x="1762" y="594"/>
                  <a:pt x="1762" y="594"/>
                  <a:pt x="1762" y="594"/>
                </a:cubicBezTo>
                <a:cubicBezTo>
                  <a:pt x="1760" y="596"/>
                  <a:pt x="1760" y="596"/>
                  <a:pt x="1760" y="596"/>
                </a:cubicBezTo>
                <a:cubicBezTo>
                  <a:pt x="1759" y="596"/>
                  <a:pt x="1759" y="596"/>
                  <a:pt x="1759" y="596"/>
                </a:cubicBezTo>
                <a:cubicBezTo>
                  <a:pt x="1758" y="599"/>
                  <a:pt x="1758" y="599"/>
                  <a:pt x="1758" y="599"/>
                </a:cubicBezTo>
                <a:cubicBezTo>
                  <a:pt x="1758" y="600"/>
                  <a:pt x="1758" y="600"/>
                  <a:pt x="1758" y="600"/>
                </a:cubicBezTo>
                <a:cubicBezTo>
                  <a:pt x="1763" y="597"/>
                  <a:pt x="1763" y="597"/>
                  <a:pt x="1763" y="597"/>
                </a:cubicBezTo>
                <a:cubicBezTo>
                  <a:pt x="1768" y="594"/>
                  <a:pt x="1768" y="594"/>
                  <a:pt x="1768" y="594"/>
                </a:cubicBezTo>
                <a:cubicBezTo>
                  <a:pt x="1769" y="591"/>
                  <a:pt x="1769" y="591"/>
                  <a:pt x="1769" y="591"/>
                </a:cubicBezTo>
                <a:cubicBezTo>
                  <a:pt x="1771" y="590"/>
                  <a:pt x="1771" y="590"/>
                  <a:pt x="1771" y="590"/>
                </a:cubicBezTo>
                <a:cubicBezTo>
                  <a:pt x="1774" y="590"/>
                  <a:pt x="1774" y="590"/>
                  <a:pt x="1774" y="590"/>
                </a:cubicBezTo>
                <a:cubicBezTo>
                  <a:pt x="1775" y="589"/>
                  <a:pt x="1775" y="589"/>
                  <a:pt x="1775" y="589"/>
                </a:cubicBezTo>
                <a:cubicBezTo>
                  <a:pt x="1778" y="589"/>
                  <a:pt x="1778" y="589"/>
                  <a:pt x="1778" y="589"/>
                </a:cubicBezTo>
                <a:cubicBezTo>
                  <a:pt x="1779" y="590"/>
                  <a:pt x="1779" y="590"/>
                  <a:pt x="1779" y="590"/>
                </a:cubicBezTo>
                <a:cubicBezTo>
                  <a:pt x="1781" y="590"/>
                  <a:pt x="1781" y="590"/>
                  <a:pt x="1781" y="590"/>
                </a:cubicBezTo>
                <a:cubicBezTo>
                  <a:pt x="1783" y="589"/>
                  <a:pt x="1783" y="589"/>
                  <a:pt x="1783" y="589"/>
                </a:cubicBezTo>
                <a:cubicBezTo>
                  <a:pt x="1783" y="587"/>
                  <a:pt x="1783" y="587"/>
                  <a:pt x="1783" y="587"/>
                </a:cubicBezTo>
                <a:cubicBezTo>
                  <a:pt x="1781" y="586"/>
                  <a:pt x="1781" y="586"/>
                  <a:pt x="1781" y="586"/>
                </a:cubicBezTo>
                <a:cubicBezTo>
                  <a:pt x="1779" y="584"/>
                  <a:pt x="1779" y="584"/>
                  <a:pt x="1779" y="584"/>
                </a:cubicBezTo>
                <a:cubicBezTo>
                  <a:pt x="1777" y="584"/>
                  <a:pt x="1777" y="584"/>
                  <a:pt x="1777" y="584"/>
                </a:cubicBezTo>
                <a:cubicBezTo>
                  <a:pt x="1774" y="581"/>
                  <a:pt x="1774" y="581"/>
                  <a:pt x="1774" y="581"/>
                </a:cubicBezTo>
                <a:cubicBezTo>
                  <a:pt x="1773" y="577"/>
                  <a:pt x="1773" y="577"/>
                  <a:pt x="1773" y="577"/>
                </a:cubicBezTo>
                <a:cubicBezTo>
                  <a:pt x="1773" y="577"/>
                  <a:pt x="1773" y="577"/>
                  <a:pt x="1773" y="577"/>
                </a:cubicBezTo>
                <a:cubicBezTo>
                  <a:pt x="1772" y="575"/>
                  <a:pt x="1772" y="575"/>
                  <a:pt x="1772" y="575"/>
                </a:cubicBezTo>
                <a:cubicBezTo>
                  <a:pt x="1770" y="572"/>
                  <a:pt x="1770" y="572"/>
                  <a:pt x="1770" y="572"/>
                </a:cubicBezTo>
                <a:cubicBezTo>
                  <a:pt x="1768" y="572"/>
                  <a:pt x="1768" y="572"/>
                  <a:pt x="1768" y="572"/>
                </a:cubicBezTo>
                <a:cubicBezTo>
                  <a:pt x="1768" y="571"/>
                  <a:pt x="1768" y="571"/>
                  <a:pt x="1768" y="571"/>
                </a:cubicBezTo>
                <a:cubicBezTo>
                  <a:pt x="1771" y="568"/>
                  <a:pt x="1771" y="568"/>
                  <a:pt x="1771" y="568"/>
                </a:cubicBezTo>
                <a:cubicBezTo>
                  <a:pt x="1771" y="566"/>
                  <a:pt x="1771" y="566"/>
                  <a:pt x="1771" y="566"/>
                </a:cubicBezTo>
                <a:cubicBezTo>
                  <a:pt x="1771" y="562"/>
                  <a:pt x="1771" y="562"/>
                  <a:pt x="1771" y="562"/>
                </a:cubicBezTo>
                <a:cubicBezTo>
                  <a:pt x="1774" y="559"/>
                  <a:pt x="1774" y="559"/>
                  <a:pt x="1774" y="559"/>
                </a:cubicBezTo>
                <a:cubicBezTo>
                  <a:pt x="1775" y="560"/>
                  <a:pt x="1775" y="560"/>
                  <a:pt x="1775" y="560"/>
                </a:cubicBezTo>
                <a:cubicBezTo>
                  <a:pt x="1777" y="558"/>
                  <a:pt x="1777" y="558"/>
                  <a:pt x="1777" y="558"/>
                </a:cubicBezTo>
                <a:cubicBezTo>
                  <a:pt x="1777" y="555"/>
                  <a:pt x="1777" y="555"/>
                  <a:pt x="1777" y="555"/>
                </a:cubicBezTo>
                <a:cubicBezTo>
                  <a:pt x="1777" y="554"/>
                  <a:pt x="1777" y="554"/>
                  <a:pt x="1777" y="554"/>
                </a:cubicBezTo>
                <a:cubicBezTo>
                  <a:pt x="1776" y="552"/>
                  <a:pt x="1776" y="552"/>
                  <a:pt x="1776" y="552"/>
                </a:cubicBezTo>
                <a:cubicBezTo>
                  <a:pt x="1777" y="550"/>
                  <a:pt x="1777" y="550"/>
                  <a:pt x="1777" y="550"/>
                </a:cubicBezTo>
                <a:cubicBezTo>
                  <a:pt x="1777" y="547"/>
                  <a:pt x="1777" y="547"/>
                  <a:pt x="1777" y="547"/>
                </a:cubicBezTo>
                <a:cubicBezTo>
                  <a:pt x="1777" y="545"/>
                  <a:pt x="1777" y="545"/>
                  <a:pt x="1777" y="545"/>
                </a:cubicBezTo>
                <a:cubicBezTo>
                  <a:pt x="1778" y="544"/>
                  <a:pt x="1778" y="544"/>
                  <a:pt x="1778" y="544"/>
                </a:cubicBezTo>
                <a:cubicBezTo>
                  <a:pt x="1778" y="542"/>
                  <a:pt x="1778" y="542"/>
                  <a:pt x="1778" y="542"/>
                </a:cubicBezTo>
                <a:cubicBezTo>
                  <a:pt x="1782" y="542"/>
                  <a:pt x="1782" y="542"/>
                  <a:pt x="1782" y="542"/>
                </a:cubicBezTo>
                <a:cubicBezTo>
                  <a:pt x="1784" y="541"/>
                  <a:pt x="1784" y="541"/>
                  <a:pt x="1784" y="541"/>
                </a:cubicBezTo>
                <a:cubicBezTo>
                  <a:pt x="1786" y="539"/>
                  <a:pt x="1786" y="539"/>
                  <a:pt x="1786" y="539"/>
                </a:cubicBezTo>
                <a:cubicBezTo>
                  <a:pt x="1786" y="537"/>
                  <a:pt x="1786" y="537"/>
                  <a:pt x="1786" y="537"/>
                </a:cubicBezTo>
                <a:cubicBezTo>
                  <a:pt x="1784" y="536"/>
                  <a:pt x="1784" y="536"/>
                  <a:pt x="1784" y="536"/>
                </a:cubicBezTo>
                <a:cubicBezTo>
                  <a:pt x="1786" y="535"/>
                  <a:pt x="1786" y="535"/>
                  <a:pt x="1786" y="535"/>
                </a:cubicBezTo>
                <a:cubicBezTo>
                  <a:pt x="1786" y="535"/>
                  <a:pt x="1786" y="535"/>
                  <a:pt x="1786" y="535"/>
                </a:cubicBezTo>
                <a:cubicBezTo>
                  <a:pt x="1786" y="533"/>
                  <a:pt x="1786" y="533"/>
                  <a:pt x="1786" y="533"/>
                </a:cubicBezTo>
                <a:cubicBezTo>
                  <a:pt x="1785" y="532"/>
                  <a:pt x="1785" y="532"/>
                  <a:pt x="1785" y="532"/>
                </a:cubicBezTo>
                <a:cubicBezTo>
                  <a:pt x="1785" y="531"/>
                  <a:pt x="1785" y="531"/>
                  <a:pt x="1785" y="531"/>
                </a:cubicBezTo>
                <a:cubicBezTo>
                  <a:pt x="1785" y="530"/>
                  <a:pt x="1785" y="530"/>
                  <a:pt x="1785" y="530"/>
                </a:cubicBezTo>
                <a:cubicBezTo>
                  <a:pt x="1786" y="531"/>
                  <a:pt x="1786" y="531"/>
                  <a:pt x="1786" y="531"/>
                </a:cubicBezTo>
                <a:cubicBezTo>
                  <a:pt x="1787" y="531"/>
                  <a:pt x="1787" y="531"/>
                  <a:pt x="1787" y="531"/>
                </a:cubicBezTo>
                <a:cubicBezTo>
                  <a:pt x="1791" y="526"/>
                  <a:pt x="1791" y="526"/>
                  <a:pt x="1791" y="526"/>
                </a:cubicBezTo>
                <a:cubicBezTo>
                  <a:pt x="1791" y="525"/>
                  <a:pt x="1791" y="525"/>
                  <a:pt x="1791" y="525"/>
                </a:cubicBezTo>
                <a:cubicBezTo>
                  <a:pt x="1792" y="525"/>
                  <a:pt x="1792" y="525"/>
                  <a:pt x="1792" y="525"/>
                </a:cubicBezTo>
                <a:cubicBezTo>
                  <a:pt x="1794" y="522"/>
                  <a:pt x="1794" y="522"/>
                  <a:pt x="1794" y="522"/>
                </a:cubicBezTo>
                <a:cubicBezTo>
                  <a:pt x="1794" y="520"/>
                  <a:pt x="1794" y="520"/>
                  <a:pt x="1794" y="520"/>
                </a:cubicBezTo>
                <a:cubicBezTo>
                  <a:pt x="1795" y="519"/>
                  <a:pt x="1795" y="519"/>
                  <a:pt x="1795" y="519"/>
                </a:cubicBezTo>
                <a:cubicBezTo>
                  <a:pt x="1798" y="518"/>
                  <a:pt x="1798" y="518"/>
                  <a:pt x="1798" y="518"/>
                </a:cubicBezTo>
                <a:cubicBezTo>
                  <a:pt x="1800" y="516"/>
                  <a:pt x="1800" y="516"/>
                  <a:pt x="1800" y="516"/>
                </a:cubicBezTo>
                <a:cubicBezTo>
                  <a:pt x="1801" y="517"/>
                  <a:pt x="1801" y="517"/>
                  <a:pt x="1801" y="517"/>
                </a:cubicBezTo>
                <a:cubicBezTo>
                  <a:pt x="1801" y="518"/>
                  <a:pt x="1801" y="518"/>
                  <a:pt x="1801" y="518"/>
                </a:cubicBezTo>
                <a:cubicBezTo>
                  <a:pt x="1802" y="518"/>
                  <a:pt x="1802" y="518"/>
                  <a:pt x="1802" y="518"/>
                </a:cubicBezTo>
                <a:cubicBezTo>
                  <a:pt x="1803" y="516"/>
                  <a:pt x="1803" y="516"/>
                  <a:pt x="1803" y="516"/>
                </a:cubicBezTo>
                <a:cubicBezTo>
                  <a:pt x="1804" y="515"/>
                  <a:pt x="1804" y="515"/>
                  <a:pt x="1804" y="515"/>
                </a:cubicBezTo>
                <a:cubicBezTo>
                  <a:pt x="1805" y="516"/>
                  <a:pt x="1805" y="516"/>
                  <a:pt x="1805" y="516"/>
                </a:cubicBezTo>
                <a:cubicBezTo>
                  <a:pt x="1806" y="517"/>
                  <a:pt x="1806" y="517"/>
                  <a:pt x="1806" y="517"/>
                </a:cubicBezTo>
                <a:cubicBezTo>
                  <a:pt x="1808" y="518"/>
                  <a:pt x="1808" y="518"/>
                  <a:pt x="1808" y="518"/>
                </a:cubicBezTo>
                <a:cubicBezTo>
                  <a:pt x="1811" y="517"/>
                  <a:pt x="1811" y="517"/>
                  <a:pt x="1811" y="517"/>
                </a:cubicBezTo>
                <a:cubicBezTo>
                  <a:pt x="1809" y="518"/>
                  <a:pt x="1809" y="518"/>
                  <a:pt x="1809" y="518"/>
                </a:cubicBezTo>
                <a:cubicBezTo>
                  <a:pt x="1807" y="519"/>
                  <a:pt x="1807" y="519"/>
                  <a:pt x="1807" y="519"/>
                </a:cubicBezTo>
                <a:cubicBezTo>
                  <a:pt x="1805" y="518"/>
                  <a:pt x="1805" y="518"/>
                  <a:pt x="1805" y="518"/>
                </a:cubicBezTo>
                <a:cubicBezTo>
                  <a:pt x="1802" y="519"/>
                  <a:pt x="1802" y="519"/>
                  <a:pt x="1802" y="519"/>
                </a:cubicBezTo>
                <a:cubicBezTo>
                  <a:pt x="1800" y="519"/>
                  <a:pt x="1800" y="519"/>
                  <a:pt x="1800" y="519"/>
                </a:cubicBezTo>
                <a:cubicBezTo>
                  <a:pt x="1801" y="520"/>
                  <a:pt x="1801" y="520"/>
                  <a:pt x="1801" y="520"/>
                </a:cubicBezTo>
                <a:cubicBezTo>
                  <a:pt x="1804" y="520"/>
                  <a:pt x="1804" y="520"/>
                  <a:pt x="1804" y="520"/>
                </a:cubicBezTo>
                <a:cubicBezTo>
                  <a:pt x="1807" y="521"/>
                  <a:pt x="1807" y="521"/>
                  <a:pt x="1807" y="521"/>
                </a:cubicBezTo>
                <a:cubicBezTo>
                  <a:pt x="1807" y="522"/>
                  <a:pt x="1807" y="522"/>
                  <a:pt x="1807" y="522"/>
                </a:cubicBezTo>
                <a:cubicBezTo>
                  <a:pt x="1806" y="522"/>
                  <a:pt x="1806" y="522"/>
                  <a:pt x="1806" y="522"/>
                </a:cubicBezTo>
                <a:cubicBezTo>
                  <a:pt x="1807" y="524"/>
                  <a:pt x="1807" y="524"/>
                  <a:pt x="1807" y="524"/>
                </a:cubicBezTo>
                <a:cubicBezTo>
                  <a:pt x="1809" y="524"/>
                  <a:pt x="1809" y="524"/>
                  <a:pt x="1809" y="524"/>
                </a:cubicBezTo>
                <a:cubicBezTo>
                  <a:pt x="1810" y="525"/>
                  <a:pt x="1810" y="525"/>
                  <a:pt x="1810" y="525"/>
                </a:cubicBezTo>
                <a:cubicBezTo>
                  <a:pt x="1812" y="524"/>
                  <a:pt x="1812" y="524"/>
                  <a:pt x="1812" y="524"/>
                </a:cubicBezTo>
                <a:cubicBezTo>
                  <a:pt x="1815" y="523"/>
                  <a:pt x="1815" y="523"/>
                  <a:pt x="1815" y="523"/>
                </a:cubicBezTo>
                <a:cubicBezTo>
                  <a:pt x="1817" y="524"/>
                  <a:pt x="1817" y="524"/>
                  <a:pt x="1817" y="524"/>
                </a:cubicBezTo>
                <a:cubicBezTo>
                  <a:pt x="1819" y="525"/>
                  <a:pt x="1819" y="525"/>
                  <a:pt x="1819" y="525"/>
                </a:cubicBezTo>
                <a:cubicBezTo>
                  <a:pt x="1820" y="524"/>
                  <a:pt x="1820" y="524"/>
                  <a:pt x="1820" y="524"/>
                </a:cubicBezTo>
                <a:cubicBezTo>
                  <a:pt x="1821" y="524"/>
                  <a:pt x="1821" y="524"/>
                  <a:pt x="1821" y="524"/>
                </a:cubicBezTo>
                <a:cubicBezTo>
                  <a:pt x="1821" y="527"/>
                  <a:pt x="1821" y="527"/>
                  <a:pt x="1821" y="527"/>
                </a:cubicBezTo>
                <a:cubicBezTo>
                  <a:pt x="1822" y="528"/>
                  <a:pt x="1822" y="528"/>
                  <a:pt x="1822" y="528"/>
                </a:cubicBezTo>
                <a:cubicBezTo>
                  <a:pt x="1821" y="529"/>
                  <a:pt x="1821" y="529"/>
                  <a:pt x="1821" y="529"/>
                </a:cubicBezTo>
                <a:cubicBezTo>
                  <a:pt x="1818" y="529"/>
                  <a:pt x="1818" y="529"/>
                  <a:pt x="1818" y="529"/>
                </a:cubicBezTo>
                <a:cubicBezTo>
                  <a:pt x="1815" y="531"/>
                  <a:pt x="1815" y="531"/>
                  <a:pt x="1815" y="531"/>
                </a:cubicBezTo>
                <a:cubicBezTo>
                  <a:pt x="1813" y="535"/>
                  <a:pt x="1813" y="535"/>
                  <a:pt x="1813" y="535"/>
                </a:cubicBezTo>
                <a:cubicBezTo>
                  <a:pt x="1814" y="535"/>
                  <a:pt x="1814" y="535"/>
                  <a:pt x="1814" y="535"/>
                </a:cubicBezTo>
                <a:cubicBezTo>
                  <a:pt x="1816" y="534"/>
                  <a:pt x="1816" y="534"/>
                  <a:pt x="1816" y="534"/>
                </a:cubicBezTo>
                <a:cubicBezTo>
                  <a:pt x="1818" y="535"/>
                  <a:pt x="1818" y="535"/>
                  <a:pt x="1818" y="535"/>
                </a:cubicBezTo>
                <a:cubicBezTo>
                  <a:pt x="1819" y="535"/>
                  <a:pt x="1819" y="535"/>
                  <a:pt x="1819" y="535"/>
                </a:cubicBezTo>
                <a:cubicBezTo>
                  <a:pt x="1822" y="538"/>
                  <a:pt x="1822" y="538"/>
                  <a:pt x="1822" y="538"/>
                </a:cubicBezTo>
                <a:cubicBezTo>
                  <a:pt x="1823" y="539"/>
                  <a:pt x="1823" y="539"/>
                  <a:pt x="1823" y="539"/>
                </a:cubicBezTo>
                <a:cubicBezTo>
                  <a:pt x="1821" y="543"/>
                  <a:pt x="1821" y="543"/>
                  <a:pt x="1821" y="543"/>
                </a:cubicBezTo>
                <a:cubicBezTo>
                  <a:pt x="1821" y="543"/>
                  <a:pt x="1821" y="543"/>
                  <a:pt x="1821" y="543"/>
                </a:cubicBezTo>
                <a:cubicBezTo>
                  <a:pt x="1823" y="545"/>
                  <a:pt x="1823" y="545"/>
                  <a:pt x="1823" y="545"/>
                </a:cubicBezTo>
                <a:cubicBezTo>
                  <a:pt x="1826" y="545"/>
                  <a:pt x="1826" y="545"/>
                  <a:pt x="1826" y="545"/>
                </a:cubicBezTo>
                <a:cubicBezTo>
                  <a:pt x="1830" y="543"/>
                  <a:pt x="1830" y="543"/>
                  <a:pt x="1830" y="543"/>
                </a:cubicBezTo>
                <a:cubicBezTo>
                  <a:pt x="1834" y="540"/>
                  <a:pt x="1834" y="540"/>
                  <a:pt x="1834" y="540"/>
                </a:cubicBezTo>
                <a:cubicBezTo>
                  <a:pt x="1838" y="540"/>
                  <a:pt x="1838" y="540"/>
                  <a:pt x="1838" y="540"/>
                </a:cubicBezTo>
                <a:cubicBezTo>
                  <a:pt x="1839" y="538"/>
                  <a:pt x="1839" y="538"/>
                  <a:pt x="1839" y="538"/>
                </a:cubicBezTo>
                <a:cubicBezTo>
                  <a:pt x="1842" y="536"/>
                  <a:pt x="1842" y="536"/>
                  <a:pt x="1842" y="536"/>
                </a:cubicBezTo>
                <a:cubicBezTo>
                  <a:pt x="1846" y="537"/>
                  <a:pt x="1846" y="537"/>
                  <a:pt x="1846" y="537"/>
                </a:cubicBezTo>
                <a:cubicBezTo>
                  <a:pt x="1849" y="537"/>
                  <a:pt x="1849" y="537"/>
                  <a:pt x="1849" y="537"/>
                </a:cubicBezTo>
                <a:cubicBezTo>
                  <a:pt x="1850" y="535"/>
                  <a:pt x="1850" y="535"/>
                  <a:pt x="1850" y="535"/>
                </a:cubicBezTo>
                <a:cubicBezTo>
                  <a:pt x="1849" y="533"/>
                  <a:pt x="1849" y="533"/>
                  <a:pt x="1849" y="533"/>
                </a:cubicBezTo>
                <a:cubicBezTo>
                  <a:pt x="1850" y="532"/>
                  <a:pt x="1850" y="532"/>
                  <a:pt x="1850" y="532"/>
                </a:cubicBezTo>
                <a:cubicBezTo>
                  <a:pt x="1851" y="531"/>
                  <a:pt x="1851" y="531"/>
                  <a:pt x="1851" y="531"/>
                </a:cubicBezTo>
                <a:cubicBezTo>
                  <a:pt x="1849" y="531"/>
                  <a:pt x="1849" y="531"/>
                  <a:pt x="1849" y="531"/>
                </a:cubicBezTo>
                <a:cubicBezTo>
                  <a:pt x="1845" y="531"/>
                  <a:pt x="1845" y="531"/>
                  <a:pt x="1845" y="531"/>
                </a:cubicBezTo>
                <a:cubicBezTo>
                  <a:pt x="1845" y="533"/>
                  <a:pt x="1845" y="533"/>
                  <a:pt x="1845" y="533"/>
                </a:cubicBezTo>
                <a:cubicBezTo>
                  <a:pt x="1843" y="532"/>
                  <a:pt x="1843" y="532"/>
                  <a:pt x="1843" y="532"/>
                </a:cubicBezTo>
                <a:cubicBezTo>
                  <a:pt x="1841" y="532"/>
                  <a:pt x="1841" y="532"/>
                  <a:pt x="1841" y="532"/>
                </a:cubicBezTo>
                <a:cubicBezTo>
                  <a:pt x="1840" y="534"/>
                  <a:pt x="1840" y="534"/>
                  <a:pt x="1840" y="534"/>
                </a:cubicBezTo>
                <a:cubicBezTo>
                  <a:pt x="1839" y="534"/>
                  <a:pt x="1839" y="534"/>
                  <a:pt x="1839" y="534"/>
                </a:cubicBezTo>
                <a:cubicBezTo>
                  <a:pt x="1834" y="528"/>
                  <a:pt x="1834" y="528"/>
                  <a:pt x="1834" y="528"/>
                </a:cubicBezTo>
                <a:cubicBezTo>
                  <a:pt x="1833" y="526"/>
                  <a:pt x="1833" y="526"/>
                  <a:pt x="1833" y="526"/>
                </a:cubicBezTo>
                <a:cubicBezTo>
                  <a:pt x="1831" y="523"/>
                  <a:pt x="1831" y="523"/>
                  <a:pt x="1831" y="523"/>
                </a:cubicBezTo>
                <a:cubicBezTo>
                  <a:pt x="1831" y="524"/>
                  <a:pt x="1831" y="524"/>
                  <a:pt x="1831" y="524"/>
                </a:cubicBezTo>
                <a:cubicBezTo>
                  <a:pt x="1832" y="527"/>
                  <a:pt x="1832" y="527"/>
                  <a:pt x="1832" y="527"/>
                </a:cubicBezTo>
                <a:cubicBezTo>
                  <a:pt x="1835" y="531"/>
                  <a:pt x="1835" y="531"/>
                  <a:pt x="1835" y="531"/>
                </a:cubicBezTo>
                <a:cubicBezTo>
                  <a:pt x="1839" y="534"/>
                  <a:pt x="1839" y="534"/>
                  <a:pt x="1839" y="534"/>
                </a:cubicBezTo>
                <a:cubicBezTo>
                  <a:pt x="1838" y="535"/>
                  <a:pt x="1838" y="535"/>
                  <a:pt x="1838" y="535"/>
                </a:cubicBezTo>
                <a:cubicBezTo>
                  <a:pt x="1835" y="534"/>
                  <a:pt x="1835" y="534"/>
                  <a:pt x="1835" y="534"/>
                </a:cubicBezTo>
                <a:cubicBezTo>
                  <a:pt x="1834" y="533"/>
                  <a:pt x="1834" y="533"/>
                  <a:pt x="1834" y="533"/>
                </a:cubicBezTo>
                <a:cubicBezTo>
                  <a:pt x="1834" y="530"/>
                  <a:pt x="1834" y="530"/>
                  <a:pt x="1834" y="530"/>
                </a:cubicBezTo>
                <a:cubicBezTo>
                  <a:pt x="1833" y="530"/>
                  <a:pt x="1833" y="530"/>
                  <a:pt x="1833" y="530"/>
                </a:cubicBezTo>
                <a:cubicBezTo>
                  <a:pt x="1831" y="531"/>
                  <a:pt x="1831" y="531"/>
                  <a:pt x="1831" y="531"/>
                </a:cubicBezTo>
                <a:cubicBezTo>
                  <a:pt x="1832" y="529"/>
                  <a:pt x="1832" y="529"/>
                  <a:pt x="1832" y="529"/>
                </a:cubicBezTo>
                <a:cubicBezTo>
                  <a:pt x="1831" y="529"/>
                  <a:pt x="1831" y="529"/>
                  <a:pt x="1831" y="529"/>
                </a:cubicBezTo>
                <a:cubicBezTo>
                  <a:pt x="1830" y="530"/>
                  <a:pt x="1830" y="530"/>
                  <a:pt x="1830" y="530"/>
                </a:cubicBezTo>
                <a:cubicBezTo>
                  <a:pt x="1830" y="529"/>
                  <a:pt x="1830" y="529"/>
                  <a:pt x="1830" y="529"/>
                </a:cubicBezTo>
                <a:cubicBezTo>
                  <a:pt x="1831" y="528"/>
                  <a:pt x="1831" y="528"/>
                  <a:pt x="1831" y="528"/>
                </a:cubicBezTo>
                <a:cubicBezTo>
                  <a:pt x="1830" y="527"/>
                  <a:pt x="1830" y="527"/>
                  <a:pt x="1830" y="527"/>
                </a:cubicBezTo>
                <a:cubicBezTo>
                  <a:pt x="1829" y="527"/>
                  <a:pt x="1829" y="527"/>
                  <a:pt x="1829" y="527"/>
                </a:cubicBezTo>
                <a:cubicBezTo>
                  <a:pt x="1828" y="526"/>
                  <a:pt x="1828" y="526"/>
                  <a:pt x="1828" y="526"/>
                </a:cubicBezTo>
                <a:cubicBezTo>
                  <a:pt x="1826" y="525"/>
                  <a:pt x="1826" y="525"/>
                  <a:pt x="1826" y="525"/>
                </a:cubicBezTo>
                <a:cubicBezTo>
                  <a:pt x="1823" y="525"/>
                  <a:pt x="1823" y="525"/>
                  <a:pt x="1823" y="525"/>
                </a:cubicBezTo>
                <a:cubicBezTo>
                  <a:pt x="1822" y="524"/>
                  <a:pt x="1822" y="524"/>
                  <a:pt x="1822" y="524"/>
                </a:cubicBezTo>
                <a:cubicBezTo>
                  <a:pt x="1822" y="524"/>
                  <a:pt x="1822" y="524"/>
                  <a:pt x="1822" y="524"/>
                </a:cubicBezTo>
                <a:cubicBezTo>
                  <a:pt x="1824" y="524"/>
                  <a:pt x="1824" y="524"/>
                  <a:pt x="1824" y="524"/>
                </a:cubicBezTo>
                <a:cubicBezTo>
                  <a:pt x="1826" y="523"/>
                  <a:pt x="1826" y="523"/>
                  <a:pt x="1826" y="523"/>
                </a:cubicBezTo>
                <a:cubicBezTo>
                  <a:pt x="1827" y="524"/>
                  <a:pt x="1827" y="524"/>
                  <a:pt x="1827" y="524"/>
                </a:cubicBezTo>
                <a:cubicBezTo>
                  <a:pt x="1829" y="524"/>
                  <a:pt x="1829" y="524"/>
                  <a:pt x="1829" y="524"/>
                </a:cubicBezTo>
                <a:cubicBezTo>
                  <a:pt x="1830" y="523"/>
                  <a:pt x="1830" y="523"/>
                  <a:pt x="1830" y="523"/>
                </a:cubicBezTo>
                <a:cubicBezTo>
                  <a:pt x="1831" y="522"/>
                  <a:pt x="1831" y="522"/>
                  <a:pt x="1831" y="522"/>
                </a:cubicBezTo>
                <a:cubicBezTo>
                  <a:pt x="1834" y="519"/>
                  <a:pt x="1834" y="519"/>
                  <a:pt x="1834" y="519"/>
                </a:cubicBezTo>
                <a:cubicBezTo>
                  <a:pt x="1835" y="518"/>
                  <a:pt x="1835" y="518"/>
                  <a:pt x="1835" y="518"/>
                </a:cubicBezTo>
                <a:cubicBezTo>
                  <a:pt x="1836" y="519"/>
                  <a:pt x="1836" y="519"/>
                  <a:pt x="1836" y="519"/>
                </a:cubicBezTo>
                <a:cubicBezTo>
                  <a:pt x="1836" y="519"/>
                  <a:pt x="1836" y="519"/>
                  <a:pt x="1836" y="519"/>
                </a:cubicBezTo>
                <a:cubicBezTo>
                  <a:pt x="1834" y="522"/>
                  <a:pt x="1834" y="522"/>
                  <a:pt x="1834" y="522"/>
                </a:cubicBezTo>
                <a:cubicBezTo>
                  <a:pt x="1833" y="522"/>
                  <a:pt x="1833" y="522"/>
                  <a:pt x="1833" y="522"/>
                </a:cubicBezTo>
                <a:cubicBezTo>
                  <a:pt x="1834" y="523"/>
                  <a:pt x="1834" y="523"/>
                  <a:pt x="1834" y="523"/>
                </a:cubicBezTo>
                <a:cubicBezTo>
                  <a:pt x="1835" y="523"/>
                  <a:pt x="1835" y="523"/>
                  <a:pt x="1835" y="523"/>
                </a:cubicBezTo>
                <a:cubicBezTo>
                  <a:pt x="1837" y="519"/>
                  <a:pt x="1837" y="519"/>
                  <a:pt x="1837" y="519"/>
                </a:cubicBezTo>
                <a:cubicBezTo>
                  <a:pt x="1838" y="518"/>
                  <a:pt x="1838" y="518"/>
                  <a:pt x="1838" y="518"/>
                </a:cubicBezTo>
                <a:cubicBezTo>
                  <a:pt x="1837" y="517"/>
                  <a:pt x="1837" y="517"/>
                  <a:pt x="1837" y="517"/>
                </a:cubicBezTo>
                <a:cubicBezTo>
                  <a:pt x="1836" y="515"/>
                  <a:pt x="1836" y="515"/>
                  <a:pt x="1836" y="515"/>
                </a:cubicBezTo>
                <a:cubicBezTo>
                  <a:pt x="1837" y="515"/>
                  <a:pt x="1837" y="515"/>
                  <a:pt x="1837" y="515"/>
                </a:cubicBezTo>
                <a:cubicBezTo>
                  <a:pt x="1838" y="518"/>
                  <a:pt x="1838" y="518"/>
                  <a:pt x="1838" y="518"/>
                </a:cubicBezTo>
                <a:cubicBezTo>
                  <a:pt x="1840" y="518"/>
                  <a:pt x="1840" y="518"/>
                  <a:pt x="1840" y="518"/>
                </a:cubicBezTo>
                <a:cubicBezTo>
                  <a:pt x="1842" y="517"/>
                  <a:pt x="1842" y="517"/>
                  <a:pt x="1842" y="517"/>
                </a:cubicBezTo>
                <a:cubicBezTo>
                  <a:pt x="1844" y="517"/>
                  <a:pt x="1844" y="517"/>
                  <a:pt x="1844" y="517"/>
                </a:cubicBezTo>
                <a:cubicBezTo>
                  <a:pt x="1846" y="516"/>
                  <a:pt x="1846" y="516"/>
                  <a:pt x="1846" y="516"/>
                </a:cubicBezTo>
                <a:cubicBezTo>
                  <a:pt x="1848" y="516"/>
                  <a:pt x="1848" y="516"/>
                  <a:pt x="1848" y="516"/>
                </a:cubicBezTo>
                <a:cubicBezTo>
                  <a:pt x="1849" y="516"/>
                  <a:pt x="1849" y="516"/>
                  <a:pt x="1849" y="516"/>
                </a:cubicBezTo>
                <a:cubicBezTo>
                  <a:pt x="1851" y="514"/>
                  <a:pt x="1851" y="514"/>
                  <a:pt x="1851" y="514"/>
                </a:cubicBezTo>
                <a:cubicBezTo>
                  <a:pt x="1852" y="512"/>
                  <a:pt x="1852" y="512"/>
                  <a:pt x="1852" y="512"/>
                </a:cubicBezTo>
                <a:cubicBezTo>
                  <a:pt x="1854" y="512"/>
                  <a:pt x="1854" y="512"/>
                  <a:pt x="1854" y="512"/>
                </a:cubicBezTo>
                <a:cubicBezTo>
                  <a:pt x="1855" y="510"/>
                  <a:pt x="1855" y="510"/>
                  <a:pt x="1855" y="510"/>
                </a:cubicBezTo>
                <a:cubicBezTo>
                  <a:pt x="1856" y="509"/>
                  <a:pt x="1856" y="509"/>
                  <a:pt x="1856" y="509"/>
                </a:cubicBezTo>
                <a:cubicBezTo>
                  <a:pt x="1859" y="509"/>
                  <a:pt x="1859" y="509"/>
                  <a:pt x="1859" y="509"/>
                </a:cubicBezTo>
                <a:cubicBezTo>
                  <a:pt x="1861" y="508"/>
                  <a:pt x="1861" y="508"/>
                  <a:pt x="1861" y="508"/>
                </a:cubicBezTo>
                <a:cubicBezTo>
                  <a:pt x="1862" y="508"/>
                  <a:pt x="1862" y="508"/>
                  <a:pt x="1862" y="508"/>
                </a:cubicBezTo>
                <a:cubicBezTo>
                  <a:pt x="1863" y="510"/>
                  <a:pt x="1863" y="510"/>
                  <a:pt x="1863" y="510"/>
                </a:cubicBezTo>
                <a:cubicBezTo>
                  <a:pt x="1865" y="509"/>
                  <a:pt x="1865" y="509"/>
                  <a:pt x="1865" y="509"/>
                </a:cubicBezTo>
                <a:cubicBezTo>
                  <a:pt x="1865" y="504"/>
                  <a:pt x="1865" y="504"/>
                  <a:pt x="1865" y="504"/>
                </a:cubicBezTo>
                <a:cubicBezTo>
                  <a:pt x="1865" y="509"/>
                  <a:pt x="1865" y="509"/>
                  <a:pt x="1865" y="509"/>
                </a:cubicBezTo>
                <a:cubicBezTo>
                  <a:pt x="1865" y="509"/>
                  <a:pt x="1865" y="509"/>
                  <a:pt x="1865" y="509"/>
                </a:cubicBezTo>
                <a:cubicBezTo>
                  <a:pt x="1865" y="509"/>
                  <a:pt x="1865" y="509"/>
                  <a:pt x="1865" y="509"/>
                </a:cubicBezTo>
                <a:cubicBezTo>
                  <a:pt x="1867" y="509"/>
                  <a:pt x="1867" y="509"/>
                  <a:pt x="1867" y="509"/>
                </a:cubicBezTo>
                <a:cubicBezTo>
                  <a:pt x="1869" y="507"/>
                  <a:pt x="1869" y="507"/>
                  <a:pt x="1869" y="507"/>
                </a:cubicBezTo>
                <a:cubicBezTo>
                  <a:pt x="1872" y="507"/>
                  <a:pt x="1872" y="507"/>
                  <a:pt x="1872" y="507"/>
                </a:cubicBezTo>
                <a:cubicBezTo>
                  <a:pt x="1873" y="508"/>
                  <a:pt x="1873" y="508"/>
                  <a:pt x="1873" y="508"/>
                </a:cubicBezTo>
                <a:cubicBezTo>
                  <a:pt x="1872" y="510"/>
                  <a:pt x="1872" y="510"/>
                  <a:pt x="1872" y="510"/>
                </a:cubicBezTo>
                <a:cubicBezTo>
                  <a:pt x="1867" y="513"/>
                  <a:pt x="1867" y="513"/>
                  <a:pt x="1867" y="513"/>
                </a:cubicBezTo>
                <a:cubicBezTo>
                  <a:pt x="1865" y="514"/>
                  <a:pt x="1865" y="514"/>
                  <a:pt x="1865" y="514"/>
                </a:cubicBezTo>
                <a:cubicBezTo>
                  <a:pt x="1866" y="515"/>
                  <a:pt x="1866" y="515"/>
                  <a:pt x="1866" y="515"/>
                </a:cubicBezTo>
                <a:cubicBezTo>
                  <a:pt x="1867" y="515"/>
                  <a:pt x="1867" y="515"/>
                  <a:pt x="1867" y="515"/>
                </a:cubicBezTo>
                <a:cubicBezTo>
                  <a:pt x="1866" y="517"/>
                  <a:pt x="1866" y="517"/>
                  <a:pt x="1866" y="517"/>
                </a:cubicBezTo>
                <a:cubicBezTo>
                  <a:pt x="1863" y="516"/>
                  <a:pt x="1863" y="516"/>
                  <a:pt x="1863" y="516"/>
                </a:cubicBezTo>
                <a:cubicBezTo>
                  <a:pt x="1860" y="517"/>
                  <a:pt x="1860" y="517"/>
                  <a:pt x="1860" y="517"/>
                </a:cubicBezTo>
                <a:cubicBezTo>
                  <a:pt x="1861" y="519"/>
                  <a:pt x="1861" y="519"/>
                  <a:pt x="1861" y="519"/>
                </a:cubicBezTo>
                <a:cubicBezTo>
                  <a:pt x="1863" y="521"/>
                  <a:pt x="1863" y="521"/>
                  <a:pt x="1863" y="521"/>
                </a:cubicBezTo>
                <a:cubicBezTo>
                  <a:pt x="1864" y="520"/>
                  <a:pt x="1864" y="520"/>
                  <a:pt x="1864" y="520"/>
                </a:cubicBezTo>
                <a:cubicBezTo>
                  <a:pt x="1864" y="521"/>
                  <a:pt x="1864" y="521"/>
                  <a:pt x="1864" y="521"/>
                </a:cubicBezTo>
                <a:cubicBezTo>
                  <a:pt x="1866" y="522"/>
                  <a:pt x="1866" y="522"/>
                  <a:pt x="1866" y="522"/>
                </a:cubicBezTo>
                <a:cubicBezTo>
                  <a:pt x="1866" y="523"/>
                  <a:pt x="1866" y="523"/>
                  <a:pt x="1866" y="523"/>
                </a:cubicBezTo>
                <a:cubicBezTo>
                  <a:pt x="1865" y="523"/>
                  <a:pt x="1865" y="523"/>
                  <a:pt x="1865" y="523"/>
                </a:cubicBezTo>
                <a:cubicBezTo>
                  <a:pt x="1864" y="524"/>
                  <a:pt x="1864" y="524"/>
                  <a:pt x="1864" y="524"/>
                </a:cubicBezTo>
                <a:cubicBezTo>
                  <a:pt x="1863" y="524"/>
                  <a:pt x="1863" y="524"/>
                  <a:pt x="1863" y="524"/>
                </a:cubicBezTo>
                <a:cubicBezTo>
                  <a:pt x="1862" y="525"/>
                  <a:pt x="1862" y="525"/>
                  <a:pt x="1862" y="525"/>
                </a:cubicBezTo>
                <a:cubicBezTo>
                  <a:pt x="1862" y="525"/>
                  <a:pt x="1862" y="525"/>
                  <a:pt x="1862" y="525"/>
                </a:cubicBezTo>
                <a:cubicBezTo>
                  <a:pt x="1860" y="528"/>
                  <a:pt x="1860" y="528"/>
                  <a:pt x="1860" y="528"/>
                </a:cubicBezTo>
                <a:cubicBezTo>
                  <a:pt x="1860" y="530"/>
                  <a:pt x="1860" y="530"/>
                  <a:pt x="1860" y="530"/>
                </a:cubicBezTo>
                <a:cubicBezTo>
                  <a:pt x="1861" y="530"/>
                  <a:pt x="1861" y="530"/>
                  <a:pt x="1861" y="530"/>
                </a:cubicBezTo>
                <a:cubicBezTo>
                  <a:pt x="1860" y="533"/>
                  <a:pt x="1860" y="533"/>
                  <a:pt x="1860" y="533"/>
                </a:cubicBezTo>
                <a:cubicBezTo>
                  <a:pt x="1858" y="533"/>
                  <a:pt x="1858" y="533"/>
                  <a:pt x="1858" y="533"/>
                </a:cubicBezTo>
                <a:cubicBezTo>
                  <a:pt x="1858" y="533"/>
                  <a:pt x="1858" y="533"/>
                  <a:pt x="1858" y="533"/>
                </a:cubicBezTo>
                <a:cubicBezTo>
                  <a:pt x="1856" y="532"/>
                  <a:pt x="1856" y="532"/>
                  <a:pt x="1856" y="532"/>
                </a:cubicBezTo>
                <a:cubicBezTo>
                  <a:pt x="1854" y="531"/>
                  <a:pt x="1854" y="531"/>
                  <a:pt x="1854" y="531"/>
                </a:cubicBezTo>
                <a:cubicBezTo>
                  <a:pt x="1854" y="532"/>
                  <a:pt x="1854" y="532"/>
                  <a:pt x="1854" y="532"/>
                </a:cubicBezTo>
                <a:cubicBezTo>
                  <a:pt x="1855" y="534"/>
                  <a:pt x="1855" y="534"/>
                  <a:pt x="1855" y="534"/>
                </a:cubicBezTo>
                <a:cubicBezTo>
                  <a:pt x="1853" y="534"/>
                  <a:pt x="1853" y="534"/>
                  <a:pt x="1853" y="534"/>
                </a:cubicBezTo>
                <a:cubicBezTo>
                  <a:pt x="1852" y="536"/>
                  <a:pt x="1852" y="536"/>
                  <a:pt x="1852" y="536"/>
                </a:cubicBezTo>
                <a:cubicBezTo>
                  <a:pt x="1854" y="536"/>
                  <a:pt x="1854" y="536"/>
                  <a:pt x="1854" y="536"/>
                </a:cubicBezTo>
                <a:cubicBezTo>
                  <a:pt x="1855" y="536"/>
                  <a:pt x="1855" y="536"/>
                  <a:pt x="1855" y="536"/>
                </a:cubicBezTo>
                <a:cubicBezTo>
                  <a:pt x="1858" y="538"/>
                  <a:pt x="1858" y="538"/>
                  <a:pt x="1858" y="538"/>
                </a:cubicBezTo>
                <a:cubicBezTo>
                  <a:pt x="1858" y="540"/>
                  <a:pt x="1858" y="540"/>
                  <a:pt x="1858" y="540"/>
                </a:cubicBezTo>
                <a:cubicBezTo>
                  <a:pt x="1860" y="542"/>
                  <a:pt x="1860" y="542"/>
                  <a:pt x="1860" y="542"/>
                </a:cubicBezTo>
                <a:cubicBezTo>
                  <a:pt x="1864" y="542"/>
                  <a:pt x="1864" y="542"/>
                  <a:pt x="1864" y="542"/>
                </a:cubicBezTo>
                <a:cubicBezTo>
                  <a:pt x="1868" y="544"/>
                  <a:pt x="1868" y="544"/>
                  <a:pt x="1868" y="544"/>
                </a:cubicBezTo>
                <a:cubicBezTo>
                  <a:pt x="1871" y="545"/>
                  <a:pt x="1871" y="545"/>
                  <a:pt x="1871" y="545"/>
                </a:cubicBezTo>
                <a:cubicBezTo>
                  <a:pt x="1877" y="549"/>
                  <a:pt x="1877" y="549"/>
                  <a:pt x="1877" y="549"/>
                </a:cubicBezTo>
                <a:cubicBezTo>
                  <a:pt x="1879" y="552"/>
                  <a:pt x="1879" y="552"/>
                  <a:pt x="1879" y="552"/>
                </a:cubicBezTo>
                <a:cubicBezTo>
                  <a:pt x="1880" y="553"/>
                  <a:pt x="1880" y="553"/>
                  <a:pt x="1880" y="553"/>
                </a:cubicBezTo>
                <a:cubicBezTo>
                  <a:pt x="1881" y="554"/>
                  <a:pt x="1881" y="554"/>
                  <a:pt x="1881" y="554"/>
                </a:cubicBezTo>
                <a:cubicBezTo>
                  <a:pt x="1883" y="555"/>
                  <a:pt x="1883" y="555"/>
                  <a:pt x="1883" y="555"/>
                </a:cubicBezTo>
                <a:cubicBezTo>
                  <a:pt x="1884" y="555"/>
                  <a:pt x="1884" y="555"/>
                  <a:pt x="1884" y="555"/>
                </a:cubicBezTo>
                <a:cubicBezTo>
                  <a:pt x="1885" y="557"/>
                  <a:pt x="1885" y="557"/>
                  <a:pt x="1885" y="557"/>
                </a:cubicBezTo>
                <a:cubicBezTo>
                  <a:pt x="1887" y="557"/>
                  <a:pt x="1887" y="557"/>
                  <a:pt x="1887" y="557"/>
                </a:cubicBezTo>
                <a:cubicBezTo>
                  <a:pt x="1888" y="557"/>
                  <a:pt x="1888" y="557"/>
                  <a:pt x="1888" y="557"/>
                </a:cubicBezTo>
                <a:cubicBezTo>
                  <a:pt x="1889" y="560"/>
                  <a:pt x="1889" y="560"/>
                  <a:pt x="1889" y="560"/>
                </a:cubicBezTo>
                <a:cubicBezTo>
                  <a:pt x="1891" y="560"/>
                  <a:pt x="1891" y="560"/>
                  <a:pt x="1891" y="560"/>
                </a:cubicBezTo>
                <a:cubicBezTo>
                  <a:pt x="1892" y="561"/>
                  <a:pt x="1892" y="561"/>
                  <a:pt x="1892" y="561"/>
                </a:cubicBezTo>
                <a:cubicBezTo>
                  <a:pt x="1893" y="560"/>
                  <a:pt x="1893" y="560"/>
                  <a:pt x="1893" y="560"/>
                </a:cubicBezTo>
                <a:cubicBezTo>
                  <a:pt x="1896" y="562"/>
                  <a:pt x="1896" y="562"/>
                  <a:pt x="1896" y="562"/>
                </a:cubicBezTo>
                <a:cubicBezTo>
                  <a:pt x="1896" y="563"/>
                  <a:pt x="1896" y="563"/>
                  <a:pt x="1896" y="563"/>
                </a:cubicBezTo>
                <a:cubicBezTo>
                  <a:pt x="1899" y="564"/>
                  <a:pt x="1899" y="564"/>
                  <a:pt x="1899" y="564"/>
                </a:cubicBezTo>
                <a:cubicBezTo>
                  <a:pt x="1901" y="567"/>
                  <a:pt x="1901" y="567"/>
                  <a:pt x="1901" y="567"/>
                </a:cubicBezTo>
                <a:cubicBezTo>
                  <a:pt x="1902" y="569"/>
                  <a:pt x="1902" y="569"/>
                  <a:pt x="1902" y="569"/>
                </a:cubicBezTo>
                <a:cubicBezTo>
                  <a:pt x="1903" y="573"/>
                  <a:pt x="1903" y="573"/>
                  <a:pt x="1903" y="573"/>
                </a:cubicBezTo>
                <a:cubicBezTo>
                  <a:pt x="1904" y="576"/>
                  <a:pt x="1904" y="576"/>
                  <a:pt x="1904" y="576"/>
                </a:cubicBezTo>
                <a:cubicBezTo>
                  <a:pt x="1904" y="577"/>
                  <a:pt x="1904" y="577"/>
                  <a:pt x="1904" y="577"/>
                </a:cubicBezTo>
                <a:cubicBezTo>
                  <a:pt x="1904" y="579"/>
                  <a:pt x="1904" y="579"/>
                  <a:pt x="1904" y="579"/>
                </a:cubicBezTo>
                <a:cubicBezTo>
                  <a:pt x="1904" y="579"/>
                  <a:pt x="1904" y="579"/>
                  <a:pt x="1904" y="579"/>
                </a:cubicBezTo>
                <a:cubicBezTo>
                  <a:pt x="1904" y="579"/>
                  <a:pt x="1904" y="579"/>
                  <a:pt x="1904" y="579"/>
                </a:cubicBezTo>
                <a:cubicBezTo>
                  <a:pt x="1903" y="580"/>
                  <a:pt x="1903" y="580"/>
                  <a:pt x="1903" y="580"/>
                </a:cubicBezTo>
                <a:cubicBezTo>
                  <a:pt x="1902" y="583"/>
                  <a:pt x="1902" y="583"/>
                  <a:pt x="1902" y="583"/>
                </a:cubicBezTo>
                <a:cubicBezTo>
                  <a:pt x="1900" y="584"/>
                  <a:pt x="1900" y="584"/>
                  <a:pt x="1900" y="584"/>
                </a:cubicBezTo>
                <a:cubicBezTo>
                  <a:pt x="1896" y="586"/>
                  <a:pt x="1896" y="586"/>
                  <a:pt x="1896" y="586"/>
                </a:cubicBezTo>
                <a:cubicBezTo>
                  <a:pt x="1896" y="587"/>
                  <a:pt x="1896" y="587"/>
                  <a:pt x="1896" y="587"/>
                </a:cubicBezTo>
                <a:cubicBezTo>
                  <a:pt x="1892" y="588"/>
                  <a:pt x="1892" y="588"/>
                  <a:pt x="1892" y="588"/>
                </a:cubicBezTo>
                <a:cubicBezTo>
                  <a:pt x="1891" y="589"/>
                  <a:pt x="1891" y="589"/>
                  <a:pt x="1891" y="589"/>
                </a:cubicBezTo>
                <a:cubicBezTo>
                  <a:pt x="1887" y="588"/>
                  <a:pt x="1887" y="588"/>
                  <a:pt x="1887" y="588"/>
                </a:cubicBezTo>
                <a:cubicBezTo>
                  <a:pt x="1886" y="587"/>
                  <a:pt x="1886" y="587"/>
                  <a:pt x="1886" y="587"/>
                </a:cubicBezTo>
                <a:cubicBezTo>
                  <a:pt x="1884" y="587"/>
                  <a:pt x="1884" y="587"/>
                  <a:pt x="1884" y="587"/>
                </a:cubicBezTo>
                <a:cubicBezTo>
                  <a:pt x="1884" y="587"/>
                  <a:pt x="1884" y="587"/>
                  <a:pt x="1884" y="587"/>
                </a:cubicBezTo>
                <a:cubicBezTo>
                  <a:pt x="1882" y="587"/>
                  <a:pt x="1882" y="587"/>
                  <a:pt x="1882" y="587"/>
                </a:cubicBezTo>
                <a:cubicBezTo>
                  <a:pt x="1878" y="587"/>
                  <a:pt x="1878" y="587"/>
                  <a:pt x="1878" y="587"/>
                </a:cubicBezTo>
                <a:cubicBezTo>
                  <a:pt x="1874" y="589"/>
                  <a:pt x="1874" y="589"/>
                  <a:pt x="1874" y="589"/>
                </a:cubicBezTo>
                <a:cubicBezTo>
                  <a:pt x="1870" y="588"/>
                  <a:pt x="1870" y="588"/>
                  <a:pt x="1870" y="588"/>
                </a:cubicBezTo>
                <a:cubicBezTo>
                  <a:pt x="1868" y="587"/>
                  <a:pt x="1868" y="587"/>
                  <a:pt x="1868" y="587"/>
                </a:cubicBezTo>
                <a:cubicBezTo>
                  <a:pt x="1867" y="588"/>
                  <a:pt x="1867" y="588"/>
                  <a:pt x="1867" y="588"/>
                </a:cubicBezTo>
                <a:cubicBezTo>
                  <a:pt x="1863" y="586"/>
                  <a:pt x="1863" y="586"/>
                  <a:pt x="1863" y="586"/>
                </a:cubicBezTo>
                <a:cubicBezTo>
                  <a:pt x="1861" y="586"/>
                  <a:pt x="1861" y="586"/>
                  <a:pt x="1861" y="586"/>
                </a:cubicBezTo>
                <a:cubicBezTo>
                  <a:pt x="1857" y="583"/>
                  <a:pt x="1857" y="583"/>
                  <a:pt x="1857" y="583"/>
                </a:cubicBezTo>
                <a:cubicBezTo>
                  <a:pt x="1856" y="583"/>
                  <a:pt x="1856" y="583"/>
                  <a:pt x="1856" y="583"/>
                </a:cubicBezTo>
                <a:cubicBezTo>
                  <a:pt x="1855" y="584"/>
                  <a:pt x="1855" y="584"/>
                  <a:pt x="1855" y="584"/>
                </a:cubicBezTo>
                <a:cubicBezTo>
                  <a:pt x="1854" y="584"/>
                  <a:pt x="1854" y="584"/>
                  <a:pt x="1854" y="584"/>
                </a:cubicBezTo>
                <a:cubicBezTo>
                  <a:pt x="1852" y="582"/>
                  <a:pt x="1852" y="582"/>
                  <a:pt x="1852" y="582"/>
                </a:cubicBezTo>
                <a:cubicBezTo>
                  <a:pt x="1852" y="579"/>
                  <a:pt x="1852" y="579"/>
                  <a:pt x="1852" y="579"/>
                </a:cubicBezTo>
                <a:cubicBezTo>
                  <a:pt x="1850" y="578"/>
                  <a:pt x="1850" y="578"/>
                  <a:pt x="1850" y="578"/>
                </a:cubicBezTo>
                <a:cubicBezTo>
                  <a:pt x="1849" y="578"/>
                  <a:pt x="1849" y="578"/>
                  <a:pt x="1849" y="578"/>
                </a:cubicBezTo>
                <a:cubicBezTo>
                  <a:pt x="1846" y="581"/>
                  <a:pt x="1846" y="581"/>
                  <a:pt x="1846" y="581"/>
                </a:cubicBezTo>
                <a:cubicBezTo>
                  <a:pt x="1846" y="580"/>
                  <a:pt x="1846" y="580"/>
                  <a:pt x="1846" y="580"/>
                </a:cubicBezTo>
                <a:cubicBezTo>
                  <a:pt x="1845" y="581"/>
                  <a:pt x="1845" y="581"/>
                  <a:pt x="1845" y="581"/>
                </a:cubicBezTo>
                <a:cubicBezTo>
                  <a:pt x="1841" y="577"/>
                  <a:pt x="1841" y="577"/>
                  <a:pt x="1841" y="577"/>
                </a:cubicBezTo>
                <a:cubicBezTo>
                  <a:pt x="1841" y="575"/>
                  <a:pt x="1841" y="575"/>
                  <a:pt x="1841" y="575"/>
                </a:cubicBezTo>
                <a:cubicBezTo>
                  <a:pt x="1840" y="575"/>
                  <a:pt x="1840" y="575"/>
                  <a:pt x="1840" y="575"/>
                </a:cubicBezTo>
                <a:cubicBezTo>
                  <a:pt x="1838" y="576"/>
                  <a:pt x="1838" y="576"/>
                  <a:pt x="1838" y="576"/>
                </a:cubicBezTo>
                <a:cubicBezTo>
                  <a:pt x="1834" y="576"/>
                  <a:pt x="1834" y="576"/>
                  <a:pt x="1834" y="576"/>
                </a:cubicBezTo>
                <a:cubicBezTo>
                  <a:pt x="1833" y="576"/>
                  <a:pt x="1833" y="576"/>
                  <a:pt x="1833" y="576"/>
                </a:cubicBezTo>
                <a:cubicBezTo>
                  <a:pt x="1831" y="576"/>
                  <a:pt x="1831" y="576"/>
                  <a:pt x="1831" y="576"/>
                </a:cubicBezTo>
                <a:cubicBezTo>
                  <a:pt x="1826" y="576"/>
                  <a:pt x="1826" y="576"/>
                  <a:pt x="1826" y="576"/>
                </a:cubicBezTo>
                <a:cubicBezTo>
                  <a:pt x="1823" y="577"/>
                  <a:pt x="1823" y="577"/>
                  <a:pt x="1823" y="577"/>
                </a:cubicBezTo>
                <a:cubicBezTo>
                  <a:pt x="1819" y="579"/>
                  <a:pt x="1819" y="579"/>
                  <a:pt x="1819" y="579"/>
                </a:cubicBezTo>
                <a:cubicBezTo>
                  <a:pt x="1817" y="579"/>
                  <a:pt x="1817" y="579"/>
                  <a:pt x="1817" y="579"/>
                </a:cubicBezTo>
                <a:cubicBezTo>
                  <a:pt x="1813" y="580"/>
                  <a:pt x="1813" y="580"/>
                  <a:pt x="1813" y="580"/>
                </a:cubicBezTo>
                <a:cubicBezTo>
                  <a:pt x="1812" y="581"/>
                  <a:pt x="1812" y="581"/>
                  <a:pt x="1812" y="581"/>
                </a:cubicBezTo>
                <a:cubicBezTo>
                  <a:pt x="1810" y="582"/>
                  <a:pt x="1810" y="582"/>
                  <a:pt x="1810" y="582"/>
                </a:cubicBezTo>
                <a:cubicBezTo>
                  <a:pt x="1808" y="583"/>
                  <a:pt x="1808" y="583"/>
                  <a:pt x="1808" y="583"/>
                </a:cubicBezTo>
                <a:cubicBezTo>
                  <a:pt x="1807" y="584"/>
                  <a:pt x="1807" y="584"/>
                  <a:pt x="1807" y="584"/>
                </a:cubicBezTo>
                <a:cubicBezTo>
                  <a:pt x="1806" y="586"/>
                  <a:pt x="1806" y="586"/>
                  <a:pt x="1806" y="586"/>
                </a:cubicBezTo>
                <a:cubicBezTo>
                  <a:pt x="1806" y="587"/>
                  <a:pt x="1806" y="587"/>
                  <a:pt x="1806" y="587"/>
                </a:cubicBezTo>
                <a:cubicBezTo>
                  <a:pt x="1806" y="588"/>
                  <a:pt x="1806" y="588"/>
                  <a:pt x="1806" y="588"/>
                </a:cubicBezTo>
                <a:cubicBezTo>
                  <a:pt x="1802" y="588"/>
                  <a:pt x="1802" y="588"/>
                  <a:pt x="1802" y="588"/>
                </a:cubicBezTo>
                <a:cubicBezTo>
                  <a:pt x="1797" y="586"/>
                  <a:pt x="1797" y="586"/>
                  <a:pt x="1797" y="586"/>
                </a:cubicBezTo>
                <a:cubicBezTo>
                  <a:pt x="1795" y="586"/>
                  <a:pt x="1795" y="586"/>
                  <a:pt x="1795" y="586"/>
                </a:cubicBezTo>
                <a:cubicBezTo>
                  <a:pt x="1794" y="587"/>
                  <a:pt x="1794" y="587"/>
                  <a:pt x="1794" y="587"/>
                </a:cubicBezTo>
                <a:cubicBezTo>
                  <a:pt x="1792" y="587"/>
                  <a:pt x="1792" y="587"/>
                  <a:pt x="1792" y="587"/>
                </a:cubicBezTo>
                <a:cubicBezTo>
                  <a:pt x="1789" y="587"/>
                  <a:pt x="1789" y="587"/>
                  <a:pt x="1789" y="587"/>
                </a:cubicBezTo>
                <a:cubicBezTo>
                  <a:pt x="1787" y="587"/>
                  <a:pt x="1787" y="587"/>
                  <a:pt x="1787" y="587"/>
                </a:cubicBezTo>
                <a:cubicBezTo>
                  <a:pt x="1784" y="588"/>
                  <a:pt x="1784" y="588"/>
                  <a:pt x="1784" y="588"/>
                </a:cubicBezTo>
                <a:cubicBezTo>
                  <a:pt x="1784" y="589"/>
                  <a:pt x="1784" y="589"/>
                  <a:pt x="1784" y="589"/>
                </a:cubicBezTo>
                <a:cubicBezTo>
                  <a:pt x="1786" y="592"/>
                  <a:pt x="1786" y="592"/>
                  <a:pt x="1786" y="592"/>
                </a:cubicBezTo>
                <a:cubicBezTo>
                  <a:pt x="1789" y="592"/>
                  <a:pt x="1789" y="592"/>
                  <a:pt x="1789" y="592"/>
                </a:cubicBezTo>
                <a:cubicBezTo>
                  <a:pt x="1791" y="593"/>
                  <a:pt x="1791" y="593"/>
                  <a:pt x="1791" y="593"/>
                </a:cubicBezTo>
                <a:cubicBezTo>
                  <a:pt x="1791" y="594"/>
                  <a:pt x="1791" y="594"/>
                  <a:pt x="1791" y="594"/>
                </a:cubicBezTo>
                <a:cubicBezTo>
                  <a:pt x="1787" y="594"/>
                  <a:pt x="1787" y="594"/>
                  <a:pt x="1787" y="594"/>
                </a:cubicBezTo>
                <a:cubicBezTo>
                  <a:pt x="1783" y="595"/>
                  <a:pt x="1783" y="595"/>
                  <a:pt x="1783" y="595"/>
                </a:cubicBezTo>
                <a:cubicBezTo>
                  <a:pt x="1782" y="596"/>
                  <a:pt x="1782" y="596"/>
                  <a:pt x="1782" y="596"/>
                </a:cubicBezTo>
                <a:cubicBezTo>
                  <a:pt x="1782" y="597"/>
                  <a:pt x="1782" y="597"/>
                  <a:pt x="1782" y="597"/>
                </a:cubicBezTo>
                <a:cubicBezTo>
                  <a:pt x="1784" y="597"/>
                  <a:pt x="1784" y="597"/>
                  <a:pt x="1784" y="597"/>
                </a:cubicBezTo>
                <a:cubicBezTo>
                  <a:pt x="1785" y="598"/>
                  <a:pt x="1785" y="598"/>
                  <a:pt x="1785" y="598"/>
                </a:cubicBezTo>
                <a:cubicBezTo>
                  <a:pt x="1783" y="599"/>
                  <a:pt x="1783" y="599"/>
                  <a:pt x="1783" y="599"/>
                </a:cubicBezTo>
                <a:cubicBezTo>
                  <a:pt x="1779" y="599"/>
                  <a:pt x="1779" y="599"/>
                  <a:pt x="1779" y="599"/>
                </a:cubicBezTo>
                <a:cubicBezTo>
                  <a:pt x="1777" y="598"/>
                  <a:pt x="1777" y="598"/>
                  <a:pt x="1777" y="598"/>
                </a:cubicBezTo>
                <a:cubicBezTo>
                  <a:pt x="1774" y="599"/>
                  <a:pt x="1774" y="599"/>
                  <a:pt x="1774" y="599"/>
                </a:cubicBezTo>
                <a:cubicBezTo>
                  <a:pt x="1773" y="597"/>
                  <a:pt x="1773" y="597"/>
                  <a:pt x="1773" y="597"/>
                </a:cubicBezTo>
                <a:cubicBezTo>
                  <a:pt x="1772" y="597"/>
                  <a:pt x="1772" y="597"/>
                  <a:pt x="1772" y="597"/>
                </a:cubicBezTo>
                <a:cubicBezTo>
                  <a:pt x="1770" y="599"/>
                  <a:pt x="1770" y="599"/>
                  <a:pt x="1770" y="599"/>
                </a:cubicBezTo>
                <a:cubicBezTo>
                  <a:pt x="1769" y="599"/>
                  <a:pt x="1769" y="599"/>
                  <a:pt x="1769" y="599"/>
                </a:cubicBezTo>
                <a:cubicBezTo>
                  <a:pt x="1766" y="597"/>
                  <a:pt x="1766" y="597"/>
                  <a:pt x="1766" y="597"/>
                </a:cubicBezTo>
                <a:cubicBezTo>
                  <a:pt x="1764" y="597"/>
                  <a:pt x="1764" y="597"/>
                  <a:pt x="1764" y="597"/>
                </a:cubicBezTo>
                <a:cubicBezTo>
                  <a:pt x="1759" y="601"/>
                  <a:pt x="1759" y="601"/>
                  <a:pt x="1759" y="601"/>
                </a:cubicBezTo>
                <a:cubicBezTo>
                  <a:pt x="1758" y="602"/>
                  <a:pt x="1758" y="602"/>
                  <a:pt x="1758" y="602"/>
                </a:cubicBezTo>
                <a:cubicBezTo>
                  <a:pt x="1758" y="604"/>
                  <a:pt x="1758" y="604"/>
                  <a:pt x="1758" y="604"/>
                </a:cubicBezTo>
                <a:cubicBezTo>
                  <a:pt x="1758" y="605"/>
                  <a:pt x="1758" y="605"/>
                  <a:pt x="1758" y="605"/>
                </a:cubicBezTo>
                <a:cubicBezTo>
                  <a:pt x="1758" y="607"/>
                  <a:pt x="1758" y="607"/>
                  <a:pt x="1758" y="607"/>
                </a:cubicBezTo>
                <a:cubicBezTo>
                  <a:pt x="1758" y="608"/>
                  <a:pt x="1758" y="608"/>
                  <a:pt x="1758" y="608"/>
                </a:cubicBezTo>
                <a:cubicBezTo>
                  <a:pt x="1758" y="610"/>
                  <a:pt x="1758" y="610"/>
                  <a:pt x="1758" y="610"/>
                </a:cubicBezTo>
                <a:cubicBezTo>
                  <a:pt x="1761" y="609"/>
                  <a:pt x="1761" y="609"/>
                  <a:pt x="1761" y="609"/>
                </a:cubicBezTo>
                <a:cubicBezTo>
                  <a:pt x="1762" y="609"/>
                  <a:pt x="1762" y="609"/>
                  <a:pt x="1762" y="609"/>
                </a:cubicBezTo>
                <a:cubicBezTo>
                  <a:pt x="1764" y="608"/>
                  <a:pt x="1764" y="608"/>
                  <a:pt x="1764" y="608"/>
                </a:cubicBezTo>
                <a:cubicBezTo>
                  <a:pt x="1766" y="609"/>
                  <a:pt x="1766" y="609"/>
                  <a:pt x="1766" y="609"/>
                </a:cubicBezTo>
                <a:cubicBezTo>
                  <a:pt x="1764" y="611"/>
                  <a:pt x="1764" y="611"/>
                  <a:pt x="1764" y="611"/>
                </a:cubicBezTo>
                <a:cubicBezTo>
                  <a:pt x="1764" y="612"/>
                  <a:pt x="1764" y="612"/>
                  <a:pt x="1764" y="612"/>
                </a:cubicBezTo>
                <a:cubicBezTo>
                  <a:pt x="1765" y="614"/>
                  <a:pt x="1765" y="614"/>
                  <a:pt x="1765" y="614"/>
                </a:cubicBezTo>
                <a:cubicBezTo>
                  <a:pt x="1765" y="615"/>
                  <a:pt x="1765" y="615"/>
                  <a:pt x="1765" y="615"/>
                </a:cubicBezTo>
                <a:cubicBezTo>
                  <a:pt x="1765" y="616"/>
                  <a:pt x="1765" y="616"/>
                  <a:pt x="1765" y="616"/>
                </a:cubicBezTo>
                <a:cubicBezTo>
                  <a:pt x="1766" y="616"/>
                  <a:pt x="1766" y="616"/>
                  <a:pt x="1766" y="616"/>
                </a:cubicBezTo>
                <a:cubicBezTo>
                  <a:pt x="1767" y="615"/>
                  <a:pt x="1767" y="615"/>
                  <a:pt x="1767" y="615"/>
                </a:cubicBezTo>
                <a:cubicBezTo>
                  <a:pt x="1768" y="616"/>
                  <a:pt x="1768" y="616"/>
                  <a:pt x="1768" y="616"/>
                </a:cubicBezTo>
                <a:cubicBezTo>
                  <a:pt x="1766" y="618"/>
                  <a:pt x="1766" y="618"/>
                  <a:pt x="1766" y="618"/>
                </a:cubicBezTo>
                <a:cubicBezTo>
                  <a:pt x="1764" y="619"/>
                  <a:pt x="1764" y="619"/>
                  <a:pt x="1764" y="619"/>
                </a:cubicBezTo>
                <a:cubicBezTo>
                  <a:pt x="1765" y="620"/>
                  <a:pt x="1765" y="620"/>
                  <a:pt x="1765" y="620"/>
                </a:cubicBezTo>
                <a:cubicBezTo>
                  <a:pt x="1766" y="620"/>
                  <a:pt x="1766" y="620"/>
                  <a:pt x="1766" y="620"/>
                </a:cubicBezTo>
                <a:cubicBezTo>
                  <a:pt x="1765" y="621"/>
                  <a:pt x="1765" y="621"/>
                  <a:pt x="1765" y="621"/>
                </a:cubicBezTo>
                <a:cubicBezTo>
                  <a:pt x="1764" y="623"/>
                  <a:pt x="1764" y="623"/>
                  <a:pt x="1764" y="623"/>
                </a:cubicBezTo>
                <a:cubicBezTo>
                  <a:pt x="1763" y="623"/>
                  <a:pt x="1763" y="623"/>
                  <a:pt x="1763" y="623"/>
                </a:cubicBezTo>
                <a:cubicBezTo>
                  <a:pt x="1762" y="620"/>
                  <a:pt x="1762" y="620"/>
                  <a:pt x="1762" y="620"/>
                </a:cubicBezTo>
                <a:cubicBezTo>
                  <a:pt x="1761" y="620"/>
                  <a:pt x="1761" y="620"/>
                  <a:pt x="1761" y="620"/>
                </a:cubicBezTo>
                <a:cubicBezTo>
                  <a:pt x="1761" y="621"/>
                  <a:pt x="1761" y="621"/>
                  <a:pt x="1761" y="621"/>
                </a:cubicBezTo>
                <a:cubicBezTo>
                  <a:pt x="1761" y="623"/>
                  <a:pt x="1761" y="623"/>
                  <a:pt x="1761" y="623"/>
                </a:cubicBezTo>
                <a:cubicBezTo>
                  <a:pt x="1760" y="624"/>
                  <a:pt x="1760" y="624"/>
                  <a:pt x="1760" y="624"/>
                </a:cubicBezTo>
                <a:cubicBezTo>
                  <a:pt x="1761" y="626"/>
                  <a:pt x="1761" y="626"/>
                  <a:pt x="1761" y="626"/>
                </a:cubicBezTo>
                <a:cubicBezTo>
                  <a:pt x="1762" y="627"/>
                  <a:pt x="1762" y="627"/>
                  <a:pt x="1762" y="627"/>
                </a:cubicBezTo>
                <a:cubicBezTo>
                  <a:pt x="1763" y="626"/>
                  <a:pt x="1763" y="626"/>
                  <a:pt x="1763" y="626"/>
                </a:cubicBezTo>
                <a:cubicBezTo>
                  <a:pt x="1765" y="627"/>
                  <a:pt x="1765" y="627"/>
                  <a:pt x="1765" y="627"/>
                </a:cubicBezTo>
                <a:cubicBezTo>
                  <a:pt x="1766" y="627"/>
                  <a:pt x="1766" y="627"/>
                  <a:pt x="1766" y="627"/>
                </a:cubicBezTo>
                <a:cubicBezTo>
                  <a:pt x="1769" y="629"/>
                  <a:pt x="1769" y="629"/>
                  <a:pt x="1769" y="629"/>
                </a:cubicBezTo>
                <a:cubicBezTo>
                  <a:pt x="1769" y="631"/>
                  <a:pt x="1769" y="631"/>
                  <a:pt x="1769" y="631"/>
                </a:cubicBezTo>
                <a:cubicBezTo>
                  <a:pt x="1768" y="633"/>
                  <a:pt x="1768" y="633"/>
                  <a:pt x="1768" y="633"/>
                </a:cubicBezTo>
                <a:cubicBezTo>
                  <a:pt x="1769" y="634"/>
                  <a:pt x="1769" y="634"/>
                  <a:pt x="1769" y="634"/>
                </a:cubicBezTo>
                <a:cubicBezTo>
                  <a:pt x="1769" y="635"/>
                  <a:pt x="1769" y="635"/>
                  <a:pt x="1769" y="635"/>
                </a:cubicBezTo>
                <a:cubicBezTo>
                  <a:pt x="1770" y="635"/>
                  <a:pt x="1770" y="635"/>
                  <a:pt x="1770" y="635"/>
                </a:cubicBezTo>
                <a:cubicBezTo>
                  <a:pt x="1773" y="637"/>
                  <a:pt x="1773" y="637"/>
                  <a:pt x="1773" y="637"/>
                </a:cubicBezTo>
                <a:cubicBezTo>
                  <a:pt x="1772" y="639"/>
                  <a:pt x="1772" y="639"/>
                  <a:pt x="1772" y="639"/>
                </a:cubicBezTo>
                <a:cubicBezTo>
                  <a:pt x="1770" y="639"/>
                  <a:pt x="1770" y="639"/>
                  <a:pt x="1770" y="639"/>
                </a:cubicBezTo>
                <a:cubicBezTo>
                  <a:pt x="1770" y="640"/>
                  <a:pt x="1770" y="640"/>
                  <a:pt x="1770" y="640"/>
                </a:cubicBezTo>
                <a:cubicBezTo>
                  <a:pt x="1771" y="640"/>
                  <a:pt x="1771" y="640"/>
                  <a:pt x="1771" y="640"/>
                </a:cubicBezTo>
                <a:cubicBezTo>
                  <a:pt x="1774" y="640"/>
                  <a:pt x="1774" y="640"/>
                  <a:pt x="1774" y="640"/>
                </a:cubicBezTo>
                <a:cubicBezTo>
                  <a:pt x="1779" y="640"/>
                  <a:pt x="1779" y="640"/>
                  <a:pt x="1779" y="640"/>
                </a:cubicBezTo>
                <a:cubicBezTo>
                  <a:pt x="1778" y="640"/>
                  <a:pt x="1778" y="640"/>
                  <a:pt x="1778" y="640"/>
                </a:cubicBezTo>
                <a:cubicBezTo>
                  <a:pt x="1777" y="641"/>
                  <a:pt x="1777" y="641"/>
                  <a:pt x="1777" y="641"/>
                </a:cubicBezTo>
                <a:cubicBezTo>
                  <a:pt x="1775" y="642"/>
                  <a:pt x="1775" y="642"/>
                  <a:pt x="1775" y="642"/>
                </a:cubicBezTo>
                <a:cubicBezTo>
                  <a:pt x="1772" y="642"/>
                  <a:pt x="1772" y="642"/>
                  <a:pt x="1772" y="642"/>
                </a:cubicBezTo>
                <a:cubicBezTo>
                  <a:pt x="1771" y="643"/>
                  <a:pt x="1771" y="643"/>
                  <a:pt x="1771" y="643"/>
                </a:cubicBezTo>
                <a:cubicBezTo>
                  <a:pt x="1772" y="644"/>
                  <a:pt x="1772" y="644"/>
                  <a:pt x="1772" y="644"/>
                </a:cubicBezTo>
                <a:cubicBezTo>
                  <a:pt x="1774" y="643"/>
                  <a:pt x="1774" y="643"/>
                  <a:pt x="1774" y="643"/>
                </a:cubicBezTo>
                <a:cubicBezTo>
                  <a:pt x="1776" y="643"/>
                  <a:pt x="1776" y="643"/>
                  <a:pt x="1776" y="643"/>
                </a:cubicBezTo>
                <a:cubicBezTo>
                  <a:pt x="1777" y="643"/>
                  <a:pt x="1777" y="643"/>
                  <a:pt x="1777" y="643"/>
                </a:cubicBezTo>
                <a:cubicBezTo>
                  <a:pt x="1777" y="644"/>
                  <a:pt x="1777" y="644"/>
                  <a:pt x="1777" y="644"/>
                </a:cubicBezTo>
                <a:cubicBezTo>
                  <a:pt x="1778" y="645"/>
                  <a:pt x="1778" y="645"/>
                  <a:pt x="1778" y="645"/>
                </a:cubicBezTo>
                <a:cubicBezTo>
                  <a:pt x="1779" y="643"/>
                  <a:pt x="1779" y="643"/>
                  <a:pt x="1779" y="643"/>
                </a:cubicBezTo>
                <a:cubicBezTo>
                  <a:pt x="1780" y="641"/>
                  <a:pt x="1780" y="641"/>
                  <a:pt x="1780" y="641"/>
                </a:cubicBezTo>
                <a:cubicBezTo>
                  <a:pt x="1782" y="641"/>
                  <a:pt x="1782" y="641"/>
                  <a:pt x="1782" y="641"/>
                </a:cubicBezTo>
                <a:cubicBezTo>
                  <a:pt x="1783" y="643"/>
                  <a:pt x="1783" y="643"/>
                  <a:pt x="1783" y="643"/>
                </a:cubicBezTo>
                <a:cubicBezTo>
                  <a:pt x="1784" y="643"/>
                  <a:pt x="1784" y="643"/>
                  <a:pt x="1784" y="643"/>
                </a:cubicBezTo>
                <a:cubicBezTo>
                  <a:pt x="1786" y="644"/>
                  <a:pt x="1786" y="644"/>
                  <a:pt x="1786" y="644"/>
                </a:cubicBezTo>
                <a:cubicBezTo>
                  <a:pt x="1787" y="642"/>
                  <a:pt x="1787" y="642"/>
                  <a:pt x="1787" y="642"/>
                </a:cubicBezTo>
                <a:cubicBezTo>
                  <a:pt x="1788" y="643"/>
                  <a:pt x="1788" y="643"/>
                  <a:pt x="1788" y="643"/>
                </a:cubicBezTo>
                <a:cubicBezTo>
                  <a:pt x="1788" y="644"/>
                  <a:pt x="1788" y="644"/>
                  <a:pt x="1788" y="644"/>
                </a:cubicBezTo>
                <a:cubicBezTo>
                  <a:pt x="1787" y="644"/>
                  <a:pt x="1787" y="644"/>
                  <a:pt x="1787" y="644"/>
                </a:cubicBezTo>
                <a:cubicBezTo>
                  <a:pt x="1788" y="646"/>
                  <a:pt x="1788" y="646"/>
                  <a:pt x="1788" y="646"/>
                </a:cubicBezTo>
                <a:cubicBezTo>
                  <a:pt x="1789" y="647"/>
                  <a:pt x="1789" y="647"/>
                  <a:pt x="1789" y="647"/>
                </a:cubicBezTo>
                <a:cubicBezTo>
                  <a:pt x="1791" y="649"/>
                  <a:pt x="1791" y="649"/>
                  <a:pt x="1791" y="649"/>
                </a:cubicBezTo>
                <a:cubicBezTo>
                  <a:pt x="1792" y="648"/>
                  <a:pt x="1792" y="648"/>
                  <a:pt x="1792" y="648"/>
                </a:cubicBezTo>
                <a:cubicBezTo>
                  <a:pt x="1794" y="649"/>
                  <a:pt x="1794" y="649"/>
                  <a:pt x="1794" y="649"/>
                </a:cubicBezTo>
                <a:cubicBezTo>
                  <a:pt x="1796" y="649"/>
                  <a:pt x="1796" y="649"/>
                  <a:pt x="1796" y="649"/>
                </a:cubicBezTo>
                <a:cubicBezTo>
                  <a:pt x="1797" y="648"/>
                  <a:pt x="1797" y="648"/>
                  <a:pt x="1797" y="648"/>
                </a:cubicBezTo>
                <a:cubicBezTo>
                  <a:pt x="1799" y="648"/>
                  <a:pt x="1799" y="648"/>
                  <a:pt x="1799" y="648"/>
                </a:cubicBezTo>
                <a:cubicBezTo>
                  <a:pt x="1801" y="647"/>
                  <a:pt x="1801" y="647"/>
                  <a:pt x="1801" y="647"/>
                </a:cubicBezTo>
                <a:cubicBezTo>
                  <a:pt x="1802" y="648"/>
                  <a:pt x="1802" y="648"/>
                  <a:pt x="1802" y="648"/>
                </a:cubicBezTo>
                <a:cubicBezTo>
                  <a:pt x="1804" y="647"/>
                  <a:pt x="1804" y="647"/>
                  <a:pt x="1804" y="647"/>
                </a:cubicBezTo>
                <a:cubicBezTo>
                  <a:pt x="1803" y="645"/>
                  <a:pt x="1803" y="645"/>
                  <a:pt x="1803" y="645"/>
                </a:cubicBezTo>
                <a:cubicBezTo>
                  <a:pt x="1804" y="644"/>
                  <a:pt x="1804" y="644"/>
                  <a:pt x="1804" y="644"/>
                </a:cubicBezTo>
                <a:cubicBezTo>
                  <a:pt x="1803" y="641"/>
                  <a:pt x="1803" y="641"/>
                  <a:pt x="1803" y="641"/>
                </a:cubicBezTo>
                <a:cubicBezTo>
                  <a:pt x="1808" y="641"/>
                  <a:pt x="1808" y="641"/>
                  <a:pt x="1808" y="641"/>
                </a:cubicBezTo>
                <a:cubicBezTo>
                  <a:pt x="1811" y="641"/>
                  <a:pt x="1811" y="641"/>
                  <a:pt x="1811" y="641"/>
                </a:cubicBezTo>
                <a:cubicBezTo>
                  <a:pt x="1816" y="644"/>
                  <a:pt x="1816" y="644"/>
                  <a:pt x="1816" y="644"/>
                </a:cubicBezTo>
                <a:cubicBezTo>
                  <a:pt x="1818" y="644"/>
                  <a:pt x="1818" y="644"/>
                  <a:pt x="1818" y="644"/>
                </a:cubicBezTo>
                <a:cubicBezTo>
                  <a:pt x="1821" y="648"/>
                  <a:pt x="1821" y="648"/>
                  <a:pt x="1821" y="648"/>
                </a:cubicBezTo>
                <a:cubicBezTo>
                  <a:pt x="1824" y="650"/>
                  <a:pt x="1824" y="650"/>
                  <a:pt x="1824" y="650"/>
                </a:cubicBezTo>
                <a:cubicBezTo>
                  <a:pt x="1833" y="649"/>
                  <a:pt x="1833" y="649"/>
                  <a:pt x="1833" y="649"/>
                </a:cubicBezTo>
                <a:cubicBezTo>
                  <a:pt x="1836" y="647"/>
                  <a:pt x="1836" y="647"/>
                  <a:pt x="1836" y="647"/>
                </a:cubicBezTo>
                <a:cubicBezTo>
                  <a:pt x="1837" y="647"/>
                  <a:pt x="1837" y="647"/>
                  <a:pt x="1837" y="647"/>
                </a:cubicBezTo>
                <a:cubicBezTo>
                  <a:pt x="1837" y="648"/>
                  <a:pt x="1837" y="648"/>
                  <a:pt x="1837" y="648"/>
                </a:cubicBezTo>
                <a:cubicBezTo>
                  <a:pt x="1839" y="647"/>
                  <a:pt x="1839" y="647"/>
                  <a:pt x="1839" y="647"/>
                </a:cubicBezTo>
                <a:cubicBezTo>
                  <a:pt x="1839" y="645"/>
                  <a:pt x="1839" y="645"/>
                  <a:pt x="1839" y="645"/>
                </a:cubicBezTo>
                <a:cubicBezTo>
                  <a:pt x="1843" y="640"/>
                  <a:pt x="1843" y="640"/>
                  <a:pt x="1843" y="640"/>
                </a:cubicBezTo>
                <a:cubicBezTo>
                  <a:pt x="1844" y="640"/>
                  <a:pt x="1844" y="640"/>
                  <a:pt x="1844" y="640"/>
                </a:cubicBezTo>
                <a:cubicBezTo>
                  <a:pt x="1849" y="642"/>
                  <a:pt x="1849" y="642"/>
                  <a:pt x="1849" y="642"/>
                </a:cubicBezTo>
                <a:cubicBezTo>
                  <a:pt x="1851" y="643"/>
                  <a:pt x="1851" y="643"/>
                  <a:pt x="1851" y="643"/>
                </a:cubicBezTo>
                <a:cubicBezTo>
                  <a:pt x="1854" y="642"/>
                  <a:pt x="1854" y="642"/>
                  <a:pt x="1854" y="642"/>
                </a:cubicBezTo>
                <a:cubicBezTo>
                  <a:pt x="1854" y="641"/>
                  <a:pt x="1854" y="641"/>
                  <a:pt x="1854" y="641"/>
                </a:cubicBezTo>
                <a:cubicBezTo>
                  <a:pt x="1857" y="640"/>
                  <a:pt x="1857" y="640"/>
                  <a:pt x="1857" y="640"/>
                </a:cubicBezTo>
                <a:cubicBezTo>
                  <a:pt x="1858" y="640"/>
                  <a:pt x="1858" y="640"/>
                  <a:pt x="1858" y="640"/>
                </a:cubicBezTo>
                <a:cubicBezTo>
                  <a:pt x="1859" y="642"/>
                  <a:pt x="1859" y="642"/>
                  <a:pt x="1859" y="642"/>
                </a:cubicBezTo>
                <a:cubicBezTo>
                  <a:pt x="1857" y="644"/>
                  <a:pt x="1857" y="644"/>
                  <a:pt x="1857" y="644"/>
                </a:cubicBezTo>
                <a:cubicBezTo>
                  <a:pt x="1855" y="646"/>
                  <a:pt x="1855" y="646"/>
                  <a:pt x="1855" y="646"/>
                </a:cubicBezTo>
                <a:cubicBezTo>
                  <a:pt x="1855" y="647"/>
                  <a:pt x="1855" y="647"/>
                  <a:pt x="1855" y="647"/>
                </a:cubicBezTo>
                <a:cubicBezTo>
                  <a:pt x="1857" y="649"/>
                  <a:pt x="1857" y="649"/>
                  <a:pt x="1857" y="649"/>
                </a:cubicBezTo>
                <a:cubicBezTo>
                  <a:pt x="1857" y="650"/>
                  <a:pt x="1857" y="650"/>
                  <a:pt x="1857" y="650"/>
                </a:cubicBezTo>
                <a:cubicBezTo>
                  <a:pt x="1856" y="650"/>
                  <a:pt x="1856" y="650"/>
                  <a:pt x="1856" y="650"/>
                </a:cubicBezTo>
                <a:cubicBezTo>
                  <a:pt x="1855" y="651"/>
                  <a:pt x="1855" y="651"/>
                  <a:pt x="1855" y="651"/>
                </a:cubicBezTo>
                <a:cubicBezTo>
                  <a:pt x="1856" y="654"/>
                  <a:pt x="1856" y="654"/>
                  <a:pt x="1856" y="654"/>
                </a:cubicBezTo>
                <a:cubicBezTo>
                  <a:pt x="1857" y="657"/>
                  <a:pt x="1857" y="657"/>
                  <a:pt x="1857" y="657"/>
                </a:cubicBezTo>
                <a:cubicBezTo>
                  <a:pt x="1858" y="660"/>
                  <a:pt x="1858" y="660"/>
                  <a:pt x="1858" y="660"/>
                </a:cubicBezTo>
                <a:cubicBezTo>
                  <a:pt x="1857" y="662"/>
                  <a:pt x="1857" y="662"/>
                  <a:pt x="1857" y="662"/>
                </a:cubicBezTo>
                <a:cubicBezTo>
                  <a:pt x="1857" y="666"/>
                  <a:pt x="1857" y="666"/>
                  <a:pt x="1857" y="666"/>
                </a:cubicBezTo>
                <a:cubicBezTo>
                  <a:pt x="1857" y="667"/>
                  <a:pt x="1857" y="667"/>
                  <a:pt x="1857" y="667"/>
                </a:cubicBezTo>
                <a:cubicBezTo>
                  <a:pt x="1856" y="667"/>
                  <a:pt x="1856" y="667"/>
                  <a:pt x="1856" y="667"/>
                </a:cubicBezTo>
                <a:cubicBezTo>
                  <a:pt x="1855" y="674"/>
                  <a:pt x="1855" y="674"/>
                  <a:pt x="1855" y="674"/>
                </a:cubicBezTo>
                <a:cubicBezTo>
                  <a:pt x="1854" y="677"/>
                  <a:pt x="1854" y="677"/>
                  <a:pt x="1854" y="677"/>
                </a:cubicBezTo>
                <a:cubicBezTo>
                  <a:pt x="1852" y="679"/>
                  <a:pt x="1852" y="679"/>
                  <a:pt x="1852" y="679"/>
                </a:cubicBezTo>
                <a:cubicBezTo>
                  <a:pt x="1852" y="682"/>
                  <a:pt x="1852" y="682"/>
                  <a:pt x="1852" y="682"/>
                </a:cubicBezTo>
                <a:cubicBezTo>
                  <a:pt x="1851" y="682"/>
                  <a:pt x="1851" y="682"/>
                  <a:pt x="1851" y="682"/>
                </a:cubicBezTo>
                <a:cubicBezTo>
                  <a:pt x="1849" y="685"/>
                  <a:pt x="1849" y="685"/>
                  <a:pt x="1849" y="685"/>
                </a:cubicBezTo>
                <a:cubicBezTo>
                  <a:pt x="1849" y="692"/>
                  <a:pt x="1849" y="692"/>
                  <a:pt x="1849" y="692"/>
                </a:cubicBezTo>
                <a:cubicBezTo>
                  <a:pt x="1846" y="698"/>
                  <a:pt x="1846" y="698"/>
                  <a:pt x="1846" y="698"/>
                </a:cubicBezTo>
                <a:cubicBezTo>
                  <a:pt x="1843" y="702"/>
                  <a:pt x="1843" y="702"/>
                  <a:pt x="1843" y="702"/>
                </a:cubicBezTo>
                <a:cubicBezTo>
                  <a:pt x="1841" y="704"/>
                  <a:pt x="1841" y="704"/>
                  <a:pt x="1841" y="704"/>
                </a:cubicBezTo>
                <a:cubicBezTo>
                  <a:pt x="1838" y="705"/>
                  <a:pt x="1838" y="705"/>
                  <a:pt x="1838" y="705"/>
                </a:cubicBezTo>
                <a:cubicBezTo>
                  <a:pt x="1832" y="704"/>
                  <a:pt x="1832" y="704"/>
                  <a:pt x="1832" y="704"/>
                </a:cubicBezTo>
                <a:cubicBezTo>
                  <a:pt x="1827" y="705"/>
                  <a:pt x="1827" y="705"/>
                  <a:pt x="1827" y="705"/>
                </a:cubicBezTo>
                <a:cubicBezTo>
                  <a:pt x="1823" y="703"/>
                  <a:pt x="1823" y="703"/>
                  <a:pt x="1823" y="703"/>
                </a:cubicBezTo>
                <a:cubicBezTo>
                  <a:pt x="1823" y="705"/>
                  <a:pt x="1823" y="705"/>
                  <a:pt x="1823" y="705"/>
                </a:cubicBezTo>
                <a:cubicBezTo>
                  <a:pt x="1824" y="707"/>
                  <a:pt x="1824" y="707"/>
                  <a:pt x="1824" y="707"/>
                </a:cubicBezTo>
                <a:cubicBezTo>
                  <a:pt x="1824" y="708"/>
                  <a:pt x="1824" y="708"/>
                  <a:pt x="1824" y="708"/>
                </a:cubicBezTo>
                <a:cubicBezTo>
                  <a:pt x="1823" y="706"/>
                  <a:pt x="1823" y="706"/>
                  <a:pt x="1823" y="706"/>
                </a:cubicBezTo>
                <a:cubicBezTo>
                  <a:pt x="1821" y="705"/>
                  <a:pt x="1821" y="705"/>
                  <a:pt x="1821" y="705"/>
                </a:cubicBezTo>
                <a:cubicBezTo>
                  <a:pt x="1820" y="703"/>
                  <a:pt x="1820" y="703"/>
                  <a:pt x="1820" y="703"/>
                </a:cubicBezTo>
                <a:cubicBezTo>
                  <a:pt x="1821" y="702"/>
                  <a:pt x="1821" y="702"/>
                  <a:pt x="1821" y="702"/>
                </a:cubicBezTo>
                <a:cubicBezTo>
                  <a:pt x="1820" y="702"/>
                  <a:pt x="1820" y="702"/>
                  <a:pt x="1820" y="702"/>
                </a:cubicBezTo>
                <a:cubicBezTo>
                  <a:pt x="1819" y="702"/>
                  <a:pt x="1819" y="702"/>
                  <a:pt x="1819" y="702"/>
                </a:cubicBezTo>
                <a:cubicBezTo>
                  <a:pt x="1817" y="701"/>
                  <a:pt x="1817" y="701"/>
                  <a:pt x="1817" y="701"/>
                </a:cubicBezTo>
                <a:cubicBezTo>
                  <a:pt x="1813" y="700"/>
                  <a:pt x="1813" y="700"/>
                  <a:pt x="1813" y="700"/>
                </a:cubicBezTo>
                <a:cubicBezTo>
                  <a:pt x="1813" y="701"/>
                  <a:pt x="1813" y="701"/>
                  <a:pt x="1813" y="701"/>
                </a:cubicBezTo>
                <a:cubicBezTo>
                  <a:pt x="1814" y="701"/>
                  <a:pt x="1814" y="701"/>
                  <a:pt x="1814" y="701"/>
                </a:cubicBezTo>
                <a:cubicBezTo>
                  <a:pt x="1814" y="702"/>
                  <a:pt x="1814" y="702"/>
                  <a:pt x="1814" y="702"/>
                </a:cubicBezTo>
                <a:cubicBezTo>
                  <a:pt x="1812" y="702"/>
                  <a:pt x="1812" y="702"/>
                  <a:pt x="1812" y="702"/>
                </a:cubicBezTo>
                <a:cubicBezTo>
                  <a:pt x="1811" y="702"/>
                  <a:pt x="1811" y="702"/>
                  <a:pt x="1811" y="702"/>
                </a:cubicBezTo>
                <a:cubicBezTo>
                  <a:pt x="1808" y="703"/>
                  <a:pt x="1808" y="703"/>
                  <a:pt x="1808" y="703"/>
                </a:cubicBezTo>
                <a:cubicBezTo>
                  <a:pt x="1808" y="702"/>
                  <a:pt x="1808" y="702"/>
                  <a:pt x="1808" y="702"/>
                </a:cubicBezTo>
                <a:cubicBezTo>
                  <a:pt x="1808" y="702"/>
                  <a:pt x="1808" y="702"/>
                  <a:pt x="1808" y="702"/>
                </a:cubicBezTo>
                <a:cubicBezTo>
                  <a:pt x="1810" y="701"/>
                  <a:pt x="1810" y="701"/>
                  <a:pt x="1810" y="701"/>
                </a:cubicBezTo>
                <a:cubicBezTo>
                  <a:pt x="1811" y="701"/>
                  <a:pt x="1811" y="701"/>
                  <a:pt x="1811" y="701"/>
                </a:cubicBezTo>
                <a:cubicBezTo>
                  <a:pt x="1809" y="701"/>
                  <a:pt x="1809" y="701"/>
                  <a:pt x="1809" y="701"/>
                </a:cubicBezTo>
                <a:cubicBezTo>
                  <a:pt x="1806" y="701"/>
                  <a:pt x="1806" y="701"/>
                  <a:pt x="1806" y="701"/>
                </a:cubicBezTo>
                <a:cubicBezTo>
                  <a:pt x="1805" y="702"/>
                  <a:pt x="1805" y="702"/>
                  <a:pt x="1805" y="702"/>
                </a:cubicBezTo>
                <a:cubicBezTo>
                  <a:pt x="1802" y="703"/>
                  <a:pt x="1802" y="703"/>
                  <a:pt x="1802" y="703"/>
                </a:cubicBezTo>
                <a:cubicBezTo>
                  <a:pt x="1801" y="704"/>
                  <a:pt x="1801" y="704"/>
                  <a:pt x="1801" y="704"/>
                </a:cubicBezTo>
                <a:cubicBezTo>
                  <a:pt x="1799" y="705"/>
                  <a:pt x="1799" y="705"/>
                  <a:pt x="1799" y="705"/>
                </a:cubicBezTo>
                <a:cubicBezTo>
                  <a:pt x="1796" y="707"/>
                  <a:pt x="1796" y="707"/>
                  <a:pt x="1796" y="707"/>
                </a:cubicBezTo>
                <a:cubicBezTo>
                  <a:pt x="1796" y="708"/>
                  <a:pt x="1796" y="708"/>
                  <a:pt x="1796" y="708"/>
                </a:cubicBezTo>
                <a:cubicBezTo>
                  <a:pt x="1793" y="708"/>
                  <a:pt x="1793" y="708"/>
                  <a:pt x="1793" y="708"/>
                </a:cubicBezTo>
                <a:cubicBezTo>
                  <a:pt x="1789" y="706"/>
                  <a:pt x="1789" y="706"/>
                  <a:pt x="1789" y="706"/>
                </a:cubicBezTo>
                <a:cubicBezTo>
                  <a:pt x="1787" y="705"/>
                  <a:pt x="1787" y="705"/>
                  <a:pt x="1787" y="705"/>
                </a:cubicBezTo>
                <a:cubicBezTo>
                  <a:pt x="1783" y="706"/>
                  <a:pt x="1783" y="706"/>
                  <a:pt x="1783" y="706"/>
                </a:cubicBezTo>
                <a:cubicBezTo>
                  <a:pt x="1780" y="704"/>
                  <a:pt x="1780" y="704"/>
                  <a:pt x="1780" y="704"/>
                </a:cubicBezTo>
                <a:cubicBezTo>
                  <a:pt x="1779" y="704"/>
                  <a:pt x="1779" y="704"/>
                  <a:pt x="1779" y="704"/>
                </a:cubicBezTo>
                <a:cubicBezTo>
                  <a:pt x="1778" y="705"/>
                  <a:pt x="1778" y="705"/>
                  <a:pt x="1778" y="705"/>
                </a:cubicBezTo>
                <a:cubicBezTo>
                  <a:pt x="1775" y="703"/>
                  <a:pt x="1775" y="703"/>
                  <a:pt x="1775" y="703"/>
                </a:cubicBezTo>
                <a:cubicBezTo>
                  <a:pt x="1772" y="702"/>
                  <a:pt x="1772" y="702"/>
                  <a:pt x="1772" y="702"/>
                </a:cubicBezTo>
                <a:cubicBezTo>
                  <a:pt x="1764" y="701"/>
                  <a:pt x="1764" y="701"/>
                  <a:pt x="1764" y="701"/>
                </a:cubicBezTo>
                <a:cubicBezTo>
                  <a:pt x="1760" y="700"/>
                  <a:pt x="1760" y="700"/>
                  <a:pt x="1760" y="700"/>
                </a:cubicBezTo>
                <a:cubicBezTo>
                  <a:pt x="1755" y="700"/>
                  <a:pt x="1755" y="700"/>
                  <a:pt x="1755" y="700"/>
                </a:cubicBezTo>
                <a:cubicBezTo>
                  <a:pt x="1754" y="700"/>
                  <a:pt x="1754" y="700"/>
                  <a:pt x="1754" y="700"/>
                </a:cubicBezTo>
                <a:cubicBezTo>
                  <a:pt x="1754" y="700"/>
                  <a:pt x="1754" y="700"/>
                  <a:pt x="1754" y="700"/>
                </a:cubicBezTo>
                <a:cubicBezTo>
                  <a:pt x="1753" y="698"/>
                  <a:pt x="1753" y="698"/>
                  <a:pt x="1753" y="698"/>
                </a:cubicBezTo>
                <a:cubicBezTo>
                  <a:pt x="1752" y="696"/>
                  <a:pt x="1752" y="696"/>
                  <a:pt x="1752" y="696"/>
                </a:cubicBezTo>
                <a:cubicBezTo>
                  <a:pt x="1750" y="696"/>
                  <a:pt x="1750" y="696"/>
                  <a:pt x="1750" y="696"/>
                </a:cubicBezTo>
                <a:cubicBezTo>
                  <a:pt x="1748" y="696"/>
                  <a:pt x="1748" y="696"/>
                  <a:pt x="1748" y="696"/>
                </a:cubicBezTo>
                <a:cubicBezTo>
                  <a:pt x="1741" y="695"/>
                  <a:pt x="1741" y="695"/>
                  <a:pt x="1741" y="695"/>
                </a:cubicBezTo>
                <a:cubicBezTo>
                  <a:pt x="1740" y="694"/>
                  <a:pt x="1740" y="694"/>
                  <a:pt x="1740" y="694"/>
                </a:cubicBezTo>
                <a:cubicBezTo>
                  <a:pt x="1737" y="694"/>
                  <a:pt x="1737" y="694"/>
                  <a:pt x="1737" y="694"/>
                </a:cubicBezTo>
                <a:cubicBezTo>
                  <a:pt x="1733" y="693"/>
                  <a:pt x="1733" y="693"/>
                  <a:pt x="1733" y="693"/>
                </a:cubicBezTo>
                <a:cubicBezTo>
                  <a:pt x="1733" y="692"/>
                  <a:pt x="1733" y="692"/>
                  <a:pt x="1733" y="692"/>
                </a:cubicBezTo>
                <a:cubicBezTo>
                  <a:pt x="1733" y="691"/>
                  <a:pt x="1733" y="691"/>
                  <a:pt x="1733" y="691"/>
                </a:cubicBezTo>
                <a:cubicBezTo>
                  <a:pt x="1733" y="690"/>
                  <a:pt x="1733" y="690"/>
                  <a:pt x="1733" y="690"/>
                </a:cubicBezTo>
                <a:cubicBezTo>
                  <a:pt x="1729" y="688"/>
                  <a:pt x="1729" y="688"/>
                  <a:pt x="1729" y="688"/>
                </a:cubicBezTo>
                <a:cubicBezTo>
                  <a:pt x="1727" y="688"/>
                  <a:pt x="1727" y="688"/>
                  <a:pt x="1727" y="688"/>
                </a:cubicBezTo>
                <a:cubicBezTo>
                  <a:pt x="1723" y="687"/>
                  <a:pt x="1723" y="687"/>
                  <a:pt x="1723" y="687"/>
                </a:cubicBezTo>
                <a:cubicBezTo>
                  <a:pt x="1722" y="686"/>
                  <a:pt x="1722" y="686"/>
                  <a:pt x="1722" y="686"/>
                </a:cubicBezTo>
                <a:cubicBezTo>
                  <a:pt x="1721" y="687"/>
                  <a:pt x="1721" y="687"/>
                  <a:pt x="1721" y="687"/>
                </a:cubicBezTo>
                <a:cubicBezTo>
                  <a:pt x="1719" y="686"/>
                  <a:pt x="1719" y="686"/>
                  <a:pt x="1719" y="686"/>
                </a:cubicBezTo>
                <a:cubicBezTo>
                  <a:pt x="1719" y="686"/>
                  <a:pt x="1719" y="686"/>
                  <a:pt x="1719" y="686"/>
                </a:cubicBezTo>
                <a:cubicBezTo>
                  <a:pt x="1715" y="688"/>
                  <a:pt x="1715" y="688"/>
                  <a:pt x="1715" y="688"/>
                </a:cubicBezTo>
                <a:cubicBezTo>
                  <a:pt x="1710" y="688"/>
                  <a:pt x="1710" y="688"/>
                  <a:pt x="1710" y="688"/>
                </a:cubicBezTo>
                <a:cubicBezTo>
                  <a:pt x="1706" y="690"/>
                  <a:pt x="1706" y="690"/>
                  <a:pt x="1706" y="690"/>
                </a:cubicBezTo>
                <a:cubicBezTo>
                  <a:pt x="1704" y="693"/>
                  <a:pt x="1704" y="693"/>
                  <a:pt x="1704" y="693"/>
                </a:cubicBezTo>
                <a:cubicBezTo>
                  <a:pt x="1703" y="695"/>
                  <a:pt x="1703" y="695"/>
                  <a:pt x="1703" y="695"/>
                </a:cubicBezTo>
                <a:cubicBezTo>
                  <a:pt x="1702" y="696"/>
                  <a:pt x="1702" y="696"/>
                  <a:pt x="1702" y="696"/>
                </a:cubicBezTo>
                <a:cubicBezTo>
                  <a:pt x="1701" y="702"/>
                  <a:pt x="1701" y="702"/>
                  <a:pt x="1701" y="702"/>
                </a:cubicBezTo>
                <a:cubicBezTo>
                  <a:pt x="1703" y="704"/>
                  <a:pt x="1703" y="704"/>
                  <a:pt x="1703" y="704"/>
                </a:cubicBezTo>
                <a:cubicBezTo>
                  <a:pt x="1704" y="709"/>
                  <a:pt x="1704" y="709"/>
                  <a:pt x="1704" y="709"/>
                </a:cubicBezTo>
                <a:cubicBezTo>
                  <a:pt x="1704" y="711"/>
                  <a:pt x="1704" y="711"/>
                  <a:pt x="1704" y="711"/>
                </a:cubicBezTo>
                <a:cubicBezTo>
                  <a:pt x="1701" y="713"/>
                  <a:pt x="1701" y="713"/>
                  <a:pt x="1701" y="713"/>
                </a:cubicBezTo>
                <a:cubicBezTo>
                  <a:pt x="1701" y="714"/>
                  <a:pt x="1701" y="714"/>
                  <a:pt x="1701" y="714"/>
                </a:cubicBezTo>
                <a:cubicBezTo>
                  <a:pt x="1697" y="717"/>
                  <a:pt x="1697" y="717"/>
                  <a:pt x="1697" y="717"/>
                </a:cubicBezTo>
                <a:cubicBezTo>
                  <a:pt x="1695" y="718"/>
                  <a:pt x="1695" y="718"/>
                  <a:pt x="1695" y="718"/>
                </a:cubicBezTo>
                <a:cubicBezTo>
                  <a:pt x="1691" y="716"/>
                  <a:pt x="1691" y="716"/>
                  <a:pt x="1691" y="716"/>
                </a:cubicBezTo>
                <a:cubicBezTo>
                  <a:pt x="1687" y="713"/>
                  <a:pt x="1687" y="713"/>
                  <a:pt x="1687" y="713"/>
                </a:cubicBezTo>
                <a:cubicBezTo>
                  <a:pt x="1684" y="711"/>
                  <a:pt x="1684" y="711"/>
                  <a:pt x="1684" y="711"/>
                </a:cubicBezTo>
                <a:cubicBezTo>
                  <a:pt x="1679" y="708"/>
                  <a:pt x="1679" y="708"/>
                  <a:pt x="1679" y="708"/>
                </a:cubicBezTo>
                <a:cubicBezTo>
                  <a:pt x="1672" y="705"/>
                  <a:pt x="1672" y="705"/>
                  <a:pt x="1672" y="705"/>
                </a:cubicBezTo>
                <a:cubicBezTo>
                  <a:pt x="1668" y="705"/>
                  <a:pt x="1668" y="705"/>
                  <a:pt x="1668" y="705"/>
                </a:cubicBezTo>
                <a:cubicBezTo>
                  <a:pt x="1667" y="705"/>
                  <a:pt x="1667" y="705"/>
                  <a:pt x="1667" y="705"/>
                </a:cubicBezTo>
                <a:cubicBezTo>
                  <a:pt x="1663" y="705"/>
                  <a:pt x="1663" y="705"/>
                  <a:pt x="1663" y="705"/>
                </a:cubicBezTo>
                <a:cubicBezTo>
                  <a:pt x="1660" y="704"/>
                  <a:pt x="1660" y="704"/>
                  <a:pt x="1660" y="704"/>
                </a:cubicBezTo>
                <a:cubicBezTo>
                  <a:pt x="1657" y="698"/>
                  <a:pt x="1657" y="698"/>
                  <a:pt x="1657" y="698"/>
                </a:cubicBezTo>
                <a:cubicBezTo>
                  <a:pt x="1657" y="694"/>
                  <a:pt x="1657" y="694"/>
                  <a:pt x="1657" y="694"/>
                </a:cubicBezTo>
                <a:cubicBezTo>
                  <a:pt x="1654" y="691"/>
                  <a:pt x="1654" y="691"/>
                  <a:pt x="1654" y="691"/>
                </a:cubicBezTo>
                <a:cubicBezTo>
                  <a:pt x="1648" y="690"/>
                  <a:pt x="1648" y="690"/>
                  <a:pt x="1648" y="690"/>
                </a:cubicBezTo>
                <a:cubicBezTo>
                  <a:pt x="1644" y="688"/>
                  <a:pt x="1644" y="688"/>
                  <a:pt x="1644" y="688"/>
                </a:cubicBezTo>
                <a:cubicBezTo>
                  <a:pt x="1639" y="688"/>
                  <a:pt x="1639" y="688"/>
                  <a:pt x="1639" y="688"/>
                </a:cubicBezTo>
                <a:cubicBezTo>
                  <a:pt x="1636" y="687"/>
                  <a:pt x="1636" y="687"/>
                  <a:pt x="1636" y="687"/>
                </a:cubicBezTo>
                <a:cubicBezTo>
                  <a:pt x="1629" y="688"/>
                  <a:pt x="1629" y="688"/>
                  <a:pt x="1629" y="688"/>
                </a:cubicBezTo>
                <a:cubicBezTo>
                  <a:pt x="1624" y="687"/>
                  <a:pt x="1624" y="687"/>
                  <a:pt x="1624" y="687"/>
                </a:cubicBezTo>
                <a:cubicBezTo>
                  <a:pt x="1622" y="685"/>
                  <a:pt x="1622" y="685"/>
                  <a:pt x="1622" y="685"/>
                </a:cubicBezTo>
                <a:cubicBezTo>
                  <a:pt x="1619" y="685"/>
                  <a:pt x="1619" y="685"/>
                  <a:pt x="1619" y="685"/>
                </a:cubicBezTo>
                <a:cubicBezTo>
                  <a:pt x="1618" y="684"/>
                  <a:pt x="1618" y="684"/>
                  <a:pt x="1618" y="684"/>
                </a:cubicBezTo>
                <a:cubicBezTo>
                  <a:pt x="1615" y="682"/>
                  <a:pt x="1615" y="682"/>
                  <a:pt x="1615" y="682"/>
                </a:cubicBezTo>
                <a:cubicBezTo>
                  <a:pt x="1615" y="681"/>
                  <a:pt x="1615" y="681"/>
                  <a:pt x="1615" y="681"/>
                </a:cubicBezTo>
                <a:cubicBezTo>
                  <a:pt x="1615" y="680"/>
                  <a:pt x="1615" y="680"/>
                  <a:pt x="1615" y="680"/>
                </a:cubicBezTo>
                <a:cubicBezTo>
                  <a:pt x="1613" y="679"/>
                  <a:pt x="1613" y="679"/>
                  <a:pt x="1613" y="679"/>
                </a:cubicBezTo>
                <a:cubicBezTo>
                  <a:pt x="1613" y="680"/>
                  <a:pt x="1613" y="680"/>
                  <a:pt x="1613" y="680"/>
                </a:cubicBezTo>
                <a:cubicBezTo>
                  <a:pt x="1613" y="680"/>
                  <a:pt x="1613" y="680"/>
                  <a:pt x="1613" y="680"/>
                </a:cubicBezTo>
                <a:cubicBezTo>
                  <a:pt x="1612" y="681"/>
                  <a:pt x="1612" y="681"/>
                  <a:pt x="1612" y="681"/>
                </a:cubicBezTo>
                <a:cubicBezTo>
                  <a:pt x="1611" y="680"/>
                  <a:pt x="1611" y="680"/>
                  <a:pt x="1611" y="680"/>
                </a:cubicBezTo>
                <a:cubicBezTo>
                  <a:pt x="1610" y="679"/>
                  <a:pt x="1610" y="679"/>
                  <a:pt x="1610" y="679"/>
                </a:cubicBezTo>
                <a:cubicBezTo>
                  <a:pt x="1609" y="679"/>
                  <a:pt x="1609" y="679"/>
                  <a:pt x="1609" y="679"/>
                </a:cubicBezTo>
                <a:cubicBezTo>
                  <a:pt x="1606" y="677"/>
                  <a:pt x="1606" y="677"/>
                  <a:pt x="1606" y="677"/>
                </a:cubicBezTo>
                <a:cubicBezTo>
                  <a:pt x="1604" y="674"/>
                  <a:pt x="1604" y="674"/>
                  <a:pt x="1604" y="674"/>
                </a:cubicBezTo>
                <a:cubicBezTo>
                  <a:pt x="1605" y="671"/>
                  <a:pt x="1605" y="671"/>
                  <a:pt x="1605" y="671"/>
                </a:cubicBezTo>
                <a:cubicBezTo>
                  <a:pt x="1610" y="667"/>
                  <a:pt x="1610" y="667"/>
                  <a:pt x="1610" y="667"/>
                </a:cubicBezTo>
                <a:cubicBezTo>
                  <a:pt x="1613" y="665"/>
                  <a:pt x="1613" y="665"/>
                  <a:pt x="1613" y="665"/>
                </a:cubicBezTo>
                <a:cubicBezTo>
                  <a:pt x="1614" y="664"/>
                  <a:pt x="1614" y="664"/>
                  <a:pt x="1614" y="664"/>
                </a:cubicBezTo>
                <a:cubicBezTo>
                  <a:pt x="1613" y="663"/>
                  <a:pt x="1613" y="663"/>
                  <a:pt x="1613" y="663"/>
                </a:cubicBezTo>
                <a:cubicBezTo>
                  <a:pt x="1614" y="661"/>
                  <a:pt x="1614" y="661"/>
                  <a:pt x="1614" y="661"/>
                </a:cubicBezTo>
                <a:cubicBezTo>
                  <a:pt x="1613" y="660"/>
                  <a:pt x="1613" y="660"/>
                  <a:pt x="1613" y="660"/>
                </a:cubicBezTo>
                <a:cubicBezTo>
                  <a:pt x="1613" y="659"/>
                  <a:pt x="1613" y="659"/>
                  <a:pt x="1613" y="659"/>
                </a:cubicBezTo>
                <a:cubicBezTo>
                  <a:pt x="1613" y="656"/>
                  <a:pt x="1613" y="656"/>
                  <a:pt x="1613" y="656"/>
                </a:cubicBezTo>
                <a:cubicBezTo>
                  <a:pt x="1610" y="655"/>
                  <a:pt x="1610" y="655"/>
                  <a:pt x="1610" y="655"/>
                </a:cubicBezTo>
                <a:cubicBezTo>
                  <a:pt x="1607" y="652"/>
                  <a:pt x="1607" y="652"/>
                  <a:pt x="1607" y="652"/>
                </a:cubicBezTo>
                <a:cubicBezTo>
                  <a:pt x="1608" y="649"/>
                  <a:pt x="1608" y="649"/>
                  <a:pt x="1608" y="649"/>
                </a:cubicBezTo>
                <a:cubicBezTo>
                  <a:pt x="1610" y="647"/>
                  <a:pt x="1610" y="647"/>
                  <a:pt x="1610" y="647"/>
                </a:cubicBezTo>
                <a:cubicBezTo>
                  <a:pt x="1610" y="645"/>
                  <a:pt x="1610" y="645"/>
                  <a:pt x="1610" y="645"/>
                </a:cubicBezTo>
                <a:cubicBezTo>
                  <a:pt x="1612" y="642"/>
                  <a:pt x="1612" y="642"/>
                  <a:pt x="1612" y="642"/>
                </a:cubicBezTo>
                <a:cubicBezTo>
                  <a:pt x="1612" y="640"/>
                  <a:pt x="1612" y="640"/>
                  <a:pt x="1612" y="640"/>
                </a:cubicBezTo>
                <a:cubicBezTo>
                  <a:pt x="1612" y="640"/>
                  <a:pt x="1612" y="640"/>
                  <a:pt x="1612" y="640"/>
                </a:cubicBezTo>
                <a:cubicBezTo>
                  <a:pt x="1608" y="643"/>
                  <a:pt x="1608" y="643"/>
                  <a:pt x="1608" y="643"/>
                </a:cubicBezTo>
                <a:cubicBezTo>
                  <a:pt x="1607" y="644"/>
                  <a:pt x="1607" y="644"/>
                  <a:pt x="1607" y="644"/>
                </a:cubicBezTo>
                <a:cubicBezTo>
                  <a:pt x="1606" y="644"/>
                  <a:pt x="1606" y="644"/>
                  <a:pt x="1606" y="644"/>
                </a:cubicBezTo>
                <a:cubicBezTo>
                  <a:pt x="1604" y="640"/>
                  <a:pt x="1604" y="640"/>
                  <a:pt x="1604" y="640"/>
                </a:cubicBezTo>
                <a:cubicBezTo>
                  <a:pt x="1603" y="640"/>
                  <a:pt x="1603" y="640"/>
                  <a:pt x="1603" y="640"/>
                </a:cubicBezTo>
                <a:cubicBezTo>
                  <a:pt x="1603" y="638"/>
                  <a:pt x="1603" y="638"/>
                  <a:pt x="1603" y="638"/>
                </a:cubicBezTo>
                <a:cubicBezTo>
                  <a:pt x="1602" y="637"/>
                  <a:pt x="1602" y="637"/>
                  <a:pt x="1602" y="637"/>
                </a:cubicBezTo>
                <a:cubicBezTo>
                  <a:pt x="1600" y="637"/>
                  <a:pt x="1600" y="637"/>
                  <a:pt x="1600" y="637"/>
                </a:cubicBezTo>
                <a:cubicBezTo>
                  <a:pt x="1600" y="639"/>
                  <a:pt x="1600" y="639"/>
                  <a:pt x="1600" y="639"/>
                </a:cubicBezTo>
                <a:cubicBezTo>
                  <a:pt x="1599" y="637"/>
                  <a:pt x="1599" y="637"/>
                  <a:pt x="1599" y="637"/>
                </a:cubicBezTo>
                <a:cubicBezTo>
                  <a:pt x="1596" y="638"/>
                  <a:pt x="1596" y="638"/>
                  <a:pt x="1596" y="638"/>
                </a:cubicBezTo>
                <a:cubicBezTo>
                  <a:pt x="1592" y="640"/>
                  <a:pt x="1592" y="640"/>
                  <a:pt x="1592" y="640"/>
                </a:cubicBezTo>
                <a:cubicBezTo>
                  <a:pt x="1590" y="642"/>
                  <a:pt x="1590" y="642"/>
                  <a:pt x="1590" y="642"/>
                </a:cubicBezTo>
                <a:cubicBezTo>
                  <a:pt x="1590" y="642"/>
                  <a:pt x="1590" y="642"/>
                  <a:pt x="1590" y="642"/>
                </a:cubicBezTo>
                <a:cubicBezTo>
                  <a:pt x="1589" y="641"/>
                  <a:pt x="1589" y="641"/>
                  <a:pt x="1589" y="641"/>
                </a:cubicBezTo>
                <a:cubicBezTo>
                  <a:pt x="1586" y="642"/>
                  <a:pt x="1586" y="642"/>
                  <a:pt x="1586" y="642"/>
                </a:cubicBezTo>
                <a:cubicBezTo>
                  <a:pt x="1585" y="642"/>
                  <a:pt x="1585" y="642"/>
                  <a:pt x="1585" y="642"/>
                </a:cubicBezTo>
                <a:cubicBezTo>
                  <a:pt x="1581" y="643"/>
                  <a:pt x="1581" y="643"/>
                  <a:pt x="1581" y="643"/>
                </a:cubicBezTo>
                <a:cubicBezTo>
                  <a:pt x="1578" y="641"/>
                  <a:pt x="1578" y="641"/>
                  <a:pt x="1578" y="641"/>
                </a:cubicBezTo>
                <a:cubicBezTo>
                  <a:pt x="1576" y="640"/>
                  <a:pt x="1576" y="640"/>
                  <a:pt x="1576" y="640"/>
                </a:cubicBezTo>
                <a:cubicBezTo>
                  <a:pt x="1576" y="641"/>
                  <a:pt x="1576" y="641"/>
                  <a:pt x="1576" y="641"/>
                </a:cubicBezTo>
                <a:cubicBezTo>
                  <a:pt x="1574" y="643"/>
                  <a:pt x="1574" y="643"/>
                  <a:pt x="1574" y="643"/>
                </a:cubicBezTo>
                <a:cubicBezTo>
                  <a:pt x="1570" y="642"/>
                  <a:pt x="1570" y="642"/>
                  <a:pt x="1570" y="642"/>
                </a:cubicBezTo>
                <a:cubicBezTo>
                  <a:pt x="1570" y="641"/>
                  <a:pt x="1570" y="641"/>
                  <a:pt x="1570" y="641"/>
                </a:cubicBezTo>
                <a:cubicBezTo>
                  <a:pt x="1569" y="640"/>
                  <a:pt x="1569" y="640"/>
                  <a:pt x="1569" y="640"/>
                </a:cubicBezTo>
                <a:cubicBezTo>
                  <a:pt x="1566" y="640"/>
                  <a:pt x="1566" y="640"/>
                  <a:pt x="1566" y="640"/>
                </a:cubicBezTo>
                <a:cubicBezTo>
                  <a:pt x="1566" y="642"/>
                  <a:pt x="1566" y="642"/>
                  <a:pt x="1566" y="642"/>
                </a:cubicBezTo>
                <a:cubicBezTo>
                  <a:pt x="1564" y="642"/>
                  <a:pt x="1564" y="642"/>
                  <a:pt x="1564" y="642"/>
                </a:cubicBezTo>
                <a:cubicBezTo>
                  <a:pt x="1563" y="643"/>
                  <a:pt x="1563" y="643"/>
                  <a:pt x="1563" y="643"/>
                </a:cubicBezTo>
                <a:cubicBezTo>
                  <a:pt x="1562" y="643"/>
                  <a:pt x="1562" y="643"/>
                  <a:pt x="1562" y="643"/>
                </a:cubicBezTo>
                <a:cubicBezTo>
                  <a:pt x="1560" y="643"/>
                  <a:pt x="1560" y="643"/>
                  <a:pt x="1560" y="643"/>
                </a:cubicBezTo>
                <a:cubicBezTo>
                  <a:pt x="1558" y="645"/>
                  <a:pt x="1558" y="645"/>
                  <a:pt x="1558" y="645"/>
                </a:cubicBezTo>
                <a:cubicBezTo>
                  <a:pt x="1556" y="645"/>
                  <a:pt x="1556" y="645"/>
                  <a:pt x="1556" y="645"/>
                </a:cubicBezTo>
                <a:cubicBezTo>
                  <a:pt x="1555" y="642"/>
                  <a:pt x="1555" y="642"/>
                  <a:pt x="1555" y="642"/>
                </a:cubicBezTo>
                <a:cubicBezTo>
                  <a:pt x="1552" y="642"/>
                  <a:pt x="1552" y="642"/>
                  <a:pt x="1552" y="642"/>
                </a:cubicBezTo>
                <a:cubicBezTo>
                  <a:pt x="1551" y="642"/>
                  <a:pt x="1551" y="642"/>
                  <a:pt x="1551" y="642"/>
                </a:cubicBezTo>
                <a:cubicBezTo>
                  <a:pt x="1548" y="642"/>
                  <a:pt x="1548" y="642"/>
                  <a:pt x="1548" y="642"/>
                </a:cubicBezTo>
                <a:cubicBezTo>
                  <a:pt x="1546" y="642"/>
                  <a:pt x="1546" y="642"/>
                  <a:pt x="1546" y="642"/>
                </a:cubicBezTo>
                <a:cubicBezTo>
                  <a:pt x="1545" y="642"/>
                  <a:pt x="1545" y="642"/>
                  <a:pt x="1545" y="642"/>
                </a:cubicBezTo>
                <a:cubicBezTo>
                  <a:pt x="1543" y="642"/>
                  <a:pt x="1543" y="642"/>
                  <a:pt x="1543" y="642"/>
                </a:cubicBezTo>
                <a:cubicBezTo>
                  <a:pt x="1542" y="642"/>
                  <a:pt x="1542" y="642"/>
                  <a:pt x="1542" y="642"/>
                </a:cubicBezTo>
                <a:cubicBezTo>
                  <a:pt x="1541" y="644"/>
                  <a:pt x="1541" y="644"/>
                  <a:pt x="1541" y="644"/>
                </a:cubicBezTo>
                <a:cubicBezTo>
                  <a:pt x="1538" y="644"/>
                  <a:pt x="1538" y="644"/>
                  <a:pt x="1538" y="644"/>
                </a:cubicBezTo>
                <a:cubicBezTo>
                  <a:pt x="1537" y="643"/>
                  <a:pt x="1537" y="643"/>
                  <a:pt x="1537" y="643"/>
                </a:cubicBezTo>
                <a:cubicBezTo>
                  <a:pt x="1534" y="646"/>
                  <a:pt x="1534" y="646"/>
                  <a:pt x="1534" y="646"/>
                </a:cubicBezTo>
                <a:cubicBezTo>
                  <a:pt x="1532" y="646"/>
                  <a:pt x="1532" y="646"/>
                  <a:pt x="1532" y="646"/>
                </a:cubicBezTo>
                <a:cubicBezTo>
                  <a:pt x="1530" y="644"/>
                  <a:pt x="1530" y="644"/>
                  <a:pt x="1530" y="644"/>
                </a:cubicBezTo>
                <a:cubicBezTo>
                  <a:pt x="1528" y="645"/>
                  <a:pt x="1528" y="645"/>
                  <a:pt x="1528" y="645"/>
                </a:cubicBezTo>
                <a:cubicBezTo>
                  <a:pt x="1524" y="645"/>
                  <a:pt x="1524" y="645"/>
                  <a:pt x="1524" y="645"/>
                </a:cubicBezTo>
                <a:cubicBezTo>
                  <a:pt x="1522" y="645"/>
                  <a:pt x="1522" y="645"/>
                  <a:pt x="1522" y="645"/>
                </a:cubicBezTo>
                <a:cubicBezTo>
                  <a:pt x="1517" y="649"/>
                  <a:pt x="1517" y="649"/>
                  <a:pt x="1517" y="649"/>
                </a:cubicBezTo>
                <a:cubicBezTo>
                  <a:pt x="1514" y="649"/>
                  <a:pt x="1514" y="649"/>
                  <a:pt x="1514" y="649"/>
                </a:cubicBezTo>
                <a:cubicBezTo>
                  <a:pt x="1513" y="649"/>
                  <a:pt x="1513" y="649"/>
                  <a:pt x="1513" y="649"/>
                </a:cubicBezTo>
                <a:cubicBezTo>
                  <a:pt x="1510" y="651"/>
                  <a:pt x="1510" y="651"/>
                  <a:pt x="1510" y="651"/>
                </a:cubicBezTo>
                <a:cubicBezTo>
                  <a:pt x="1510" y="652"/>
                  <a:pt x="1510" y="652"/>
                  <a:pt x="1510" y="652"/>
                </a:cubicBezTo>
                <a:cubicBezTo>
                  <a:pt x="1509" y="654"/>
                  <a:pt x="1509" y="654"/>
                  <a:pt x="1509" y="654"/>
                </a:cubicBezTo>
                <a:cubicBezTo>
                  <a:pt x="1508" y="654"/>
                  <a:pt x="1508" y="654"/>
                  <a:pt x="1508" y="654"/>
                </a:cubicBezTo>
                <a:cubicBezTo>
                  <a:pt x="1507" y="653"/>
                  <a:pt x="1507" y="653"/>
                  <a:pt x="1507" y="653"/>
                </a:cubicBezTo>
                <a:cubicBezTo>
                  <a:pt x="1506" y="653"/>
                  <a:pt x="1506" y="653"/>
                  <a:pt x="1506" y="653"/>
                </a:cubicBezTo>
                <a:cubicBezTo>
                  <a:pt x="1505" y="654"/>
                  <a:pt x="1505" y="654"/>
                  <a:pt x="1505" y="654"/>
                </a:cubicBezTo>
                <a:cubicBezTo>
                  <a:pt x="1504" y="655"/>
                  <a:pt x="1504" y="655"/>
                  <a:pt x="1504" y="655"/>
                </a:cubicBezTo>
                <a:cubicBezTo>
                  <a:pt x="1501" y="655"/>
                  <a:pt x="1501" y="655"/>
                  <a:pt x="1501" y="655"/>
                </a:cubicBezTo>
                <a:cubicBezTo>
                  <a:pt x="1499" y="656"/>
                  <a:pt x="1499" y="656"/>
                  <a:pt x="1499" y="656"/>
                </a:cubicBezTo>
                <a:cubicBezTo>
                  <a:pt x="1498" y="657"/>
                  <a:pt x="1498" y="657"/>
                  <a:pt x="1498" y="657"/>
                </a:cubicBezTo>
                <a:cubicBezTo>
                  <a:pt x="1497" y="659"/>
                  <a:pt x="1497" y="659"/>
                  <a:pt x="1497" y="659"/>
                </a:cubicBezTo>
                <a:cubicBezTo>
                  <a:pt x="1495" y="661"/>
                  <a:pt x="1495" y="661"/>
                  <a:pt x="1495" y="661"/>
                </a:cubicBezTo>
                <a:cubicBezTo>
                  <a:pt x="1492" y="662"/>
                  <a:pt x="1492" y="662"/>
                  <a:pt x="1492" y="662"/>
                </a:cubicBezTo>
                <a:cubicBezTo>
                  <a:pt x="1489" y="662"/>
                  <a:pt x="1489" y="662"/>
                  <a:pt x="1489" y="662"/>
                </a:cubicBezTo>
                <a:cubicBezTo>
                  <a:pt x="1488" y="662"/>
                  <a:pt x="1488" y="662"/>
                  <a:pt x="1488" y="662"/>
                </a:cubicBezTo>
                <a:cubicBezTo>
                  <a:pt x="1482" y="662"/>
                  <a:pt x="1482" y="662"/>
                  <a:pt x="1482" y="662"/>
                </a:cubicBezTo>
                <a:cubicBezTo>
                  <a:pt x="1481" y="660"/>
                  <a:pt x="1481" y="660"/>
                  <a:pt x="1481" y="660"/>
                </a:cubicBezTo>
                <a:cubicBezTo>
                  <a:pt x="1480" y="658"/>
                  <a:pt x="1480" y="658"/>
                  <a:pt x="1480" y="658"/>
                </a:cubicBezTo>
                <a:cubicBezTo>
                  <a:pt x="1480" y="658"/>
                  <a:pt x="1480" y="658"/>
                  <a:pt x="1480" y="658"/>
                </a:cubicBezTo>
                <a:cubicBezTo>
                  <a:pt x="1480" y="658"/>
                  <a:pt x="1480" y="658"/>
                  <a:pt x="1480" y="658"/>
                </a:cubicBezTo>
                <a:cubicBezTo>
                  <a:pt x="1478" y="660"/>
                  <a:pt x="1478" y="660"/>
                  <a:pt x="1478" y="660"/>
                </a:cubicBezTo>
                <a:cubicBezTo>
                  <a:pt x="1475" y="661"/>
                  <a:pt x="1475" y="661"/>
                  <a:pt x="1475" y="661"/>
                </a:cubicBezTo>
                <a:cubicBezTo>
                  <a:pt x="1471" y="660"/>
                  <a:pt x="1471" y="660"/>
                  <a:pt x="1471" y="660"/>
                </a:cubicBezTo>
                <a:cubicBezTo>
                  <a:pt x="1470" y="660"/>
                  <a:pt x="1470" y="660"/>
                  <a:pt x="1470" y="660"/>
                </a:cubicBezTo>
                <a:cubicBezTo>
                  <a:pt x="1468" y="661"/>
                  <a:pt x="1468" y="661"/>
                  <a:pt x="1468" y="661"/>
                </a:cubicBezTo>
                <a:cubicBezTo>
                  <a:pt x="1464" y="661"/>
                  <a:pt x="1464" y="661"/>
                  <a:pt x="1464" y="661"/>
                </a:cubicBezTo>
                <a:cubicBezTo>
                  <a:pt x="1462" y="661"/>
                  <a:pt x="1462" y="661"/>
                  <a:pt x="1462" y="661"/>
                </a:cubicBezTo>
                <a:cubicBezTo>
                  <a:pt x="1459" y="658"/>
                  <a:pt x="1459" y="658"/>
                  <a:pt x="1459" y="658"/>
                </a:cubicBezTo>
                <a:cubicBezTo>
                  <a:pt x="1458" y="657"/>
                  <a:pt x="1458" y="657"/>
                  <a:pt x="1458" y="657"/>
                </a:cubicBezTo>
                <a:cubicBezTo>
                  <a:pt x="1458" y="655"/>
                  <a:pt x="1458" y="655"/>
                  <a:pt x="1458" y="655"/>
                </a:cubicBezTo>
                <a:cubicBezTo>
                  <a:pt x="1458" y="654"/>
                  <a:pt x="1458" y="654"/>
                  <a:pt x="1458" y="654"/>
                </a:cubicBezTo>
                <a:cubicBezTo>
                  <a:pt x="1458" y="654"/>
                  <a:pt x="1458" y="654"/>
                  <a:pt x="1458" y="654"/>
                </a:cubicBezTo>
                <a:cubicBezTo>
                  <a:pt x="1458" y="653"/>
                  <a:pt x="1458" y="653"/>
                  <a:pt x="1458" y="653"/>
                </a:cubicBezTo>
                <a:cubicBezTo>
                  <a:pt x="1456" y="654"/>
                  <a:pt x="1456" y="654"/>
                  <a:pt x="1456" y="654"/>
                </a:cubicBezTo>
                <a:cubicBezTo>
                  <a:pt x="1455" y="654"/>
                  <a:pt x="1455" y="654"/>
                  <a:pt x="1455" y="654"/>
                </a:cubicBezTo>
                <a:cubicBezTo>
                  <a:pt x="1453" y="654"/>
                  <a:pt x="1453" y="654"/>
                  <a:pt x="1453" y="654"/>
                </a:cubicBezTo>
                <a:cubicBezTo>
                  <a:pt x="1451" y="656"/>
                  <a:pt x="1451" y="656"/>
                  <a:pt x="1451" y="656"/>
                </a:cubicBezTo>
                <a:cubicBezTo>
                  <a:pt x="1451" y="662"/>
                  <a:pt x="1451" y="662"/>
                  <a:pt x="1451" y="662"/>
                </a:cubicBezTo>
                <a:cubicBezTo>
                  <a:pt x="1449" y="665"/>
                  <a:pt x="1449" y="665"/>
                  <a:pt x="1449" y="665"/>
                </a:cubicBezTo>
                <a:cubicBezTo>
                  <a:pt x="1448" y="669"/>
                  <a:pt x="1448" y="669"/>
                  <a:pt x="1448" y="669"/>
                </a:cubicBezTo>
                <a:cubicBezTo>
                  <a:pt x="1447" y="671"/>
                  <a:pt x="1447" y="671"/>
                  <a:pt x="1447" y="671"/>
                </a:cubicBezTo>
                <a:cubicBezTo>
                  <a:pt x="1442" y="676"/>
                  <a:pt x="1442" y="676"/>
                  <a:pt x="1442" y="676"/>
                </a:cubicBezTo>
                <a:cubicBezTo>
                  <a:pt x="1441" y="676"/>
                  <a:pt x="1441" y="676"/>
                  <a:pt x="1441" y="676"/>
                </a:cubicBezTo>
                <a:cubicBezTo>
                  <a:pt x="1439" y="677"/>
                  <a:pt x="1439" y="677"/>
                  <a:pt x="1439" y="677"/>
                </a:cubicBezTo>
                <a:cubicBezTo>
                  <a:pt x="1435" y="679"/>
                  <a:pt x="1435" y="679"/>
                  <a:pt x="1435" y="679"/>
                </a:cubicBezTo>
                <a:cubicBezTo>
                  <a:pt x="1433" y="682"/>
                  <a:pt x="1433" y="682"/>
                  <a:pt x="1433" y="682"/>
                </a:cubicBezTo>
                <a:cubicBezTo>
                  <a:pt x="1431" y="682"/>
                  <a:pt x="1431" y="682"/>
                  <a:pt x="1431" y="682"/>
                </a:cubicBezTo>
                <a:cubicBezTo>
                  <a:pt x="1427" y="684"/>
                  <a:pt x="1427" y="684"/>
                  <a:pt x="1427" y="684"/>
                </a:cubicBezTo>
                <a:cubicBezTo>
                  <a:pt x="1425" y="685"/>
                  <a:pt x="1425" y="685"/>
                  <a:pt x="1425" y="685"/>
                </a:cubicBezTo>
                <a:cubicBezTo>
                  <a:pt x="1424" y="687"/>
                  <a:pt x="1424" y="687"/>
                  <a:pt x="1424" y="687"/>
                </a:cubicBezTo>
                <a:cubicBezTo>
                  <a:pt x="1419" y="691"/>
                  <a:pt x="1419" y="691"/>
                  <a:pt x="1419" y="691"/>
                </a:cubicBezTo>
                <a:cubicBezTo>
                  <a:pt x="1421" y="694"/>
                  <a:pt x="1421" y="694"/>
                  <a:pt x="1421" y="694"/>
                </a:cubicBezTo>
                <a:cubicBezTo>
                  <a:pt x="1420" y="697"/>
                  <a:pt x="1420" y="697"/>
                  <a:pt x="1420" y="697"/>
                </a:cubicBezTo>
                <a:cubicBezTo>
                  <a:pt x="1416" y="700"/>
                  <a:pt x="1416" y="700"/>
                  <a:pt x="1416" y="700"/>
                </a:cubicBezTo>
                <a:cubicBezTo>
                  <a:pt x="1414" y="706"/>
                  <a:pt x="1414" y="706"/>
                  <a:pt x="1414" y="706"/>
                </a:cubicBezTo>
                <a:cubicBezTo>
                  <a:pt x="1413" y="708"/>
                  <a:pt x="1413" y="708"/>
                  <a:pt x="1413" y="708"/>
                </a:cubicBezTo>
                <a:cubicBezTo>
                  <a:pt x="1415" y="711"/>
                  <a:pt x="1415" y="711"/>
                  <a:pt x="1415" y="711"/>
                </a:cubicBezTo>
                <a:cubicBezTo>
                  <a:pt x="1414" y="715"/>
                  <a:pt x="1414" y="715"/>
                  <a:pt x="1414" y="715"/>
                </a:cubicBezTo>
                <a:cubicBezTo>
                  <a:pt x="1415" y="716"/>
                  <a:pt x="1415" y="716"/>
                  <a:pt x="1415" y="716"/>
                </a:cubicBezTo>
                <a:cubicBezTo>
                  <a:pt x="1416" y="717"/>
                  <a:pt x="1416" y="717"/>
                  <a:pt x="1416" y="717"/>
                </a:cubicBezTo>
                <a:cubicBezTo>
                  <a:pt x="1415" y="720"/>
                  <a:pt x="1415" y="720"/>
                  <a:pt x="1415" y="720"/>
                </a:cubicBezTo>
                <a:cubicBezTo>
                  <a:pt x="1409" y="727"/>
                  <a:pt x="1409" y="727"/>
                  <a:pt x="1409" y="727"/>
                </a:cubicBezTo>
                <a:cubicBezTo>
                  <a:pt x="1408" y="730"/>
                  <a:pt x="1408" y="730"/>
                  <a:pt x="1408" y="730"/>
                </a:cubicBezTo>
                <a:cubicBezTo>
                  <a:pt x="1405" y="733"/>
                  <a:pt x="1405" y="733"/>
                  <a:pt x="1405" y="733"/>
                </a:cubicBezTo>
                <a:cubicBezTo>
                  <a:pt x="1402" y="734"/>
                  <a:pt x="1402" y="734"/>
                  <a:pt x="1402" y="734"/>
                </a:cubicBezTo>
                <a:cubicBezTo>
                  <a:pt x="1395" y="740"/>
                  <a:pt x="1395" y="740"/>
                  <a:pt x="1395" y="740"/>
                </a:cubicBezTo>
                <a:cubicBezTo>
                  <a:pt x="1385" y="742"/>
                  <a:pt x="1385" y="742"/>
                  <a:pt x="1385" y="742"/>
                </a:cubicBezTo>
                <a:cubicBezTo>
                  <a:pt x="1383" y="745"/>
                  <a:pt x="1383" y="745"/>
                  <a:pt x="1383" y="745"/>
                </a:cubicBezTo>
                <a:cubicBezTo>
                  <a:pt x="1379" y="751"/>
                  <a:pt x="1379" y="751"/>
                  <a:pt x="1379" y="751"/>
                </a:cubicBezTo>
                <a:cubicBezTo>
                  <a:pt x="1379" y="755"/>
                  <a:pt x="1379" y="755"/>
                  <a:pt x="1379" y="755"/>
                </a:cubicBezTo>
                <a:cubicBezTo>
                  <a:pt x="1377" y="755"/>
                  <a:pt x="1377" y="755"/>
                  <a:pt x="1377" y="755"/>
                </a:cubicBezTo>
                <a:cubicBezTo>
                  <a:pt x="1370" y="758"/>
                  <a:pt x="1370" y="758"/>
                  <a:pt x="1370" y="758"/>
                </a:cubicBezTo>
                <a:cubicBezTo>
                  <a:pt x="1369" y="760"/>
                  <a:pt x="1369" y="760"/>
                  <a:pt x="1369" y="760"/>
                </a:cubicBezTo>
                <a:cubicBezTo>
                  <a:pt x="1366" y="762"/>
                  <a:pt x="1366" y="762"/>
                  <a:pt x="1366" y="762"/>
                </a:cubicBezTo>
                <a:cubicBezTo>
                  <a:pt x="1367" y="765"/>
                  <a:pt x="1367" y="765"/>
                  <a:pt x="1367" y="765"/>
                </a:cubicBezTo>
                <a:cubicBezTo>
                  <a:pt x="1361" y="774"/>
                  <a:pt x="1361" y="774"/>
                  <a:pt x="1361" y="774"/>
                </a:cubicBezTo>
                <a:cubicBezTo>
                  <a:pt x="1361" y="777"/>
                  <a:pt x="1361" y="777"/>
                  <a:pt x="1361" y="777"/>
                </a:cubicBezTo>
                <a:cubicBezTo>
                  <a:pt x="1356" y="781"/>
                  <a:pt x="1356" y="781"/>
                  <a:pt x="1356" y="781"/>
                </a:cubicBezTo>
                <a:cubicBezTo>
                  <a:pt x="1354" y="782"/>
                  <a:pt x="1354" y="782"/>
                  <a:pt x="1354" y="782"/>
                </a:cubicBezTo>
                <a:cubicBezTo>
                  <a:pt x="1352" y="787"/>
                  <a:pt x="1352" y="787"/>
                  <a:pt x="1352" y="787"/>
                </a:cubicBezTo>
                <a:cubicBezTo>
                  <a:pt x="1352" y="789"/>
                  <a:pt x="1352" y="789"/>
                  <a:pt x="1352" y="789"/>
                </a:cubicBezTo>
                <a:cubicBezTo>
                  <a:pt x="1348" y="794"/>
                  <a:pt x="1348" y="794"/>
                  <a:pt x="1348" y="794"/>
                </a:cubicBezTo>
                <a:cubicBezTo>
                  <a:pt x="1348" y="795"/>
                  <a:pt x="1348" y="795"/>
                  <a:pt x="1348" y="795"/>
                </a:cubicBezTo>
                <a:cubicBezTo>
                  <a:pt x="1349" y="796"/>
                  <a:pt x="1349" y="796"/>
                  <a:pt x="1349" y="796"/>
                </a:cubicBezTo>
                <a:cubicBezTo>
                  <a:pt x="1347" y="797"/>
                  <a:pt x="1347" y="797"/>
                  <a:pt x="1347" y="797"/>
                </a:cubicBezTo>
                <a:cubicBezTo>
                  <a:pt x="1344" y="803"/>
                  <a:pt x="1344" y="803"/>
                  <a:pt x="1344" y="803"/>
                </a:cubicBezTo>
                <a:cubicBezTo>
                  <a:pt x="1343" y="803"/>
                  <a:pt x="1343" y="803"/>
                  <a:pt x="1343" y="803"/>
                </a:cubicBezTo>
                <a:cubicBezTo>
                  <a:pt x="1342" y="805"/>
                  <a:pt x="1342" y="805"/>
                  <a:pt x="1342" y="805"/>
                </a:cubicBezTo>
                <a:cubicBezTo>
                  <a:pt x="1342" y="807"/>
                  <a:pt x="1342" y="807"/>
                  <a:pt x="1342" y="807"/>
                </a:cubicBezTo>
                <a:cubicBezTo>
                  <a:pt x="1341" y="809"/>
                  <a:pt x="1341" y="809"/>
                  <a:pt x="1341" y="809"/>
                </a:cubicBezTo>
                <a:cubicBezTo>
                  <a:pt x="1341" y="813"/>
                  <a:pt x="1341" y="813"/>
                  <a:pt x="1341" y="813"/>
                </a:cubicBezTo>
                <a:cubicBezTo>
                  <a:pt x="1341" y="813"/>
                  <a:pt x="1341" y="813"/>
                  <a:pt x="1341" y="813"/>
                </a:cubicBezTo>
                <a:cubicBezTo>
                  <a:pt x="1340" y="815"/>
                  <a:pt x="1340" y="815"/>
                  <a:pt x="1340" y="815"/>
                </a:cubicBezTo>
                <a:cubicBezTo>
                  <a:pt x="1340" y="819"/>
                  <a:pt x="1340" y="819"/>
                  <a:pt x="1340" y="819"/>
                </a:cubicBezTo>
                <a:cubicBezTo>
                  <a:pt x="1342" y="817"/>
                  <a:pt x="1342" y="817"/>
                  <a:pt x="1342" y="817"/>
                </a:cubicBezTo>
                <a:cubicBezTo>
                  <a:pt x="1343" y="819"/>
                  <a:pt x="1343" y="819"/>
                  <a:pt x="1343" y="819"/>
                </a:cubicBezTo>
                <a:cubicBezTo>
                  <a:pt x="1344" y="819"/>
                  <a:pt x="1344" y="819"/>
                  <a:pt x="1344" y="819"/>
                </a:cubicBezTo>
                <a:cubicBezTo>
                  <a:pt x="1345" y="818"/>
                  <a:pt x="1345" y="818"/>
                  <a:pt x="1345" y="818"/>
                </a:cubicBezTo>
                <a:cubicBezTo>
                  <a:pt x="1348" y="823"/>
                  <a:pt x="1348" y="823"/>
                  <a:pt x="1348" y="823"/>
                </a:cubicBezTo>
                <a:cubicBezTo>
                  <a:pt x="1347" y="824"/>
                  <a:pt x="1347" y="824"/>
                  <a:pt x="1347" y="824"/>
                </a:cubicBezTo>
                <a:cubicBezTo>
                  <a:pt x="1348" y="826"/>
                  <a:pt x="1348" y="826"/>
                  <a:pt x="1348" y="826"/>
                </a:cubicBezTo>
                <a:cubicBezTo>
                  <a:pt x="1347" y="830"/>
                  <a:pt x="1347" y="830"/>
                  <a:pt x="1347" y="830"/>
                </a:cubicBezTo>
                <a:cubicBezTo>
                  <a:pt x="1345" y="830"/>
                  <a:pt x="1345" y="830"/>
                  <a:pt x="1345" y="830"/>
                </a:cubicBezTo>
                <a:cubicBezTo>
                  <a:pt x="1344" y="831"/>
                  <a:pt x="1344" y="831"/>
                  <a:pt x="1344" y="831"/>
                </a:cubicBezTo>
                <a:cubicBezTo>
                  <a:pt x="1347" y="835"/>
                  <a:pt x="1347" y="835"/>
                  <a:pt x="1347" y="835"/>
                </a:cubicBezTo>
                <a:cubicBezTo>
                  <a:pt x="1349" y="845"/>
                  <a:pt x="1349" y="845"/>
                  <a:pt x="1349" y="845"/>
                </a:cubicBezTo>
                <a:cubicBezTo>
                  <a:pt x="1349" y="853"/>
                  <a:pt x="1349" y="853"/>
                  <a:pt x="1349" y="853"/>
                </a:cubicBezTo>
                <a:cubicBezTo>
                  <a:pt x="1346" y="856"/>
                  <a:pt x="1346" y="856"/>
                  <a:pt x="1346" y="856"/>
                </a:cubicBezTo>
                <a:cubicBezTo>
                  <a:pt x="1344" y="862"/>
                  <a:pt x="1344" y="862"/>
                  <a:pt x="1344" y="862"/>
                </a:cubicBezTo>
                <a:cubicBezTo>
                  <a:pt x="1344" y="867"/>
                  <a:pt x="1344" y="867"/>
                  <a:pt x="1344" y="867"/>
                </a:cubicBezTo>
                <a:cubicBezTo>
                  <a:pt x="1343" y="870"/>
                  <a:pt x="1343" y="870"/>
                  <a:pt x="1343" y="870"/>
                </a:cubicBezTo>
                <a:cubicBezTo>
                  <a:pt x="1341" y="875"/>
                  <a:pt x="1341" y="875"/>
                  <a:pt x="1341" y="875"/>
                </a:cubicBezTo>
                <a:cubicBezTo>
                  <a:pt x="1335" y="880"/>
                  <a:pt x="1335" y="880"/>
                  <a:pt x="1335" y="880"/>
                </a:cubicBezTo>
                <a:cubicBezTo>
                  <a:pt x="1338" y="883"/>
                  <a:pt x="1338" y="883"/>
                  <a:pt x="1338" y="883"/>
                </a:cubicBezTo>
                <a:cubicBezTo>
                  <a:pt x="1340" y="887"/>
                  <a:pt x="1340" y="887"/>
                  <a:pt x="1340" y="887"/>
                </a:cubicBezTo>
                <a:cubicBezTo>
                  <a:pt x="1342" y="887"/>
                  <a:pt x="1342" y="887"/>
                  <a:pt x="1342" y="887"/>
                </a:cubicBezTo>
                <a:cubicBezTo>
                  <a:pt x="1342" y="889"/>
                  <a:pt x="1342" y="889"/>
                  <a:pt x="1342" y="889"/>
                </a:cubicBezTo>
                <a:cubicBezTo>
                  <a:pt x="1341" y="890"/>
                  <a:pt x="1341" y="890"/>
                  <a:pt x="1341" y="890"/>
                </a:cubicBezTo>
                <a:cubicBezTo>
                  <a:pt x="1344" y="891"/>
                  <a:pt x="1344" y="891"/>
                  <a:pt x="1344" y="891"/>
                </a:cubicBezTo>
                <a:cubicBezTo>
                  <a:pt x="1342" y="892"/>
                  <a:pt x="1342" y="892"/>
                  <a:pt x="1342" y="892"/>
                </a:cubicBezTo>
                <a:cubicBezTo>
                  <a:pt x="1343" y="893"/>
                  <a:pt x="1343" y="893"/>
                  <a:pt x="1343" y="893"/>
                </a:cubicBezTo>
                <a:cubicBezTo>
                  <a:pt x="1343" y="895"/>
                  <a:pt x="1343" y="895"/>
                  <a:pt x="1343" y="895"/>
                </a:cubicBezTo>
                <a:cubicBezTo>
                  <a:pt x="1346" y="896"/>
                  <a:pt x="1346" y="896"/>
                  <a:pt x="1346" y="896"/>
                </a:cubicBezTo>
                <a:cubicBezTo>
                  <a:pt x="1348" y="895"/>
                  <a:pt x="1348" y="895"/>
                  <a:pt x="1348" y="895"/>
                </a:cubicBezTo>
                <a:cubicBezTo>
                  <a:pt x="1347" y="897"/>
                  <a:pt x="1347" y="897"/>
                  <a:pt x="1347" y="897"/>
                </a:cubicBezTo>
                <a:cubicBezTo>
                  <a:pt x="1344" y="897"/>
                  <a:pt x="1344" y="897"/>
                  <a:pt x="1344" y="897"/>
                </a:cubicBezTo>
                <a:cubicBezTo>
                  <a:pt x="1342" y="894"/>
                  <a:pt x="1342" y="894"/>
                  <a:pt x="1342" y="894"/>
                </a:cubicBezTo>
                <a:cubicBezTo>
                  <a:pt x="1340" y="896"/>
                  <a:pt x="1340" y="896"/>
                  <a:pt x="1340" y="896"/>
                </a:cubicBezTo>
                <a:cubicBezTo>
                  <a:pt x="1341" y="897"/>
                  <a:pt x="1341" y="897"/>
                  <a:pt x="1341" y="897"/>
                </a:cubicBezTo>
                <a:cubicBezTo>
                  <a:pt x="1341" y="901"/>
                  <a:pt x="1341" y="901"/>
                  <a:pt x="1341" y="901"/>
                </a:cubicBezTo>
                <a:cubicBezTo>
                  <a:pt x="1340" y="902"/>
                  <a:pt x="1340" y="902"/>
                  <a:pt x="1340" y="902"/>
                </a:cubicBezTo>
                <a:cubicBezTo>
                  <a:pt x="1341" y="902"/>
                  <a:pt x="1341" y="902"/>
                  <a:pt x="1341" y="902"/>
                </a:cubicBezTo>
                <a:cubicBezTo>
                  <a:pt x="1343" y="901"/>
                  <a:pt x="1343" y="901"/>
                  <a:pt x="1343" y="901"/>
                </a:cubicBezTo>
                <a:cubicBezTo>
                  <a:pt x="1346" y="902"/>
                  <a:pt x="1346" y="902"/>
                  <a:pt x="1346" y="902"/>
                </a:cubicBezTo>
                <a:cubicBezTo>
                  <a:pt x="1344" y="904"/>
                  <a:pt x="1344" y="904"/>
                  <a:pt x="1344" y="904"/>
                </a:cubicBezTo>
                <a:cubicBezTo>
                  <a:pt x="1343" y="903"/>
                  <a:pt x="1343" y="903"/>
                  <a:pt x="1343" y="903"/>
                </a:cubicBezTo>
                <a:cubicBezTo>
                  <a:pt x="1341" y="903"/>
                  <a:pt x="1341" y="903"/>
                  <a:pt x="1341" y="903"/>
                </a:cubicBezTo>
                <a:cubicBezTo>
                  <a:pt x="1342" y="904"/>
                  <a:pt x="1342" y="904"/>
                  <a:pt x="1342" y="904"/>
                </a:cubicBezTo>
                <a:cubicBezTo>
                  <a:pt x="1342" y="906"/>
                  <a:pt x="1342" y="906"/>
                  <a:pt x="1342" y="906"/>
                </a:cubicBezTo>
                <a:cubicBezTo>
                  <a:pt x="1342" y="906"/>
                  <a:pt x="1342" y="906"/>
                  <a:pt x="1342" y="906"/>
                </a:cubicBezTo>
                <a:cubicBezTo>
                  <a:pt x="1343" y="907"/>
                  <a:pt x="1343" y="907"/>
                  <a:pt x="1343" y="907"/>
                </a:cubicBezTo>
                <a:cubicBezTo>
                  <a:pt x="1346" y="907"/>
                  <a:pt x="1346" y="907"/>
                  <a:pt x="1346" y="907"/>
                </a:cubicBezTo>
                <a:cubicBezTo>
                  <a:pt x="1348" y="907"/>
                  <a:pt x="1348" y="907"/>
                  <a:pt x="1348" y="907"/>
                </a:cubicBezTo>
                <a:cubicBezTo>
                  <a:pt x="1346" y="909"/>
                  <a:pt x="1346" y="909"/>
                  <a:pt x="1346" y="909"/>
                </a:cubicBezTo>
                <a:cubicBezTo>
                  <a:pt x="1348" y="911"/>
                  <a:pt x="1348" y="911"/>
                  <a:pt x="1348" y="911"/>
                </a:cubicBezTo>
                <a:cubicBezTo>
                  <a:pt x="1350" y="911"/>
                  <a:pt x="1350" y="911"/>
                  <a:pt x="1350" y="911"/>
                </a:cubicBezTo>
                <a:cubicBezTo>
                  <a:pt x="1350" y="912"/>
                  <a:pt x="1350" y="912"/>
                  <a:pt x="1350" y="912"/>
                </a:cubicBezTo>
                <a:cubicBezTo>
                  <a:pt x="1351" y="912"/>
                  <a:pt x="1351" y="912"/>
                  <a:pt x="1351" y="912"/>
                </a:cubicBezTo>
                <a:cubicBezTo>
                  <a:pt x="1354" y="911"/>
                  <a:pt x="1354" y="911"/>
                  <a:pt x="1354" y="911"/>
                </a:cubicBezTo>
                <a:cubicBezTo>
                  <a:pt x="1356" y="911"/>
                  <a:pt x="1356" y="911"/>
                  <a:pt x="1356" y="911"/>
                </a:cubicBezTo>
                <a:cubicBezTo>
                  <a:pt x="1359" y="912"/>
                  <a:pt x="1359" y="912"/>
                  <a:pt x="1359" y="912"/>
                </a:cubicBezTo>
                <a:cubicBezTo>
                  <a:pt x="1358" y="913"/>
                  <a:pt x="1358" y="913"/>
                  <a:pt x="1358" y="913"/>
                </a:cubicBezTo>
                <a:cubicBezTo>
                  <a:pt x="1353" y="913"/>
                  <a:pt x="1353" y="913"/>
                  <a:pt x="1353" y="913"/>
                </a:cubicBezTo>
                <a:cubicBezTo>
                  <a:pt x="1354" y="914"/>
                  <a:pt x="1354" y="914"/>
                  <a:pt x="1354" y="914"/>
                </a:cubicBezTo>
                <a:cubicBezTo>
                  <a:pt x="1356" y="914"/>
                  <a:pt x="1356" y="914"/>
                  <a:pt x="1356" y="914"/>
                </a:cubicBezTo>
                <a:cubicBezTo>
                  <a:pt x="1357" y="915"/>
                  <a:pt x="1357" y="915"/>
                  <a:pt x="1357" y="915"/>
                </a:cubicBezTo>
                <a:cubicBezTo>
                  <a:pt x="1356" y="916"/>
                  <a:pt x="1356" y="916"/>
                  <a:pt x="1356" y="916"/>
                </a:cubicBezTo>
                <a:cubicBezTo>
                  <a:pt x="1357" y="916"/>
                  <a:pt x="1357" y="916"/>
                  <a:pt x="1357" y="916"/>
                </a:cubicBezTo>
                <a:cubicBezTo>
                  <a:pt x="1355" y="918"/>
                  <a:pt x="1355" y="918"/>
                  <a:pt x="1355" y="918"/>
                </a:cubicBezTo>
                <a:cubicBezTo>
                  <a:pt x="1359" y="918"/>
                  <a:pt x="1359" y="918"/>
                  <a:pt x="1359" y="918"/>
                </a:cubicBezTo>
                <a:cubicBezTo>
                  <a:pt x="1359" y="920"/>
                  <a:pt x="1359" y="920"/>
                  <a:pt x="1359" y="920"/>
                </a:cubicBezTo>
                <a:cubicBezTo>
                  <a:pt x="1359" y="920"/>
                  <a:pt x="1359" y="920"/>
                  <a:pt x="1359" y="920"/>
                </a:cubicBezTo>
                <a:cubicBezTo>
                  <a:pt x="1362" y="920"/>
                  <a:pt x="1362" y="920"/>
                  <a:pt x="1362" y="920"/>
                </a:cubicBezTo>
                <a:cubicBezTo>
                  <a:pt x="1362" y="920"/>
                  <a:pt x="1362" y="920"/>
                  <a:pt x="1362" y="920"/>
                </a:cubicBezTo>
                <a:cubicBezTo>
                  <a:pt x="1364" y="921"/>
                  <a:pt x="1364" y="921"/>
                  <a:pt x="1364" y="921"/>
                </a:cubicBezTo>
                <a:cubicBezTo>
                  <a:pt x="1363" y="925"/>
                  <a:pt x="1363" y="925"/>
                  <a:pt x="1363" y="925"/>
                </a:cubicBezTo>
                <a:cubicBezTo>
                  <a:pt x="1365" y="928"/>
                  <a:pt x="1365" y="928"/>
                  <a:pt x="1365" y="928"/>
                </a:cubicBezTo>
                <a:cubicBezTo>
                  <a:pt x="1367" y="928"/>
                  <a:pt x="1367" y="928"/>
                  <a:pt x="1367" y="928"/>
                </a:cubicBezTo>
                <a:cubicBezTo>
                  <a:pt x="1369" y="929"/>
                  <a:pt x="1369" y="929"/>
                  <a:pt x="1369" y="929"/>
                </a:cubicBezTo>
                <a:cubicBezTo>
                  <a:pt x="1370" y="928"/>
                  <a:pt x="1370" y="928"/>
                  <a:pt x="1370" y="928"/>
                </a:cubicBezTo>
                <a:cubicBezTo>
                  <a:pt x="1371" y="928"/>
                  <a:pt x="1371" y="928"/>
                  <a:pt x="1371" y="928"/>
                </a:cubicBezTo>
                <a:cubicBezTo>
                  <a:pt x="1371" y="929"/>
                  <a:pt x="1371" y="929"/>
                  <a:pt x="1371" y="929"/>
                </a:cubicBezTo>
                <a:cubicBezTo>
                  <a:pt x="1370" y="931"/>
                  <a:pt x="1370" y="931"/>
                  <a:pt x="1370" y="931"/>
                </a:cubicBezTo>
                <a:cubicBezTo>
                  <a:pt x="1371" y="932"/>
                  <a:pt x="1371" y="932"/>
                  <a:pt x="1371" y="932"/>
                </a:cubicBezTo>
                <a:cubicBezTo>
                  <a:pt x="1374" y="932"/>
                  <a:pt x="1374" y="932"/>
                  <a:pt x="1374" y="932"/>
                </a:cubicBezTo>
                <a:cubicBezTo>
                  <a:pt x="1374" y="935"/>
                  <a:pt x="1374" y="935"/>
                  <a:pt x="1374" y="935"/>
                </a:cubicBezTo>
                <a:cubicBezTo>
                  <a:pt x="1377" y="936"/>
                  <a:pt x="1377" y="936"/>
                  <a:pt x="1377" y="936"/>
                </a:cubicBezTo>
                <a:cubicBezTo>
                  <a:pt x="1379" y="938"/>
                  <a:pt x="1379" y="938"/>
                  <a:pt x="1379" y="938"/>
                </a:cubicBezTo>
                <a:cubicBezTo>
                  <a:pt x="1379" y="938"/>
                  <a:pt x="1379" y="938"/>
                  <a:pt x="1379" y="938"/>
                </a:cubicBezTo>
                <a:cubicBezTo>
                  <a:pt x="1378" y="940"/>
                  <a:pt x="1378" y="940"/>
                  <a:pt x="1378" y="940"/>
                </a:cubicBezTo>
                <a:cubicBezTo>
                  <a:pt x="1377" y="941"/>
                  <a:pt x="1377" y="941"/>
                  <a:pt x="1377" y="941"/>
                </a:cubicBezTo>
                <a:cubicBezTo>
                  <a:pt x="1379" y="942"/>
                  <a:pt x="1379" y="942"/>
                  <a:pt x="1379" y="942"/>
                </a:cubicBezTo>
                <a:cubicBezTo>
                  <a:pt x="1378" y="944"/>
                  <a:pt x="1378" y="944"/>
                  <a:pt x="1378" y="944"/>
                </a:cubicBezTo>
                <a:cubicBezTo>
                  <a:pt x="1378" y="946"/>
                  <a:pt x="1378" y="946"/>
                  <a:pt x="1378" y="946"/>
                </a:cubicBezTo>
                <a:cubicBezTo>
                  <a:pt x="1380" y="946"/>
                  <a:pt x="1380" y="946"/>
                  <a:pt x="1380" y="946"/>
                </a:cubicBezTo>
                <a:cubicBezTo>
                  <a:pt x="1381" y="950"/>
                  <a:pt x="1381" y="950"/>
                  <a:pt x="1381" y="950"/>
                </a:cubicBezTo>
                <a:cubicBezTo>
                  <a:pt x="1381" y="952"/>
                  <a:pt x="1381" y="952"/>
                  <a:pt x="1381" y="952"/>
                </a:cubicBezTo>
                <a:cubicBezTo>
                  <a:pt x="1383" y="954"/>
                  <a:pt x="1383" y="954"/>
                  <a:pt x="1383" y="954"/>
                </a:cubicBezTo>
                <a:cubicBezTo>
                  <a:pt x="1386" y="954"/>
                  <a:pt x="1386" y="954"/>
                  <a:pt x="1386" y="954"/>
                </a:cubicBezTo>
                <a:cubicBezTo>
                  <a:pt x="1386" y="954"/>
                  <a:pt x="1386" y="954"/>
                  <a:pt x="1386" y="954"/>
                </a:cubicBezTo>
                <a:cubicBezTo>
                  <a:pt x="1385" y="956"/>
                  <a:pt x="1385" y="956"/>
                  <a:pt x="1385" y="956"/>
                </a:cubicBezTo>
                <a:cubicBezTo>
                  <a:pt x="1386" y="957"/>
                  <a:pt x="1386" y="957"/>
                  <a:pt x="1386" y="957"/>
                </a:cubicBezTo>
                <a:cubicBezTo>
                  <a:pt x="1387" y="959"/>
                  <a:pt x="1387" y="959"/>
                  <a:pt x="1387" y="959"/>
                </a:cubicBezTo>
                <a:cubicBezTo>
                  <a:pt x="1387" y="960"/>
                  <a:pt x="1387" y="960"/>
                  <a:pt x="1387" y="960"/>
                </a:cubicBezTo>
                <a:cubicBezTo>
                  <a:pt x="1389" y="960"/>
                  <a:pt x="1389" y="960"/>
                  <a:pt x="1389" y="960"/>
                </a:cubicBezTo>
                <a:cubicBezTo>
                  <a:pt x="1395" y="963"/>
                  <a:pt x="1395" y="963"/>
                  <a:pt x="1395" y="963"/>
                </a:cubicBezTo>
                <a:cubicBezTo>
                  <a:pt x="1398" y="963"/>
                  <a:pt x="1398" y="963"/>
                  <a:pt x="1398" y="963"/>
                </a:cubicBezTo>
                <a:cubicBezTo>
                  <a:pt x="1400" y="964"/>
                  <a:pt x="1400" y="964"/>
                  <a:pt x="1400" y="964"/>
                </a:cubicBezTo>
                <a:cubicBezTo>
                  <a:pt x="1399" y="965"/>
                  <a:pt x="1399" y="965"/>
                  <a:pt x="1399" y="965"/>
                </a:cubicBezTo>
                <a:cubicBezTo>
                  <a:pt x="1401" y="966"/>
                  <a:pt x="1401" y="966"/>
                  <a:pt x="1401" y="966"/>
                </a:cubicBezTo>
                <a:cubicBezTo>
                  <a:pt x="1403" y="970"/>
                  <a:pt x="1403" y="970"/>
                  <a:pt x="1403" y="970"/>
                </a:cubicBezTo>
                <a:cubicBezTo>
                  <a:pt x="1405" y="970"/>
                  <a:pt x="1405" y="970"/>
                  <a:pt x="1405" y="970"/>
                </a:cubicBezTo>
                <a:cubicBezTo>
                  <a:pt x="1409" y="973"/>
                  <a:pt x="1409" y="973"/>
                  <a:pt x="1409" y="973"/>
                </a:cubicBezTo>
                <a:cubicBezTo>
                  <a:pt x="1409" y="973"/>
                  <a:pt x="1409" y="973"/>
                  <a:pt x="1409" y="973"/>
                </a:cubicBezTo>
                <a:cubicBezTo>
                  <a:pt x="1409" y="973"/>
                  <a:pt x="1409" y="973"/>
                  <a:pt x="1409" y="973"/>
                </a:cubicBezTo>
                <a:cubicBezTo>
                  <a:pt x="1415" y="979"/>
                  <a:pt x="1415" y="979"/>
                  <a:pt x="1415" y="979"/>
                </a:cubicBezTo>
                <a:cubicBezTo>
                  <a:pt x="1418" y="979"/>
                  <a:pt x="1418" y="979"/>
                  <a:pt x="1418" y="979"/>
                </a:cubicBezTo>
                <a:cubicBezTo>
                  <a:pt x="1425" y="985"/>
                  <a:pt x="1425" y="985"/>
                  <a:pt x="1425" y="985"/>
                </a:cubicBezTo>
                <a:cubicBezTo>
                  <a:pt x="1435" y="989"/>
                  <a:pt x="1435" y="989"/>
                  <a:pt x="1435" y="989"/>
                </a:cubicBezTo>
                <a:cubicBezTo>
                  <a:pt x="1436" y="989"/>
                  <a:pt x="1436" y="989"/>
                  <a:pt x="1436" y="989"/>
                </a:cubicBezTo>
                <a:cubicBezTo>
                  <a:pt x="1440" y="986"/>
                  <a:pt x="1440" y="986"/>
                  <a:pt x="1440" y="986"/>
                </a:cubicBezTo>
                <a:cubicBezTo>
                  <a:pt x="1442" y="986"/>
                  <a:pt x="1442" y="986"/>
                  <a:pt x="1442" y="986"/>
                </a:cubicBezTo>
                <a:cubicBezTo>
                  <a:pt x="1443" y="985"/>
                  <a:pt x="1443" y="985"/>
                  <a:pt x="1443" y="985"/>
                </a:cubicBezTo>
                <a:cubicBezTo>
                  <a:pt x="1450" y="982"/>
                  <a:pt x="1450" y="982"/>
                  <a:pt x="1450" y="982"/>
                </a:cubicBezTo>
                <a:cubicBezTo>
                  <a:pt x="1450" y="981"/>
                  <a:pt x="1450" y="981"/>
                  <a:pt x="1450" y="981"/>
                </a:cubicBezTo>
                <a:cubicBezTo>
                  <a:pt x="1454" y="981"/>
                  <a:pt x="1454" y="981"/>
                  <a:pt x="1454" y="981"/>
                </a:cubicBezTo>
                <a:cubicBezTo>
                  <a:pt x="1467" y="981"/>
                  <a:pt x="1467" y="981"/>
                  <a:pt x="1467" y="981"/>
                </a:cubicBezTo>
                <a:cubicBezTo>
                  <a:pt x="1472" y="979"/>
                  <a:pt x="1472" y="979"/>
                  <a:pt x="1472" y="979"/>
                </a:cubicBezTo>
                <a:cubicBezTo>
                  <a:pt x="1477" y="981"/>
                  <a:pt x="1477" y="981"/>
                  <a:pt x="1477" y="981"/>
                </a:cubicBezTo>
                <a:cubicBezTo>
                  <a:pt x="1477" y="979"/>
                  <a:pt x="1477" y="979"/>
                  <a:pt x="1477" y="979"/>
                </a:cubicBezTo>
                <a:cubicBezTo>
                  <a:pt x="1479" y="978"/>
                  <a:pt x="1479" y="978"/>
                  <a:pt x="1479" y="978"/>
                </a:cubicBezTo>
                <a:cubicBezTo>
                  <a:pt x="1481" y="981"/>
                  <a:pt x="1481" y="981"/>
                  <a:pt x="1481" y="981"/>
                </a:cubicBezTo>
                <a:cubicBezTo>
                  <a:pt x="1481" y="982"/>
                  <a:pt x="1481" y="982"/>
                  <a:pt x="1481" y="982"/>
                </a:cubicBezTo>
                <a:cubicBezTo>
                  <a:pt x="1487" y="983"/>
                  <a:pt x="1487" y="983"/>
                  <a:pt x="1487" y="983"/>
                </a:cubicBezTo>
                <a:cubicBezTo>
                  <a:pt x="1491" y="985"/>
                  <a:pt x="1491" y="985"/>
                  <a:pt x="1491" y="985"/>
                </a:cubicBezTo>
                <a:cubicBezTo>
                  <a:pt x="1499" y="980"/>
                  <a:pt x="1499" y="980"/>
                  <a:pt x="1499" y="980"/>
                </a:cubicBezTo>
                <a:cubicBezTo>
                  <a:pt x="1505" y="980"/>
                  <a:pt x="1505" y="980"/>
                  <a:pt x="1505" y="980"/>
                </a:cubicBezTo>
                <a:cubicBezTo>
                  <a:pt x="1511" y="975"/>
                  <a:pt x="1511" y="975"/>
                  <a:pt x="1511" y="975"/>
                </a:cubicBezTo>
                <a:cubicBezTo>
                  <a:pt x="1516" y="973"/>
                  <a:pt x="1516" y="973"/>
                  <a:pt x="1516" y="973"/>
                </a:cubicBezTo>
                <a:cubicBezTo>
                  <a:pt x="1521" y="972"/>
                  <a:pt x="1521" y="972"/>
                  <a:pt x="1521" y="972"/>
                </a:cubicBezTo>
                <a:cubicBezTo>
                  <a:pt x="1522" y="972"/>
                  <a:pt x="1522" y="972"/>
                  <a:pt x="1522" y="972"/>
                </a:cubicBezTo>
                <a:cubicBezTo>
                  <a:pt x="1527" y="969"/>
                  <a:pt x="1527" y="969"/>
                  <a:pt x="1527" y="969"/>
                </a:cubicBezTo>
                <a:cubicBezTo>
                  <a:pt x="1528" y="969"/>
                  <a:pt x="1528" y="969"/>
                  <a:pt x="1528" y="969"/>
                </a:cubicBezTo>
                <a:cubicBezTo>
                  <a:pt x="1532" y="969"/>
                  <a:pt x="1532" y="969"/>
                  <a:pt x="1532" y="969"/>
                </a:cubicBezTo>
                <a:cubicBezTo>
                  <a:pt x="1539" y="967"/>
                  <a:pt x="1539" y="967"/>
                  <a:pt x="1539" y="967"/>
                </a:cubicBezTo>
                <a:cubicBezTo>
                  <a:pt x="1539" y="967"/>
                  <a:pt x="1539" y="967"/>
                  <a:pt x="1539" y="967"/>
                </a:cubicBezTo>
                <a:cubicBezTo>
                  <a:pt x="1543" y="968"/>
                  <a:pt x="1543" y="968"/>
                  <a:pt x="1543" y="968"/>
                </a:cubicBezTo>
                <a:cubicBezTo>
                  <a:pt x="1547" y="967"/>
                  <a:pt x="1547" y="967"/>
                  <a:pt x="1547" y="967"/>
                </a:cubicBezTo>
                <a:cubicBezTo>
                  <a:pt x="1554" y="971"/>
                  <a:pt x="1554" y="971"/>
                  <a:pt x="1554" y="971"/>
                </a:cubicBezTo>
                <a:cubicBezTo>
                  <a:pt x="1558" y="975"/>
                  <a:pt x="1558" y="975"/>
                  <a:pt x="1558" y="975"/>
                </a:cubicBezTo>
                <a:cubicBezTo>
                  <a:pt x="1561" y="980"/>
                  <a:pt x="1561" y="980"/>
                  <a:pt x="1561" y="980"/>
                </a:cubicBezTo>
                <a:cubicBezTo>
                  <a:pt x="1561" y="983"/>
                  <a:pt x="1561" y="983"/>
                  <a:pt x="1561" y="983"/>
                </a:cubicBezTo>
                <a:cubicBezTo>
                  <a:pt x="1562" y="983"/>
                  <a:pt x="1562" y="983"/>
                  <a:pt x="1562" y="983"/>
                </a:cubicBezTo>
                <a:cubicBezTo>
                  <a:pt x="1563" y="987"/>
                  <a:pt x="1563" y="987"/>
                  <a:pt x="1563" y="987"/>
                </a:cubicBezTo>
                <a:cubicBezTo>
                  <a:pt x="1566" y="989"/>
                  <a:pt x="1566" y="989"/>
                  <a:pt x="1566" y="989"/>
                </a:cubicBezTo>
                <a:cubicBezTo>
                  <a:pt x="1569" y="990"/>
                  <a:pt x="1569" y="990"/>
                  <a:pt x="1569" y="990"/>
                </a:cubicBezTo>
                <a:cubicBezTo>
                  <a:pt x="1579" y="990"/>
                  <a:pt x="1579" y="990"/>
                  <a:pt x="1579" y="990"/>
                </a:cubicBezTo>
                <a:cubicBezTo>
                  <a:pt x="1581" y="989"/>
                  <a:pt x="1581" y="989"/>
                  <a:pt x="1581" y="989"/>
                </a:cubicBezTo>
                <a:cubicBezTo>
                  <a:pt x="1583" y="989"/>
                  <a:pt x="1583" y="989"/>
                  <a:pt x="1583" y="989"/>
                </a:cubicBezTo>
                <a:cubicBezTo>
                  <a:pt x="1587" y="988"/>
                  <a:pt x="1587" y="988"/>
                  <a:pt x="1587" y="988"/>
                </a:cubicBezTo>
                <a:cubicBezTo>
                  <a:pt x="1589" y="988"/>
                  <a:pt x="1589" y="988"/>
                  <a:pt x="1589" y="988"/>
                </a:cubicBezTo>
                <a:cubicBezTo>
                  <a:pt x="1591" y="988"/>
                  <a:pt x="1591" y="988"/>
                  <a:pt x="1591" y="988"/>
                </a:cubicBezTo>
                <a:cubicBezTo>
                  <a:pt x="1592" y="985"/>
                  <a:pt x="1592" y="985"/>
                  <a:pt x="1592" y="985"/>
                </a:cubicBezTo>
                <a:cubicBezTo>
                  <a:pt x="1594" y="987"/>
                  <a:pt x="1594" y="987"/>
                  <a:pt x="1594" y="987"/>
                </a:cubicBezTo>
                <a:cubicBezTo>
                  <a:pt x="1595" y="986"/>
                  <a:pt x="1595" y="986"/>
                  <a:pt x="1595" y="986"/>
                </a:cubicBezTo>
                <a:cubicBezTo>
                  <a:pt x="1595" y="986"/>
                  <a:pt x="1595" y="986"/>
                  <a:pt x="1595" y="986"/>
                </a:cubicBezTo>
                <a:cubicBezTo>
                  <a:pt x="1596" y="987"/>
                  <a:pt x="1596" y="987"/>
                  <a:pt x="1596" y="987"/>
                </a:cubicBezTo>
                <a:cubicBezTo>
                  <a:pt x="1598" y="986"/>
                  <a:pt x="1598" y="986"/>
                  <a:pt x="1598" y="986"/>
                </a:cubicBezTo>
                <a:cubicBezTo>
                  <a:pt x="1599" y="992"/>
                  <a:pt x="1599" y="992"/>
                  <a:pt x="1599" y="992"/>
                </a:cubicBezTo>
                <a:cubicBezTo>
                  <a:pt x="1601" y="993"/>
                  <a:pt x="1601" y="993"/>
                  <a:pt x="1601" y="993"/>
                </a:cubicBezTo>
                <a:cubicBezTo>
                  <a:pt x="1602" y="994"/>
                  <a:pt x="1602" y="994"/>
                  <a:pt x="1602" y="994"/>
                </a:cubicBezTo>
                <a:cubicBezTo>
                  <a:pt x="1605" y="992"/>
                  <a:pt x="1605" y="992"/>
                  <a:pt x="1605" y="992"/>
                </a:cubicBezTo>
                <a:cubicBezTo>
                  <a:pt x="1606" y="995"/>
                  <a:pt x="1606" y="995"/>
                  <a:pt x="1606" y="995"/>
                </a:cubicBezTo>
                <a:cubicBezTo>
                  <a:pt x="1606" y="996"/>
                  <a:pt x="1606" y="996"/>
                  <a:pt x="1606" y="996"/>
                </a:cubicBezTo>
                <a:cubicBezTo>
                  <a:pt x="1606" y="999"/>
                  <a:pt x="1606" y="999"/>
                  <a:pt x="1606" y="999"/>
                </a:cubicBezTo>
                <a:cubicBezTo>
                  <a:pt x="1608" y="1002"/>
                  <a:pt x="1608" y="1002"/>
                  <a:pt x="1608" y="1002"/>
                </a:cubicBezTo>
                <a:cubicBezTo>
                  <a:pt x="1608" y="1005"/>
                  <a:pt x="1608" y="1005"/>
                  <a:pt x="1608" y="1005"/>
                </a:cubicBezTo>
                <a:cubicBezTo>
                  <a:pt x="1607" y="1009"/>
                  <a:pt x="1607" y="1009"/>
                  <a:pt x="1607" y="1009"/>
                </a:cubicBezTo>
                <a:cubicBezTo>
                  <a:pt x="1608" y="1010"/>
                  <a:pt x="1608" y="1010"/>
                  <a:pt x="1608" y="1010"/>
                </a:cubicBezTo>
                <a:cubicBezTo>
                  <a:pt x="1606" y="1012"/>
                  <a:pt x="1606" y="1012"/>
                  <a:pt x="1606" y="1012"/>
                </a:cubicBezTo>
                <a:cubicBezTo>
                  <a:pt x="1606" y="1012"/>
                  <a:pt x="1606" y="1012"/>
                  <a:pt x="1606" y="1012"/>
                </a:cubicBezTo>
                <a:cubicBezTo>
                  <a:pt x="1607" y="1014"/>
                  <a:pt x="1607" y="1014"/>
                  <a:pt x="1607" y="1014"/>
                </a:cubicBezTo>
                <a:cubicBezTo>
                  <a:pt x="1604" y="1018"/>
                  <a:pt x="1604" y="1018"/>
                  <a:pt x="1604" y="1018"/>
                </a:cubicBezTo>
                <a:cubicBezTo>
                  <a:pt x="1601" y="1023"/>
                  <a:pt x="1601" y="1023"/>
                  <a:pt x="1601" y="1023"/>
                </a:cubicBezTo>
                <a:cubicBezTo>
                  <a:pt x="1604" y="1024"/>
                  <a:pt x="1604" y="1024"/>
                  <a:pt x="1604" y="1024"/>
                </a:cubicBezTo>
                <a:cubicBezTo>
                  <a:pt x="1604" y="1025"/>
                  <a:pt x="1604" y="1025"/>
                  <a:pt x="1604" y="1025"/>
                </a:cubicBezTo>
                <a:cubicBezTo>
                  <a:pt x="1603" y="1027"/>
                  <a:pt x="1603" y="1027"/>
                  <a:pt x="1603" y="1027"/>
                </a:cubicBezTo>
                <a:cubicBezTo>
                  <a:pt x="1601" y="1027"/>
                  <a:pt x="1601" y="1027"/>
                  <a:pt x="1601" y="1027"/>
                </a:cubicBezTo>
                <a:cubicBezTo>
                  <a:pt x="1603" y="1030"/>
                  <a:pt x="1603" y="1030"/>
                  <a:pt x="1603" y="1030"/>
                </a:cubicBezTo>
                <a:cubicBezTo>
                  <a:pt x="1606" y="1031"/>
                  <a:pt x="1606" y="1031"/>
                  <a:pt x="1606" y="1031"/>
                </a:cubicBezTo>
                <a:cubicBezTo>
                  <a:pt x="1602" y="1032"/>
                  <a:pt x="1602" y="1032"/>
                  <a:pt x="1602" y="1032"/>
                </a:cubicBezTo>
                <a:cubicBezTo>
                  <a:pt x="1601" y="1031"/>
                  <a:pt x="1601" y="1031"/>
                  <a:pt x="1601" y="1031"/>
                </a:cubicBezTo>
                <a:cubicBezTo>
                  <a:pt x="1601" y="1034"/>
                  <a:pt x="1601" y="1034"/>
                  <a:pt x="1601" y="1034"/>
                </a:cubicBezTo>
                <a:cubicBezTo>
                  <a:pt x="1600" y="1040"/>
                  <a:pt x="1600" y="1040"/>
                  <a:pt x="1600" y="1040"/>
                </a:cubicBezTo>
                <a:cubicBezTo>
                  <a:pt x="1598" y="1041"/>
                  <a:pt x="1598" y="1041"/>
                  <a:pt x="1598" y="1041"/>
                </a:cubicBezTo>
                <a:cubicBezTo>
                  <a:pt x="1596" y="1040"/>
                  <a:pt x="1596" y="1040"/>
                  <a:pt x="1596" y="1040"/>
                </a:cubicBezTo>
                <a:cubicBezTo>
                  <a:pt x="1596" y="1041"/>
                  <a:pt x="1596" y="1041"/>
                  <a:pt x="1596" y="1041"/>
                </a:cubicBezTo>
                <a:cubicBezTo>
                  <a:pt x="1598" y="1046"/>
                  <a:pt x="1598" y="1046"/>
                  <a:pt x="1598" y="1046"/>
                </a:cubicBezTo>
                <a:cubicBezTo>
                  <a:pt x="1599" y="1047"/>
                  <a:pt x="1599" y="1047"/>
                  <a:pt x="1599" y="1047"/>
                </a:cubicBezTo>
                <a:cubicBezTo>
                  <a:pt x="1599" y="1048"/>
                  <a:pt x="1599" y="1048"/>
                  <a:pt x="1599" y="1048"/>
                </a:cubicBezTo>
                <a:cubicBezTo>
                  <a:pt x="1601" y="1051"/>
                  <a:pt x="1601" y="1051"/>
                  <a:pt x="1601" y="1051"/>
                </a:cubicBezTo>
                <a:cubicBezTo>
                  <a:pt x="1601" y="1054"/>
                  <a:pt x="1601" y="1054"/>
                  <a:pt x="1601" y="1054"/>
                </a:cubicBezTo>
                <a:cubicBezTo>
                  <a:pt x="1602" y="1055"/>
                  <a:pt x="1602" y="1055"/>
                  <a:pt x="1602" y="1055"/>
                </a:cubicBezTo>
                <a:cubicBezTo>
                  <a:pt x="1603" y="1058"/>
                  <a:pt x="1603" y="1058"/>
                  <a:pt x="1603" y="1058"/>
                </a:cubicBezTo>
                <a:cubicBezTo>
                  <a:pt x="1606" y="1060"/>
                  <a:pt x="1606" y="1060"/>
                  <a:pt x="1606" y="1060"/>
                </a:cubicBezTo>
                <a:cubicBezTo>
                  <a:pt x="1605" y="1060"/>
                  <a:pt x="1605" y="1060"/>
                  <a:pt x="1605" y="1060"/>
                </a:cubicBezTo>
                <a:cubicBezTo>
                  <a:pt x="1608" y="1063"/>
                  <a:pt x="1608" y="1063"/>
                  <a:pt x="1608" y="1063"/>
                </a:cubicBezTo>
                <a:cubicBezTo>
                  <a:pt x="1612" y="1067"/>
                  <a:pt x="1612" y="1067"/>
                  <a:pt x="1612" y="1067"/>
                </a:cubicBezTo>
                <a:cubicBezTo>
                  <a:pt x="1613" y="1069"/>
                  <a:pt x="1613" y="1069"/>
                  <a:pt x="1613" y="1069"/>
                </a:cubicBezTo>
                <a:cubicBezTo>
                  <a:pt x="1617" y="1071"/>
                  <a:pt x="1617" y="1071"/>
                  <a:pt x="1617" y="1071"/>
                </a:cubicBezTo>
                <a:cubicBezTo>
                  <a:pt x="1617" y="1073"/>
                  <a:pt x="1617" y="1073"/>
                  <a:pt x="1617" y="1073"/>
                </a:cubicBezTo>
                <a:cubicBezTo>
                  <a:pt x="1619" y="1073"/>
                  <a:pt x="1619" y="1073"/>
                  <a:pt x="1619" y="1073"/>
                </a:cubicBezTo>
                <a:cubicBezTo>
                  <a:pt x="1620" y="1074"/>
                  <a:pt x="1620" y="1074"/>
                  <a:pt x="1620" y="1074"/>
                </a:cubicBezTo>
                <a:cubicBezTo>
                  <a:pt x="1622" y="1076"/>
                  <a:pt x="1622" y="1076"/>
                  <a:pt x="1622" y="1076"/>
                </a:cubicBezTo>
                <a:cubicBezTo>
                  <a:pt x="1622" y="1077"/>
                  <a:pt x="1622" y="1077"/>
                  <a:pt x="1622" y="1077"/>
                </a:cubicBezTo>
                <a:cubicBezTo>
                  <a:pt x="1625" y="1079"/>
                  <a:pt x="1625" y="1079"/>
                  <a:pt x="1625" y="1079"/>
                </a:cubicBezTo>
                <a:cubicBezTo>
                  <a:pt x="1625" y="1081"/>
                  <a:pt x="1625" y="1081"/>
                  <a:pt x="1625" y="1081"/>
                </a:cubicBezTo>
                <a:cubicBezTo>
                  <a:pt x="1627" y="1083"/>
                  <a:pt x="1627" y="1083"/>
                  <a:pt x="1627" y="1083"/>
                </a:cubicBezTo>
                <a:cubicBezTo>
                  <a:pt x="1627" y="1084"/>
                  <a:pt x="1627" y="1084"/>
                  <a:pt x="1627" y="1084"/>
                </a:cubicBezTo>
                <a:cubicBezTo>
                  <a:pt x="1628" y="1086"/>
                  <a:pt x="1628" y="1086"/>
                  <a:pt x="1628" y="1086"/>
                </a:cubicBezTo>
                <a:cubicBezTo>
                  <a:pt x="1629" y="1087"/>
                  <a:pt x="1629" y="1087"/>
                  <a:pt x="1629" y="1087"/>
                </a:cubicBezTo>
                <a:cubicBezTo>
                  <a:pt x="1630" y="1090"/>
                  <a:pt x="1630" y="1090"/>
                  <a:pt x="1630" y="1090"/>
                </a:cubicBezTo>
                <a:cubicBezTo>
                  <a:pt x="1629" y="1092"/>
                  <a:pt x="1629" y="1092"/>
                  <a:pt x="1629" y="1092"/>
                </a:cubicBezTo>
                <a:cubicBezTo>
                  <a:pt x="1629" y="1093"/>
                  <a:pt x="1629" y="1093"/>
                  <a:pt x="1629" y="1093"/>
                </a:cubicBezTo>
                <a:cubicBezTo>
                  <a:pt x="1630" y="1095"/>
                  <a:pt x="1630" y="1095"/>
                  <a:pt x="1630" y="1095"/>
                </a:cubicBezTo>
                <a:cubicBezTo>
                  <a:pt x="1633" y="1095"/>
                  <a:pt x="1633" y="1095"/>
                  <a:pt x="1633" y="1095"/>
                </a:cubicBezTo>
                <a:cubicBezTo>
                  <a:pt x="1634" y="1096"/>
                  <a:pt x="1634" y="1096"/>
                  <a:pt x="1634" y="1096"/>
                </a:cubicBezTo>
                <a:cubicBezTo>
                  <a:pt x="1631" y="1097"/>
                  <a:pt x="1631" y="1097"/>
                  <a:pt x="1631" y="1097"/>
                </a:cubicBezTo>
                <a:cubicBezTo>
                  <a:pt x="1632" y="1098"/>
                  <a:pt x="1632" y="1098"/>
                  <a:pt x="1632" y="1098"/>
                </a:cubicBezTo>
                <a:cubicBezTo>
                  <a:pt x="1632" y="1100"/>
                  <a:pt x="1632" y="1100"/>
                  <a:pt x="1632" y="1100"/>
                </a:cubicBezTo>
                <a:cubicBezTo>
                  <a:pt x="1638" y="1106"/>
                  <a:pt x="1638" y="1106"/>
                  <a:pt x="1638" y="1106"/>
                </a:cubicBezTo>
                <a:cubicBezTo>
                  <a:pt x="1638" y="1114"/>
                  <a:pt x="1638" y="1114"/>
                  <a:pt x="1638" y="1114"/>
                </a:cubicBezTo>
                <a:cubicBezTo>
                  <a:pt x="1641" y="1118"/>
                  <a:pt x="1641" y="1118"/>
                  <a:pt x="1641" y="1118"/>
                </a:cubicBezTo>
                <a:cubicBezTo>
                  <a:pt x="1641" y="1122"/>
                  <a:pt x="1641" y="1122"/>
                  <a:pt x="1641" y="1122"/>
                </a:cubicBezTo>
                <a:cubicBezTo>
                  <a:pt x="1637" y="1126"/>
                  <a:pt x="1637" y="1126"/>
                  <a:pt x="1637" y="1126"/>
                </a:cubicBezTo>
                <a:cubicBezTo>
                  <a:pt x="1639" y="1127"/>
                  <a:pt x="1639" y="1127"/>
                  <a:pt x="1639" y="1127"/>
                </a:cubicBezTo>
                <a:cubicBezTo>
                  <a:pt x="1639" y="1131"/>
                  <a:pt x="1639" y="1131"/>
                  <a:pt x="1639" y="1131"/>
                </a:cubicBezTo>
                <a:cubicBezTo>
                  <a:pt x="1641" y="1133"/>
                  <a:pt x="1641" y="1133"/>
                  <a:pt x="1641" y="1133"/>
                </a:cubicBezTo>
                <a:cubicBezTo>
                  <a:pt x="1641" y="1136"/>
                  <a:pt x="1641" y="1136"/>
                  <a:pt x="1641" y="1136"/>
                </a:cubicBezTo>
                <a:cubicBezTo>
                  <a:pt x="1645" y="1142"/>
                  <a:pt x="1645" y="1142"/>
                  <a:pt x="1645" y="1142"/>
                </a:cubicBezTo>
                <a:cubicBezTo>
                  <a:pt x="1644" y="1144"/>
                  <a:pt x="1644" y="1144"/>
                  <a:pt x="1644" y="1144"/>
                </a:cubicBezTo>
                <a:cubicBezTo>
                  <a:pt x="1646" y="1146"/>
                  <a:pt x="1646" y="1146"/>
                  <a:pt x="1646" y="1146"/>
                </a:cubicBezTo>
                <a:cubicBezTo>
                  <a:pt x="1646" y="1154"/>
                  <a:pt x="1646" y="1154"/>
                  <a:pt x="1646" y="1154"/>
                </a:cubicBezTo>
                <a:cubicBezTo>
                  <a:pt x="1642" y="1162"/>
                  <a:pt x="1642" y="1162"/>
                  <a:pt x="1642" y="1162"/>
                </a:cubicBezTo>
                <a:cubicBezTo>
                  <a:pt x="1640" y="1162"/>
                  <a:pt x="1640" y="1162"/>
                  <a:pt x="1640" y="1162"/>
                </a:cubicBezTo>
                <a:cubicBezTo>
                  <a:pt x="1636" y="1165"/>
                  <a:pt x="1636" y="1165"/>
                  <a:pt x="1636" y="1165"/>
                </a:cubicBezTo>
                <a:cubicBezTo>
                  <a:pt x="1636" y="1168"/>
                  <a:pt x="1636" y="1168"/>
                  <a:pt x="1636" y="1168"/>
                </a:cubicBezTo>
                <a:cubicBezTo>
                  <a:pt x="1630" y="1173"/>
                  <a:pt x="1630" y="1173"/>
                  <a:pt x="1630" y="1173"/>
                </a:cubicBezTo>
                <a:cubicBezTo>
                  <a:pt x="1630" y="1176"/>
                  <a:pt x="1630" y="1176"/>
                  <a:pt x="1630" y="1176"/>
                </a:cubicBezTo>
                <a:cubicBezTo>
                  <a:pt x="1629" y="1177"/>
                  <a:pt x="1629" y="1177"/>
                  <a:pt x="1629" y="1177"/>
                </a:cubicBezTo>
                <a:cubicBezTo>
                  <a:pt x="1629" y="1185"/>
                  <a:pt x="1629" y="1185"/>
                  <a:pt x="1629" y="1185"/>
                </a:cubicBezTo>
                <a:cubicBezTo>
                  <a:pt x="1627" y="1188"/>
                  <a:pt x="1627" y="1188"/>
                  <a:pt x="1627" y="1188"/>
                </a:cubicBezTo>
                <a:cubicBezTo>
                  <a:pt x="1626" y="1192"/>
                  <a:pt x="1626" y="1192"/>
                  <a:pt x="1626" y="1192"/>
                </a:cubicBezTo>
                <a:cubicBezTo>
                  <a:pt x="1623" y="1195"/>
                  <a:pt x="1623" y="1195"/>
                  <a:pt x="1623" y="1195"/>
                </a:cubicBezTo>
                <a:cubicBezTo>
                  <a:pt x="1623" y="1199"/>
                  <a:pt x="1623" y="1199"/>
                  <a:pt x="1623" y="1199"/>
                </a:cubicBezTo>
                <a:cubicBezTo>
                  <a:pt x="1623" y="1202"/>
                  <a:pt x="1623" y="1202"/>
                  <a:pt x="1623" y="1202"/>
                </a:cubicBezTo>
                <a:cubicBezTo>
                  <a:pt x="1623" y="1207"/>
                  <a:pt x="1623" y="1207"/>
                  <a:pt x="1623" y="1207"/>
                </a:cubicBezTo>
                <a:cubicBezTo>
                  <a:pt x="1623" y="1210"/>
                  <a:pt x="1623" y="1210"/>
                  <a:pt x="1623" y="1210"/>
                </a:cubicBezTo>
                <a:cubicBezTo>
                  <a:pt x="1623" y="1211"/>
                  <a:pt x="1623" y="1211"/>
                  <a:pt x="1623" y="1211"/>
                </a:cubicBezTo>
                <a:cubicBezTo>
                  <a:pt x="1623" y="1220"/>
                  <a:pt x="1623" y="1220"/>
                  <a:pt x="1623" y="1220"/>
                </a:cubicBezTo>
                <a:cubicBezTo>
                  <a:pt x="1629" y="1226"/>
                  <a:pt x="1629" y="1226"/>
                  <a:pt x="1629" y="1226"/>
                </a:cubicBezTo>
                <a:cubicBezTo>
                  <a:pt x="1633" y="1232"/>
                  <a:pt x="1633" y="1232"/>
                  <a:pt x="1633" y="1232"/>
                </a:cubicBezTo>
                <a:cubicBezTo>
                  <a:pt x="1638" y="1243"/>
                  <a:pt x="1638" y="1243"/>
                  <a:pt x="1638" y="1243"/>
                </a:cubicBezTo>
                <a:cubicBezTo>
                  <a:pt x="1638" y="1248"/>
                  <a:pt x="1638" y="1248"/>
                  <a:pt x="1638" y="1248"/>
                </a:cubicBezTo>
                <a:cubicBezTo>
                  <a:pt x="1643" y="1255"/>
                  <a:pt x="1643" y="1255"/>
                  <a:pt x="1643" y="1255"/>
                </a:cubicBezTo>
                <a:cubicBezTo>
                  <a:pt x="1643" y="1258"/>
                  <a:pt x="1643" y="1258"/>
                  <a:pt x="1643" y="1258"/>
                </a:cubicBezTo>
                <a:cubicBezTo>
                  <a:pt x="1649" y="1265"/>
                  <a:pt x="1649" y="1265"/>
                  <a:pt x="1649" y="1265"/>
                </a:cubicBezTo>
                <a:cubicBezTo>
                  <a:pt x="1649" y="1269"/>
                  <a:pt x="1649" y="1269"/>
                  <a:pt x="1649" y="1269"/>
                </a:cubicBezTo>
                <a:cubicBezTo>
                  <a:pt x="1647" y="1270"/>
                  <a:pt x="1647" y="1270"/>
                  <a:pt x="1647" y="1270"/>
                </a:cubicBezTo>
                <a:cubicBezTo>
                  <a:pt x="1649" y="1275"/>
                  <a:pt x="1649" y="1275"/>
                  <a:pt x="1649" y="1275"/>
                </a:cubicBezTo>
                <a:cubicBezTo>
                  <a:pt x="1649" y="1283"/>
                  <a:pt x="1649" y="1283"/>
                  <a:pt x="1649" y="1283"/>
                </a:cubicBezTo>
                <a:cubicBezTo>
                  <a:pt x="1652" y="1291"/>
                  <a:pt x="1652" y="1291"/>
                  <a:pt x="1652" y="1291"/>
                </a:cubicBezTo>
                <a:cubicBezTo>
                  <a:pt x="1652" y="1295"/>
                  <a:pt x="1652" y="1295"/>
                  <a:pt x="1652" y="1295"/>
                </a:cubicBezTo>
                <a:cubicBezTo>
                  <a:pt x="1653" y="1298"/>
                  <a:pt x="1653" y="1298"/>
                  <a:pt x="1653" y="1298"/>
                </a:cubicBezTo>
                <a:cubicBezTo>
                  <a:pt x="1651" y="1299"/>
                  <a:pt x="1651" y="1299"/>
                  <a:pt x="1651" y="1299"/>
                </a:cubicBezTo>
                <a:cubicBezTo>
                  <a:pt x="1653" y="1301"/>
                  <a:pt x="1653" y="1301"/>
                  <a:pt x="1653" y="1301"/>
                </a:cubicBezTo>
                <a:cubicBezTo>
                  <a:pt x="1653" y="1306"/>
                  <a:pt x="1653" y="1306"/>
                  <a:pt x="1653" y="1306"/>
                </a:cubicBezTo>
                <a:cubicBezTo>
                  <a:pt x="1655" y="1307"/>
                  <a:pt x="1655" y="1307"/>
                  <a:pt x="1655" y="1307"/>
                </a:cubicBezTo>
                <a:cubicBezTo>
                  <a:pt x="1656" y="1308"/>
                  <a:pt x="1656" y="1308"/>
                  <a:pt x="1656" y="1308"/>
                </a:cubicBezTo>
                <a:cubicBezTo>
                  <a:pt x="1654" y="1309"/>
                  <a:pt x="1654" y="1309"/>
                  <a:pt x="1654" y="1309"/>
                </a:cubicBezTo>
                <a:cubicBezTo>
                  <a:pt x="1654" y="1311"/>
                  <a:pt x="1654" y="1311"/>
                  <a:pt x="1654" y="1311"/>
                </a:cubicBezTo>
                <a:cubicBezTo>
                  <a:pt x="1656" y="1313"/>
                  <a:pt x="1656" y="1313"/>
                  <a:pt x="1656" y="1313"/>
                </a:cubicBezTo>
                <a:cubicBezTo>
                  <a:pt x="1656" y="1317"/>
                  <a:pt x="1656" y="1317"/>
                  <a:pt x="1656" y="1317"/>
                </a:cubicBezTo>
                <a:cubicBezTo>
                  <a:pt x="1658" y="1320"/>
                  <a:pt x="1658" y="1320"/>
                  <a:pt x="1658" y="1320"/>
                </a:cubicBezTo>
                <a:cubicBezTo>
                  <a:pt x="1661" y="1324"/>
                  <a:pt x="1661" y="1324"/>
                  <a:pt x="1661" y="1324"/>
                </a:cubicBezTo>
                <a:cubicBezTo>
                  <a:pt x="1663" y="1327"/>
                  <a:pt x="1663" y="1327"/>
                  <a:pt x="1663" y="1327"/>
                </a:cubicBezTo>
                <a:cubicBezTo>
                  <a:pt x="1664" y="1328"/>
                  <a:pt x="1664" y="1328"/>
                  <a:pt x="1664" y="1328"/>
                </a:cubicBezTo>
                <a:cubicBezTo>
                  <a:pt x="1667" y="1331"/>
                  <a:pt x="1667" y="1331"/>
                  <a:pt x="1667" y="1331"/>
                </a:cubicBezTo>
                <a:cubicBezTo>
                  <a:pt x="1667" y="1331"/>
                  <a:pt x="1667" y="1331"/>
                  <a:pt x="1667" y="1331"/>
                </a:cubicBezTo>
                <a:cubicBezTo>
                  <a:pt x="1668" y="1334"/>
                  <a:pt x="1668" y="1334"/>
                  <a:pt x="1668" y="1334"/>
                </a:cubicBezTo>
                <a:cubicBezTo>
                  <a:pt x="1671" y="1336"/>
                  <a:pt x="1671" y="1336"/>
                  <a:pt x="1671" y="1336"/>
                </a:cubicBezTo>
                <a:cubicBezTo>
                  <a:pt x="1673" y="1343"/>
                  <a:pt x="1673" y="1343"/>
                  <a:pt x="1673" y="1343"/>
                </a:cubicBezTo>
                <a:cubicBezTo>
                  <a:pt x="1673" y="1345"/>
                  <a:pt x="1673" y="1345"/>
                  <a:pt x="1673" y="1345"/>
                </a:cubicBezTo>
                <a:cubicBezTo>
                  <a:pt x="1675" y="1351"/>
                  <a:pt x="1675" y="1351"/>
                  <a:pt x="1675" y="1351"/>
                </a:cubicBezTo>
                <a:cubicBezTo>
                  <a:pt x="1676" y="1357"/>
                  <a:pt x="1676" y="1357"/>
                  <a:pt x="1676" y="1357"/>
                </a:cubicBezTo>
                <a:cubicBezTo>
                  <a:pt x="1679" y="1361"/>
                  <a:pt x="1679" y="1361"/>
                  <a:pt x="1679" y="1361"/>
                </a:cubicBezTo>
                <a:cubicBezTo>
                  <a:pt x="1679" y="1363"/>
                  <a:pt x="1679" y="1363"/>
                  <a:pt x="1679" y="1363"/>
                </a:cubicBezTo>
                <a:cubicBezTo>
                  <a:pt x="1682" y="1368"/>
                  <a:pt x="1682" y="1368"/>
                  <a:pt x="1682" y="1368"/>
                </a:cubicBezTo>
                <a:cubicBezTo>
                  <a:pt x="1682" y="1369"/>
                  <a:pt x="1682" y="1369"/>
                  <a:pt x="1682" y="1369"/>
                </a:cubicBezTo>
                <a:cubicBezTo>
                  <a:pt x="1683" y="1373"/>
                  <a:pt x="1683" y="1373"/>
                  <a:pt x="1683" y="1373"/>
                </a:cubicBezTo>
                <a:cubicBezTo>
                  <a:pt x="1683" y="1376"/>
                  <a:pt x="1683" y="1376"/>
                  <a:pt x="1683" y="1376"/>
                </a:cubicBezTo>
                <a:cubicBezTo>
                  <a:pt x="1681" y="1377"/>
                  <a:pt x="1681" y="1377"/>
                  <a:pt x="1681" y="1377"/>
                </a:cubicBezTo>
                <a:cubicBezTo>
                  <a:pt x="1680" y="1377"/>
                  <a:pt x="1680" y="1377"/>
                  <a:pt x="1680" y="1377"/>
                </a:cubicBezTo>
                <a:cubicBezTo>
                  <a:pt x="1679" y="1376"/>
                  <a:pt x="1679" y="1376"/>
                  <a:pt x="1679" y="1376"/>
                </a:cubicBezTo>
                <a:cubicBezTo>
                  <a:pt x="1678" y="1377"/>
                  <a:pt x="1678" y="1377"/>
                  <a:pt x="1678" y="1377"/>
                </a:cubicBezTo>
                <a:cubicBezTo>
                  <a:pt x="1678" y="1380"/>
                  <a:pt x="1678" y="1380"/>
                  <a:pt x="1678" y="1380"/>
                </a:cubicBezTo>
                <a:cubicBezTo>
                  <a:pt x="1680" y="1382"/>
                  <a:pt x="1680" y="1382"/>
                  <a:pt x="1680" y="1382"/>
                </a:cubicBezTo>
                <a:cubicBezTo>
                  <a:pt x="1682" y="1384"/>
                  <a:pt x="1682" y="1384"/>
                  <a:pt x="1682" y="1384"/>
                </a:cubicBezTo>
                <a:cubicBezTo>
                  <a:pt x="1683" y="1387"/>
                  <a:pt x="1683" y="1387"/>
                  <a:pt x="1683" y="1387"/>
                </a:cubicBezTo>
                <a:cubicBezTo>
                  <a:pt x="1682" y="1389"/>
                  <a:pt x="1682" y="1389"/>
                  <a:pt x="1682" y="1389"/>
                </a:cubicBezTo>
                <a:cubicBezTo>
                  <a:pt x="1683" y="1392"/>
                  <a:pt x="1683" y="1392"/>
                  <a:pt x="1683" y="1392"/>
                </a:cubicBezTo>
                <a:cubicBezTo>
                  <a:pt x="1682" y="1394"/>
                  <a:pt x="1682" y="1394"/>
                  <a:pt x="1682" y="1394"/>
                </a:cubicBezTo>
                <a:cubicBezTo>
                  <a:pt x="1682" y="1396"/>
                  <a:pt x="1682" y="1396"/>
                  <a:pt x="1682" y="1396"/>
                </a:cubicBezTo>
                <a:cubicBezTo>
                  <a:pt x="1683" y="1397"/>
                  <a:pt x="1683" y="1397"/>
                  <a:pt x="1683" y="1397"/>
                </a:cubicBezTo>
                <a:cubicBezTo>
                  <a:pt x="1683" y="1395"/>
                  <a:pt x="1683" y="1395"/>
                  <a:pt x="1683" y="1395"/>
                </a:cubicBezTo>
                <a:cubicBezTo>
                  <a:pt x="1685" y="1393"/>
                  <a:pt x="1685" y="1393"/>
                  <a:pt x="1685" y="1393"/>
                </a:cubicBezTo>
                <a:cubicBezTo>
                  <a:pt x="1687" y="1394"/>
                  <a:pt x="1687" y="1394"/>
                  <a:pt x="1687" y="1394"/>
                </a:cubicBezTo>
                <a:cubicBezTo>
                  <a:pt x="1688" y="1396"/>
                  <a:pt x="1688" y="1396"/>
                  <a:pt x="1688" y="1396"/>
                </a:cubicBezTo>
                <a:cubicBezTo>
                  <a:pt x="1687" y="1396"/>
                  <a:pt x="1687" y="1396"/>
                  <a:pt x="1687" y="1396"/>
                </a:cubicBezTo>
                <a:cubicBezTo>
                  <a:pt x="1688" y="1397"/>
                  <a:pt x="1688" y="1397"/>
                  <a:pt x="1688" y="1397"/>
                </a:cubicBezTo>
                <a:cubicBezTo>
                  <a:pt x="1689" y="1396"/>
                  <a:pt x="1689" y="1396"/>
                  <a:pt x="1689" y="1396"/>
                </a:cubicBezTo>
                <a:cubicBezTo>
                  <a:pt x="1691" y="1397"/>
                  <a:pt x="1691" y="1397"/>
                  <a:pt x="1691" y="1397"/>
                </a:cubicBezTo>
                <a:cubicBezTo>
                  <a:pt x="1691" y="1400"/>
                  <a:pt x="1691" y="1400"/>
                  <a:pt x="1691" y="1400"/>
                </a:cubicBezTo>
                <a:cubicBezTo>
                  <a:pt x="1692" y="1399"/>
                  <a:pt x="1692" y="1399"/>
                  <a:pt x="1692" y="1399"/>
                </a:cubicBezTo>
                <a:cubicBezTo>
                  <a:pt x="1697" y="1401"/>
                  <a:pt x="1697" y="1401"/>
                  <a:pt x="1697" y="1401"/>
                </a:cubicBezTo>
                <a:cubicBezTo>
                  <a:pt x="1698" y="1401"/>
                  <a:pt x="1698" y="1401"/>
                  <a:pt x="1698" y="1401"/>
                </a:cubicBezTo>
                <a:cubicBezTo>
                  <a:pt x="1699" y="1401"/>
                  <a:pt x="1699" y="1401"/>
                  <a:pt x="1699" y="1401"/>
                </a:cubicBezTo>
                <a:cubicBezTo>
                  <a:pt x="1700" y="1400"/>
                  <a:pt x="1700" y="1400"/>
                  <a:pt x="1700" y="1400"/>
                </a:cubicBezTo>
                <a:cubicBezTo>
                  <a:pt x="1702" y="1399"/>
                  <a:pt x="1702" y="1399"/>
                  <a:pt x="1702" y="1399"/>
                </a:cubicBezTo>
                <a:cubicBezTo>
                  <a:pt x="1704" y="1397"/>
                  <a:pt x="1704" y="1397"/>
                  <a:pt x="1704" y="1397"/>
                </a:cubicBezTo>
                <a:cubicBezTo>
                  <a:pt x="1706" y="1397"/>
                  <a:pt x="1706" y="1397"/>
                  <a:pt x="1706" y="1397"/>
                </a:cubicBezTo>
                <a:cubicBezTo>
                  <a:pt x="1707" y="1397"/>
                  <a:pt x="1707" y="1397"/>
                  <a:pt x="1707" y="1397"/>
                </a:cubicBezTo>
                <a:cubicBezTo>
                  <a:pt x="1709" y="1397"/>
                  <a:pt x="1709" y="1397"/>
                  <a:pt x="1709" y="1397"/>
                </a:cubicBezTo>
                <a:cubicBezTo>
                  <a:pt x="1712" y="1398"/>
                  <a:pt x="1712" y="1398"/>
                  <a:pt x="1712" y="1398"/>
                </a:cubicBezTo>
                <a:cubicBezTo>
                  <a:pt x="1714" y="1397"/>
                  <a:pt x="1714" y="1397"/>
                  <a:pt x="1714" y="1397"/>
                </a:cubicBezTo>
                <a:cubicBezTo>
                  <a:pt x="1716" y="1397"/>
                  <a:pt x="1716" y="1397"/>
                  <a:pt x="1716" y="1397"/>
                </a:cubicBezTo>
                <a:cubicBezTo>
                  <a:pt x="1717" y="1396"/>
                  <a:pt x="1717" y="1396"/>
                  <a:pt x="1717" y="1396"/>
                </a:cubicBezTo>
                <a:cubicBezTo>
                  <a:pt x="1718" y="1395"/>
                  <a:pt x="1718" y="1395"/>
                  <a:pt x="1718" y="1395"/>
                </a:cubicBezTo>
                <a:cubicBezTo>
                  <a:pt x="1719" y="1395"/>
                  <a:pt x="1719" y="1395"/>
                  <a:pt x="1719" y="1395"/>
                </a:cubicBezTo>
                <a:cubicBezTo>
                  <a:pt x="1720" y="1395"/>
                  <a:pt x="1720" y="1395"/>
                  <a:pt x="1720" y="1395"/>
                </a:cubicBezTo>
                <a:cubicBezTo>
                  <a:pt x="1721" y="1394"/>
                  <a:pt x="1721" y="1394"/>
                  <a:pt x="1721" y="1394"/>
                </a:cubicBezTo>
                <a:cubicBezTo>
                  <a:pt x="1723" y="1393"/>
                  <a:pt x="1723" y="1393"/>
                  <a:pt x="1723" y="1393"/>
                </a:cubicBezTo>
                <a:cubicBezTo>
                  <a:pt x="1728" y="1393"/>
                  <a:pt x="1728" y="1393"/>
                  <a:pt x="1728" y="1393"/>
                </a:cubicBezTo>
                <a:cubicBezTo>
                  <a:pt x="1730" y="1394"/>
                  <a:pt x="1730" y="1394"/>
                  <a:pt x="1730" y="1394"/>
                </a:cubicBezTo>
                <a:cubicBezTo>
                  <a:pt x="1732" y="1394"/>
                  <a:pt x="1732" y="1394"/>
                  <a:pt x="1732" y="1394"/>
                </a:cubicBezTo>
                <a:cubicBezTo>
                  <a:pt x="1732" y="1393"/>
                  <a:pt x="1732" y="1393"/>
                  <a:pt x="1732" y="1393"/>
                </a:cubicBezTo>
                <a:cubicBezTo>
                  <a:pt x="1735" y="1392"/>
                  <a:pt x="1735" y="1392"/>
                  <a:pt x="1735" y="1392"/>
                </a:cubicBezTo>
                <a:cubicBezTo>
                  <a:pt x="1740" y="1393"/>
                  <a:pt x="1740" y="1393"/>
                  <a:pt x="1740" y="1393"/>
                </a:cubicBezTo>
                <a:cubicBezTo>
                  <a:pt x="1741" y="1394"/>
                  <a:pt x="1741" y="1394"/>
                  <a:pt x="1741" y="1394"/>
                </a:cubicBezTo>
                <a:cubicBezTo>
                  <a:pt x="1746" y="1395"/>
                  <a:pt x="1746" y="1395"/>
                  <a:pt x="1746" y="1395"/>
                </a:cubicBezTo>
                <a:cubicBezTo>
                  <a:pt x="1747" y="1395"/>
                  <a:pt x="1747" y="1395"/>
                  <a:pt x="1747" y="1395"/>
                </a:cubicBezTo>
                <a:cubicBezTo>
                  <a:pt x="1746" y="1394"/>
                  <a:pt x="1746" y="1394"/>
                  <a:pt x="1746" y="1394"/>
                </a:cubicBezTo>
                <a:cubicBezTo>
                  <a:pt x="1747" y="1392"/>
                  <a:pt x="1747" y="1392"/>
                  <a:pt x="1747" y="1392"/>
                </a:cubicBezTo>
                <a:cubicBezTo>
                  <a:pt x="1749" y="1392"/>
                  <a:pt x="1749" y="1392"/>
                  <a:pt x="1749" y="1392"/>
                </a:cubicBezTo>
                <a:cubicBezTo>
                  <a:pt x="1751" y="1393"/>
                  <a:pt x="1751" y="1393"/>
                  <a:pt x="1751" y="1393"/>
                </a:cubicBezTo>
                <a:cubicBezTo>
                  <a:pt x="1755" y="1393"/>
                  <a:pt x="1755" y="1393"/>
                  <a:pt x="1755" y="1393"/>
                </a:cubicBezTo>
                <a:cubicBezTo>
                  <a:pt x="1755" y="1393"/>
                  <a:pt x="1755" y="1393"/>
                  <a:pt x="1755" y="1393"/>
                </a:cubicBezTo>
                <a:cubicBezTo>
                  <a:pt x="1753" y="1391"/>
                  <a:pt x="1753" y="1391"/>
                  <a:pt x="1753" y="1391"/>
                </a:cubicBezTo>
                <a:cubicBezTo>
                  <a:pt x="1754" y="1390"/>
                  <a:pt x="1754" y="1390"/>
                  <a:pt x="1754" y="1390"/>
                </a:cubicBezTo>
                <a:cubicBezTo>
                  <a:pt x="1757" y="1389"/>
                  <a:pt x="1757" y="1389"/>
                  <a:pt x="1757" y="1389"/>
                </a:cubicBezTo>
                <a:cubicBezTo>
                  <a:pt x="1760" y="1389"/>
                  <a:pt x="1760" y="1389"/>
                  <a:pt x="1760" y="1389"/>
                </a:cubicBezTo>
                <a:cubicBezTo>
                  <a:pt x="1761" y="1390"/>
                  <a:pt x="1761" y="1390"/>
                  <a:pt x="1761" y="1390"/>
                </a:cubicBezTo>
                <a:cubicBezTo>
                  <a:pt x="1763" y="1389"/>
                  <a:pt x="1763" y="1389"/>
                  <a:pt x="1763" y="1389"/>
                </a:cubicBezTo>
                <a:cubicBezTo>
                  <a:pt x="1766" y="1388"/>
                  <a:pt x="1766" y="1388"/>
                  <a:pt x="1766" y="1388"/>
                </a:cubicBezTo>
                <a:cubicBezTo>
                  <a:pt x="1769" y="1387"/>
                  <a:pt x="1769" y="1387"/>
                  <a:pt x="1769" y="1387"/>
                </a:cubicBezTo>
                <a:cubicBezTo>
                  <a:pt x="1769" y="1386"/>
                  <a:pt x="1769" y="1386"/>
                  <a:pt x="1769" y="1386"/>
                </a:cubicBezTo>
                <a:cubicBezTo>
                  <a:pt x="1772" y="1386"/>
                  <a:pt x="1772" y="1386"/>
                  <a:pt x="1772" y="1386"/>
                </a:cubicBezTo>
                <a:cubicBezTo>
                  <a:pt x="1773" y="1384"/>
                  <a:pt x="1773" y="1384"/>
                  <a:pt x="1773" y="1384"/>
                </a:cubicBezTo>
                <a:cubicBezTo>
                  <a:pt x="1780" y="1380"/>
                  <a:pt x="1780" y="1380"/>
                  <a:pt x="1780" y="1380"/>
                </a:cubicBezTo>
                <a:cubicBezTo>
                  <a:pt x="1782" y="1378"/>
                  <a:pt x="1782" y="1378"/>
                  <a:pt x="1782" y="1378"/>
                </a:cubicBezTo>
                <a:cubicBezTo>
                  <a:pt x="1782" y="1377"/>
                  <a:pt x="1782" y="1377"/>
                  <a:pt x="1782" y="1377"/>
                </a:cubicBezTo>
                <a:cubicBezTo>
                  <a:pt x="1783" y="1377"/>
                  <a:pt x="1783" y="1377"/>
                  <a:pt x="1783" y="1377"/>
                </a:cubicBezTo>
                <a:cubicBezTo>
                  <a:pt x="1794" y="1366"/>
                  <a:pt x="1794" y="1366"/>
                  <a:pt x="1794" y="1366"/>
                </a:cubicBezTo>
                <a:cubicBezTo>
                  <a:pt x="1794" y="1366"/>
                  <a:pt x="1794" y="1366"/>
                  <a:pt x="1794" y="1366"/>
                </a:cubicBezTo>
                <a:cubicBezTo>
                  <a:pt x="1795" y="1366"/>
                  <a:pt x="1795" y="1366"/>
                  <a:pt x="1795" y="1366"/>
                </a:cubicBezTo>
                <a:cubicBezTo>
                  <a:pt x="1797" y="1363"/>
                  <a:pt x="1797" y="1363"/>
                  <a:pt x="1797" y="1363"/>
                </a:cubicBezTo>
                <a:cubicBezTo>
                  <a:pt x="1799" y="1363"/>
                  <a:pt x="1799" y="1363"/>
                  <a:pt x="1799" y="1363"/>
                </a:cubicBezTo>
                <a:cubicBezTo>
                  <a:pt x="1800" y="1360"/>
                  <a:pt x="1800" y="1360"/>
                  <a:pt x="1800" y="1360"/>
                </a:cubicBezTo>
                <a:cubicBezTo>
                  <a:pt x="1803" y="1357"/>
                  <a:pt x="1803" y="1357"/>
                  <a:pt x="1803" y="1357"/>
                </a:cubicBezTo>
                <a:cubicBezTo>
                  <a:pt x="1807" y="1350"/>
                  <a:pt x="1807" y="1350"/>
                  <a:pt x="1807" y="1350"/>
                </a:cubicBezTo>
                <a:cubicBezTo>
                  <a:pt x="1809" y="1347"/>
                  <a:pt x="1809" y="1347"/>
                  <a:pt x="1809" y="1347"/>
                </a:cubicBezTo>
                <a:cubicBezTo>
                  <a:pt x="1810" y="1347"/>
                  <a:pt x="1810" y="1347"/>
                  <a:pt x="1810" y="1347"/>
                </a:cubicBezTo>
                <a:cubicBezTo>
                  <a:pt x="1812" y="1344"/>
                  <a:pt x="1812" y="1344"/>
                  <a:pt x="1812" y="1344"/>
                </a:cubicBezTo>
                <a:cubicBezTo>
                  <a:pt x="1812" y="1343"/>
                  <a:pt x="1812" y="1343"/>
                  <a:pt x="1812" y="1343"/>
                </a:cubicBezTo>
                <a:cubicBezTo>
                  <a:pt x="1814" y="1341"/>
                  <a:pt x="1814" y="1341"/>
                  <a:pt x="1814" y="1341"/>
                </a:cubicBezTo>
                <a:cubicBezTo>
                  <a:pt x="1815" y="1339"/>
                  <a:pt x="1815" y="1339"/>
                  <a:pt x="1815" y="1339"/>
                </a:cubicBezTo>
                <a:cubicBezTo>
                  <a:pt x="1817" y="1337"/>
                  <a:pt x="1817" y="1337"/>
                  <a:pt x="1817" y="1337"/>
                </a:cubicBezTo>
                <a:cubicBezTo>
                  <a:pt x="1818" y="1336"/>
                  <a:pt x="1818" y="1336"/>
                  <a:pt x="1818" y="1336"/>
                </a:cubicBezTo>
                <a:cubicBezTo>
                  <a:pt x="1820" y="1335"/>
                  <a:pt x="1820" y="1335"/>
                  <a:pt x="1820" y="1335"/>
                </a:cubicBezTo>
                <a:cubicBezTo>
                  <a:pt x="1821" y="1334"/>
                  <a:pt x="1821" y="1334"/>
                  <a:pt x="1821" y="1334"/>
                </a:cubicBezTo>
                <a:cubicBezTo>
                  <a:pt x="1822" y="1334"/>
                  <a:pt x="1822" y="1334"/>
                  <a:pt x="1822" y="1334"/>
                </a:cubicBezTo>
                <a:cubicBezTo>
                  <a:pt x="1825" y="1331"/>
                  <a:pt x="1825" y="1331"/>
                  <a:pt x="1825" y="1331"/>
                </a:cubicBezTo>
                <a:cubicBezTo>
                  <a:pt x="1825" y="1329"/>
                  <a:pt x="1825" y="1329"/>
                  <a:pt x="1825" y="1329"/>
                </a:cubicBezTo>
                <a:cubicBezTo>
                  <a:pt x="1827" y="1327"/>
                  <a:pt x="1827" y="1327"/>
                  <a:pt x="1827" y="1327"/>
                </a:cubicBezTo>
                <a:cubicBezTo>
                  <a:pt x="1827" y="1323"/>
                  <a:pt x="1827" y="1323"/>
                  <a:pt x="1827" y="1323"/>
                </a:cubicBezTo>
                <a:cubicBezTo>
                  <a:pt x="1829" y="1320"/>
                  <a:pt x="1829" y="1320"/>
                  <a:pt x="1829" y="1320"/>
                </a:cubicBezTo>
                <a:cubicBezTo>
                  <a:pt x="1829" y="1317"/>
                  <a:pt x="1829" y="1317"/>
                  <a:pt x="1829" y="1317"/>
                </a:cubicBezTo>
                <a:cubicBezTo>
                  <a:pt x="1831" y="1314"/>
                  <a:pt x="1831" y="1314"/>
                  <a:pt x="1831" y="1314"/>
                </a:cubicBezTo>
                <a:cubicBezTo>
                  <a:pt x="1830" y="1313"/>
                  <a:pt x="1830" y="1313"/>
                  <a:pt x="1830" y="1313"/>
                </a:cubicBezTo>
                <a:cubicBezTo>
                  <a:pt x="1831" y="1312"/>
                  <a:pt x="1831" y="1312"/>
                  <a:pt x="1831" y="1312"/>
                </a:cubicBezTo>
                <a:cubicBezTo>
                  <a:pt x="1831" y="1311"/>
                  <a:pt x="1831" y="1311"/>
                  <a:pt x="1831" y="1311"/>
                </a:cubicBezTo>
                <a:cubicBezTo>
                  <a:pt x="1831" y="1310"/>
                  <a:pt x="1831" y="1310"/>
                  <a:pt x="1831" y="1310"/>
                </a:cubicBezTo>
                <a:cubicBezTo>
                  <a:pt x="1832" y="1308"/>
                  <a:pt x="1832" y="1308"/>
                  <a:pt x="1832" y="1308"/>
                </a:cubicBezTo>
                <a:cubicBezTo>
                  <a:pt x="1833" y="1305"/>
                  <a:pt x="1833" y="1305"/>
                  <a:pt x="1833" y="1305"/>
                </a:cubicBezTo>
                <a:cubicBezTo>
                  <a:pt x="1833" y="1304"/>
                  <a:pt x="1833" y="1304"/>
                  <a:pt x="1833" y="1304"/>
                </a:cubicBezTo>
                <a:cubicBezTo>
                  <a:pt x="1832" y="1304"/>
                  <a:pt x="1832" y="1304"/>
                  <a:pt x="1832" y="1304"/>
                </a:cubicBezTo>
                <a:cubicBezTo>
                  <a:pt x="1831" y="1306"/>
                  <a:pt x="1831" y="1306"/>
                  <a:pt x="1831" y="1306"/>
                </a:cubicBezTo>
                <a:cubicBezTo>
                  <a:pt x="1830" y="1306"/>
                  <a:pt x="1830" y="1306"/>
                  <a:pt x="1830" y="1306"/>
                </a:cubicBezTo>
                <a:cubicBezTo>
                  <a:pt x="1829" y="1307"/>
                  <a:pt x="1829" y="1307"/>
                  <a:pt x="1829" y="1307"/>
                </a:cubicBezTo>
                <a:cubicBezTo>
                  <a:pt x="1829" y="1305"/>
                  <a:pt x="1829" y="1305"/>
                  <a:pt x="1829" y="1305"/>
                </a:cubicBezTo>
                <a:cubicBezTo>
                  <a:pt x="1828" y="1303"/>
                  <a:pt x="1828" y="1303"/>
                  <a:pt x="1828" y="1303"/>
                </a:cubicBezTo>
                <a:cubicBezTo>
                  <a:pt x="1828" y="1303"/>
                  <a:pt x="1828" y="1303"/>
                  <a:pt x="1828" y="1303"/>
                </a:cubicBezTo>
                <a:cubicBezTo>
                  <a:pt x="1829" y="1302"/>
                  <a:pt x="1829" y="1302"/>
                  <a:pt x="1829" y="1302"/>
                </a:cubicBezTo>
                <a:cubicBezTo>
                  <a:pt x="1830" y="1302"/>
                  <a:pt x="1830" y="1302"/>
                  <a:pt x="1830" y="1302"/>
                </a:cubicBezTo>
                <a:cubicBezTo>
                  <a:pt x="1831" y="1300"/>
                  <a:pt x="1831" y="1300"/>
                  <a:pt x="1831" y="1300"/>
                </a:cubicBezTo>
                <a:cubicBezTo>
                  <a:pt x="1832" y="1298"/>
                  <a:pt x="1832" y="1298"/>
                  <a:pt x="1832" y="1298"/>
                </a:cubicBezTo>
                <a:cubicBezTo>
                  <a:pt x="1833" y="1297"/>
                  <a:pt x="1833" y="1297"/>
                  <a:pt x="1833" y="1297"/>
                </a:cubicBezTo>
                <a:cubicBezTo>
                  <a:pt x="1835" y="1297"/>
                  <a:pt x="1835" y="1297"/>
                  <a:pt x="1835" y="1297"/>
                </a:cubicBezTo>
                <a:cubicBezTo>
                  <a:pt x="1839" y="1293"/>
                  <a:pt x="1839" y="1293"/>
                  <a:pt x="1839" y="1293"/>
                </a:cubicBezTo>
                <a:cubicBezTo>
                  <a:pt x="1847" y="1292"/>
                  <a:pt x="1847" y="1292"/>
                  <a:pt x="1847" y="1292"/>
                </a:cubicBezTo>
                <a:cubicBezTo>
                  <a:pt x="1854" y="1289"/>
                  <a:pt x="1854" y="1289"/>
                  <a:pt x="1854" y="1289"/>
                </a:cubicBezTo>
                <a:cubicBezTo>
                  <a:pt x="1858" y="1285"/>
                  <a:pt x="1858" y="1285"/>
                  <a:pt x="1858" y="1285"/>
                </a:cubicBezTo>
                <a:cubicBezTo>
                  <a:pt x="1858" y="1282"/>
                  <a:pt x="1858" y="1282"/>
                  <a:pt x="1858" y="1282"/>
                </a:cubicBezTo>
                <a:cubicBezTo>
                  <a:pt x="1860" y="1280"/>
                  <a:pt x="1860" y="1280"/>
                  <a:pt x="1860" y="1280"/>
                </a:cubicBezTo>
                <a:cubicBezTo>
                  <a:pt x="1859" y="1279"/>
                  <a:pt x="1859" y="1279"/>
                  <a:pt x="1859" y="1279"/>
                </a:cubicBezTo>
                <a:cubicBezTo>
                  <a:pt x="1858" y="1280"/>
                  <a:pt x="1858" y="1280"/>
                  <a:pt x="1858" y="1280"/>
                </a:cubicBezTo>
                <a:cubicBezTo>
                  <a:pt x="1857" y="1278"/>
                  <a:pt x="1857" y="1278"/>
                  <a:pt x="1857" y="1278"/>
                </a:cubicBezTo>
                <a:cubicBezTo>
                  <a:pt x="1858" y="1278"/>
                  <a:pt x="1858" y="1278"/>
                  <a:pt x="1858" y="1278"/>
                </a:cubicBezTo>
                <a:cubicBezTo>
                  <a:pt x="1858" y="1276"/>
                  <a:pt x="1858" y="1276"/>
                  <a:pt x="1858" y="1276"/>
                </a:cubicBezTo>
                <a:cubicBezTo>
                  <a:pt x="1859" y="1275"/>
                  <a:pt x="1859" y="1275"/>
                  <a:pt x="1859" y="1275"/>
                </a:cubicBezTo>
                <a:cubicBezTo>
                  <a:pt x="1859" y="1273"/>
                  <a:pt x="1859" y="1273"/>
                  <a:pt x="1859" y="1273"/>
                </a:cubicBezTo>
                <a:cubicBezTo>
                  <a:pt x="1860" y="1270"/>
                  <a:pt x="1860" y="1270"/>
                  <a:pt x="1860" y="1270"/>
                </a:cubicBezTo>
                <a:cubicBezTo>
                  <a:pt x="1860" y="1270"/>
                  <a:pt x="1860" y="1270"/>
                  <a:pt x="1860" y="1270"/>
                </a:cubicBezTo>
                <a:cubicBezTo>
                  <a:pt x="1860" y="1267"/>
                  <a:pt x="1860" y="1267"/>
                  <a:pt x="1860" y="1267"/>
                </a:cubicBezTo>
                <a:cubicBezTo>
                  <a:pt x="1861" y="1266"/>
                  <a:pt x="1861" y="1266"/>
                  <a:pt x="1861" y="1266"/>
                </a:cubicBezTo>
                <a:cubicBezTo>
                  <a:pt x="1861" y="1263"/>
                  <a:pt x="1861" y="1263"/>
                  <a:pt x="1861" y="1263"/>
                </a:cubicBezTo>
                <a:cubicBezTo>
                  <a:pt x="1860" y="1263"/>
                  <a:pt x="1860" y="1263"/>
                  <a:pt x="1860" y="1263"/>
                </a:cubicBezTo>
                <a:cubicBezTo>
                  <a:pt x="1860" y="1261"/>
                  <a:pt x="1860" y="1261"/>
                  <a:pt x="1860" y="1261"/>
                </a:cubicBezTo>
                <a:cubicBezTo>
                  <a:pt x="1859" y="1264"/>
                  <a:pt x="1859" y="1264"/>
                  <a:pt x="1859" y="1264"/>
                </a:cubicBezTo>
                <a:cubicBezTo>
                  <a:pt x="1859" y="1265"/>
                  <a:pt x="1859" y="1265"/>
                  <a:pt x="1859" y="1265"/>
                </a:cubicBezTo>
                <a:cubicBezTo>
                  <a:pt x="1858" y="1265"/>
                  <a:pt x="1858" y="1265"/>
                  <a:pt x="1858" y="1265"/>
                </a:cubicBezTo>
                <a:cubicBezTo>
                  <a:pt x="1858" y="1263"/>
                  <a:pt x="1858" y="1263"/>
                  <a:pt x="1858" y="1263"/>
                </a:cubicBezTo>
                <a:cubicBezTo>
                  <a:pt x="1858" y="1257"/>
                  <a:pt x="1858" y="1257"/>
                  <a:pt x="1858" y="1257"/>
                </a:cubicBezTo>
                <a:cubicBezTo>
                  <a:pt x="1857" y="1255"/>
                  <a:pt x="1857" y="1255"/>
                  <a:pt x="1857" y="1255"/>
                </a:cubicBezTo>
                <a:cubicBezTo>
                  <a:pt x="1857" y="1252"/>
                  <a:pt x="1857" y="1252"/>
                  <a:pt x="1857" y="1252"/>
                </a:cubicBezTo>
                <a:cubicBezTo>
                  <a:pt x="1856" y="1250"/>
                  <a:pt x="1856" y="1250"/>
                  <a:pt x="1856" y="1250"/>
                </a:cubicBezTo>
                <a:cubicBezTo>
                  <a:pt x="1855" y="1250"/>
                  <a:pt x="1855" y="1250"/>
                  <a:pt x="1855" y="1250"/>
                </a:cubicBezTo>
                <a:cubicBezTo>
                  <a:pt x="1856" y="1249"/>
                  <a:pt x="1856" y="1249"/>
                  <a:pt x="1856" y="1249"/>
                </a:cubicBezTo>
                <a:cubicBezTo>
                  <a:pt x="1856" y="1248"/>
                  <a:pt x="1856" y="1248"/>
                  <a:pt x="1856" y="1248"/>
                </a:cubicBezTo>
                <a:cubicBezTo>
                  <a:pt x="1853" y="1244"/>
                  <a:pt x="1853" y="1244"/>
                  <a:pt x="1853" y="1244"/>
                </a:cubicBezTo>
                <a:cubicBezTo>
                  <a:pt x="1854" y="1242"/>
                  <a:pt x="1854" y="1242"/>
                  <a:pt x="1854" y="1242"/>
                </a:cubicBezTo>
                <a:cubicBezTo>
                  <a:pt x="1854" y="1241"/>
                  <a:pt x="1854" y="1241"/>
                  <a:pt x="1854" y="1241"/>
                </a:cubicBezTo>
                <a:cubicBezTo>
                  <a:pt x="1855" y="1240"/>
                  <a:pt x="1855" y="1240"/>
                  <a:pt x="1855" y="1240"/>
                </a:cubicBezTo>
                <a:cubicBezTo>
                  <a:pt x="1855" y="1238"/>
                  <a:pt x="1855" y="1238"/>
                  <a:pt x="1855" y="1238"/>
                </a:cubicBezTo>
                <a:cubicBezTo>
                  <a:pt x="1854" y="1237"/>
                  <a:pt x="1854" y="1237"/>
                  <a:pt x="1854" y="1237"/>
                </a:cubicBezTo>
                <a:cubicBezTo>
                  <a:pt x="1854" y="1236"/>
                  <a:pt x="1854" y="1236"/>
                  <a:pt x="1854" y="1236"/>
                </a:cubicBezTo>
                <a:cubicBezTo>
                  <a:pt x="1855" y="1236"/>
                  <a:pt x="1855" y="1236"/>
                  <a:pt x="1855" y="1236"/>
                </a:cubicBezTo>
                <a:cubicBezTo>
                  <a:pt x="1857" y="1237"/>
                  <a:pt x="1857" y="1237"/>
                  <a:pt x="1857" y="1237"/>
                </a:cubicBezTo>
                <a:cubicBezTo>
                  <a:pt x="1858" y="1236"/>
                  <a:pt x="1858" y="1236"/>
                  <a:pt x="1858" y="1236"/>
                </a:cubicBezTo>
                <a:cubicBezTo>
                  <a:pt x="1860" y="1236"/>
                  <a:pt x="1860" y="1236"/>
                  <a:pt x="1860" y="1236"/>
                </a:cubicBezTo>
                <a:cubicBezTo>
                  <a:pt x="1862" y="1234"/>
                  <a:pt x="1862" y="1234"/>
                  <a:pt x="1862" y="1234"/>
                </a:cubicBezTo>
                <a:cubicBezTo>
                  <a:pt x="1862" y="1232"/>
                  <a:pt x="1862" y="1232"/>
                  <a:pt x="1862" y="1232"/>
                </a:cubicBezTo>
                <a:cubicBezTo>
                  <a:pt x="1867" y="1229"/>
                  <a:pt x="1867" y="1229"/>
                  <a:pt x="1867" y="1229"/>
                </a:cubicBezTo>
                <a:cubicBezTo>
                  <a:pt x="1869" y="1228"/>
                  <a:pt x="1869" y="1228"/>
                  <a:pt x="1869" y="1228"/>
                </a:cubicBezTo>
                <a:cubicBezTo>
                  <a:pt x="1869" y="1227"/>
                  <a:pt x="1869" y="1227"/>
                  <a:pt x="1869" y="1227"/>
                </a:cubicBezTo>
                <a:cubicBezTo>
                  <a:pt x="1870" y="1227"/>
                  <a:pt x="1870" y="1227"/>
                  <a:pt x="1870" y="1227"/>
                </a:cubicBezTo>
                <a:cubicBezTo>
                  <a:pt x="1871" y="1226"/>
                  <a:pt x="1871" y="1226"/>
                  <a:pt x="1871" y="1226"/>
                </a:cubicBezTo>
                <a:cubicBezTo>
                  <a:pt x="1871" y="1225"/>
                  <a:pt x="1871" y="1225"/>
                  <a:pt x="1871" y="1225"/>
                </a:cubicBezTo>
                <a:cubicBezTo>
                  <a:pt x="1876" y="1222"/>
                  <a:pt x="1876" y="1222"/>
                  <a:pt x="1876" y="1222"/>
                </a:cubicBezTo>
                <a:cubicBezTo>
                  <a:pt x="1876" y="1221"/>
                  <a:pt x="1876" y="1221"/>
                  <a:pt x="1876" y="1221"/>
                </a:cubicBezTo>
                <a:cubicBezTo>
                  <a:pt x="1877" y="1221"/>
                  <a:pt x="1877" y="1221"/>
                  <a:pt x="1877" y="1221"/>
                </a:cubicBezTo>
                <a:cubicBezTo>
                  <a:pt x="1878" y="1218"/>
                  <a:pt x="1878" y="1218"/>
                  <a:pt x="1878" y="1218"/>
                </a:cubicBezTo>
                <a:cubicBezTo>
                  <a:pt x="1878" y="1219"/>
                  <a:pt x="1878" y="1219"/>
                  <a:pt x="1878" y="1219"/>
                </a:cubicBezTo>
                <a:cubicBezTo>
                  <a:pt x="1879" y="1219"/>
                  <a:pt x="1879" y="1219"/>
                  <a:pt x="1879" y="1219"/>
                </a:cubicBezTo>
                <a:cubicBezTo>
                  <a:pt x="1882" y="1216"/>
                  <a:pt x="1882" y="1216"/>
                  <a:pt x="1882" y="1216"/>
                </a:cubicBezTo>
                <a:cubicBezTo>
                  <a:pt x="1882" y="1215"/>
                  <a:pt x="1882" y="1215"/>
                  <a:pt x="1882" y="1215"/>
                </a:cubicBezTo>
                <a:cubicBezTo>
                  <a:pt x="1883" y="1215"/>
                  <a:pt x="1883" y="1215"/>
                  <a:pt x="1883" y="1215"/>
                </a:cubicBezTo>
                <a:cubicBezTo>
                  <a:pt x="1887" y="1213"/>
                  <a:pt x="1887" y="1213"/>
                  <a:pt x="1887" y="1213"/>
                </a:cubicBezTo>
                <a:cubicBezTo>
                  <a:pt x="1890" y="1211"/>
                  <a:pt x="1890" y="1211"/>
                  <a:pt x="1890" y="1211"/>
                </a:cubicBezTo>
                <a:cubicBezTo>
                  <a:pt x="1890" y="1211"/>
                  <a:pt x="1890" y="1211"/>
                  <a:pt x="1890" y="1211"/>
                </a:cubicBezTo>
                <a:cubicBezTo>
                  <a:pt x="1893" y="1211"/>
                  <a:pt x="1893" y="1211"/>
                  <a:pt x="1893" y="1211"/>
                </a:cubicBezTo>
                <a:cubicBezTo>
                  <a:pt x="1899" y="1208"/>
                  <a:pt x="1899" y="1208"/>
                  <a:pt x="1899" y="1208"/>
                </a:cubicBezTo>
                <a:cubicBezTo>
                  <a:pt x="1900" y="1206"/>
                  <a:pt x="1900" y="1206"/>
                  <a:pt x="1900" y="1206"/>
                </a:cubicBezTo>
                <a:cubicBezTo>
                  <a:pt x="1901" y="1206"/>
                  <a:pt x="1901" y="1206"/>
                  <a:pt x="1901" y="1206"/>
                </a:cubicBezTo>
                <a:cubicBezTo>
                  <a:pt x="1907" y="1202"/>
                  <a:pt x="1907" y="1202"/>
                  <a:pt x="1907" y="1202"/>
                </a:cubicBezTo>
                <a:cubicBezTo>
                  <a:pt x="1907" y="1201"/>
                  <a:pt x="1907" y="1201"/>
                  <a:pt x="1907" y="1201"/>
                </a:cubicBezTo>
                <a:cubicBezTo>
                  <a:pt x="1909" y="1200"/>
                  <a:pt x="1909" y="1200"/>
                  <a:pt x="1909" y="1200"/>
                </a:cubicBezTo>
                <a:cubicBezTo>
                  <a:pt x="1911" y="1198"/>
                  <a:pt x="1911" y="1198"/>
                  <a:pt x="1911" y="1198"/>
                </a:cubicBezTo>
                <a:cubicBezTo>
                  <a:pt x="1911" y="1196"/>
                  <a:pt x="1911" y="1196"/>
                  <a:pt x="1911" y="1196"/>
                </a:cubicBezTo>
                <a:cubicBezTo>
                  <a:pt x="1913" y="1193"/>
                  <a:pt x="1913" y="1193"/>
                  <a:pt x="1913" y="1193"/>
                </a:cubicBezTo>
                <a:cubicBezTo>
                  <a:pt x="1914" y="1193"/>
                  <a:pt x="1914" y="1193"/>
                  <a:pt x="1914" y="1193"/>
                </a:cubicBezTo>
                <a:cubicBezTo>
                  <a:pt x="1915" y="1191"/>
                  <a:pt x="1915" y="1191"/>
                  <a:pt x="1915" y="1191"/>
                </a:cubicBezTo>
                <a:cubicBezTo>
                  <a:pt x="1915" y="1190"/>
                  <a:pt x="1915" y="1190"/>
                  <a:pt x="1915" y="1190"/>
                </a:cubicBezTo>
                <a:cubicBezTo>
                  <a:pt x="1914" y="1190"/>
                  <a:pt x="1914" y="1190"/>
                  <a:pt x="1914" y="1190"/>
                </a:cubicBezTo>
                <a:cubicBezTo>
                  <a:pt x="1914" y="1190"/>
                  <a:pt x="1914" y="1190"/>
                  <a:pt x="1914" y="1190"/>
                </a:cubicBezTo>
                <a:cubicBezTo>
                  <a:pt x="1913" y="1190"/>
                  <a:pt x="1913" y="1190"/>
                  <a:pt x="1913" y="1190"/>
                </a:cubicBezTo>
                <a:cubicBezTo>
                  <a:pt x="1915" y="1188"/>
                  <a:pt x="1915" y="1188"/>
                  <a:pt x="1915" y="1188"/>
                </a:cubicBezTo>
                <a:cubicBezTo>
                  <a:pt x="1916" y="1188"/>
                  <a:pt x="1916" y="1188"/>
                  <a:pt x="1916" y="1188"/>
                </a:cubicBezTo>
                <a:cubicBezTo>
                  <a:pt x="1916" y="1187"/>
                  <a:pt x="1916" y="1187"/>
                  <a:pt x="1916" y="1187"/>
                </a:cubicBezTo>
                <a:cubicBezTo>
                  <a:pt x="1916" y="1186"/>
                  <a:pt x="1916" y="1186"/>
                  <a:pt x="1916" y="1186"/>
                </a:cubicBezTo>
                <a:cubicBezTo>
                  <a:pt x="1917" y="1186"/>
                  <a:pt x="1917" y="1186"/>
                  <a:pt x="1917" y="1186"/>
                </a:cubicBezTo>
                <a:cubicBezTo>
                  <a:pt x="1918" y="1184"/>
                  <a:pt x="1918" y="1184"/>
                  <a:pt x="1918" y="1184"/>
                </a:cubicBezTo>
                <a:cubicBezTo>
                  <a:pt x="1917" y="1180"/>
                  <a:pt x="1917" y="1180"/>
                  <a:pt x="1917" y="1180"/>
                </a:cubicBezTo>
                <a:cubicBezTo>
                  <a:pt x="1917" y="1180"/>
                  <a:pt x="1917" y="1180"/>
                  <a:pt x="1917" y="1180"/>
                </a:cubicBezTo>
                <a:cubicBezTo>
                  <a:pt x="1915" y="1180"/>
                  <a:pt x="1915" y="1180"/>
                  <a:pt x="1915" y="1180"/>
                </a:cubicBezTo>
                <a:cubicBezTo>
                  <a:pt x="1914" y="1179"/>
                  <a:pt x="1914" y="1179"/>
                  <a:pt x="1914" y="1179"/>
                </a:cubicBezTo>
                <a:cubicBezTo>
                  <a:pt x="1914" y="1178"/>
                  <a:pt x="1914" y="1178"/>
                  <a:pt x="1914" y="1178"/>
                </a:cubicBezTo>
                <a:cubicBezTo>
                  <a:pt x="1916" y="1178"/>
                  <a:pt x="1916" y="1178"/>
                  <a:pt x="1916" y="1178"/>
                </a:cubicBezTo>
                <a:cubicBezTo>
                  <a:pt x="1916" y="1174"/>
                  <a:pt x="1916" y="1174"/>
                  <a:pt x="1916" y="1174"/>
                </a:cubicBezTo>
                <a:cubicBezTo>
                  <a:pt x="1915" y="1173"/>
                  <a:pt x="1915" y="1173"/>
                  <a:pt x="1915" y="1173"/>
                </a:cubicBezTo>
                <a:cubicBezTo>
                  <a:pt x="1916" y="1173"/>
                  <a:pt x="1916" y="1173"/>
                  <a:pt x="1916" y="1173"/>
                </a:cubicBezTo>
                <a:cubicBezTo>
                  <a:pt x="1916" y="1168"/>
                  <a:pt x="1916" y="1168"/>
                  <a:pt x="1916" y="1168"/>
                </a:cubicBezTo>
                <a:cubicBezTo>
                  <a:pt x="1916" y="1165"/>
                  <a:pt x="1916" y="1165"/>
                  <a:pt x="1916" y="1165"/>
                </a:cubicBezTo>
                <a:cubicBezTo>
                  <a:pt x="1917" y="1164"/>
                  <a:pt x="1917" y="1164"/>
                  <a:pt x="1917" y="1164"/>
                </a:cubicBezTo>
                <a:cubicBezTo>
                  <a:pt x="1917" y="1162"/>
                  <a:pt x="1917" y="1162"/>
                  <a:pt x="1917" y="1162"/>
                </a:cubicBezTo>
                <a:cubicBezTo>
                  <a:pt x="1916" y="1161"/>
                  <a:pt x="1916" y="1161"/>
                  <a:pt x="1916" y="1161"/>
                </a:cubicBezTo>
                <a:cubicBezTo>
                  <a:pt x="1916" y="1158"/>
                  <a:pt x="1916" y="1158"/>
                  <a:pt x="1916" y="1158"/>
                </a:cubicBezTo>
                <a:cubicBezTo>
                  <a:pt x="1917" y="1158"/>
                  <a:pt x="1917" y="1158"/>
                  <a:pt x="1917" y="1158"/>
                </a:cubicBezTo>
                <a:cubicBezTo>
                  <a:pt x="1916" y="1156"/>
                  <a:pt x="1916" y="1156"/>
                  <a:pt x="1916" y="1156"/>
                </a:cubicBezTo>
                <a:cubicBezTo>
                  <a:pt x="1915" y="1152"/>
                  <a:pt x="1915" y="1152"/>
                  <a:pt x="1915" y="1152"/>
                </a:cubicBezTo>
                <a:cubicBezTo>
                  <a:pt x="1916" y="1151"/>
                  <a:pt x="1916" y="1151"/>
                  <a:pt x="1916" y="1151"/>
                </a:cubicBezTo>
                <a:cubicBezTo>
                  <a:pt x="1916" y="1151"/>
                  <a:pt x="1916" y="1151"/>
                  <a:pt x="1916" y="1151"/>
                </a:cubicBezTo>
                <a:cubicBezTo>
                  <a:pt x="1916" y="1150"/>
                  <a:pt x="1916" y="1150"/>
                  <a:pt x="1916" y="1150"/>
                </a:cubicBezTo>
                <a:cubicBezTo>
                  <a:pt x="1916" y="1149"/>
                  <a:pt x="1916" y="1149"/>
                  <a:pt x="1916" y="1149"/>
                </a:cubicBezTo>
                <a:cubicBezTo>
                  <a:pt x="1918" y="1146"/>
                  <a:pt x="1918" y="1146"/>
                  <a:pt x="1918" y="1146"/>
                </a:cubicBezTo>
                <a:cubicBezTo>
                  <a:pt x="1917" y="1145"/>
                  <a:pt x="1917" y="1145"/>
                  <a:pt x="1917" y="1145"/>
                </a:cubicBezTo>
                <a:cubicBezTo>
                  <a:pt x="1918" y="1144"/>
                  <a:pt x="1918" y="1144"/>
                  <a:pt x="1918" y="1144"/>
                </a:cubicBezTo>
                <a:cubicBezTo>
                  <a:pt x="1918" y="1142"/>
                  <a:pt x="1918" y="1142"/>
                  <a:pt x="1918" y="1142"/>
                </a:cubicBezTo>
                <a:cubicBezTo>
                  <a:pt x="1918" y="1141"/>
                  <a:pt x="1918" y="1141"/>
                  <a:pt x="1918" y="1141"/>
                </a:cubicBezTo>
                <a:cubicBezTo>
                  <a:pt x="1917" y="1141"/>
                  <a:pt x="1917" y="1141"/>
                  <a:pt x="1917" y="1141"/>
                </a:cubicBezTo>
                <a:cubicBezTo>
                  <a:pt x="1917" y="1140"/>
                  <a:pt x="1917" y="1140"/>
                  <a:pt x="1917" y="1140"/>
                </a:cubicBezTo>
                <a:cubicBezTo>
                  <a:pt x="1915" y="1138"/>
                  <a:pt x="1915" y="1138"/>
                  <a:pt x="1915" y="1138"/>
                </a:cubicBezTo>
                <a:cubicBezTo>
                  <a:pt x="1913" y="1138"/>
                  <a:pt x="1913" y="1138"/>
                  <a:pt x="1913" y="1138"/>
                </a:cubicBezTo>
                <a:cubicBezTo>
                  <a:pt x="1909" y="1134"/>
                  <a:pt x="1909" y="1134"/>
                  <a:pt x="1909" y="1134"/>
                </a:cubicBezTo>
                <a:cubicBezTo>
                  <a:pt x="1909" y="1133"/>
                  <a:pt x="1909" y="1133"/>
                  <a:pt x="1909" y="1133"/>
                </a:cubicBezTo>
                <a:cubicBezTo>
                  <a:pt x="1908" y="1130"/>
                  <a:pt x="1908" y="1130"/>
                  <a:pt x="1908" y="1130"/>
                </a:cubicBezTo>
                <a:cubicBezTo>
                  <a:pt x="1907" y="1129"/>
                  <a:pt x="1907" y="1129"/>
                  <a:pt x="1907" y="1129"/>
                </a:cubicBezTo>
                <a:cubicBezTo>
                  <a:pt x="1908" y="1127"/>
                  <a:pt x="1908" y="1127"/>
                  <a:pt x="1908" y="1127"/>
                </a:cubicBezTo>
                <a:cubicBezTo>
                  <a:pt x="1907" y="1126"/>
                  <a:pt x="1907" y="1126"/>
                  <a:pt x="1907" y="1126"/>
                </a:cubicBezTo>
                <a:cubicBezTo>
                  <a:pt x="1907" y="1124"/>
                  <a:pt x="1907" y="1124"/>
                  <a:pt x="1907" y="1124"/>
                </a:cubicBezTo>
                <a:cubicBezTo>
                  <a:pt x="1906" y="1123"/>
                  <a:pt x="1906" y="1123"/>
                  <a:pt x="1906" y="1123"/>
                </a:cubicBezTo>
                <a:cubicBezTo>
                  <a:pt x="1907" y="1123"/>
                  <a:pt x="1907" y="1123"/>
                  <a:pt x="1907" y="1123"/>
                </a:cubicBezTo>
                <a:cubicBezTo>
                  <a:pt x="1906" y="1120"/>
                  <a:pt x="1906" y="1120"/>
                  <a:pt x="1906" y="1120"/>
                </a:cubicBezTo>
                <a:cubicBezTo>
                  <a:pt x="1905" y="1118"/>
                  <a:pt x="1905" y="1118"/>
                  <a:pt x="1905" y="1118"/>
                </a:cubicBezTo>
                <a:cubicBezTo>
                  <a:pt x="1907" y="1117"/>
                  <a:pt x="1907" y="1117"/>
                  <a:pt x="1907" y="1117"/>
                </a:cubicBezTo>
                <a:cubicBezTo>
                  <a:pt x="1907" y="1114"/>
                  <a:pt x="1907" y="1114"/>
                  <a:pt x="1907" y="1114"/>
                </a:cubicBezTo>
                <a:cubicBezTo>
                  <a:pt x="1905" y="1113"/>
                  <a:pt x="1905" y="1113"/>
                  <a:pt x="1905" y="1113"/>
                </a:cubicBezTo>
                <a:cubicBezTo>
                  <a:pt x="1905" y="1109"/>
                  <a:pt x="1905" y="1109"/>
                  <a:pt x="1905" y="1109"/>
                </a:cubicBezTo>
                <a:cubicBezTo>
                  <a:pt x="1906" y="1107"/>
                  <a:pt x="1906" y="1107"/>
                  <a:pt x="1906" y="1107"/>
                </a:cubicBezTo>
                <a:cubicBezTo>
                  <a:pt x="1907" y="1106"/>
                  <a:pt x="1907" y="1106"/>
                  <a:pt x="1907" y="1106"/>
                </a:cubicBezTo>
                <a:cubicBezTo>
                  <a:pt x="1908" y="1106"/>
                  <a:pt x="1908" y="1106"/>
                  <a:pt x="1908" y="1106"/>
                </a:cubicBezTo>
                <a:cubicBezTo>
                  <a:pt x="1908" y="1105"/>
                  <a:pt x="1908" y="1105"/>
                  <a:pt x="1908" y="1105"/>
                </a:cubicBezTo>
                <a:cubicBezTo>
                  <a:pt x="1907" y="1101"/>
                  <a:pt x="1907" y="1101"/>
                  <a:pt x="1907" y="1101"/>
                </a:cubicBezTo>
                <a:cubicBezTo>
                  <a:pt x="1906" y="1101"/>
                  <a:pt x="1906" y="1101"/>
                  <a:pt x="1906" y="1101"/>
                </a:cubicBezTo>
                <a:cubicBezTo>
                  <a:pt x="1904" y="1099"/>
                  <a:pt x="1904" y="1099"/>
                  <a:pt x="1904" y="1099"/>
                </a:cubicBezTo>
                <a:cubicBezTo>
                  <a:pt x="1901" y="1096"/>
                  <a:pt x="1901" y="1096"/>
                  <a:pt x="1901" y="1096"/>
                </a:cubicBezTo>
                <a:cubicBezTo>
                  <a:pt x="1901" y="1094"/>
                  <a:pt x="1901" y="1094"/>
                  <a:pt x="1901" y="1094"/>
                </a:cubicBezTo>
                <a:cubicBezTo>
                  <a:pt x="1902" y="1090"/>
                  <a:pt x="1902" y="1090"/>
                  <a:pt x="1902" y="1090"/>
                </a:cubicBezTo>
                <a:cubicBezTo>
                  <a:pt x="1905" y="1083"/>
                  <a:pt x="1905" y="1083"/>
                  <a:pt x="1905" y="1083"/>
                </a:cubicBezTo>
                <a:cubicBezTo>
                  <a:pt x="1905" y="1082"/>
                  <a:pt x="1905" y="1082"/>
                  <a:pt x="1905" y="1082"/>
                </a:cubicBezTo>
                <a:cubicBezTo>
                  <a:pt x="1905" y="1081"/>
                  <a:pt x="1905" y="1081"/>
                  <a:pt x="1905" y="1081"/>
                </a:cubicBezTo>
                <a:cubicBezTo>
                  <a:pt x="1905" y="1080"/>
                  <a:pt x="1905" y="1080"/>
                  <a:pt x="1905" y="1080"/>
                </a:cubicBezTo>
                <a:cubicBezTo>
                  <a:pt x="1905" y="1080"/>
                  <a:pt x="1905" y="1080"/>
                  <a:pt x="1905" y="1080"/>
                </a:cubicBezTo>
                <a:cubicBezTo>
                  <a:pt x="1906" y="1080"/>
                  <a:pt x="1906" y="1080"/>
                  <a:pt x="1906" y="1080"/>
                </a:cubicBezTo>
                <a:cubicBezTo>
                  <a:pt x="1908" y="1079"/>
                  <a:pt x="1908" y="1079"/>
                  <a:pt x="1908" y="1079"/>
                </a:cubicBezTo>
                <a:cubicBezTo>
                  <a:pt x="1912" y="1074"/>
                  <a:pt x="1912" y="1074"/>
                  <a:pt x="1912" y="1074"/>
                </a:cubicBezTo>
                <a:cubicBezTo>
                  <a:pt x="1913" y="1071"/>
                  <a:pt x="1913" y="1071"/>
                  <a:pt x="1913" y="1071"/>
                </a:cubicBezTo>
                <a:cubicBezTo>
                  <a:pt x="1913" y="1068"/>
                  <a:pt x="1913" y="1068"/>
                  <a:pt x="1913" y="1068"/>
                </a:cubicBezTo>
                <a:cubicBezTo>
                  <a:pt x="1915" y="1066"/>
                  <a:pt x="1915" y="1066"/>
                  <a:pt x="1915" y="1066"/>
                </a:cubicBezTo>
                <a:cubicBezTo>
                  <a:pt x="1916" y="1064"/>
                  <a:pt x="1916" y="1064"/>
                  <a:pt x="1916" y="1064"/>
                </a:cubicBezTo>
                <a:cubicBezTo>
                  <a:pt x="1916" y="1063"/>
                  <a:pt x="1916" y="1063"/>
                  <a:pt x="1916" y="1063"/>
                </a:cubicBezTo>
                <a:cubicBezTo>
                  <a:pt x="1916" y="1062"/>
                  <a:pt x="1916" y="1062"/>
                  <a:pt x="1916" y="1062"/>
                </a:cubicBezTo>
                <a:cubicBezTo>
                  <a:pt x="1917" y="1060"/>
                  <a:pt x="1917" y="1060"/>
                  <a:pt x="1917" y="1060"/>
                </a:cubicBezTo>
                <a:cubicBezTo>
                  <a:pt x="1917" y="1060"/>
                  <a:pt x="1917" y="1060"/>
                  <a:pt x="1917" y="1060"/>
                </a:cubicBezTo>
                <a:cubicBezTo>
                  <a:pt x="1919" y="1059"/>
                  <a:pt x="1919" y="1059"/>
                  <a:pt x="1919" y="1059"/>
                </a:cubicBezTo>
                <a:cubicBezTo>
                  <a:pt x="1922" y="1059"/>
                  <a:pt x="1922" y="1059"/>
                  <a:pt x="1922" y="1059"/>
                </a:cubicBezTo>
                <a:cubicBezTo>
                  <a:pt x="1924" y="1057"/>
                  <a:pt x="1924" y="1057"/>
                  <a:pt x="1924" y="1057"/>
                </a:cubicBezTo>
                <a:cubicBezTo>
                  <a:pt x="1927" y="1055"/>
                  <a:pt x="1927" y="1055"/>
                  <a:pt x="1927" y="1055"/>
                </a:cubicBezTo>
                <a:cubicBezTo>
                  <a:pt x="1926" y="1054"/>
                  <a:pt x="1926" y="1054"/>
                  <a:pt x="1926" y="1054"/>
                </a:cubicBezTo>
                <a:cubicBezTo>
                  <a:pt x="1928" y="1053"/>
                  <a:pt x="1928" y="1053"/>
                  <a:pt x="1928" y="1053"/>
                </a:cubicBezTo>
                <a:cubicBezTo>
                  <a:pt x="1928" y="1053"/>
                  <a:pt x="1928" y="1053"/>
                  <a:pt x="1928" y="1053"/>
                </a:cubicBezTo>
                <a:cubicBezTo>
                  <a:pt x="1932" y="1049"/>
                  <a:pt x="1932" y="1049"/>
                  <a:pt x="1932" y="1049"/>
                </a:cubicBezTo>
                <a:cubicBezTo>
                  <a:pt x="1932" y="1048"/>
                  <a:pt x="1932" y="1048"/>
                  <a:pt x="1932" y="1048"/>
                </a:cubicBezTo>
                <a:cubicBezTo>
                  <a:pt x="1932" y="1048"/>
                  <a:pt x="1932" y="1048"/>
                  <a:pt x="1932" y="1048"/>
                </a:cubicBezTo>
                <a:cubicBezTo>
                  <a:pt x="1940" y="1038"/>
                  <a:pt x="1940" y="1038"/>
                  <a:pt x="1940" y="1038"/>
                </a:cubicBezTo>
                <a:cubicBezTo>
                  <a:pt x="1941" y="1036"/>
                  <a:pt x="1941" y="1036"/>
                  <a:pt x="1941" y="1036"/>
                </a:cubicBezTo>
                <a:cubicBezTo>
                  <a:pt x="1943" y="1034"/>
                  <a:pt x="1943" y="1034"/>
                  <a:pt x="1943" y="1034"/>
                </a:cubicBezTo>
                <a:cubicBezTo>
                  <a:pt x="1945" y="1034"/>
                  <a:pt x="1945" y="1034"/>
                  <a:pt x="1945" y="1034"/>
                </a:cubicBezTo>
                <a:cubicBezTo>
                  <a:pt x="1946" y="1032"/>
                  <a:pt x="1946" y="1032"/>
                  <a:pt x="1946" y="1032"/>
                </a:cubicBezTo>
                <a:cubicBezTo>
                  <a:pt x="1947" y="1032"/>
                  <a:pt x="1947" y="1032"/>
                  <a:pt x="1947" y="1032"/>
                </a:cubicBezTo>
                <a:cubicBezTo>
                  <a:pt x="1953" y="1025"/>
                  <a:pt x="1953" y="1025"/>
                  <a:pt x="1953" y="1025"/>
                </a:cubicBezTo>
                <a:cubicBezTo>
                  <a:pt x="1954" y="1025"/>
                  <a:pt x="1954" y="1025"/>
                  <a:pt x="1954" y="1025"/>
                </a:cubicBezTo>
                <a:cubicBezTo>
                  <a:pt x="1961" y="1018"/>
                  <a:pt x="1961" y="1018"/>
                  <a:pt x="1961" y="1018"/>
                </a:cubicBezTo>
                <a:cubicBezTo>
                  <a:pt x="1965" y="1015"/>
                  <a:pt x="1965" y="1015"/>
                  <a:pt x="1965" y="1015"/>
                </a:cubicBezTo>
                <a:cubicBezTo>
                  <a:pt x="1968" y="1013"/>
                  <a:pt x="1968" y="1013"/>
                  <a:pt x="1968" y="1013"/>
                </a:cubicBezTo>
                <a:cubicBezTo>
                  <a:pt x="1971" y="1012"/>
                  <a:pt x="1971" y="1012"/>
                  <a:pt x="1971" y="1012"/>
                </a:cubicBezTo>
                <a:cubicBezTo>
                  <a:pt x="1976" y="1008"/>
                  <a:pt x="1976" y="1008"/>
                  <a:pt x="1976" y="1008"/>
                </a:cubicBezTo>
                <a:cubicBezTo>
                  <a:pt x="1987" y="998"/>
                  <a:pt x="1987" y="998"/>
                  <a:pt x="1987" y="998"/>
                </a:cubicBezTo>
                <a:cubicBezTo>
                  <a:pt x="1993" y="992"/>
                  <a:pt x="1993" y="992"/>
                  <a:pt x="1993" y="992"/>
                </a:cubicBezTo>
                <a:cubicBezTo>
                  <a:pt x="1996" y="989"/>
                  <a:pt x="1996" y="989"/>
                  <a:pt x="1996" y="989"/>
                </a:cubicBezTo>
                <a:cubicBezTo>
                  <a:pt x="1996" y="987"/>
                  <a:pt x="1996" y="987"/>
                  <a:pt x="1996" y="987"/>
                </a:cubicBezTo>
                <a:cubicBezTo>
                  <a:pt x="2003" y="977"/>
                  <a:pt x="2003" y="977"/>
                  <a:pt x="2003" y="977"/>
                </a:cubicBezTo>
                <a:cubicBezTo>
                  <a:pt x="2003" y="976"/>
                  <a:pt x="2003" y="976"/>
                  <a:pt x="2003" y="976"/>
                </a:cubicBezTo>
                <a:cubicBezTo>
                  <a:pt x="2007" y="970"/>
                  <a:pt x="2007" y="970"/>
                  <a:pt x="2007" y="970"/>
                </a:cubicBezTo>
                <a:cubicBezTo>
                  <a:pt x="2007" y="967"/>
                  <a:pt x="2007" y="967"/>
                  <a:pt x="2007" y="967"/>
                </a:cubicBezTo>
                <a:cubicBezTo>
                  <a:pt x="2013" y="956"/>
                  <a:pt x="2013" y="956"/>
                  <a:pt x="2013" y="956"/>
                </a:cubicBezTo>
                <a:cubicBezTo>
                  <a:pt x="2014" y="955"/>
                  <a:pt x="2014" y="955"/>
                  <a:pt x="2014" y="955"/>
                </a:cubicBezTo>
                <a:cubicBezTo>
                  <a:pt x="2013" y="954"/>
                  <a:pt x="2013" y="954"/>
                  <a:pt x="2013" y="954"/>
                </a:cubicBezTo>
                <a:cubicBezTo>
                  <a:pt x="2013" y="952"/>
                  <a:pt x="2013" y="952"/>
                  <a:pt x="2013" y="952"/>
                </a:cubicBezTo>
                <a:cubicBezTo>
                  <a:pt x="2016" y="950"/>
                  <a:pt x="2016" y="950"/>
                  <a:pt x="2016" y="950"/>
                </a:cubicBezTo>
                <a:cubicBezTo>
                  <a:pt x="2017" y="950"/>
                  <a:pt x="2017" y="950"/>
                  <a:pt x="2017" y="950"/>
                </a:cubicBezTo>
                <a:cubicBezTo>
                  <a:pt x="2018" y="948"/>
                  <a:pt x="2018" y="948"/>
                  <a:pt x="2018" y="948"/>
                </a:cubicBezTo>
                <a:cubicBezTo>
                  <a:pt x="2020" y="943"/>
                  <a:pt x="2020" y="943"/>
                  <a:pt x="2020" y="943"/>
                </a:cubicBezTo>
                <a:cubicBezTo>
                  <a:pt x="2024" y="938"/>
                  <a:pt x="2024" y="938"/>
                  <a:pt x="2024" y="938"/>
                </a:cubicBezTo>
                <a:cubicBezTo>
                  <a:pt x="2024" y="936"/>
                  <a:pt x="2024" y="936"/>
                  <a:pt x="2024" y="936"/>
                </a:cubicBezTo>
                <a:cubicBezTo>
                  <a:pt x="2024" y="935"/>
                  <a:pt x="2024" y="935"/>
                  <a:pt x="2024" y="935"/>
                </a:cubicBezTo>
                <a:cubicBezTo>
                  <a:pt x="2025" y="932"/>
                  <a:pt x="2025" y="932"/>
                  <a:pt x="2025" y="932"/>
                </a:cubicBezTo>
                <a:cubicBezTo>
                  <a:pt x="2024" y="931"/>
                  <a:pt x="2024" y="931"/>
                  <a:pt x="2024" y="931"/>
                </a:cubicBezTo>
                <a:cubicBezTo>
                  <a:pt x="2025" y="929"/>
                  <a:pt x="2025" y="929"/>
                  <a:pt x="2025" y="929"/>
                </a:cubicBezTo>
                <a:cubicBezTo>
                  <a:pt x="2026" y="928"/>
                  <a:pt x="2026" y="928"/>
                  <a:pt x="2026" y="928"/>
                </a:cubicBezTo>
                <a:cubicBezTo>
                  <a:pt x="2028" y="928"/>
                  <a:pt x="2028" y="928"/>
                  <a:pt x="2028" y="928"/>
                </a:cubicBezTo>
                <a:cubicBezTo>
                  <a:pt x="2028" y="929"/>
                  <a:pt x="2028" y="929"/>
                  <a:pt x="2028" y="929"/>
                </a:cubicBezTo>
                <a:cubicBezTo>
                  <a:pt x="2028" y="928"/>
                  <a:pt x="2028" y="928"/>
                  <a:pt x="2028" y="928"/>
                </a:cubicBezTo>
                <a:cubicBezTo>
                  <a:pt x="2028" y="927"/>
                  <a:pt x="2028" y="927"/>
                  <a:pt x="2028" y="927"/>
                </a:cubicBezTo>
                <a:cubicBezTo>
                  <a:pt x="2027" y="927"/>
                  <a:pt x="2027" y="927"/>
                  <a:pt x="2027" y="927"/>
                </a:cubicBezTo>
                <a:cubicBezTo>
                  <a:pt x="2027" y="927"/>
                  <a:pt x="2027" y="927"/>
                  <a:pt x="2027" y="927"/>
                </a:cubicBezTo>
                <a:cubicBezTo>
                  <a:pt x="2026" y="928"/>
                  <a:pt x="2026" y="928"/>
                  <a:pt x="2026" y="928"/>
                </a:cubicBezTo>
                <a:cubicBezTo>
                  <a:pt x="2027" y="926"/>
                  <a:pt x="2027" y="926"/>
                  <a:pt x="2027" y="926"/>
                </a:cubicBezTo>
                <a:cubicBezTo>
                  <a:pt x="2026" y="924"/>
                  <a:pt x="2026" y="924"/>
                  <a:pt x="2026" y="924"/>
                </a:cubicBezTo>
                <a:cubicBezTo>
                  <a:pt x="2026" y="923"/>
                  <a:pt x="2026" y="923"/>
                  <a:pt x="2026" y="923"/>
                </a:cubicBezTo>
                <a:cubicBezTo>
                  <a:pt x="2026" y="921"/>
                  <a:pt x="2026" y="921"/>
                  <a:pt x="2026" y="921"/>
                </a:cubicBezTo>
                <a:cubicBezTo>
                  <a:pt x="2027" y="920"/>
                  <a:pt x="2027" y="920"/>
                  <a:pt x="2027" y="920"/>
                </a:cubicBezTo>
                <a:cubicBezTo>
                  <a:pt x="2027" y="919"/>
                  <a:pt x="2027" y="919"/>
                  <a:pt x="2027" y="919"/>
                </a:cubicBezTo>
                <a:cubicBezTo>
                  <a:pt x="2026" y="919"/>
                  <a:pt x="2026" y="919"/>
                  <a:pt x="2026" y="919"/>
                </a:cubicBezTo>
                <a:cubicBezTo>
                  <a:pt x="2026" y="919"/>
                  <a:pt x="2026" y="919"/>
                  <a:pt x="2026" y="919"/>
                </a:cubicBezTo>
                <a:cubicBezTo>
                  <a:pt x="2026" y="918"/>
                  <a:pt x="2026" y="918"/>
                  <a:pt x="2026" y="918"/>
                </a:cubicBezTo>
                <a:cubicBezTo>
                  <a:pt x="2026" y="916"/>
                  <a:pt x="2026" y="916"/>
                  <a:pt x="2026" y="916"/>
                </a:cubicBezTo>
                <a:cubicBezTo>
                  <a:pt x="2027" y="914"/>
                  <a:pt x="2027" y="914"/>
                  <a:pt x="2027" y="914"/>
                </a:cubicBezTo>
                <a:cubicBezTo>
                  <a:pt x="2028" y="913"/>
                  <a:pt x="2028" y="913"/>
                  <a:pt x="2028" y="913"/>
                </a:cubicBezTo>
                <a:cubicBezTo>
                  <a:pt x="2028" y="912"/>
                  <a:pt x="2028" y="912"/>
                  <a:pt x="2028" y="912"/>
                </a:cubicBezTo>
                <a:cubicBezTo>
                  <a:pt x="2026" y="913"/>
                  <a:pt x="2026" y="913"/>
                  <a:pt x="2026" y="913"/>
                </a:cubicBezTo>
                <a:cubicBezTo>
                  <a:pt x="2024" y="912"/>
                  <a:pt x="2024" y="912"/>
                  <a:pt x="2024" y="912"/>
                </a:cubicBezTo>
                <a:cubicBezTo>
                  <a:pt x="2023" y="911"/>
                  <a:pt x="2023" y="911"/>
                  <a:pt x="2023" y="911"/>
                </a:cubicBezTo>
                <a:cubicBezTo>
                  <a:pt x="2023" y="911"/>
                  <a:pt x="2023" y="911"/>
                  <a:pt x="2023" y="911"/>
                </a:cubicBezTo>
                <a:cubicBezTo>
                  <a:pt x="2022" y="911"/>
                  <a:pt x="2022" y="911"/>
                  <a:pt x="2022" y="911"/>
                </a:cubicBezTo>
                <a:cubicBezTo>
                  <a:pt x="2021" y="912"/>
                  <a:pt x="2021" y="912"/>
                  <a:pt x="2021" y="912"/>
                </a:cubicBezTo>
                <a:cubicBezTo>
                  <a:pt x="2021" y="913"/>
                  <a:pt x="2021" y="913"/>
                  <a:pt x="2021" y="913"/>
                </a:cubicBezTo>
                <a:cubicBezTo>
                  <a:pt x="2020" y="914"/>
                  <a:pt x="2020" y="914"/>
                  <a:pt x="2020" y="914"/>
                </a:cubicBezTo>
                <a:cubicBezTo>
                  <a:pt x="2020" y="914"/>
                  <a:pt x="2020" y="914"/>
                  <a:pt x="2020" y="914"/>
                </a:cubicBezTo>
                <a:cubicBezTo>
                  <a:pt x="2018" y="916"/>
                  <a:pt x="2018" y="916"/>
                  <a:pt x="2018" y="916"/>
                </a:cubicBezTo>
                <a:cubicBezTo>
                  <a:pt x="2015" y="916"/>
                  <a:pt x="2015" y="916"/>
                  <a:pt x="2015" y="916"/>
                </a:cubicBezTo>
                <a:cubicBezTo>
                  <a:pt x="2014" y="917"/>
                  <a:pt x="2014" y="917"/>
                  <a:pt x="2014" y="917"/>
                </a:cubicBezTo>
                <a:cubicBezTo>
                  <a:pt x="2014" y="916"/>
                  <a:pt x="2014" y="916"/>
                  <a:pt x="2014" y="916"/>
                </a:cubicBezTo>
                <a:cubicBezTo>
                  <a:pt x="2011" y="916"/>
                  <a:pt x="2011" y="916"/>
                  <a:pt x="2011" y="916"/>
                </a:cubicBezTo>
                <a:cubicBezTo>
                  <a:pt x="2009" y="918"/>
                  <a:pt x="2009" y="918"/>
                  <a:pt x="2009" y="918"/>
                </a:cubicBezTo>
                <a:cubicBezTo>
                  <a:pt x="2004" y="919"/>
                  <a:pt x="2004" y="919"/>
                  <a:pt x="2004" y="919"/>
                </a:cubicBezTo>
                <a:cubicBezTo>
                  <a:pt x="2003" y="919"/>
                  <a:pt x="2003" y="919"/>
                  <a:pt x="2003" y="919"/>
                </a:cubicBezTo>
                <a:cubicBezTo>
                  <a:pt x="2002" y="918"/>
                  <a:pt x="2002" y="918"/>
                  <a:pt x="2002" y="918"/>
                </a:cubicBezTo>
                <a:cubicBezTo>
                  <a:pt x="1999" y="919"/>
                  <a:pt x="1999" y="919"/>
                  <a:pt x="1999" y="919"/>
                </a:cubicBezTo>
                <a:cubicBezTo>
                  <a:pt x="1996" y="920"/>
                  <a:pt x="1996" y="920"/>
                  <a:pt x="1996" y="920"/>
                </a:cubicBezTo>
                <a:cubicBezTo>
                  <a:pt x="1993" y="920"/>
                  <a:pt x="1993" y="920"/>
                  <a:pt x="1993" y="920"/>
                </a:cubicBezTo>
                <a:cubicBezTo>
                  <a:pt x="1992" y="920"/>
                  <a:pt x="1992" y="920"/>
                  <a:pt x="1992" y="920"/>
                </a:cubicBezTo>
                <a:cubicBezTo>
                  <a:pt x="1990" y="919"/>
                  <a:pt x="1990" y="919"/>
                  <a:pt x="1990" y="919"/>
                </a:cubicBezTo>
                <a:cubicBezTo>
                  <a:pt x="1988" y="920"/>
                  <a:pt x="1988" y="920"/>
                  <a:pt x="1988" y="920"/>
                </a:cubicBezTo>
                <a:cubicBezTo>
                  <a:pt x="1981" y="924"/>
                  <a:pt x="1981" y="924"/>
                  <a:pt x="1981" y="924"/>
                </a:cubicBezTo>
                <a:cubicBezTo>
                  <a:pt x="1979" y="924"/>
                  <a:pt x="1979" y="924"/>
                  <a:pt x="1979" y="924"/>
                </a:cubicBezTo>
                <a:cubicBezTo>
                  <a:pt x="1977" y="923"/>
                  <a:pt x="1977" y="923"/>
                  <a:pt x="1977" y="923"/>
                </a:cubicBezTo>
                <a:cubicBezTo>
                  <a:pt x="1976" y="923"/>
                  <a:pt x="1976" y="923"/>
                  <a:pt x="1976" y="923"/>
                </a:cubicBezTo>
                <a:cubicBezTo>
                  <a:pt x="1973" y="923"/>
                  <a:pt x="1973" y="923"/>
                  <a:pt x="1973" y="923"/>
                </a:cubicBezTo>
                <a:cubicBezTo>
                  <a:pt x="1972" y="923"/>
                  <a:pt x="1972" y="923"/>
                  <a:pt x="1972" y="923"/>
                </a:cubicBezTo>
                <a:cubicBezTo>
                  <a:pt x="1971" y="923"/>
                  <a:pt x="1971" y="923"/>
                  <a:pt x="1971" y="923"/>
                </a:cubicBezTo>
                <a:cubicBezTo>
                  <a:pt x="1968" y="926"/>
                  <a:pt x="1968" y="926"/>
                  <a:pt x="1968" y="926"/>
                </a:cubicBezTo>
                <a:cubicBezTo>
                  <a:pt x="1966" y="926"/>
                  <a:pt x="1966" y="926"/>
                  <a:pt x="1966" y="926"/>
                </a:cubicBezTo>
                <a:cubicBezTo>
                  <a:pt x="1964" y="927"/>
                  <a:pt x="1964" y="927"/>
                  <a:pt x="1964" y="927"/>
                </a:cubicBezTo>
                <a:cubicBezTo>
                  <a:pt x="1963" y="928"/>
                  <a:pt x="1963" y="928"/>
                  <a:pt x="1963" y="928"/>
                </a:cubicBezTo>
                <a:cubicBezTo>
                  <a:pt x="1960" y="929"/>
                  <a:pt x="1960" y="929"/>
                  <a:pt x="1960" y="929"/>
                </a:cubicBezTo>
                <a:cubicBezTo>
                  <a:pt x="1957" y="928"/>
                  <a:pt x="1957" y="928"/>
                  <a:pt x="1957" y="928"/>
                </a:cubicBezTo>
                <a:cubicBezTo>
                  <a:pt x="1955" y="926"/>
                  <a:pt x="1955" y="926"/>
                  <a:pt x="1955" y="926"/>
                </a:cubicBezTo>
                <a:cubicBezTo>
                  <a:pt x="1954" y="926"/>
                  <a:pt x="1954" y="926"/>
                  <a:pt x="1954" y="926"/>
                </a:cubicBezTo>
                <a:cubicBezTo>
                  <a:pt x="1953" y="924"/>
                  <a:pt x="1953" y="924"/>
                  <a:pt x="1953" y="924"/>
                </a:cubicBezTo>
                <a:cubicBezTo>
                  <a:pt x="1947" y="917"/>
                  <a:pt x="1947" y="917"/>
                  <a:pt x="1947" y="917"/>
                </a:cubicBezTo>
                <a:cubicBezTo>
                  <a:pt x="1946" y="917"/>
                  <a:pt x="1946" y="917"/>
                  <a:pt x="1946" y="917"/>
                </a:cubicBezTo>
                <a:cubicBezTo>
                  <a:pt x="1946" y="916"/>
                  <a:pt x="1946" y="916"/>
                  <a:pt x="1946" y="916"/>
                </a:cubicBezTo>
                <a:cubicBezTo>
                  <a:pt x="1945" y="915"/>
                  <a:pt x="1945" y="915"/>
                  <a:pt x="1945" y="915"/>
                </a:cubicBezTo>
                <a:cubicBezTo>
                  <a:pt x="1943" y="915"/>
                  <a:pt x="1943" y="915"/>
                  <a:pt x="1943" y="915"/>
                </a:cubicBezTo>
                <a:cubicBezTo>
                  <a:pt x="1941" y="916"/>
                  <a:pt x="1941" y="916"/>
                  <a:pt x="1941" y="916"/>
                </a:cubicBezTo>
                <a:cubicBezTo>
                  <a:pt x="1940" y="916"/>
                  <a:pt x="1940" y="916"/>
                  <a:pt x="1940" y="916"/>
                </a:cubicBezTo>
                <a:cubicBezTo>
                  <a:pt x="1939" y="914"/>
                  <a:pt x="1939" y="914"/>
                  <a:pt x="1939" y="914"/>
                </a:cubicBezTo>
                <a:cubicBezTo>
                  <a:pt x="1941" y="914"/>
                  <a:pt x="1941" y="914"/>
                  <a:pt x="1941" y="914"/>
                </a:cubicBezTo>
                <a:cubicBezTo>
                  <a:pt x="1942" y="913"/>
                  <a:pt x="1942" y="913"/>
                  <a:pt x="1942" y="913"/>
                </a:cubicBezTo>
                <a:cubicBezTo>
                  <a:pt x="1944" y="913"/>
                  <a:pt x="1944" y="913"/>
                  <a:pt x="1944" y="913"/>
                </a:cubicBezTo>
                <a:cubicBezTo>
                  <a:pt x="1946" y="911"/>
                  <a:pt x="1946" y="911"/>
                  <a:pt x="1946" y="911"/>
                </a:cubicBezTo>
                <a:cubicBezTo>
                  <a:pt x="1947" y="910"/>
                  <a:pt x="1947" y="910"/>
                  <a:pt x="1947" y="910"/>
                </a:cubicBezTo>
                <a:cubicBezTo>
                  <a:pt x="1946" y="907"/>
                  <a:pt x="1946" y="907"/>
                  <a:pt x="1946" y="907"/>
                </a:cubicBezTo>
                <a:cubicBezTo>
                  <a:pt x="1947" y="906"/>
                  <a:pt x="1947" y="906"/>
                  <a:pt x="1947" y="906"/>
                </a:cubicBezTo>
                <a:cubicBezTo>
                  <a:pt x="1946" y="906"/>
                  <a:pt x="1946" y="906"/>
                  <a:pt x="1946" y="906"/>
                </a:cubicBezTo>
                <a:cubicBezTo>
                  <a:pt x="1944" y="904"/>
                  <a:pt x="1944" y="904"/>
                  <a:pt x="1944" y="904"/>
                </a:cubicBezTo>
                <a:cubicBezTo>
                  <a:pt x="1944" y="903"/>
                  <a:pt x="1944" y="903"/>
                  <a:pt x="1944" y="903"/>
                </a:cubicBezTo>
                <a:cubicBezTo>
                  <a:pt x="1944" y="903"/>
                  <a:pt x="1944" y="903"/>
                  <a:pt x="1944" y="903"/>
                </a:cubicBezTo>
                <a:cubicBezTo>
                  <a:pt x="1943" y="903"/>
                  <a:pt x="1943" y="903"/>
                  <a:pt x="1943" y="903"/>
                </a:cubicBezTo>
                <a:cubicBezTo>
                  <a:pt x="1943" y="902"/>
                  <a:pt x="1943" y="902"/>
                  <a:pt x="1943" y="902"/>
                </a:cubicBezTo>
                <a:cubicBezTo>
                  <a:pt x="1942" y="903"/>
                  <a:pt x="1942" y="903"/>
                  <a:pt x="1942" y="903"/>
                </a:cubicBezTo>
                <a:cubicBezTo>
                  <a:pt x="1941" y="902"/>
                  <a:pt x="1941" y="902"/>
                  <a:pt x="1941" y="902"/>
                </a:cubicBezTo>
                <a:cubicBezTo>
                  <a:pt x="1940" y="902"/>
                  <a:pt x="1940" y="902"/>
                  <a:pt x="1940" y="902"/>
                </a:cubicBezTo>
                <a:cubicBezTo>
                  <a:pt x="1939" y="901"/>
                  <a:pt x="1939" y="901"/>
                  <a:pt x="1939" y="901"/>
                </a:cubicBezTo>
                <a:cubicBezTo>
                  <a:pt x="1939" y="900"/>
                  <a:pt x="1939" y="900"/>
                  <a:pt x="1939" y="900"/>
                </a:cubicBezTo>
                <a:cubicBezTo>
                  <a:pt x="1938" y="898"/>
                  <a:pt x="1938" y="898"/>
                  <a:pt x="1938" y="898"/>
                </a:cubicBezTo>
                <a:cubicBezTo>
                  <a:pt x="1937" y="898"/>
                  <a:pt x="1937" y="898"/>
                  <a:pt x="1937" y="898"/>
                </a:cubicBezTo>
                <a:cubicBezTo>
                  <a:pt x="1935" y="893"/>
                  <a:pt x="1935" y="893"/>
                  <a:pt x="1935" y="893"/>
                </a:cubicBezTo>
                <a:cubicBezTo>
                  <a:pt x="1934" y="893"/>
                  <a:pt x="1934" y="893"/>
                  <a:pt x="1934" y="893"/>
                </a:cubicBezTo>
                <a:cubicBezTo>
                  <a:pt x="1934" y="893"/>
                  <a:pt x="1934" y="893"/>
                  <a:pt x="1934" y="893"/>
                </a:cubicBezTo>
                <a:cubicBezTo>
                  <a:pt x="1933" y="893"/>
                  <a:pt x="1933" y="893"/>
                  <a:pt x="1933" y="893"/>
                </a:cubicBezTo>
                <a:cubicBezTo>
                  <a:pt x="1932" y="891"/>
                  <a:pt x="1932" y="891"/>
                  <a:pt x="1932" y="891"/>
                </a:cubicBezTo>
                <a:cubicBezTo>
                  <a:pt x="1930" y="890"/>
                  <a:pt x="1930" y="890"/>
                  <a:pt x="1930" y="890"/>
                </a:cubicBezTo>
                <a:cubicBezTo>
                  <a:pt x="1928" y="888"/>
                  <a:pt x="1928" y="888"/>
                  <a:pt x="1928" y="888"/>
                </a:cubicBezTo>
                <a:cubicBezTo>
                  <a:pt x="1925" y="884"/>
                  <a:pt x="1925" y="884"/>
                  <a:pt x="1925" y="884"/>
                </a:cubicBezTo>
                <a:cubicBezTo>
                  <a:pt x="1924" y="883"/>
                  <a:pt x="1924" y="883"/>
                  <a:pt x="1924" y="883"/>
                </a:cubicBezTo>
                <a:cubicBezTo>
                  <a:pt x="1921" y="882"/>
                  <a:pt x="1921" y="882"/>
                  <a:pt x="1921" y="882"/>
                </a:cubicBezTo>
                <a:cubicBezTo>
                  <a:pt x="1921" y="881"/>
                  <a:pt x="1921" y="881"/>
                  <a:pt x="1921" y="881"/>
                </a:cubicBezTo>
                <a:cubicBezTo>
                  <a:pt x="1919" y="879"/>
                  <a:pt x="1919" y="879"/>
                  <a:pt x="1919" y="879"/>
                </a:cubicBezTo>
                <a:cubicBezTo>
                  <a:pt x="1917" y="880"/>
                  <a:pt x="1917" y="880"/>
                  <a:pt x="1917" y="880"/>
                </a:cubicBezTo>
                <a:cubicBezTo>
                  <a:pt x="1917" y="879"/>
                  <a:pt x="1917" y="879"/>
                  <a:pt x="1917" y="879"/>
                </a:cubicBezTo>
                <a:cubicBezTo>
                  <a:pt x="1915" y="879"/>
                  <a:pt x="1915" y="879"/>
                  <a:pt x="1915" y="879"/>
                </a:cubicBezTo>
                <a:cubicBezTo>
                  <a:pt x="1914" y="880"/>
                  <a:pt x="1914" y="880"/>
                  <a:pt x="1914" y="880"/>
                </a:cubicBezTo>
                <a:cubicBezTo>
                  <a:pt x="1913" y="879"/>
                  <a:pt x="1913" y="879"/>
                  <a:pt x="1913" y="879"/>
                </a:cubicBezTo>
                <a:cubicBezTo>
                  <a:pt x="1911" y="876"/>
                  <a:pt x="1911" y="876"/>
                  <a:pt x="1911" y="876"/>
                </a:cubicBezTo>
                <a:cubicBezTo>
                  <a:pt x="1912" y="876"/>
                  <a:pt x="1912" y="876"/>
                  <a:pt x="1912" y="876"/>
                </a:cubicBezTo>
                <a:cubicBezTo>
                  <a:pt x="1910" y="873"/>
                  <a:pt x="1910" y="873"/>
                  <a:pt x="1910" y="873"/>
                </a:cubicBezTo>
                <a:cubicBezTo>
                  <a:pt x="1909" y="873"/>
                  <a:pt x="1909" y="873"/>
                  <a:pt x="1909" y="873"/>
                </a:cubicBezTo>
                <a:cubicBezTo>
                  <a:pt x="1909" y="875"/>
                  <a:pt x="1909" y="875"/>
                  <a:pt x="1909" y="875"/>
                </a:cubicBezTo>
                <a:cubicBezTo>
                  <a:pt x="1910" y="875"/>
                  <a:pt x="1910" y="875"/>
                  <a:pt x="1910" y="875"/>
                </a:cubicBezTo>
                <a:cubicBezTo>
                  <a:pt x="1910" y="878"/>
                  <a:pt x="1910" y="878"/>
                  <a:pt x="1910" y="878"/>
                </a:cubicBezTo>
                <a:cubicBezTo>
                  <a:pt x="1908" y="878"/>
                  <a:pt x="1908" y="878"/>
                  <a:pt x="1908" y="878"/>
                </a:cubicBezTo>
                <a:cubicBezTo>
                  <a:pt x="1908" y="874"/>
                  <a:pt x="1908" y="874"/>
                  <a:pt x="1908" y="874"/>
                </a:cubicBezTo>
                <a:cubicBezTo>
                  <a:pt x="1907" y="872"/>
                  <a:pt x="1907" y="872"/>
                  <a:pt x="1907" y="872"/>
                </a:cubicBezTo>
                <a:cubicBezTo>
                  <a:pt x="1905" y="872"/>
                  <a:pt x="1905" y="872"/>
                  <a:pt x="1905" y="872"/>
                </a:cubicBezTo>
                <a:cubicBezTo>
                  <a:pt x="1905" y="871"/>
                  <a:pt x="1905" y="871"/>
                  <a:pt x="1905" y="871"/>
                </a:cubicBezTo>
                <a:cubicBezTo>
                  <a:pt x="1905" y="868"/>
                  <a:pt x="1905" y="868"/>
                  <a:pt x="1905" y="868"/>
                </a:cubicBezTo>
                <a:cubicBezTo>
                  <a:pt x="1904" y="868"/>
                  <a:pt x="1904" y="868"/>
                  <a:pt x="1904" y="868"/>
                </a:cubicBezTo>
                <a:cubicBezTo>
                  <a:pt x="1903" y="861"/>
                  <a:pt x="1903" y="861"/>
                  <a:pt x="1903" y="861"/>
                </a:cubicBezTo>
                <a:cubicBezTo>
                  <a:pt x="1899" y="850"/>
                  <a:pt x="1899" y="850"/>
                  <a:pt x="1899" y="850"/>
                </a:cubicBezTo>
                <a:cubicBezTo>
                  <a:pt x="1896" y="847"/>
                  <a:pt x="1896" y="847"/>
                  <a:pt x="1896" y="847"/>
                </a:cubicBezTo>
                <a:cubicBezTo>
                  <a:pt x="1895" y="847"/>
                  <a:pt x="1895" y="847"/>
                  <a:pt x="1895" y="847"/>
                </a:cubicBezTo>
                <a:cubicBezTo>
                  <a:pt x="1895" y="846"/>
                  <a:pt x="1895" y="846"/>
                  <a:pt x="1895" y="846"/>
                </a:cubicBezTo>
                <a:cubicBezTo>
                  <a:pt x="1893" y="845"/>
                  <a:pt x="1893" y="845"/>
                  <a:pt x="1893" y="845"/>
                </a:cubicBezTo>
                <a:cubicBezTo>
                  <a:pt x="1891" y="845"/>
                  <a:pt x="1891" y="845"/>
                  <a:pt x="1891" y="845"/>
                </a:cubicBezTo>
                <a:cubicBezTo>
                  <a:pt x="1891" y="843"/>
                  <a:pt x="1891" y="843"/>
                  <a:pt x="1891" y="843"/>
                </a:cubicBezTo>
                <a:cubicBezTo>
                  <a:pt x="1887" y="840"/>
                  <a:pt x="1887" y="840"/>
                  <a:pt x="1887" y="840"/>
                </a:cubicBezTo>
                <a:cubicBezTo>
                  <a:pt x="1885" y="839"/>
                  <a:pt x="1885" y="839"/>
                  <a:pt x="1885" y="839"/>
                </a:cubicBezTo>
                <a:cubicBezTo>
                  <a:pt x="1883" y="836"/>
                  <a:pt x="1883" y="836"/>
                  <a:pt x="1883" y="836"/>
                </a:cubicBezTo>
                <a:cubicBezTo>
                  <a:pt x="1882" y="831"/>
                  <a:pt x="1882" y="831"/>
                  <a:pt x="1882" y="831"/>
                </a:cubicBezTo>
                <a:cubicBezTo>
                  <a:pt x="1882" y="828"/>
                  <a:pt x="1882" y="828"/>
                  <a:pt x="1882" y="828"/>
                </a:cubicBezTo>
                <a:cubicBezTo>
                  <a:pt x="1882" y="824"/>
                  <a:pt x="1882" y="824"/>
                  <a:pt x="1882" y="824"/>
                </a:cubicBezTo>
                <a:cubicBezTo>
                  <a:pt x="1879" y="816"/>
                  <a:pt x="1879" y="816"/>
                  <a:pt x="1879" y="816"/>
                </a:cubicBezTo>
                <a:cubicBezTo>
                  <a:pt x="1879" y="815"/>
                  <a:pt x="1879" y="815"/>
                  <a:pt x="1879" y="815"/>
                </a:cubicBezTo>
                <a:cubicBezTo>
                  <a:pt x="1879" y="814"/>
                  <a:pt x="1879" y="814"/>
                  <a:pt x="1879" y="814"/>
                </a:cubicBezTo>
                <a:cubicBezTo>
                  <a:pt x="1880" y="815"/>
                  <a:pt x="1880" y="815"/>
                  <a:pt x="1880" y="815"/>
                </a:cubicBezTo>
                <a:cubicBezTo>
                  <a:pt x="1881" y="816"/>
                  <a:pt x="1881" y="816"/>
                  <a:pt x="1881" y="816"/>
                </a:cubicBezTo>
                <a:cubicBezTo>
                  <a:pt x="1881" y="816"/>
                  <a:pt x="1881" y="816"/>
                  <a:pt x="1881" y="816"/>
                </a:cubicBezTo>
                <a:cubicBezTo>
                  <a:pt x="1881" y="815"/>
                  <a:pt x="1881" y="815"/>
                  <a:pt x="1881" y="815"/>
                </a:cubicBezTo>
                <a:cubicBezTo>
                  <a:pt x="1879" y="813"/>
                  <a:pt x="1879" y="813"/>
                  <a:pt x="1879" y="813"/>
                </a:cubicBezTo>
                <a:cubicBezTo>
                  <a:pt x="1878" y="810"/>
                  <a:pt x="1878" y="810"/>
                  <a:pt x="1878" y="810"/>
                </a:cubicBezTo>
                <a:cubicBezTo>
                  <a:pt x="1878" y="809"/>
                  <a:pt x="1878" y="809"/>
                  <a:pt x="1878" y="809"/>
                </a:cubicBezTo>
                <a:cubicBezTo>
                  <a:pt x="1878" y="809"/>
                  <a:pt x="1878" y="809"/>
                  <a:pt x="1878" y="809"/>
                </a:cubicBezTo>
                <a:cubicBezTo>
                  <a:pt x="1878" y="808"/>
                  <a:pt x="1878" y="808"/>
                  <a:pt x="1878" y="808"/>
                </a:cubicBezTo>
                <a:cubicBezTo>
                  <a:pt x="1878" y="808"/>
                  <a:pt x="1878" y="808"/>
                  <a:pt x="1878" y="808"/>
                </a:cubicBezTo>
                <a:cubicBezTo>
                  <a:pt x="1877" y="807"/>
                  <a:pt x="1877" y="807"/>
                  <a:pt x="1877" y="807"/>
                </a:cubicBezTo>
                <a:cubicBezTo>
                  <a:pt x="1878" y="806"/>
                  <a:pt x="1878" y="806"/>
                  <a:pt x="1878" y="806"/>
                </a:cubicBezTo>
                <a:cubicBezTo>
                  <a:pt x="1878" y="805"/>
                  <a:pt x="1878" y="805"/>
                  <a:pt x="1878" y="805"/>
                </a:cubicBezTo>
                <a:cubicBezTo>
                  <a:pt x="1878" y="805"/>
                  <a:pt x="1878" y="805"/>
                  <a:pt x="1878" y="805"/>
                </a:cubicBezTo>
                <a:cubicBezTo>
                  <a:pt x="1876" y="804"/>
                  <a:pt x="1876" y="804"/>
                  <a:pt x="1876" y="804"/>
                </a:cubicBezTo>
                <a:cubicBezTo>
                  <a:pt x="1874" y="802"/>
                  <a:pt x="1874" y="802"/>
                  <a:pt x="1874" y="802"/>
                </a:cubicBezTo>
                <a:cubicBezTo>
                  <a:pt x="1873" y="801"/>
                  <a:pt x="1873" y="801"/>
                  <a:pt x="1873" y="801"/>
                </a:cubicBezTo>
                <a:cubicBezTo>
                  <a:pt x="1871" y="800"/>
                  <a:pt x="1871" y="800"/>
                  <a:pt x="1871" y="800"/>
                </a:cubicBezTo>
                <a:cubicBezTo>
                  <a:pt x="1870" y="797"/>
                  <a:pt x="1870" y="797"/>
                  <a:pt x="1870" y="797"/>
                </a:cubicBezTo>
                <a:cubicBezTo>
                  <a:pt x="1868" y="798"/>
                  <a:pt x="1868" y="798"/>
                  <a:pt x="1868" y="798"/>
                </a:cubicBezTo>
                <a:cubicBezTo>
                  <a:pt x="1867" y="798"/>
                  <a:pt x="1867" y="798"/>
                  <a:pt x="1867" y="798"/>
                </a:cubicBezTo>
                <a:cubicBezTo>
                  <a:pt x="1863" y="796"/>
                  <a:pt x="1863" y="796"/>
                  <a:pt x="1863" y="796"/>
                </a:cubicBezTo>
                <a:cubicBezTo>
                  <a:pt x="1862" y="791"/>
                  <a:pt x="1862" y="791"/>
                  <a:pt x="1862" y="791"/>
                </a:cubicBezTo>
                <a:cubicBezTo>
                  <a:pt x="1862" y="789"/>
                  <a:pt x="1862" y="789"/>
                  <a:pt x="1862" y="789"/>
                </a:cubicBezTo>
                <a:cubicBezTo>
                  <a:pt x="1862" y="787"/>
                  <a:pt x="1862" y="787"/>
                  <a:pt x="1862" y="787"/>
                </a:cubicBezTo>
                <a:cubicBezTo>
                  <a:pt x="1861" y="785"/>
                  <a:pt x="1861" y="785"/>
                  <a:pt x="1861" y="785"/>
                </a:cubicBezTo>
                <a:cubicBezTo>
                  <a:pt x="1862" y="784"/>
                  <a:pt x="1862" y="784"/>
                  <a:pt x="1862" y="784"/>
                </a:cubicBezTo>
                <a:cubicBezTo>
                  <a:pt x="1862" y="785"/>
                  <a:pt x="1862" y="785"/>
                  <a:pt x="1862" y="785"/>
                </a:cubicBezTo>
                <a:cubicBezTo>
                  <a:pt x="1865" y="785"/>
                  <a:pt x="1865" y="785"/>
                  <a:pt x="1865" y="785"/>
                </a:cubicBezTo>
                <a:cubicBezTo>
                  <a:pt x="1864" y="784"/>
                  <a:pt x="1864" y="784"/>
                  <a:pt x="1864" y="784"/>
                </a:cubicBezTo>
                <a:cubicBezTo>
                  <a:pt x="1863" y="784"/>
                  <a:pt x="1863" y="784"/>
                  <a:pt x="1863" y="784"/>
                </a:cubicBezTo>
                <a:cubicBezTo>
                  <a:pt x="1862" y="781"/>
                  <a:pt x="1862" y="781"/>
                  <a:pt x="1862" y="781"/>
                </a:cubicBezTo>
                <a:cubicBezTo>
                  <a:pt x="1861" y="781"/>
                  <a:pt x="1861" y="781"/>
                  <a:pt x="1861" y="781"/>
                </a:cubicBezTo>
                <a:cubicBezTo>
                  <a:pt x="1861" y="782"/>
                  <a:pt x="1861" y="782"/>
                  <a:pt x="1861" y="782"/>
                </a:cubicBezTo>
                <a:cubicBezTo>
                  <a:pt x="1860" y="780"/>
                  <a:pt x="1860" y="780"/>
                  <a:pt x="1860" y="780"/>
                </a:cubicBezTo>
                <a:cubicBezTo>
                  <a:pt x="1859" y="777"/>
                  <a:pt x="1859" y="777"/>
                  <a:pt x="1859" y="777"/>
                </a:cubicBezTo>
                <a:cubicBezTo>
                  <a:pt x="1855" y="772"/>
                  <a:pt x="1855" y="772"/>
                  <a:pt x="1855" y="772"/>
                </a:cubicBezTo>
                <a:cubicBezTo>
                  <a:pt x="1853" y="770"/>
                  <a:pt x="1853" y="770"/>
                  <a:pt x="1853" y="770"/>
                </a:cubicBezTo>
                <a:cubicBezTo>
                  <a:pt x="1853" y="768"/>
                  <a:pt x="1853" y="768"/>
                  <a:pt x="1853" y="768"/>
                </a:cubicBezTo>
                <a:cubicBezTo>
                  <a:pt x="1846" y="758"/>
                  <a:pt x="1846" y="758"/>
                  <a:pt x="1846" y="758"/>
                </a:cubicBezTo>
                <a:cubicBezTo>
                  <a:pt x="1846" y="756"/>
                  <a:pt x="1846" y="756"/>
                  <a:pt x="1846" y="756"/>
                </a:cubicBezTo>
                <a:cubicBezTo>
                  <a:pt x="1845" y="754"/>
                  <a:pt x="1845" y="754"/>
                  <a:pt x="1845" y="754"/>
                </a:cubicBezTo>
                <a:cubicBezTo>
                  <a:pt x="1845" y="751"/>
                  <a:pt x="1845" y="751"/>
                  <a:pt x="1845" y="751"/>
                </a:cubicBezTo>
                <a:cubicBezTo>
                  <a:pt x="1844" y="749"/>
                  <a:pt x="1844" y="749"/>
                  <a:pt x="1844" y="749"/>
                </a:cubicBezTo>
                <a:cubicBezTo>
                  <a:pt x="1844" y="748"/>
                  <a:pt x="1844" y="748"/>
                  <a:pt x="1844" y="748"/>
                </a:cubicBezTo>
                <a:cubicBezTo>
                  <a:pt x="1840" y="744"/>
                  <a:pt x="1840" y="744"/>
                  <a:pt x="1840" y="744"/>
                </a:cubicBezTo>
                <a:cubicBezTo>
                  <a:pt x="1840" y="743"/>
                  <a:pt x="1840" y="743"/>
                  <a:pt x="1840" y="743"/>
                </a:cubicBezTo>
                <a:cubicBezTo>
                  <a:pt x="1841" y="741"/>
                  <a:pt x="1841" y="741"/>
                  <a:pt x="1841" y="741"/>
                </a:cubicBezTo>
                <a:cubicBezTo>
                  <a:pt x="1840" y="740"/>
                  <a:pt x="1840" y="740"/>
                  <a:pt x="1840" y="740"/>
                </a:cubicBezTo>
                <a:cubicBezTo>
                  <a:pt x="1834" y="735"/>
                  <a:pt x="1834" y="735"/>
                  <a:pt x="1834" y="735"/>
                </a:cubicBezTo>
                <a:cubicBezTo>
                  <a:pt x="1833" y="733"/>
                  <a:pt x="1833" y="733"/>
                  <a:pt x="1833" y="733"/>
                </a:cubicBezTo>
                <a:cubicBezTo>
                  <a:pt x="1830" y="729"/>
                  <a:pt x="1830" y="729"/>
                  <a:pt x="1830" y="729"/>
                </a:cubicBezTo>
                <a:cubicBezTo>
                  <a:pt x="1830" y="726"/>
                  <a:pt x="1830" y="726"/>
                  <a:pt x="1830" y="726"/>
                </a:cubicBezTo>
                <a:cubicBezTo>
                  <a:pt x="1827" y="724"/>
                  <a:pt x="1827" y="724"/>
                  <a:pt x="1827" y="724"/>
                </a:cubicBezTo>
                <a:cubicBezTo>
                  <a:pt x="1828" y="722"/>
                  <a:pt x="1828" y="722"/>
                  <a:pt x="1828" y="722"/>
                </a:cubicBezTo>
                <a:cubicBezTo>
                  <a:pt x="1828" y="721"/>
                  <a:pt x="1828" y="721"/>
                  <a:pt x="1828" y="721"/>
                </a:cubicBezTo>
                <a:cubicBezTo>
                  <a:pt x="1828" y="720"/>
                  <a:pt x="1828" y="720"/>
                  <a:pt x="1828" y="720"/>
                </a:cubicBezTo>
                <a:cubicBezTo>
                  <a:pt x="1828" y="721"/>
                  <a:pt x="1828" y="721"/>
                  <a:pt x="1828" y="721"/>
                </a:cubicBezTo>
                <a:cubicBezTo>
                  <a:pt x="1829" y="721"/>
                  <a:pt x="1829" y="721"/>
                  <a:pt x="1829" y="721"/>
                </a:cubicBezTo>
                <a:cubicBezTo>
                  <a:pt x="1830" y="723"/>
                  <a:pt x="1830" y="723"/>
                  <a:pt x="1830" y="723"/>
                </a:cubicBezTo>
                <a:cubicBezTo>
                  <a:pt x="1831" y="724"/>
                  <a:pt x="1831" y="724"/>
                  <a:pt x="1831" y="724"/>
                </a:cubicBezTo>
                <a:cubicBezTo>
                  <a:pt x="1831" y="726"/>
                  <a:pt x="1831" y="726"/>
                  <a:pt x="1831" y="726"/>
                </a:cubicBezTo>
                <a:cubicBezTo>
                  <a:pt x="1835" y="729"/>
                  <a:pt x="1835" y="729"/>
                  <a:pt x="1835" y="729"/>
                </a:cubicBezTo>
                <a:cubicBezTo>
                  <a:pt x="1835" y="731"/>
                  <a:pt x="1835" y="731"/>
                  <a:pt x="1835" y="731"/>
                </a:cubicBezTo>
                <a:cubicBezTo>
                  <a:pt x="1836" y="733"/>
                  <a:pt x="1836" y="733"/>
                  <a:pt x="1836" y="733"/>
                </a:cubicBezTo>
                <a:cubicBezTo>
                  <a:pt x="1839" y="734"/>
                  <a:pt x="1839" y="734"/>
                  <a:pt x="1839" y="734"/>
                </a:cubicBezTo>
                <a:cubicBezTo>
                  <a:pt x="1839" y="736"/>
                  <a:pt x="1839" y="736"/>
                  <a:pt x="1839" y="736"/>
                </a:cubicBezTo>
                <a:cubicBezTo>
                  <a:pt x="1844" y="741"/>
                  <a:pt x="1844" y="741"/>
                  <a:pt x="1844" y="741"/>
                </a:cubicBezTo>
                <a:cubicBezTo>
                  <a:pt x="1847" y="743"/>
                  <a:pt x="1847" y="743"/>
                  <a:pt x="1847" y="743"/>
                </a:cubicBezTo>
                <a:cubicBezTo>
                  <a:pt x="1847" y="743"/>
                  <a:pt x="1847" y="743"/>
                  <a:pt x="1847" y="743"/>
                </a:cubicBezTo>
                <a:cubicBezTo>
                  <a:pt x="1848" y="742"/>
                  <a:pt x="1848" y="742"/>
                  <a:pt x="1848" y="742"/>
                </a:cubicBezTo>
                <a:cubicBezTo>
                  <a:pt x="1849" y="741"/>
                  <a:pt x="1849" y="741"/>
                  <a:pt x="1849" y="741"/>
                </a:cubicBezTo>
                <a:cubicBezTo>
                  <a:pt x="1850" y="737"/>
                  <a:pt x="1850" y="737"/>
                  <a:pt x="1850" y="737"/>
                </a:cubicBezTo>
                <a:cubicBezTo>
                  <a:pt x="1849" y="736"/>
                  <a:pt x="1849" y="736"/>
                  <a:pt x="1849" y="736"/>
                </a:cubicBezTo>
                <a:cubicBezTo>
                  <a:pt x="1850" y="733"/>
                  <a:pt x="1850" y="733"/>
                  <a:pt x="1850" y="733"/>
                </a:cubicBezTo>
                <a:cubicBezTo>
                  <a:pt x="1850" y="731"/>
                  <a:pt x="1850" y="731"/>
                  <a:pt x="1850" y="731"/>
                </a:cubicBezTo>
                <a:cubicBezTo>
                  <a:pt x="1852" y="726"/>
                  <a:pt x="1852" y="726"/>
                  <a:pt x="1852" y="726"/>
                </a:cubicBezTo>
                <a:cubicBezTo>
                  <a:pt x="1852" y="725"/>
                  <a:pt x="1852" y="725"/>
                  <a:pt x="1852" y="725"/>
                </a:cubicBezTo>
                <a:cubicBezTo>
                  <a:pt x="1853" y="723"/>
                  <a:pt x="1853" y="723"/>
                  <a:pt x="1853" y="723"/>
                </a:cubicBezTo>
                <a:cubicBezTo>
                  <a:pt x="1853" y="723"/>
                  <a:pt x="1853" y="723"/>
                  <a:pt x="1853" y="723"/>
                </a:cubicBezTo>
                <a:cubicBezTo>
                  <a:pt x="1854" y="724"/>
                  <a:pt x="1854" y="724"/>
                  <a:pt x="1854" y="724"/>
                </a:cubicBezTo>
                <a:cubicBezTo>
                  <a:pt x="1853" y="726"/>
                  <a:pt x="1853" y="726"/>
                  <a:pt x="1853" y="726"/>
                </a:cubicBezTo>
                <a:cubicBezTo>
                  <a:pt x="1853" y="727"/>
                  <a:pt x="1853" y="727"/>
                  <a:pt x="1853" y="727"/>
                </a:cubicBezTo>
                <a:cubicBezTo>
                  <a:pt x="1852" y="731"/>
                  <a:pt x="1852" y="731"/>
                  <a:pt x="1852" y="731"/>
                </a:cubicBezTo>
                <a:cubicBezTo>
                  <a:pt x="1853" y="735"/>
                  <a:pt x="1853" y="735"/>
                  <a:pt x="1853" y="735"/>
                </a:cubicBezTo>
                <a:cubicBezTo>
                  <a:pt x="1851" y="738"/>
                  <a:pt x="1851" y="738"/>
                  <a:pt x="1851" y="738"/>
                </a:cubicBezTo>
                <a:cubicBezTo>
                  <a:pt x="1852" y="739"/>
                  <a:pt x="1852" y="739"/>
                  <a:pt x="1852" y="739"/>
                </a:cubicBezTo>
                <a:cubicBezTo>
                  <a:pt x="1853" y="738"/>
                  <a:pt x="1853" y="738"/>
                  <a:pt x="1853" y="738"/>
                </a:cubicBezTo>
                <a:cubicBezTo>
                  <a:pt x="1854" y="739"/>
                  <a:pt x="1854" y="739"/>
                  <a:pt x="1854" y="739"/>
                </a:cubicBezTo>
                <a:cubicBezTo>
                  <a:pt x="1855" y="738"/>
                  <a:pt x="1855" y="738"/>
                  <a:pt x="1855" y="738"/>
                </a:cubicBezTo>
                <a:cubicBezTo>
                  <a:pt x="1857" y="739"/>
                  <a:pt x="1857" y="739"/>
                  <a:pt x="1857" y="739"/>
                </a:cubicBezTo>
                <a:cubicBezTo>
                  <a:pt x="1857" y="740"/>
                  <a:pt x="1857" y="740"/>
                  <a:pt x="1857" y="740"/>
                </a:cubicBezTo>
                <a:cubicBezTo>
                  <a:pt x="1861" y="745"/>
                  <a:pt x="1861" y="745"/>
                  <a:pt x="1861" y="745"/>
                </a:cubicBezTo>
                <a:cubicBezTo>
                  <a:pt x="1861" y="747"/>
                  <a:pt x="1861" y="747"/>
                  <a:pt x="1861" y="747"/>
                </a:cubicBezTo>
                <a:cubicBezTo>
                  <a:pt x="1862" y="747"/>
                  <a:pt x="1862" y="747"/>
                  <a:pt x="1862" y="747"/>
                </a:cubicBezTo>
                <a:cubicBezTo>
                  <a:pt x="1863" y="750"/>
                  <a:pt x="1863" y="750"/>
                  <a:pt x="1863" y="750"/>
                </a:cubicBezTo>
                <a:cubicBezTo>
                  <a:pt x="1865" y="751"/>
                  <a:pt x="1865" y="751"/>
                  <a:pt x="1865" y="751"/>
                </a:cubicBezTo>
                <a:cubicBezTo>
                  <a:pt x="1866" y="752"/>
                  <a:pt x="1866" y="752"/>
                  <a:pt x="1866" y="752"/>
                </a:cubicBezTo>
                <a:cubicBezTo>
                  <a:pt x="1869" y="757"/>
                  <a:pt x="1869" y="757"/>
                  <a:pt x="1869" y="757"/>
                </a:cubicBezTo>
                <a:cubicBezTo>
                  <a:pt x="1869" y="758"/>
                  <a:pt x="1869" y="758"/>
                  <a:pt x="1869" y="758"/>
                </a:cubicBezTo>
                <a:cubicBezTo>
                  <a:pt x="1870" y="760"/>
                  <a:pt x="1870" y="760"/>
                  <a:pt x="1870" y="760"/>
                </a:cubicBezTo>
                <a:cubicBezTo>
                  <a:pt x="1871" y="760"/>
                  <a:pt x="1871" y="760"/>
                  <a:pt x="1871" y="760"/>
                </a:cubicBezTo>
                <a:cubicBezTo>
                  <a:pt x="1872" y="763"/>
                  <a:pt x="1872" y="763"/>
                  <a:pt x="1872" y="763"/>
                </a:cubicBezTo>
                <a:cubicBezTo>
                  <a:pt x="1873" y="764"/>
                  <a:pt x="1873" y="764"/>
                  <a:pt x="1873" y="764"/>
                </a:cubicBezTo>
                <a:cubicBezTo>
                  <a:pt x="1875" y="765"/>
                  <a:pt x="1875" y="765"/>
                  <a:pt x="1875" y="765"/>
                </a:cubicBezTo>
                <a:cubicBezTo>
                  <a:pt x="1877" y="770"/>
                  <a:pt x="1877" y="770"/>
                  <a:pt x="1877" y="770"/>
                </a:cubicBezTo>
                <a:cubicBezTo>
                  <a:pt x="1879" y="771"/>
                  <a:pt x="1879" y="771"/>
                  <a:pt x="1879" y="771"/>
                </a:cubicBezTo>
                <a:cubicBezTo>
                  <a:pt x="1879" y="774"/>
                  <a:pt x="1879" y="774"/>
                  <a:pt x="1879" y="774"/>
                </a:cubicBezTo>
                <a:cubicBezTo>
                  <a:pt x="1879" y="775"/>
                  <a:pt x="1879" y="775"/>
                  <a:pt x="1879" y="775"/>
                </a:cubicBezTo>
                <a:cubicBezTo>
                  <a:pt x="1879" y="777"/>
                  <a:pt x="1879" y="777"/>
                  <a:pt x="1879" y="777"/>
                </a:cubicBezTo>
                <a:cubicBezTo>
                  <a:pt x="1881" y="778"/>
                  <a:pt x="1881" y="778"/>
                  <a:pt x="1881" y="778"/>
                </a:cubicBezTo>
                <a:cubicBezTo>
                  <a:pt x="1881" y="780"/>
                  <a:pt x="1881" y="780"/>
                  <a:pt x="1881" y="780"/>
                </a:cubicBezTo>
                <a:cubicBezTo>
                  <a:pt x="1882" y="781"/>
                  <a:pt x="1882" y="781"/>
                  <a:pt x="1882" y="781"/>
                </a:cubicBezTo>
                <a:cubicBezTo>
                  <a:pt x="1884" y="779"/>
                  <a:pt x="1884" y="779"/>
                  <a:pt x="1884" y="779"/>
                </a:cubicBezTo>
                <a:cubicBezTo>
                  <a:pt x="1886" y="781"/>
                  <a:pt x="1886" y="781"/>
                  <a:pt x="1886" y="781"/>
                </a:cubicBezTo>
                <a:cubicBezTo>
                  <a:pt x="1889" y="782"/>
                  <a:pt x="1889" y="782"/>
                  <a:pt x="1889" y="782"/>
                </a:cubicBezTo>
                <a:cubicBezTo>
                  <a:pt x="1892" y="785"/>
                  <a:pt x="1892" y="785"/>
                  <a:pt x="1892" y="785"/>
                </a:cubicBezTo>
                <a:cubicBezTo>
                  <a:pt x="1892" y="787"/>
                  <a:pt x="1892" y="787"/>
                  <a:pt x="1892" y="787"/>
                </a:cubicBezTo>
                <a:cubicBezTo>
                  <a:pt x="1893" y="787"/>
                  <a:pt x="1893" y="787"/>
                  <a:pt x="1893" y="787"/>
                </a:cubicBezTo>
                <a:cubicBezTo>
                  <a:pt x="1893" y="790"/>
                  <a:pt x="1893" y="790"/>
                  <a:pt x="1893" y="790"/>
                </a:cubicBezTo>
                <a:cubicBezTo>
                  <a:pt x="1894" y="791"/>
                  <a:pt x="1894" y="791"/>
                  <a:pt x="1894" y="791"/>
                </a:cubicBezTo>
                <a:cubicBezTo>
                  <a:pt x="1895" y="794"/>
                  <a:pt x="1895" y="794"/>
                  <a:pt x="1895" y="794"/>
                </a:cubicBezTo>
                <a:cubicBezTo>
                  <a:pt x="1897" y="796"/>
                  <a:pt x="1897" y="796"/>
                  <a:pt x="1897" y="796"/>
                </a:cubicBezTo>
                <a:cubicBezTo>
                  <a:pt x="1898" y="800"/>
                  <a:pt x="1898" y="800"/>
                  <a:pt x="1898" y="800"/>
                </a:cubicBezTo>
                <a:cubicBezTo>
                  <a:pt x="1898" y="801"/>
                  <a:pt x="1898" y="801"/>
                  <a:pt x="1898" y="801"/>
                </a:cubicBezTo>
                <a:cubicBezTo>
                  <a:pt x="1898" y="804"/>
                  <a:pt x="1898" y="804"/>
                  <a:pt x="1898" y="804"/>
                </a:cubicBezTo>
                <a:cubicBezTo>
                  <a:pt x="1897" y="805"/>
                  <a:pt x="1897" y="805"/>
                  <a:pt x="1897" y="805"/>
                </a:cubicBezTo>
                <a:cubicBezTo>
                  <a:pt x="1898" y="806"/>
                  <a:pt x="1898" y="806"/>
                  <a:pt x="1898" y="806"/>
                </a:cubicBezTo>
                <a:cubicBezTo>
                  <a:pt x="1899" y="810"/>
                  <a:pt x="1899" y="810"/>
                  <a:pt x="1899" y="810"/>
                </a:cubicBezTo>
                <a:cubicBezTo>
                  <a:pt x="1899" y="814"/>
                  <a:pt x="1899" y="814"/>
                  <a:pt x="1899" y="814"/>
                </a:cubicBezTo>
                <a:cubicBezTo>
                  <a:pt x="1901" y="815"/>
                  <a:pt x="1901" y="815"/>
                  <a:pt x="1901" y="815"/>
                </a:cubicBezTo>
                <a:cubicBezTo>
                  <a:pt x="1901" y="817"/>
                  <a:pt x="1901" y="817"/>
                  <a:pt x="1901" y="817"/>
                </a:cubicBezTo>
                <a:cubicBezTo>
                  <a:pt x="1906" y="822"/>
                  <a:pt x="1906" y="822"/>
                  <a:pt x="1906" y="822"/>
                </a:cubicBezTo>
                <a:cubicBezTo>
                  <a:pt x="1908" y="823"/>
                  <a:pt x="1908" y="823"/>
                  <a:pt x="1908" y="823"/>
                </a:cubicBezTo>
                <a:cubicBezTo>
                  <a:pt x="1910" y="823"/>
                  <a:pt x="1910" y="823"/>
                  <a:pt x="1910" y="823"/>
                </a:cubicBezTo>
                <a:cubicBezTo>
                  <a:pt x="1912" y="825"/>
                  <a:pt x="1912" y="825"/>
                  <a:pt x="1912" y="825"/>
                </a:cubicBezTo>
                <a:cubicBezTo>
                  <a:pt x="1913" y="825"/>
                  <a:pt x="1913" y="825"/>
                  <a:pt x="1913" y="825"/>
                </a:cubicBezTo>
                <a:cubicBezTo>
                  <a:pt x="1915" y="828"/>
                  <a:pt x="1915" y="828"/>
                  <a:pt x="1915" y="828"/>
                </a:cubicBezTo>
                <a:cubicBezTo>
                  <a:pt x="1916" y="829"/>
                  <a:pt x="1916" y="829"/>
                  <a:pt x="1916" y="829"/>
                </a:cubicBezTo>
                <a:cubicBezTo>
                  <a:pt x="1918" y="830"/>
                  <a:pt x="1918" y="830"/>
                  <a:pt x="1918" y="830"/>
                </a:cubicBezTo>
                <a:cubicBezTo>
                  <a:pt x="1918" y="831"/>
                  <a:pt x="1918" y="831"/>
                  <a:pt x="1918" y="831"/>
                </a:cubicBezTo>
                <a:cubicBezTo>
                  <a:pt x="1919" y="832"/>
                  <a:pt x="1919" y="832"/>
                  <a:pt x="1919" y="832"/>
                </a:cubicBezTo>
                <a:cubicBezTo>
                  <a:pt x="1921" y="840"/>
                  <a:pt x="1921" y="840"/>
                  <a:pt x="1921" y="840"/>
                </a:cubicBezTo>
                <a:cubicBezTo>
                  <a:pt x="1924" y="842"/>
                  <a:pt x="1924" y="842"/>
                  <a:pt x="1924" y="842"/>
                </a:cubicBezTo>
                <a:cubicBezTo>
                  <a:pt x="1924" y="844"/>
                  <a:pt x="1924" y="844"/>
                  <a:pt x="1924" y="844"/>
                </a:cubicBezTo>
                <a:cubicBezTo>
                  <a:pt x="1931" y="852"/>
                  <a:pt x="1931" y="852"/>
                  <a:pt x="1931" y="852"/>
                </a:cubicBezTo>
                <a:cubicBezTo>
                  <a:pt x="1933" y="852"/>
                  <a:pt x="1933" y="852"/>
                  <a:pt x="1933" y="852"/>
                </a:cubicBezTo>
                <a:cubicBezTo>
                  <a:pt x="1933" y="856"/>
                  <a:pt x="1933" y="856"/>
                  <a:pt x="1933" y="856"/>
                </a:cubicBezTo>
                <a:cubicBezTo>
                  <a:pt x="1936" y="857"/>
                  <a:pt x="1936" y="857"/>
                  <a:pt x="1936" y="857"/>
                </a:cubicBezTo>
                <a:cubicBezTo>
                  <a:pt x="1938" y="863"/>
                  <a:pt x="1938" y="863"/>
                  <a:pt x="1938" y="863"/>
                </a:cubicBezTo>
                <a:cubicBezTo>
                  <a:pt x="1939" y="864"/>
                  <a:pt x="1939" y="864"/>
                  <a:pt x="1939" y="864"/>
                </a:cubicBezTo>
                <a:cubicBezTo>
                  <a:pt x="1940" y="870"/>
                  <a:pt x="1940" y="870"/>
                  <a:pt x="1940" y="870"/>
                </a:cubicBezTo>
                <a:cubicBezTo>
                  <a:pt x="1940" y="873"/>
                  <a:pt x="1940" y="873"/>
                  <a:pt x="1940" y="873"/>
                </a:cubicBezTo>
                <a:cubicBezTo>
                  <a:pt x="1939" y="873"/>
                  <a:pt x="1939" y="873"/>
                  <a:pt x="1939" y="873"/>
                </a:cubicBezTo>
                <a:cubicBezTo>
                  <a:pt x="1939" y="874"/>
                  <a:pt x="1939" y="874"/>
                  <a:pt x="1939" y="874"/>
                </a:cubicBezTo>
                <a:cubicBezTo>
                  <a:pt x="1937" y="873"/>
                  <a:pt x="1937" y="873"/>
                  <a:pt x="1937" y="873"/>
                </a:cubicBezTo>
                <a:cubicBezTo>
                  <a:pt x="1938" y="875"/>
                  <a:pt x="1938" y="875"/>
                  <a:pt x="1938" y="875"/>
                </a:cubicBezTo>
                <a:cubicBezTo>
                  <a:pt x="1939" y="875"/>
                  <a:pt x="1939" y="875"/>
                  <a:pt x="1939" y="875"/>
                </a:cubicBezTo>
                <a:cubicBezTo>
                  <a:pt x="1939" y="876"/>
                  <a:pt x="1939" y="876"/>
                  <a:pt x="1939" y="876"/>
                </a:cubicBezTo>
                <a:cubicBezTo>
                  <a:pt x="1941" y="879"/>
                  <a:pt x="1941" y="879"/>
                  <a:pt x="1941" y="879"/>
                </a:cubicBezTo>
                <a:cubicBezTo>
                  <a:pt x="1943" y="889"/>
                  <a:pt x="1943" y="889"/>
                  <a:pt x="1943" y="889"/>
                </a:cubicBezTo>
                <a:cubicBezTo>
                  <a:pt x="1945" y="891"/>
                  <a:pt x="1945" y="891"/>
                  <a:pt x="1945" y="891"/>
                </a:cubicBezTo>
                <a:cubicBezTo>
                  <a:pt x="1945" y="894"/>
                  <a:pt x="1945" y="894"/>
                  <a:pt x="1945" y="894"/>
                </a:cubicBezTo>
                <a:cubicBezTo>
                  <a:pt x="1944" y="895"/>
                  <a:pt x="1944" y="895"/>
                  <a:pt x="1944" y="895"/>
                </a:cubicBezTo>
                <a:cubicBezTo>
                  <a:pt x="1945" y="897"/>
                  <a:pt x="1945" y="897"/>
                  <a:pt x="1945" y="897"/>
                </a:cubicBezTo>
                <a:cubicBezTo>
                  <a:pt x="1947" y="900"/>
                  <a:pt x="1947" y="900"/>
                  <a:pt x="1947" y="900"/>
                </a:cubicBezTo>
                <a:cubicBezTo>
                  <a:pt x="1948" y="902"/>
                  <a:pt x="1948" y="902"/>
                  <a:pt x="1948" y="902"/>
                </a:cubicBezTo>
                <a:cubicBezTo>
                  <a:pt x="1949" y="904"/>
                  <a:pt x="1949" y="904"/>
                  <a:pt x="1949" y="904"/>
                </a:cubicBezTo>
                <a:cubicBezTo>
                  <a:pt x="1951" y="904"/>
                  <a:pt x="1951" y="904"/>
                  <a:pt x="1951" y="904"/>
                </a:cubicBezTo>
                <a:cubicBezTo>
                  <a:pt x="1951" y="903"/>
                  <a:pt x="1951" y="903"/>
                  <a:pt x="1951" y="903"/>
                </a:cubicBezTo>
                <a:cubicBezTo>
                  <a:pt x="1954" y="904"/>
                  <a:pt x="1954" y="904"/>
                  <a:pt x="1954" y="904"/>
                </a:cubicBezTo>
                <a:cubicBezTo>
                  <a:pt x="1956" y="903"/>
                  <a:pt x="1956" y="903"/>
                  <a:pt x="1956" y="903"/>
                </a:cubicBezTo>
                <a:cubicBezTo>
                  <a:pt x="1958" y="902"/>
                  <a:pt x="1958" y="902"/>
                  <a:pt x="1958" y="902"/>
                </a:cubicBezTo>
                <a:cubicBezTo>
                  <a:pt x="1960" y="902"/>
                  <a:pt x="1960" y="902"/>
                  <a:pt x="1960" y="902"/>
                </a:cubicBezTo>
                <a:cubicBezTo>
                  <a:pt x="1961" y="903"/>
                  <a:pt x="1961" y="903"/>
                  <a:pt x="1961" y="903"/>
                </a:cubicBezTo>
                <a:cubicBezTo>
                  <a:pt x="1963" y="902"/>
                  <a:pt x="1963" y="902"/>
                  <a:pt x="1963" y="902"/>
                </a:cubicBezTo>
                <a:cubicBezTo>
                  <a:pt x="1965" y="899"/>
                  <a:pt x="1965" y="899"/>
                  <a:pt x="1965" y="899"/>
                </a:cubicBezTo>
                <a:cubicBezTo>
                  <a:pt x="1966" y="899"/>
                  <a:pt x="1966" y="899"/>
                  <a:pt x="1966" y="899"/>
                </a:cubicBezTo>
                <a:cubicBezTo>
                  <a:pt x="1967" y="896"/>
                  <a:pt x="1967" y="896"/>
                  <a:pt x="1967" y="896"/>
                </a:cubicBezTo>
                <a:cubicBezTo>
                  <a:pt x="1969" y="895"/>
                  <a:pt x="1969" y="895"/>
                  <a:pt x="1969" y="895"/>
                </a:cubicBezTo>
                <a:cubicBezTo>
                  <a:pt x="1971" y="894"/>
                  <a:pt x="1971" y="894"/>
                  <a:pt x="1971" y="894"/>
                </a:cubicBezTo>
                <a:cubicBezTo>
                  <a:pt x="1972" y="895"/>
                  <a:pt x="1972" y="895"/>
                  <a:pt x="1972" y="895"/>
                </a:cubicBezTo>
                <a:cubicBezTo>
                  <a:pt x="1973" y="895"/>
                  <a:pt x="1973" y="895"/>
                  <a:pt x="1973" y="895"/>
                </a:cubicBezTo>
                <a:cubicBezTo>
                  <a:pt x="1976" y="895"/>
                  <a:pt x="1976" y="895"/>
                  <a:pt x="1976" y="895"/>
                </a:cubicBezTo>
                <a:cubicBezTo>
                  <a:pt x="1976" y="896"/>
                  <a:pt x="1976" y="896"/>
                  <a:pt x="1976" y="896"/>
                </a:cubicBezTo>
                <a:cubicBezTo>
                  <a:pt x="1978" y="896"/>
                  <a:pt x="1978" y="896"/>
                  <a:pt x="1978" y="896"/>
                </a:cubicBezTo>
                <a:cubicBezTo>
                  <a:pt x="1983" y="894"/>
                  <a:pt x="1983" y="894"/>
                  <a:pt x="1983" y="894"/>
                </a:cubicBezTo>
                <a:cubicBezTo>
                  <a:pt x="1987" y="894"/>
                  <a:pt x="1987" y="894"/>
                  <a:pt x="1987" y="894"/>
                </a:cubicBezTo>
                <a:cubicBezTo>
                  <a:pt x="1988" y="893"/>
                  <a:pt x="1988" y="893"/>
                  <a:pt x="1988" y="893"/>
                </a:cubicBezTo>
                <a:cubicBezTo>
                  <a:pt x="1988" y="892"/>
                  <a:pt x="1988" y="892"/>
                  <a:pt x="1988" y="892"/>
                </a:cubicBezTo>
                <a:cubicBezTo>
                  <a:pt x="1992" y="889"/>
                  <a:pt x="1992" y="889"/>
                  <a:pt x="1992" y="889"/>
                </a:cubicBezTo>
                <a:cubicBezTo>
                  <a:pt x="1993" y="889"/>
                  <a:pt x="1993" y="889"/>
                  <a:pt x="1993" y="889"/>
                </a:cubicBezTo>
                <a:cubicBezTo>
                  <a:pt x="1995" y="890"/>
                  <a:pt x="1995" y="890"/>
                  <a:pt x="1995" y="890"/>
                </a:cubicBezTo>
                <a:cubicBezTo>
                  <a:pt x="1996" y="890"/>
                  <a:pt x="1996" y="890"/>
                  <a:pt x="1996" y="890"/>
                </a:cubicBezTo>
                <a:cubicBezTo>
                  <a:pt x="1997" y="889"/>
                  <a:pt x="1997" y="889"/>
                  <a:pt x="1997" y="889"/>
                </a:cubicBezTo>
                <a:cubicBezTo>
                  <a:pt x="1998" y="889"/>
                  <a:pt x="1998" y="889"/>
                  <a:pt x="1998" y="889"/>
                </a:cubicBezTo>
                <a:cubicBezTo>
                  <a:pt x="1999" y="889"/>
                  <a:pt x="1999" y="889"/>
                  <a:pt x="1999" y="889"/>
                </a:cubicBezTo>
                <a:cubicBezTo>
                  <a:pt x="2002" y="887"/>
                  <a:pt x="2002" y="887"/>
                  <a:pt x="2002" y="887"/>
                </a:cubicBezTo>
                <a:cubicBezTo>
                  <a:pt x="2004" y="883"/>
                  <a:pt x="2004" y="883"/>
                  <a:pt x="2004" y="883"/>
                </a:cubicBezTo>
                <a:cubicBezTo>
                  <a:pt x="2006" y="883"/>
                  <a:pt x="2006" y="883"/>
                  <a:pt x="2006" y="883"/>
                </a:cubicBezTo>
                <a:cubicBezTo>
                  <a:pt x="2007" y="883"/>
                  <a:pt x="2007" y="883"/>
                  <a:pt x="2007" y="883"/>
                </a:cubicBezTo>
                <a:cubicBezTo>
                  <a:pt x="2018" y="879"/>
                  <a:pt x="2018" y="879"/>
                  <a:pt x="2018" y="879"/>
                </a:cubicBezTo>
                <a:cubicBezTo>
                  <a:pt x="2019" y="878"/>
                  <a:pt x="2019" y="878"/>
                  <a:pt x="2019" y="878"/>
                </a:cubicBezTo>
                <a:cubicBezTo>
                  <a:pt x="2026" y="877"/>
                  <a:pt x="2026" y="877"/>
                  <a:pt x="2026" y="877"/>
                </a:cubicBezTo>
                <a:cubicBezTo>
                  <a:pt x="2030" y="875"/>
                  <a:pt x="2030" y="875"/>
                  <a:pt x="2030" y="875"/>
                </a:cubicBezTo>
                <a:cubicBezTo>
                  <a:pt x="2032" y="873"/>
                  <a:pt x="2032" y="873"/>
                  <a:pt x="2032" y="873"/>
                </a:cubicBezTo>
                <a:cubicBezTo>
                  <a:pt x="2036" y="872"/>
                  <a:pt x="2036" y="872"/>
                  <a:pt x="2036" y="872"/>
                </a:cubicBezTo>
                <a:cubicBezTo>
                  <a:pt x="2036" y="871"/>
                  <a:pt x="2036" y="871"/>
                  <a:pt x="2036" y="871"/>
                </a:cubicBezTo>
                <a:cubicBezTo>
                  <a:pt x="2036" y="871"/>
                  <a:pt x="2036" y="871"/>
                  <a:pt x="2036" y="871"/>
                </a:cubicBezTo>
                <a:cubicBezTo>
                  <a:pt x="2035" y="870"/>
                  <a:pt x="2035" y="870"/>
                  <a:pt x="2035" y="870"/>
                </a:cubicBezTo>
                <a:cubicBezTo>
                  <a:pt x="2035" y="867"/>
                  <a:pt x="2035" y="867"/>
                  <a:pt x="2035" y="867"/>
                </a:cubicBezTo>
                <a:cubicBezTo>
                  <a:pt x="2039" y="863"/>
                  <a:pt x="2039" y="863"/>
                  <a:pt x="2039" y="863"/>
                </a:cubicBezTo>
                <a:cubicBezTo>
                  <a:pt x="2043" y="862"/>
                  <a:pt x="2043" y="862"/>
                  <a:pt x="2043" y="862"/>
                </a:cubicBezTo>
                <a:cubicBezTo>
                  <a:pt x="2045" y="862"/>
                  <a:pt x="2045" y="862"/>
                  <a:pt x="2045" y="862"/>
                </a:cubicBezTo>
                <a:cubicBezTo>
                  <a:pt x="2046" y="861"/>
                  <a:pt x="2046" y="861"/>
                  <a:pt x="2046" y="861"/>
                </a:cubicBezTo>
                <a:cubicBezTo>
                  <a:pt x="2047" y="862"/>
                  <a:pt x="2047" y="862"/>
                  <a:pt x="2047" y="862"/>
                </a:cubicBezTo>
                <a:cubicBezTo>
                  <a:pt x="2049" y="862"/>
                  <a:pt x="2049" y="862"/>
                  <a:pt x="2049" y="862"/>
                </a:cubicBezTo>
                <a:cubicBezTo>
                  <a:pt x="2050" y="859"/>
                  <a:pt x="2050" y="859"/>
                  <a:pt x="2050" y="859"/>
                </a:cubicBezTo>
                <a:cubicBezTo>
                  <a:pt x="2052" y="860"/>
                  <a:pt x="2052" y="860"/>
                  <a:pt x="2052" y="860"/>
                </a:cubicBezTo>
                <a:cubicBezTo>
                  <a:pt x="2056" y="858"/>
                  <a:pt x="2056" y="858"/>
                  <a:pt x="2056" y="858"/>
                </a:cubicBezTo>
                <a:cubicBezTo>
                  <a:pt x="2058" y="858"/>
                  <a:pt x="2058" y="858"/>
                  <a:pt x="2058" y="858"/>
                </a:cubicBezTo>
                <a:cubicBezTo>
                  <a:pt x="2060" y="857"/>
                  <a:pt x="2060" y="857"/>
                  <a:pt x="2060" y="857"/>
                </a:cubicBezTo>
                <a:cubicBezTo>
                  <a:pt x="2061" y="858"/>
                  <a:pt x="2061" y="858"/>
                  <a:pt x="2061" y="858"/>
                </a:cubicBezTo>
                <a:cubicBezTo>
                  <a:pt x="2062" y="858"/>
                  <a:pt x="2062" y="858"/>
                  <a:pt x="2062" y="858"/>
                </a:cubicBezTo>
                <a:cubicBezTo>
                  <a:pt x="2065" y="855"/>
                  <a:pt x="2065" y="855"/>
                  <a:pt x="2065" y="855"/>
                </a:cubicBezTo>
                <a:cubicBezTo>
                  <a:pt x="2065" y="854"/>
                  <a:pt x="2065" y="854"/>
                  <a:pt x="2065" y="854"/>
                </a:cubicBezTo>
                <a:cubicBezTo>
                  <a:pt x="2065" y="854"/>
                  <a:pt x="2065" y="854"/>
                  <a:pt x="2065" y="854"/>
                </a:cubicBezTo>
                <a:cubicBezTo>
                  <a:pt x="2065" y="853"/>
                  <a:pt x="2065" y="853"/>
                  <a:pt x="2065" y="853"/>
                </a:cubicBezTo>
                <a:cubicBezTo>
                  <a:pt x="2064" y="852"/>
                  <a:pt x="2064" y="852"/>
                  <a:pt x="2064" y="852"/>
                </a:cubicBezTo>
                <a:cubicBezTo>
                  <a:pt x="2065" y="851"/>
                  <a:pt x="2065" y="851"/>
                  <a:pt x="2065" y="851"/>
                </a:cubicBezTo>
                <a:cubicBezTo>
                  <a:pt x="2064" y="850"/>
                  <a:pt x="2064" y="850"/>
                  <a:pt x="2064" y="850"/>
                </a:cubicBezTo>
                <a:cubicBezTo>
                  <a:pt x="2066" y="849"/>
                  <a:pt x="2066" y="849"/>
                  <a:pt x="2066" y="849"/>
                </a:cubicBezTo>
                <a:cubicBezTo>
                  <a:pt x="2067" y="848"/>
                  <a:pt x="2067" y="848"/>
                  <a:pt x="2067" y="848"/>
                </a:cubicBezTo>
                <a:cubicBezTo>
                  <a:pt x="2070" y="848"/>
                  <a:pt x="2070" y="848"/>
                  <a:pt x="2070" y="848"/>
                </a:cubicBezTo>
                <a:cubicBezTo>
                  <a:pt x="2073" y="847"/>
                  <a:pt x="2073" y="847"/>
                  <a:pt x="2073" y="847"/>
                </a:cubicBezTo>
                <a:cubicBezTo>
                  <a:pt x="2074" y="848"/>
                  <a:pt x="2074" y="848"/>
                  <a:pt x="2074" y="848"/>
                </a:cubicBezTo>
                <a:cubicBezTo>
                  <a:pt x="2076" y="846"/>
                  <a:pt x="2076" y="846"/>
                  <a:pt x="2076" y="846"/>
                </a:cubicBezTo>
                <a:cubicBezTo>
                  <a:pt x="2077" y="845"/>
                  <a:pt x="2077" y="845"/>
                  <a:pt x="2077" y="845"/>
                </a:cubicBezTo>
                <a:cubicBezTo>
                  <a:pt x="2077" y="842"/>
                  <a:pt x="2077" y="842"/>
                  <a:pt x="2077" y="842"/>
                </a:cubicBezTo>
                <a:cubicBezTo>
                  <a:pt x="2080" y="838"/>
                  <a:pt x="2080" y="838"/>
                  <a:pt x="2080" y="838"/>
                </a:cubicBezTo>
                <a:cubicBezTo>
                  <a:pt x="2083" y="837"/>
                  <a:pt x="2083" y="837"/>
                  <a:pt x="2083" y="837"/>
                </a:cubicBezTo>
                <a:cubicBezTo>
                  <a:pt x="2084" y="838"/>
                  <a:pt x="2084" y="838"/>
                  <a:pt x="2084" y="838"/>
                </a:cubicBezTo>
                <a:cubicBezTo>
                  <a:pt x="2085" y="837"/>
                  <a:pt x="2085" y="837"/>
                  <a:pt x="2085" y="837"/>
                </a:cubicBezTo>
                <a:cubicBezTo>
                  <a:pt x="2090" y="836"/>
                  <a:pt x="2090" y="836"/>
                  <a:pt x="2090" y="836"/>
                </a:cubicBezTo>
                <a:cubicBezTo>
                  <a:pt x="2091" y="835"/>
                  <a:pt x="2091" y="835"/>
                  <a:pt x="2091" y="835"/>
                </a:cubicBezTo>
                <a:cubicBezTo>
                  <a:pt x="2090" y="835"/>
                  <a:pt x="2090" y="835"/>
                  <a:pt x="2090" y="835"/>
                </a:cubicBezTo>
                <a:cubicBezTo>
                  <a:pt x="2088" y="831"/>
                  <a:pt x="2088" y="831"/>
                  <a:pt x="2088" y="831"/>
                </a:cubicBezTo>
                <a:cubicBezTo>
                  <a:pt x="2089" y="831"/>
                  <a:pt x="2089" y="831"/>
                  <a:pt x="2089" y="831"/>
                </a:cubicBezTo>
                <a:cubicBezTo>
                  <a:pt x="2088" y="829"/>
                  <a:pt x="2088" y="829"/>
                  <a:pt x="2088" y="829"/>
                </a:cubicBezTo>
                <a:cubicBezTo>
                  <a:pt x="2088" y="829"/>
                  <a:pt x="2088" y="829"/>
                  <a:pt x="2088" y="829"/>
                </a:cubicBezTo>
                <a:cubicBezTo>
                  <a:pt x="2088" y="827"/>
                  <a:pt x="2088" y="827"/>
                  <a:pt x="2088" y="827"/>
                </a:cubicBezTo>
                <a:cubicBezTo>
                  <a:pt x="2088" y="826"/>
                  <a:pt x="2088" y="826"/>
                  <a:pt x="2088" y="826"/>
                </a:cubicBezTo>
                <a:cubicBezTo>
                  <a:pt x="2090" y="822"/>
                  <a:pt x="2090" y="822"/>
                  <a:pt x="2090" y="822"/>
                </a:cubicBezTo>
                <a:cubicBezTo>
                  <a:pt x="2091" y="822"/>
                  <a:pt x="2091" y="822"/>
                  <a:pt x="2091" y="822"/>
                </a:cubicBezTo>
                <a:cubicBezTo>
                  <a:pt x="2090" y="821"/>
                  <a:pt x="2090" y="821"/>
                  <a:pt x="2090" y="821"/>
                </a:cubicBezTo>
                <a:cubicBezTo>
                  <a:pt x="2091" y="821"/>
                  <a:pt x="2091" y="821"/>
                  <a:pt x="2091" y="821"/>
                </a:cubicBezTo>
                <a:cubicBezTo>
                  <a:pt x="2092" y="818"/>
                  <a:pt x="2092" y="818"/>
                  <a:pt x="2092" y="818"/>
                </a:cubicBezTo>
                <a:cubicBezTo>
                  <a:pt x="2093" y="818"/>
                  <a:pt x="2093" y="818"/>
                  <a:pt x="2093" y="818"/>
                </a:cubicBezTo>
                <a:cubicBezTo>
                  <a:pt x="2094" y="818"/>
                  <a:pt x="2094" y="818"/>
                  <a:pt x="2094" y="818"/>
                </a:cubicBezTo>
                <a:cubicBezTo>
                  <a:pt x="2094" y="819"/>
                  <a:pt x="2094" y="819"/>
                  <a:pt x="2094" y="819"/>
                </a:cubicBezTo>
                <a:cubicBezTo>
                  <a:pt x="2093" y="820"/>
                  <a:pt x="2093" y="820"/>
                  <a:pt x="2093" y="820"/>
                </a:cubicBezTo>
                <a:cubicBezTo>
                  <a:pt x="2094" y="821"/>
                  <a:pt x="2094" y="821"/>
                  <a:pt x="2094" y="821"/>
                </a:cubicBezTo>
                <a:cubicBezTo>
                  <a:pt x="2096" y="821"/>
                  <a:pt x="2096" y="821"/>
                  <a:pt x="2096" y="821"/>
                </a:cubicBezTo>
                <a:cubicBezTo>
                  <a:pt x="2097" y="817"/>
                  <a:pt x="2097" y="817"/>
                  <a:pt x="2097" y="817"/>
                </a:cubicBezTo>
                <a:cubicBezTo>
                  <a:pt x="2098" y="816"/>
                  <a:pt x="2098" y="816"/>
                  <a:pt x="2098" y="816"/>
                </a:cubicBezTo>
                <a:cubicBezTo>
                  <a:pt x="2099" y="814"/>
                  <a:pt x="2099" y="814"/>
                  <a:pt x="2099" y="814"/>
                </a:cubicBezTo>
                <a:cubicBezTo>
                  <a:pt x="2102" y="811"/>
                  <a:pt x="2102" y="811"/>
                  <a:pt x="2102" y="811"/>
                </a:cubicBezTo>
                <a:cubicBezTo>
                  <a:pt x="2105" y="805"/>
                  <a:pt x="2105" y="805"/>
                  <a:pt x="2105" y="805"/>
                </a:cubicBezTo>
                <a:cubicBezTo>
                  <a:pt x="2106" y="804"/>
                  <a:pt x="2106" y="804"/>
                  <a:pt x="2106" y="804"/>
                </a:cubicBezTo>
                <a:cubicBezTo>
                  <a:pt x="2105" y="803"/>
                  <a:pt x="2105" y="803"/>
                  <a:pt x="2105" y="803"/>
                </a:cubicBezTo>
                <a:cubicBezTo>
                  <a:pt x="2107" y="800"/>
                  <a:pt x="2107" y="800"/>
                  <a:pt x="2107" y="800"/>
                </a:cubicBezTo>
                <a:cubicBezTo>
                  <a:pt x="2107" y="798"/>
                  <a:pt x="2107" y="798"/>
                  <a:pt x="2107" y="798"/>
                </a:cubicBezTo>
                <a:cubicBezTo>
                  <a:pt x="2106" y="798"/>
                  <a:pt x="2106" y="798"/>
                  <a:pt x="2106" y="798"/>
                </a:cubicBezTo>
                <a:cubicBezTo>
                  <a:pt x="2104" y="797"/>
                  <a:pt x="2104" y="797"/>
                  <a:pt x="2104" y="797"/>
                </a:cubicBezTo>
                <a:cubicBezTo>
                  <a:pt x="2101" y="794"/>
                  <a:pt x="2101" y="794"/>
                  <a:pt x="2101" y="794"/>
                </a:cubicBezTo>
                <a:cubicBezTo>
                  <a:pt x="2100" y="792"/>
                  <a:pt x="2100" y="792"/>
                  <a:pt x="2100" y="792"/>
                </a:cubicBezTo>
                <a:cubicBezTo>
                  <a:pt x="2098" y="791"/>
                  <a:pt x="2098" y="791"/>
                  <a:pt x="2098" y="791"/>
                </a:cubicBezTo>
                <a:cubicBezTo>
                  <a:pt x="2097" y="788"/>
                  <a:pt x="2097" y="788"/>
                  <a:pt x="2097" y="788"/>
                </a:cubicBezTo>
                <a:cubicBezTo>
                  <a:pt x="2094" y="784"/>
                  <a:pt x="2094" y="784"/>
                  <a:pt x="2094" y="784"/>
                </a:cubicBezTo>
                <a:cubicBezTo>
                  <a:pt x="2093" y="784"/>
                  <a:pt x="2093" y="784"/>
                  <a:pt x="2093" y="784"/>
                </a:cubicBezTo>
                <a:cubicBezTo>
                  <a:pt x="2090" y="785"/>
                  <a:pt x="2090" y="785"/>
                  <a:pt x="2090" y="785"/>
                </a:cubicBezTo>
                <a:cubicBezTo>
                  <a:pt x="2086" y="784"/>
                  <a:pt x="2086" y="784"/>
                  <a:pt x="2086" y="784"/>
                </a:cubicBezTo>
                <a:cubicBezTo>
                  <a:pt x="2084" y="784"/>
                  <a:pt x="2084" y="784"/>
                  <a:pt x="2084" y="784"/>
                </a:cubicBezTo>
                <a:cubicBezTo>
                  <a:pt x="2083" y="785"/>
                  <a:pt x="2083" y="785"/>
                  <a:pt x="2083" y="785"/>
                </a:cubicBezTo>
                <a:cubicBezTo>
                  <a:pt x="2080" y="784"/>
                  <a:pt x="2080" y="784"/>
                  <a:pt x="2080" y="784"/>
                </a:cubicBezTo>
                <a:cubicBezTo>
                  <a:pt x="2074" y="779"/>
                  <a:pt x="2074" y="779"/>
                  <a:pt x="2074" y="779"/>
                </a:cubicBezTo>
                <a:cubicBezTo>
                  <a:pt x="2074" y="778"/>
                  <a:pt x="2074" y="778"/>
                  <a:pt x="2074" y="778"/>
                </a:cubicBezTo>
                <a:cubicBezTo>
                  <a:pt x="2071" y="774"/>
                  <a:pt x="2071" y="774"/>
                  <a:pt x="2071" y="774"/>
                </a:cubicBezTo>
                <a:cubicBezTo>
                  <a:pt x="2070" y="768"/>
                  <a:pt x="2070" y="768"/>
                  <a:pt x="2070" y="768"/>
                </a:cubicBezTo>
                <a:cubicBezTo>
                  <a:pt x="2070" y="765"/>
                  <a:pt x="2070" y="765"/>
                  <a:pt x="2070" y="765"/>
                </a:cubicBezTo>
                <a:cubicBezTo>
                  <a:pt x="2070" y="764"/>
                  <a:pt x="2070" y="764"/>
                  <a:pt x="2070" y="764"/>
                </a:cubicBezTo>
                <a:cubicBezTo>
                  <a:pt x="2069" y="764"/>
                  <a:pt x="2069" y="764"/>
                  <a:pt x="2069" y="764"/>
                </a:cubicBezTo>
                <a:cubicBezTo>
                  <a:pt x="2068" y="764"/>
                  <a:pt x="2068" y="764"/>
                  <a:pt x="2068" y="764"/>
                </a:cubicBezTo>
                <a:cubicBezTo>
                  <a:pt x="2068" y="763"/>
                  <a:pt x="2068" y="763"/>
                  <a:pt x="2068" y="763"/>
                </a:cubicBezTo>
                <a:cubicBezTo>
                  <a:pt x="2068" y="762"/>
                  <a:pt x="2068" y="762"/>
                  <a:pt x="2068" y="762"/>
                </a:cubicBezTo>
                <a:cubicBezTo>
                  <a:pt x="2069" y="761"/>
                  <a:pt x="2069" y="761"/>
                  <a:pt x="2069" y="761"/>
                </a:cubicBezTo>
                <a:cubicBezTo>
                  <a:pt x="2069" y="758"/>
                  <a:pt x="2069" y="758"/>
                  <a:pt x="2069" y="758"/>
                </a:cubicBezTo>
                <a:cubicBezTo>
                  <a:pt x="2069" y="757"/>
                  <a:pt x="2069" y="757"/>
                  <a:pt x="2069" y="757"/>
                </a:cubicBezTo>
                <a:cubicBezTo>
                  <a:pt x="2069" y="756"/>
                  <a:pt x="2069" y="756"/>
                  <a:pt x="2069" y="756"/>
                </a:cubicBezTo>
                <a:cubicBezTo>
                  <a:pt x="2069" y="756"/>
                  <a:pt x="2069" y="756"/>
                  <a:pt x="2069" y="756"/>
                </a:cubicBezTo>
                <a:cubicBezTo>
                  <a:pt x="2069" y="755"/>
                  <a:pt x="2069" y="755"/>
                  <a:pt x="2069" y="755"/>
                </a:cubicBezTo>
                <a:cubicBezTo>
                  <a:pt x="2070" y="755"/>
                  <a:pt x="2070" y="755"/>
                  <a:pt x="2070" y="755"/>
                </a:cubicBezTo>
                <a:cubicBezTo>
                  <a:pt x="2069" y="755"/>
                  <a:pt x="2069" y="755"/>
                  <a:pt x="2069" y="755"/>
                </a:cubicBezTo>
                <a:cubicBezTo>
                  <a:pt x="2069" y="755"/>
                  <a:pt x="2069" y="755"/>
                  <a:pt x="2069" y="755"/>
                </a:cubicBezTo>
                <a:cubicBezTo>
                  <a:pt x="2068" y="755"/>
                  <a:pt x="2068" y="755"/>
                  <a:pt x="2068" y="755"/>
                </a:cubicBezTo>
                <a:cubicBezTo>
                  <a:pt x="2067" y="758"/>
                  <a:pt x="2067" y="758"/>
                  <a:pt x="2067" y="758"/>
                </a:cubicBezTo>
                <a:cubicBezTo>
                  <a:pt x="2067" y="758"/>
                  <a:pt x="2067" y="758"/>
                  <a:pt x="2067" y="758"/>
                </a:cubicBezTo>
                <a:cubicBezTo>
                  <a:pt x="2066" y="758"/>
                  <a:pt x="2066" y="758"/>
                  <a:pt x="2066" y="758"/>
                </a:cubicBezTo>
                <a:cubicBezTo>
                  <a:pt x="2066" y="759"/>
                  <a:pt x="2066" y="759"/>
                  <a:pt x="2066" y="759"/>
                </a:cubicBezTo>
                <a:cubicBezTo>
                  <a:pt x="2066" y="759"/>
                  <a:pt x="2066" y="759"/>
                  <a:pt x="2066" y="759"/>
                </a:cubicBezTo>
                <a:cubicBezTo>
                  <a:pt x="2066" y="761"/>
                  <a:pt x="2066" y="761"/>
                  <a:pt x="2066" y="761"/>
                </a:cubicBezTo>
                <a:cubicBezTo>
                  <a:pt x="2065" y="762"/>
                  <a:pt x="2065" y="762"/>
                  <a:pt x="2065" y="762"/>
                </a:cubicBezTo>
                <a:cubicBezTo>
                  <a:pt x="2059" y="766"/>
                  <a:pt x="2059" y="766"/>
                  <a:pt x="2059" y="766"/>
                </a:cubicBezTo>
                <a:cubicBezTo>
                  <a:pt x="2059" y="768"/>
                  <a:pt x="2059" y="768"/>
                  <a:pt x="2059" y="768"/>
                </a:cubicBezTo>
                <a:cubicBezTo>
                  <a:pt x="2053" y="773"/>
                  <a:pt x="2053" y="773"/>
                  <a:pt x="2053" y="773"/>
                </a:cubicBezTo>
                <a:cubicBezTo>
                  <a:pt x="2052" y="775"/>
                  <a:pt x="2052" y="775"/>
                  <a:pt x="2052" y="775"/>
                </a:cubicBezTo>
                <a:cubicBezTo>
                  <a:pt x="2053" y="775"/>
                  <a:pt x="2053" y="775"/>
                  <a:pt x="2053" y="775"/>
                </a:cubicBezTo>
                <a:cubicBezTo>
                  <a:pt x="2054" y="776"/>
                  <a:pt x="2054" y="776"/>
                  <a:pt x="2054" y="776"/>
                </a:cubicBezTo>
                <a:cubicBezTo>
                  <a:pt x="2051" y="779"/>
                  <a:pt x="2051" y="779"/>
                  <a:pt x="2051" y="779"/>
                </a:cubicBezTo>
                <a:cubicBezTo>
                  <a:pt x="2050" y="778"/>
                  <a:pt x="2050" y="778"/>
                  <a:pt x="2050" y="778"/>
                </a:cubicBezTo>
                <a:cubicBezTo>
                  <a:pt x="2049" y="778"/>
                  <a:pt x="2049" y="778"/>
                  <a:pt x="2049" y="778"/>
                </a:cubicBezTo>
                <a:cubicBezTo>
                  <a:pt x="2048" y="778"/>
                  <a:pt x="2048" y="778"/>
                  <a:pt x="2048" y="778"/>
                </a:cubicBezTo>
                <a:cubicBezTo>
                  <a:pt x="2048" y="780"/>
                  <a:pt x="2048" y="780"/>
                  <a:pt x="2048" y="780"/>
                </a:cubicBezTo>
                <a:cubicBezTo>
                  <a:pt x="2047" y="780"/>
                  <a:pt x="2047" y="780"/>
                  <a:pt x="2047" y="780"/>
                </a:cubicBezTo>
                <a:cubicBezTo>
                  <a:pt x="2047" y="781"/>
                  <a:pt x="2047" y="781"/>
                  <a:pt x="2047" y="781"/>
                </a:cubicBezTo>
                <a:cubicBezTo>
                  <a:pt x="2044" y="782"/>
                  <a:pt x="2044" y="782"/>
                  <a:pt x="2044" y="782"/>
                </a:cubicBezTo>
                <a:cubicBezTo>
                  <a:pt x="2042" y="782"/>
                  <a:pt x="2042" y="782"/>
                  <a:pt x="2042" y="782"/>
                </a:cubicBezTo>
                <a:cubicBezTo>
                  <a:pt x="2041" y="781"/>
                  <a:pt x="2041" y="781"/>
                  <a:pt x="2041" y="781"/>
                </a:cubicBezTo>
                <a:cubicBezTo>
                  <a:pt x="2039" y="781"/>
                  <a:pt x="2039" y="781"/>
                  <a:pt x="2039" y="781"/>
                </a:cubicBezTo>
                <a:cubicBezTo>
                  <a:pt x="2038" y="780"/>
                  <a:pt x="2038" y="780"/>
                  <a:pt x="2038" y="780"/>
                </a:cubicBezTo>
                <a:cubicBezTo>
                  <a:pt x="2037" y="781"/>
                  <a:pt x="2037" y="781"/>
                  <a:pt x="2037" y="781"/>
                </a:cubicBezTo>
                <a:cubicBezTo>
                  <a:pt x="2033" y="780"/>
                  <a:pt x="2033" y="780"/>
                  <a:pt x="2033" y="780"/>
                </a:cubicBezTo>
                <a:cubicBezTo>
                  <a:pt x="2029" y="783"/>
                  <a:pt x="2029" y="783"/>
                  <a:pt x="2029" y="783"/>
                </a:cubicBezTo>
                <a:cubicBezTo>
                  <a:pt x="2027" y="783"/>
                  <a:pt x="2027" y="783"/>
                  <a:pt x="2027" y="783"/>
                </a:cubicBezTo>
                <a:cubicBezTo>
                  <a:pt x="2026" y="783"/>
                  <a:pt x="2026" y="783"/>
                  <a:pt x="2026" y="783"/>
                </a:cubicBezTo>
                <a:cubicBezTo>
                  <a:pt x="2024" y="783"/>
                  <a:pt x="2024" y="783"/>
                  <a:pt x="2024" y="783"/>
                </a:cubicBezTo>
                <a:cubicBezTo>
                  <a:pt x="2024" y="779"/>
                  <a:pt x="2024" y="779"/>
                  <a:pt x="2024" y="779"/>
                </a:cubicBezTo>
                <a:cubicBezTo>
                  <a:pt x="2023" y="780"/>
                  <a:pt x="2023" y="780"/>
                  <a:pt x="2023" y="780"/>
                </a:cubicBezTo>
                <a:cubicBezTo>
                  <a:pt x="2022" y="779"/>
                  <a:pt x="2022" y="779"/>
                  <a:pt x="2022" y="779"/>
                </a:cubicBezTo>
                <a:cubicBezTo>
                  <a:pt x="2022" y="779"/>
                  <a:pt x="2022" y="779"/>
                  <a:pt x="2022" y="779"/>
                </a:cubicBezTo>
                <a:cubicBezTo>
                  <a:pt x="2021" y="778"/>
                  <a:pt x="2021" y="778"/>
                  <a:pt x="2021" y="778"/>
                </a:cubicBezTo>
                <a:cubicBezTo>
                  <a:pt x="2021" y="777"/>
                  <a:pt x="2021" y="777"/>
                  <a:pt x="2021" y="777"/>
                </a:cubicBezTo>
                <a:cubicBezTo>
                  <a:pt x="2022" y="776"/>
                  <a:pt x="2022" y="776"/>
                  <a:pt x="2022" y="776"/>
                </a:cubicBezTo>
                <a:cubicBezTo>
                  <a:pt x="2020" y="776"/>
                  <a:pt x="2020" y="776"/>
                  <a:pt x="2020" y="776"/>
                </a:cubicBezTo>
                <a:cubicBezTo>
                  <a:pt x="2020" y="775"/>
                  <a:pt x="2020" y="775"/>
                  <a:pt x="2020" y="775"/>
                </a:cubicBezTo>
                <a:cubicBezTo>
                  <a:pt x="2020" y="775"/>
                  <a:pt x="2020" y="775"/>
                  <a:pt x="2020" y="775"/>
                </a:cubicBezTo>
                <a:cubicBezTo>
                  <a:pt x="2021" y="775"/>
                  <a:pt x="2021" y="775"/>
                  <a:pt x="2021" y="775"/>
                </a:cubicBezTo>
                <a:cubicBezTo>
                  <a:pt x="2022" y="770"/>
                  <a:pt x="2022" y="770"/>
                  <a:pt x="2022" y="770"/>
                </a:cubicBezTo>
                <a:cubicBezTo>
                  <a:pt x="2020" y="768"/>
                  <a:pt x="2020" y="768"/>
                  <a:pt x="2020" y="768"/>
                </a:cubicBezTo>
                <a:cubicBezTo>
                  <a:pt x="2020" y="768"/>
                  <a:pt x="2020" y="768"/>
                  <a:pt x="2020" y="768"/>
                </a:cubicBezTo>
                <a:cubicBezTo>
                  <a:pt x="2019" y="765"/>
                  <a:pt x="2019" y="765"/>
                  <a:pt x="2019" y="765"/>
                </a:cubicBezTo>
                <a:cubicBezTo>
                  <a:pt x="2020" y="765"/>
                  <a:pt x="2020" y="765"/>
                  <a:pt x="2020" y="765"/>
                </a:cubicBezTo>
                <a:cubicBezTo>
                  <a:pt x="2021" y="761"/>
                  <a:pt x="2021" y="761"/>
                  <a:pt x="2021" y="761"/>
                </a:cubicBezTo>
                <a:cubicBezTo>
                  <a:pt x="2020" y="761"/>
                  <a:pt x="2020" y="761"/>
                  <a:pt x="2020" y="761"/>
                </a:cubicBezTo>
                <a:cubicBezTo>
                  <a:pt x="2019" y="761"/>
                  <a:pt x="2019" y="761"/>
                  <a:pt x="2019" y="761"/>
                </a:cubicBezTo>
                <a:cubicBezTo>
                  <a:pt x="2019" y="759"/>
                  <a:pt x="2019" y="759"/>
                  <a:pt x="2019" y="759"/>
                </a:cubicBezTo>
                <a:cubicBezTo>
                  <a:pt x="2017" y="758"/>
                  <a:pt x="2017" y="758"/>
                  <a:pt x="2017" y="758"/>
                </a:cubicBezTo>
                <a:cubicBezTo>
                  <a:pt x="2017" y="758"/>
                  <a:pt x="2017" y="758"/>
                  <a:pt x="2017" y="758"/>
                </a:cubicBezTo>
                <a:cubicBezTo>
                  <a:pt x="2016" y="759"/>
                  <a:pt x="2016" y="759"/>
                  <a:pt x="2016" y="759"/>
                </a:cubicBezTo>
                <a:cubicBezTo>
                  <a:pt x="2016" y="759"/>
                  <a:pt x="2016" y="759"/>
                  <a:pt x="2016" y="759"/>
                </a:cubicBezTo>
                <a:cubicBezTo>
                  <a:pt x="2016" y="760"/>
                  <a:pt x="2016" y="760"/>
                  <a:pt x="2016" y="760"/>
                </a:cubicBezTo>
                <a:cubicBezTo>
                  <a:pt x="2015" y="760"/>
                  <a:pt x="2015" y="760"/>
                  <a:pt x="2015" y="760"/>
                </a:cubicBezTo>
                <a:cubicBezTo>
                  <a:pt x="2015" y="762"/>
                  <a:pt x="2015" y="762"/>
                  <a:pt x="2015" y="762"/>
                </a:cubicBezTo>
                <a:cubicBezTo>
                  <a:pt x="2015" y="762"/>
                  <a:pt x="2015" y="762"/>
                  <a:pt x="2015" y="762"/>
                </a:cubicBezTo>
                <a:cubicBezTo>
                  <a:pt x="2015" y="765"/>
                  <a:pt x="2015" y="765"/>
                  <a:pt x="2015" y="765"/>
                </a:cubicBezTo>
                <a:cubicBezTo>
                  <a:pt x="2015" y="765"/>
                  <a:pt x="2015" y="765"/>
                  <a:pt x="2015" y="765"/>
                </a:cubicBezTo>
                <a:cubicBezTo>
                  <a:pt x="2014" y="765"/>
                  <a:pt x="2014" y="765"/>
                  <a:pt x="2014" y="765"/>
                </a:cubicBezTo>
                <a:cubicBezTo>
                  <a:pt x="2014" y="768"/>
                  <a:pt x="2014" y="768"/>
                  <a:pt x="2014" y="768"/>
                </a:cubicBezTo>
                <a:cubicBezTo>
                  <a:pt x="2014" y="769"/>
                  <a:pt x="2014" y="769"/>
                  <a:pt x="2014" y="769"/>
                </a:cubicBezTo>
                <a:cubicBezTo>
                  <a:pt x="2015" y="770"/>
                  <a:pt x="2015" y="770"/>
                  <a:pt x="2015" y="770"/>
                </a:cubicBezTo>
                <a:cubicBezTo>
                  <a:pt x="2015" y="772"/>
                  <a:pt x="2015" y="772"/>
                  <a:pt x="2015" y="772"/>
                </a:cubicBezTo>
                <a:cubicBezTo>
                  <a:pt x="2014" y="772"/>
                  <a:pt x="2014" y="772"/>
                  <a:pt x="2014" y="772"/>
                </a:cubicBezTo>
                <a:cubicBezTo>
                  <a:pt x="2014" y="773"/>
                  <a:pt x="2014" y="773"/>
                  <a:pt x="2014" y="773"/>
                </a:cubicBezTo>
                <a:cubicBezTo>
                  <a:pt x="2012" y="770"/>
                  <a:pt x="2012" y="770"/>
                  <a:pt x="2012" y="770"/>
                </a:cubicBezTo>
                <a:cubicBezTo>
                  <a:pt x="2012" y="768"/>
                  <a:pt x="2012" y="768"/>
                  <a:pt x="2012" y="768"/>
                </a:cubicBezTo>
                <a:cubicBezTo>
                  <a:pt x="2006" y="761"/>
                  <a:pt x="2006" y="761"/>
                  <a:pt x="2006" y="761"/>
                </a:cubicBezTo>
                <a:cubicBezTo>
                  <a:pt x="2005" y="759"/>
                  <a:pt x="2005" y="759"/>
                  <a:pt x="2005" y="759"/>
                </a:cubicBezTo>
                <a:cubicBezTo>
                  <a:pt x="2006" y="759"/>
                  <a:pt x="2006" y="759"/>
                  <a:pt x="2006" y="759"/>
                </a:cubicBezTo>
                <a:cubicBezTo>
                  <a:pt x="2006" y="758"/>
                  <a:pt x="2006" y="758"/>
                  <a:pt x="2006" y="758"/>
                </a:cubicBezTo>
                <a:cubicBezTo>
                  <a:pt x="2004" y="753"/>
                  <a:pt x="2004" y="753"/>
                  <a:pt x="2004" y="753"/>
                </a:cubicBezTo>
                <a:cubicBezTo>
                  <a:pt x="2004" y="752"/>
                  <a:pt x="2004" y="752"/>
                  <a:pt x="2004" y="752"/>
                </a:cubicBezTo>
                <a:cubicBezTo>
                  <a:pt x="2003" y="750"/>
                  <a:pt x="2003" y="750"/>
                  <a:pt x="2003" y="750"/>
                </a:cubicBezTo>
                <a:cubicBezTo>
                  <a:pt x="2002" y="750"/>
                  <a:pt x="2002" y="750"/>
                  <a:pt x="2002" y="750"/>
                </a:cubicBezTo>
                <a:cubicBezTo>
                  <a:pt x="1999" y="745"/>
                  <a:pt x="1999" y="745"/>
                  <a:pt x="1999" y="745"/>
                </a:cubicBezTo>
                <a:cubicBezTo>
                  <a:pt x="1998" y="745"/>
                  <a:pt x="1998" y="745"/>
                  <a:pt x="1998" y="745"/>
                </a:cubicBezTo>
                <a:cubicBezTo>
                  <a:pt x="1996" y="744"/>
                  <a:pt x="1996" y="744"/>
                  <a:pt x="1996" y="744"/>
                </a:cubicBezTo>
                <a:cubicBezTo>
                  <a:pt x="1996" y="743"/>
                  <a:pt x="1996" y="743"/>
                  <a:pt x="1996" y="743"/>
                </a:cubicBezTo>
                <a:cubicBezTo>
                  <a:pt x="1997" y="743"/>
                  <a:pt x="1997" y="743"/>
                  <a:pt x="1997" y="743"/>
                </a:cubicBezTo>
                <a:cubicBezTo>
                  <a:pt x="1998" y="743"/>
                  <a:pt x="1998" y="743"/>
                  <a:pt x="1998" y="743"/>
                </a:cubicBezTo>
                <a:cubicBezTo>
                  <a:pt x="1997" y="742"/>
                  <a:pt x="1997" y="742"/>
                  <a:pt x="1997" y="742"/>
                </a:cubicBezTo>
                <a:cubicBezTo>
                  <a:pt x="1995" y="742"/>
                  <a:pt x="1995" y="742"/>
                  <a:pt x="1995" y="742"/>
                </a:cubicBezTo>
                <a:cubicBezTo>
                  <a:pt x="1992" y="741"/>
                  <a:pt x="1992" y="741"/>
                  <a:pt x="1992" y="741"/>
                </a:cubicBezTo>
                <a:cubicBezTo>
                  <a:pt x="1990" y="736"/>
                  <a:pt x="1990" y="736"/>
                  <a:pt x="1990" y="736"/>
                </a:cubicBezTo>
                <a:cubicBezTo>
                  <a:pt x="1989" y="733"/>
                  <a:pt x="1989" y="733"/>
                  <a:pt x="1989" y="733"/>
                </a:cubicBezTo>
                <a:cubicBezTo>
                  <a:pt x="1988" y="733"/>
                  <a:pt x="1988" y="733"/>
                  <a:pt x="1988" y="733"/>
                </a:cubicBezTo>
                <a:cubicBezTo>
                  <a:pt x="1988" y="731"/>
                  <a:pt x="1988" y="731"/>
                  <a:pt x="1988" y="731"/>
                </a:cubicBezTo>
                <a:cubicBezTo>
                  <a:pt x="1987" y="731"/>
                  <a:pt x="1987" y="731"/>
                  <a:pt x="1987" y="731"/>
                </a:cubicBezTo>
                <a:cubicBezTo>
                  <a:pt x="1986" y="730"/>
                  <a:pt x="1986" y="730"/>
                  <a:pt x="1986" y="730"/>
                </a:cubicBezTo>
                <a:cubicBezTo>
                  <a:pt x="1985" y="729"/>
                  <a:pt x="1985" y="729"/>
                  <a:pt x="1985" y="729"/>
                </a:cubicBezTo>
                <a:cubicBezTo>
                  <a:pt x="1985" y="729"/>
                  <a:pt x="1985" y="729"/>
                  <a:pt x="1985" y="729"/>
                </a:cubicBezTo>
                <a:cubicBezTo>
                  <a:pt x="1986" y="729"/>
                  <a:pt x="1986" y="729"/>
                  <a:pt x="1986" y="729"/>
                </a:cubicBezTo>
                <a:cubicBezTo>
                  <a:pt x="1985" y="728"/>
                  <a:pt x="1985" y="728"/>
                  <a:pt x="1985" y="728"/>
                </a:cubicBezTo>
                <a:cubicBezTo>
                  <a:pt x="1985" y="726"/>
                  <a:pt x="1985" y="726"/>
                  <a:pt x="1985" y="726"/>
                </a:cubicBezTo>
                <a:cubicBezTo>
                  <a:pt x="1984" y="724"/>
                  <a:pt x="1984" y="724"/>
                  <a:pt x="1984" y="724"/>
                </a:cubicBezTo>
                <a:cubicBezTo>
                  <a:pt x="1983" y="725"/>
                  <a:pt x="1983" y="725"/>
                  <a:pt x="1983" y="725"/>
                </a:cubicBezTo>
                <a:cubicBezTo>
                  <a:pt x="1979" y="723"/>
                  <a:pt x="1979" y="723"/>
                  <a:pt x="1979" y="723"/>
                </a:cubicBezTo>
                <a:cubicBezTo>
                  <a:pt x="1985" y="722"/>
                  <a:pt x="1985" y="722"/>
                  <a:pt x="1985" y="722"/>
                </a:cubicBezTo>
                <a:cubicBezTo>
                  <a:pt x="1984" y="717"/>
                  <a:pt x="1984" y="717"/>
                  <a:pt x="1984" y="717"/>
                </a:cubicBezTo>
                <a:cubicBezTo>
                  <a:pt x="1985" y="716"/>
                  <a:pt x="1985" y="716"/>
                  <a:pt x="1985" y="716"/>
                </a:cubicBezTo>
                <a:cubicBezTo>
                  <a:pt x="1986" y="714"/>
                  <a:pt x="1986" y="714"/>
                  <a:pt x="1986" y="714"/>
                </a:cubicBezTo>
                <a:cubicBezTo>
                  <a:pt x="1987" y="714"/>
                  <a:pt x="1987" y="714"/>
                  <a:pt x="1987" y="714"/>
                </a:cubicBezTo>
                <a:cubicBezTo>
                  <a:pt x="1988" y="713"/>
                  <a:pt x="1988" y="713"/>
                  <a:pt x="1988" y="713"/>
                </a:cubicBezTo>
                <a:cubicBezTo>
                  <a:pt x="1988" y="714"/>
                  <a:pt x="1988" y="714"/>
                  <a:pt x="1988" y="714"/>
                </a:cubicBezTo>
                <a:cubicBezTo>
                  <a:pt x="1989" y="716"/>
                  <a:pt x="1989" y="716"/>
                  <a:pt x="1989" y="716"/>
                </a:cubicBezTo>
                <a:cubicBezTo>
                  <a:pt x="1990" y="716"/>
                  <a:pt x="1990" y="716"/>
                  <a:pt x="1990" y="716"/>
                </a:cubicBezTo>
                <a:cubicBezTo>
                  <a:pt x="1991" y="715"/>
                  <a:pt x="1991" y="715"/>
                  <a:pt x="1991" y="715"/>
                </a:cubicBezTo>
                <a:cubicBezTo>
                  <a:pt x="1991" y="713"/>
                  <a:pt x="1991" y="713"/>
                  <a:pt x="1991" y="713"/>
                </a:cubicBezTo>
                <a:cubicBezTo>
                  <a:pt x="1990" y="712"/>
                  <a:pt x="1990" y="712"/>
                  <a:pt x="1990" y="712"/>
                </a:cubicBezTo>
                <a:cubicBezTo>
                  <a:pt x="1991" y="712"/>
                  <a:pt x="1991" y="712"/>
                  <a:pt x="1991" y="712"/>
                </a:cubicBezTo>
                <a:cubicBezTo>
                  <a:pt x="1993" y="712"/>
                  <a:pt x="1993" y="712"/>
                  <a:pt x="1993" y="712"/>
                </a:cubicBezTo>
                <a:cubicBezTo>
                  <a:pt x="1993" y="711"/>
                  <a:pt x="1993" y="711"/>
                  <a:pt x="1993" y="711"/>
                </a:cubicBezTo>
                <a:cubicBezTo>
                  <a:pt x="1993" y="712"/>
                  <a:pt x="1993" y="712"/>
                  <a:pt x="1993" y="712"/>
                </a:cubicBezTo>
                <a:cubicBezTo>
                  <a:pt x="1992" y="713"/>
                  <a:pt x="1992" y="713"/>
                  <a:pt x="1992" y="713"/>
                </a:cubicBezTo>
                <a:cubicBezTo>
                  <a:pt x="1995" y="715"/>
                  <a:pt x="1995" y="715"/>
                  <a:pt x="1995" y="715"/>
                </a:cubicBezTo>
                <a:cubicBezTo>
                  <a:pt x="1996" y="714"/>
                  <a:pt x="1996" y="714"/>
                  <a:pt x="1996" y="714"/>
                </a:cubicBezTo>
                <a:cubicBezTo>
                  <a:pt x="1997" y="716"/>
                  <a:pt x="1997" y="716"/>
                  <a:pt x="1997" y="716"/>
                </a:cubicBezTo>
                <a:cubicBezTo>
                  <a:pt x="1998" y="716"/>
                  <a:pt x="1998" y="716"/>
                  <a:pt x="1998" y="716"/>
                </a:cubicBezTo>
                <a:cubicBezTo>
                  <a:pt x="2001" y="713"/>
                  <a:pt x="2001" y="713"/>
                  <a:pt x="2001" y="713"/>
                </a:cubicBezTo>
                <a:cubicBezTo>
                  <a:pt x="2002" y="714"/>
                  <a:pt x="2002" y="714"/>
                  <a:pt x="2002" y="714"/>
                </a:cubicBezTo>
                <a:cubicBezTo>
                  <a:pt x="2004" y="717"/>
                  <a:pt x="2004" y="717"/>
                  <a:pt x="2004" y="717"/>
                </a:cubicBezTo>
                <a:cubicBezTo>
                  <a:pt x="2004" y="719"/>
                  <a:pt x="2004" y="719"/>
                  <a:pt x="2004" y="719"/>
                </a:cubicBezTo>
                <a:cubicBezTo>
                  <a:pt x="2008" y="723"/>
                  <a:pt x="2008" y="723"/>
                  <a:pt x="2008" y="723"/>
                </a:cubicBezTo>
                <a:cubicBezTo>
                  <a:pt x="2008" y="726"/>
                  <a:pt x="2008" y="726"/>
                  <a:pt x="2008" y="726"/>
                </a:cubicBezTo>
                <a:cubicBezTo>
                  <a:pt x="2009" y="727"/>
                  <a:pt x="2009" y="727"/>
                  <a:pt x="2009" y="727"/>
                </a:cubicBezTo>
                <a:cubicBezTo>
                  <a:pt x="2011" y="727"/>
                  <a:pt x="2011" y="727"/>
                  <a:pt x="2011" y="727"/>
                </a:cubicBezTo>
                <a:cubicBezTo>
                  <a:pt x="2012" y="729"/>
                  <a:pt x="2012" y="729"/>
                  <a:pt x="2012" y="729"/>
                </a:cubicBezTo>
                <a:cubicBezTo>
                  <a:pt x="2011" y="729"/>
                  <a:pt x="2011" y="729"/>
                  <a:pt x="2011" y="729"/>
                </a:cubicBezTo>
                <a:cubicBezTo>
                  <a:pt x="2010" y="728"/>
                  <a:pt x="2010" y="728"/>
                  <a:pt x="2010" y="728"/>
                </a:cubicBezTo>
                <a:cubicBezTo>
                  <a:pt x="2010" y="729"/>
                  <a:pt x="2010" y="729"/>
                  <a:pt x="2010" y="729"/>
                </a:cubicBezTo>
                <a:cubicBezTo>
                  <a:pt x="2012" y="730"/>
                  <a:pt x="2012" y="730"/>
                  <a:pt x="2012" y="730"/>
                </a:cubicBezTo>
                <a:cubicBezTo>
                  <a:pt x="2013" y="730"/>
                  <a:pt x="2013" y="730"/>
                  <a:pt x="2013" y="730"/>
                </a:cubicBezTo>
                <a:cubicBezTo>
                  <a:pt x="2013" y="732"/>
                  <a:pt x="2013" y="732"/>
                  <a:pt x="2013" y="732"/>
                </a:cubicBezTo>
                <a:cubicBezTo>
                  <a:pt x="2016" y="738"/>
                  <a:pt x="2016" y="738"/>
                  <a:pt x="2016" y="738"/>
                </a:cubicBezTo>
                <a:cubicBezTo>
                  <a:pt x="2018" y="740"/>
                  <a:pt x="2018" y="740"/>
                  <a:pt x="2018" y="740"/>
                </a:cubicBezTo>
                <a:cubicBezTo>
                  <a:pt x="2022" y="739"/>
                  <a:pt x="2022" y="739"/>
                  <a:pt x="2022" y="739"/>
                </a:cubicBezTo>
                <a:cubicBezTo>
                  <a:pt x="2024" y="740"/>
                  <a:pt x="2024" y="740"/>
                  <a:pt x="2024" y="740"/>
                </a:cubicBezTo>
                <a:cubicBezTo>
                  <a:pt x="2026" y="741"/>
                  <a:pt x="2026" y="741"/>
                  <a:pt x="2026" y="741"/>
                </a:cubicBezTo>
                <a:cubicBezTo>
                  <a:pt x="2029" y="741"/>
                  <a:pt x="2029" y="741"/>
                  <a:pt x="2029" y="741"/>
                </a:cubicBezTo>
                <a:cubicBezTo>
                  <a:pt x="2029" y="742"/>
                  <a:pt x="2029" y="742"/>
                  <a:pt x="2029" y="742"/>
                </a:cubicBezTo>
                <a:cubicBezTo>
                  <a:pt x="2031" y="742"/>
                  <a:pt x="2031" y="742"/>
                  <a:pt x="2031" y="742"/>
                </a:cubicBezTo>
                <a:cubicBezTo>
                  <a:pt x="2031" y="743"/>
                  <a:pt x="2031" y="743"/>
                  <a:pt x="2031" y="743"/>
                </a:cubicBezTo>
                <a:cubicBezTo>
                  <a:pt x="2030" y="744"/>
                  <a:pt x="2030" y="744"/>
                  <a:pt x="2030" y="744"/>
                </a:cubicBezTo>
                <a:cubicBezTo>
                  <a:pt x="2033" y="747"/>
                  <a:pt x="2033" y="747"/>
                  <a:pt x="2033" y="747"/>
                </a:cubicBezTo>
                <a:cubicBezTo>
                  <a:pt x="2036" y="748"/>
                  <a:pt x="2036" y="748"/>
                  <a:pt x="2036" y="748"/>
                </a:cubicBezTo>
                <a:cubicBezTo>
                  <a:pt x="2037" y="749"/>
                  <a:pt x="2037" y="749"/>
                  <a:pt x="2037" y="749"/>
                </a:cubicBezTo>
                <a:cubicBezTo>
                  <a:pt x="2039" y="749"/>
                  <a:pt x="2039" y="749"/>
                  <a:pt x="2039" y="749"/>
                </a:cubicBezTo>
                <a:cubicBezTo>
                  <a:pt x="2042" y="752"/>
                  <a:pt x="2042" y="752"/>
                  <a:pt x="2042" y="752"/>
                </a:cubicBezTo>
                <a:cubicBezTo>
                  <a:pt x="2043" y="752"/>
                  <a:pt x="2043" y="752"/>
                  <a:pt x="2043" y="752"/>
                </a:cubicBezTo>
                <a:cubicBezTo>
                  <a:pt x="2046" y="751"/>
                  <a:pt x="2046" y="751"/>
                  <a:pt x="2046" y="751"/>
                </a:cubicBezTo>
                <a:cubicBezTo>
                  <a:pt x="2049" y="752"/>
                  <a:pt x="2049" y="752"/>
                  <a:pt x="2049" y="752"/>
                </a:cubicBezTo>
                <a:cubicBezTo>
                  <a:pt x="2053" y="755"/>
                  <a:pt x="2053" y="755"/>
                  <a:pt x="2053" y="755"/>
                </a:cubicBezTo>
                <a:cubicBezTo>
                  <a:pt x="2057" y="752"/>
                  <a:pt x="2057" y="752"/>
                  <a:pt x="2057" y="752"/>
                </a:cubicBezTo>
                <a:cubicBezTo>
                  <a:pt x="2061" y="749"/>
                  <a:pt x="2061" y="749"/>
                  <a:pt x="2061" y="749"/>
                </a:cubicBezTo>
                <a:cubicBezTo>
                  <a:pt x="2061" y="748"/>
                  <a:pt x="2061" y="748"/>
                  <a:pt x="2061" y="748"/>
                </a:cubicBezTo>
                <a:cubicBezTo>
                  <a:pt x="2061" y="749"/>
                  <a:pt x="2061" y="749"/>
                  <a:pt x="2061" y="749"/>
                </a:cubicBezTo>
                <a:cubicBezTo>
                  <a:pt x="2063" y="749"/>
                  <a:pt x="2063" y="749"/>
                  <a:pt x="2063" y="749"/>
                </a:cubicBezTo>
                <a:cubicBezTo>
                  <a:pt x="2066" y="747"/>
                  <a:pt x="2066" y="747"/>
                  <a:pt x="2066" y="747"/>
                </a:cubicBezTo>
                <a:cubicBezTo>
                  <a:pt x="2068" y="746"/>
                  <a:pt x="2068" y="746"/>
                  <a:pt x="2068" y="746"/>
                </a:cubicBezTo>
                <a:cubicBezTo>
                  <a:pt x="2071" y="747"/>
                  <a:pt x="2071" y="747"/>
                  <a:pt x="2071" y="747"/>
                </a:cubicBezTo>
                <a:cubicBezTo>
                  <a:pt x="2071" y="748"/>
                  <a:pt x="2071" y="748"/>
                  <a:pt x="2071" y="748"/>
                </a:cubicBezTo>
                <a:cubicBezTo>
                  <a:pt x="2072" y="748"/>
                  <a:pt x="2072" y="748"/>
                  <a:pt x="2072" y="748"/>
                </a:cubicBezTo>
                <a:cubicBezTo>
                  <a:pt x="2073" y="749"/>
                  <a:pt x="2073" y="749"/>
                  <a:pt x="2073" y="749"/>
                </a:cubicBezTo>
                <a:cubicBezTo>
                  <a:pt x="2074" y="751"/>
                  <a:pt x="2074" y="751"/>
                  <a:pt x="2074" y="751"/>
                </a:cubicBezTo>
                <a:cubicBezTo>
                  <a:pt x="2076" y="755"/>
                  <a:pt x="2076" y="755"/>
                  <a:pt x="2076" y="755"/>
                </a:cubicBezTo>
                <a:cubicBezTo>
                  <a:pt x="2078" y="759"/>
                  <a:pt x="2078" y="759"/>
                  <a:pt x="2078" y="759"/>
                </a:cubicBezTo>
                <a:cubicBezTo>
                  <a:pt x="2078" y="761"/>
                  <a:pt x="2078" y="761"/>
                  <a:pt x="2078" y="761"/>
                </a:cubicBezTo>
                <a:cubicBezTo>
                  <a:pt x="2079" y="762"/>
                  <a:pt x="2079" y="762"/>
                  <a:pt x="2079" y="762"/>
                </a:cubicBezTo>
                <a:cubicBezTo>
                  <a:pt x="2079" y="763"/>
                  <a:pt x="2079" y="763"/>
                  <a:pt x="2079" y="763"/>
                </a:cubicBezTo>
                <a:cubicBezTo>
                  <a:pt x="2085" y="763"/>
                  <a:pt x="2085" y="763"/>
                  <a:pt x="2085" y="763"/>
                </a:cubicBezTo>
                <a:cubicBezTo>
                  <a:pt x="2087" y="763"/>
                  <a:pt x="2087" y="763"/>
                  <a:pt x="2087" y="763"/>
                </a:cubicBezTo>
                <a:cubicBezTo>
                  <a:pt x="2089" y="765"/>
                  <a:pt x="2089" y="765"/>
                  <a:pt x="2089" y="765"/>
                </a:cubicBezTo>
                <a:cubicBezTo>
                  <a:pt x="2091" y="763"/>
                  <a:pt x="2091" y="763"/>
                  <a:pt x="2091" y="763"/>
                </a:cubicBezTo>
                <a:cubicBezTo>
                  <a:pt x="2092" y="763"/>
                  <a:pt x="2092" y="763"/>
                  <a:pt x="2092" y="763"/>
                </a:cubicBezTo>
                <a:cubicBezTo>
                  <a:pt x="2095" y="765"/>
                  <a:pt x="2095" y="765"/>
                  <a:pt x="2095" y="765"/>
                </a:cubicBezTo>
                <a:cubicBezTo>
                  <a:pt x="2100" y="765"/>
                  <a:pt x="2100" y="765"/>
                  <a:pt x="2100" y="765"/>
                </a:cubicBezTo>
                <a:cubicBezTo>
                  <a:pt x="2103" y="766"/>
                  <a:pt x="2103" y="766"/>
                  <a:pt x="2103" y="766"/>
                </a:cubicBezTo>
                <a:cubicBezTo>
                  <a:pt x="2108" y="766"/>
                  <a:pt x="2108" y="766"/>
                  <a:pt x="2108" y="766"/>
                </a:cubicBezTo>
                <a:cubicBezTo>
                  <a:pt x="2110" y="767"/>
                  <a:pt x="2110" y="767"/>
                  <a:pt x="2110" y="767"/>
                </a:cubicBezTo>
                <a:cubicBezTo>
                  <a:pt x="2110" y="767"/>
                  <a:pt x="2110" y="767"/>
                  <a:pt x="2110" y="767"/>
                </a:cubicBezTo>
                <a:cubicBezTo>
                  <a:pt x="2112" y="768"/>
                  <a:pt x="2112" y="768"/>
                  <a:pt x="2112" y="768"/>
                </a:cubicBezTo>
                <a:cubicBezTo>
                  <a:pt x="2112" y="768"/>
                  <a:pt x="2112" y="768"/>
                  <a:pt x="2112" y="768"/>
                </a:cubicBezTo>
                <a:cubicBezTo>
                  <a:pt x="2113" y="766"/>
                  <a:pt x="2113" y="766"/>
                  <a:pt x="2113" y="766"/>
                </a:cubicBezTo>
                <a:cubicBezTo>
                  <a:pt x="2114" y="766"/>
                  <a:pt x="2114" y="766"/>
                  <a:pt x="2114" y="766"/>
                </a:cubicBezTo>
                <a:cubicBezTo>
                  <a:pt x="2115" y="767"/>
                  <a:pt x="2115" y="767"/>
                  <a:pt x="2115" y="767"/>
                </a:cubicBezTo>
                <a:cubicBezTo>
                  <a:pt x="2118" y="768"/>
                  <a:pt x="2118" y="768"/>
                  <a:pt x="2118" y="768"/>
                </a:cubicBezTo>
                <a:cubicBezTo>
                  <a:pt x="2121" y="770"/>
                  <a:pt x="2121" y="770"/>
                  <a:pt x="2121" y="770"/>
                </a:cubicBezTo>
                <a:cubicBezTo>
                  <a:pt x="2123" y="769"/>
                  <a:pt x="2123" y="769"/>
                  <a:pt x="2123" y="769"/>
                </a:cubicBezTo>
                <a:cubicBezTo>
                  <a:pt x="2123" y="768"/>
                  <a:pt x="2123" y="768"/>
                  <a:pt x="2123" y="768"/>
                </a:cubicBezTo>
                <a:cubicBezTo>
                  <a:pt x="2125" y="768"/>
                  <a:pt x="2125" y="768"/>
                  <a:pt x="2125" y="768"/>
                </a:cubicBezTo>
                <a:cubicBezTo>
                  <a:pt x="2125" y="769"/>
                  <a:pt x="2125" y="769"/>
                  <a:pt x="2125" y="769"/>
                </a:cubicBezTo>
                <a:cubicBezTo>
                  <a:pt x="2126" y="770"/>
                  <a:pt x="2126" y="770"/>
                  <a:pt x="2126" y="770"/>
                </a:cubicBezTo>
                <a:cubicBezTo>
                  <a:pt x="2129" y="768"/>
                  <a:pt x="2129" y="768"/>
                  <a:pt x="2129" y="768"/>
                </a:cubicBezTo>
                <a:cubicBezTo>
                  <a:pt x="2131" y="768"/>
                  <a:pt x="2131" y="768"/>
                  <a:pt x="2131" y="768"/>
                </a:cubicBezTo>
                <a:cubicBezTo>
                  <a:pt x="2131" y="769"/>
                  <a:pt x="2131" y="769"/>
                  <a:pt x="2131" y="769"/>
                </a:cubicBezTo>
                <a:cubicBezTo>
                  <a:pt x="2132" y="768"/>
                  <a:pt x="2132" y="768"/>
                  <a:pt x="2132" y="768"/>
                </a:cubicBezTo>
                <a:cubicBezTo>
                  <a:pt x="2133" y="767"/>
                  <a:pt x="2133" y="767"/>
                  <a:pt x="2133" y="767"/>
                </a:cubicBezTo>
                <a:cubicBezTo>
                  <a:pt x="2136" y="767"/>
                  <a:pt x="2136" y="767"/>
                  <a:pt x="2136" y="767"/>
                </a:cubicBezTo>
                <a:cubicBezTo>
                  <a:pt x="2137" y="768"/>
                  <a:pt x="2137" y="768"/>
                  <a:pt x="2137" y="768"/>
                </a:cubicBezTo>
                <a:cubicBezTo>
                  <a:pt x="2138" y="767"/>
                  <a:pt x="2138" y="767"/>
                  <a:pt x="2138" y="767"/>
                </a:cubicBezTo>
                <a:cubicBezTo>
                  <a:pt x="2140" y="767"/>
                  <a:pt x="2140" y="767"/>
                  <a:pt x="2140" y="767"/>
                </a:cubicBezTo>
                <a:cubicBezTo>
                  <a:pt x="2141" y="767"/>
                  <a:pt x="2141" y="767"/>
                  <a:pt x="2141" y="767"/>
                </a:cubicBezTo>
                <a:cubicBezTo>
                  <a:pt x="2141" y="766"/>
                  <a:pt x="2141" y="766"/>
                  <a:pt x="2141" y="766"/>
                </a:cubicBezTo>
                <a:cubicBezTo>
                  <a:pt x="2142" y="765"/>
                  <a:pt x="2142" y="765"/>
                  <a:pt x="2142" y="765"/>
                </a:cubicBezTo>
                <a:cubicBezTo>
                  <a:pt x="2144" y="767"/>
                  <a:pt x="2144" y="767"/>
                  <a:pt x="2144" y="767"/>
                </a:cubicBezTo>
                <a:cubicBezTo>
                  <a:pt x="2145" y="767"/>
                  <a:pt x="2145" y="767"/>
                  <a:pt x="2145" y="767"/>
                </a:cubicBezTo>
                <a:cubicBezTo>
                  <a:pt x="2145" y="766"/>
                  <a:pt x="2145" y="766"/>
                  <a:pt x="2145" y="766"/>
                </a:cubicBezTo>
                <a:cubicBezTo>
                  <a:pt x="2146" y="766"/>
                  <a:pt x="2146" y="766"/>
                  <a:pt x="2146" y="766"/>
                </a:cubicBezTo>
                <a:cubicBezTo>
                  <a:pt x="2147" y="767"/>
                  <a:pt x="2147" y="767"/>
                  <a:pt x="2147" y="767"/>
                </a:cubicBezTo>
                <a:cubicBezTo>
                  <a:pt x="2149" y="767"/>
                  <a:pt x="2149" y="767"/>
                  <a:pt x="2149" y="767"/>
                </a:cubicBezTo>
                <a:cubicBezTo>
                  <a:pt x="2150" y="768"/>
                  <a:pt x="2150" y="768"/>
                  <a:pt x="2150" y="768"/>
                </a:cubicBezTo>
                <a:cubicBezTo>
                  <a:pt x="2152" y="768"/>
                  <a:pt x="2152" y="768"/>
                  <a:pt x="2152" y="768"/>
                </a:cubicBezTo>
                <a:cubicBezTo>
                  <a:pt x="2154" y="766"/>
                  <a:pt x="2154" y="766"/>
                  <a:pt x="2154" y="766"/>
                </a:cubicBezTo>
                <a:cubicBezTo>
                  <a:pt x="2157" y="766"/>
                  <a:pt x="2157" y="766"/>
                  <a:pt x="2157" y="766"/>
                </a:cubicBezTo>
                <a:cubicBezTo>
                  <a:pt x="2158" y="766"/>
                  <a:pt x="2158" y="766"/>
                  <a:pt x="2158" y="766"/>
                </a:cubicBezTo>
                <a:cubicBezTo>
                  <a:pt x="2160" y="765"/>
                  <a:pt x="2160" y="765"/>
                  <a:pt x="2160" y="765"/>
                </a:cubicBezTo>
                <a:cubicBezTo>
                  <a:pt x="2161" y="765"/>
                  <a:pt x="2161" y="765"/>
                  <a:pt x="2161" y="765"/>
                </a:cubicBezTo>
                <a:cubicBezTo>
                  <a:pt x="2162" y="765"/>
                  <a:pt x="2162" y="765"/>
                  <a:pt x="2162" y="765"/>
                </a:cubicBezTo>
                <a:cubicBezTo>
                  <a:pt x="2162" y="765"/>
                  <a:pt x="2162" y="765"/>
                  <a:pt x="2162" y="765"/>
                </a:cubicBezTo>
                <a:cubicBezTo>
                  <a:pt x="2165" y="766"/>
                  <a:pt x="2165" y="766"/>
                  <a:pt x="2165" y="766"/>
                </a:cubicBezTo>
                <a:cubicBezTo>
                  <a:pt x="2168" y="765"/>
                  <a:pt x="2168" y="765"/>
                  <a:pt x="2168" y="765"/>
                </a:cubicBezTo>
                <a:cubicBezTo>
                  <a:pt x="2171" y="765"/>
                  <a:pt x="2171" y="765"/>
                  <a:pt x="2171" y="765"/>
                </a:cubicBezTo>
                <a:cubicBezTo>
                  <a:pt x="2173" y="766"/>
                  <a:pt x="2173" y="766"/>
                  <a:pt x="2173" y="766"/>
                </a:cubicBezTo>
                <a:cubicBezTo>
                  <a:pt x="2174" y="769"/>
                  <a:pt x="2174" y="769"/>
                  <a:pt x="2174" y="769"/>
                </a:cubicBezTo>
                <a:cubicBezTo>
                  <a:pt x="2173" y="770"/>
                  <a:pt x="2173" y="770"/>
                  <a:pt x="2173" y="770"/>
                </a:cubicBezTo>
                <a:cubicBezTo>
                  <a:pt x="2174" y="771"/>
                  <a:pt x="2174" y="771"/>
                  <a:pt x="2174" y="771"/>
                </a:cubicBezTo>
                <a:cubicBezTo>
                  <a:pt x="2173" y="771"/>
                  <a:pt x="2173" y="771"/>
                  <a:pt x="2173" y="771"/>
                </a:cubicBezTo>
                <a:cubicBezTo>
                  <a:pt x="2173" y="771"/>
                  <a:pt x="2173" y="771"/>
                  <a:pt x="2173" y="771"/>
                </a:cubicBezTo>
                <a:cubicBezTo>
                  <a:pt x="2175" y="771"/>
                  <a:pt x="2175" y="771"/>
                  <a:pt x="2175" y="771"/>
                </a:cubicBezTo>
                <a:cubicBezTo>
                  <a:pt x="2178" y="770"/>
                  <a:pt x="2178" y="770"/>
                  <a:pt x="2178" y="770"/>
                </a:cubicBezTo>
                <a:cubicBezTo>
                  <a:pt x="2178" y="772"/>
                  <a:pt x="2178" y="772"/>
                  <a:pt x="2178" y="772"/>
                </a:cubicBezTo>
                <a:cubicBezTo>
                  <a:pt x="2180" y="775"/>
                  <a:pt x="2180" y="775"/>
                  <a:pt x="2180" y="775"/>
                </a:cubicBezTo>
                <a:cubicBezTo>
                  <a:pt x="2181" y="778"/>
                  <a:pt x="2181" y="778"/>
                  <a:pt x="2181" y="778"/>
                </a:cubicBezTo>
                <a:cubicBezTo>
                  <a:pt x="2181" y="779"/>
                  <a:pt x="2181" y="779"/>
                  <a:pt x="2181" y="779"/>
                </a:cubicBezTo>
                <a:cubicBezTo>
                  <a:pt x="2181" y="780"/>
                  <a:pt x="2181" y="780"/>
                  <a:pt x="2181" y="780"/>
                </a:cubicBezTo>
                <a:cubicBezTo>
                  <a:pt x="2180" y="781"/>
                  <a:pt x="2180" y="781"/>
                  <a:pt x="2180" y="781"/>
                </a:cubicBezTo>
                <a:cubicBezTo>
                  <a:pt x="2181" y="781"/>
                  <a:pt x="2181" y="781"/>
                  <a:pt x="2181" y="781"/>
                </a:cubicBezTo>
                <a:cubicBezTo>
                  <a:pt x="2182" y="781"/>
                  <a:pt x="2182" y="781"/>
                  <a:pt x="2182" y="781"/>
                </a:cubicBezTo>
                <a:cubicBezTo>
                  <a:pt x="2182" y="783"/>
                  <a:pt x="2182" y="783"/>
                  <a:pt x="2182" y="783"/>
                </a:cubicBezTo>
                <a:cubicBezTo>
                  <a:pt x="2184" y="783"/>
                  <a:pt x="2184" y="783"/>
                  <a:pt x="2184" y="783"/>
                </a:cubicBezTo>
                <a:cubicBezTo>
                  <a:pt x="2187" y="783"/>
                  <a:pt x="2187" y="783"/>
                  <a:pt x="2187" y="783"/>
                </a:cubicBezTo>
                <a:cubicBezTo>
                  <a:pt x="2191" y="785"/>
                  <a:pt x="2191" y="785"/>
                  <a:pt x="2191" y="785"/>
                </a:cubicBezTo>
                <a:cubicBezTo>
                  <a:pt x="2190" y="786"/>
                  <a:pt x="2190" y="786"/>
                  <a:pt x="2190" y="786"/>
                </a:cubicBezTo>
                <a:cubicBezTo>
                  <a:pt x="2192" y="785"/>
                  <a:pt x="2192" y="785"/>
                  <a:pt x="2192" y="785"/>
                </a:cubicBezTo>
                <a:cubicBezTo>
                  <a:pt x="2195" y="783"/>
                  <a:pt x="2195" y="783"/>
                  <a:pt x="2195" y="783"/>
                </a:cubicBezTo>
                <a:cubicBezTo>
                  <a:pt x="2198" y="782"/>
                  <a:pt x="2198" y="782"/>
                  <a:pt x="2198" y="782"/>
                </a:cubicBezTo>
                <a:cubicBezTo>
                  <a:pt x="2196" y="784"/>
                  <a:pt x="2196" y="784"/>
                  <a:pt x="2196" y="784"/>
                </a:cubicBezTo>
                <a:cubicBezTo>
                  <a:pt x="2194" y="786"/>
                  <a:pt x="2194" y="786"/>
                  <a:pt x="2194" y="786"/>
                </a:cubicBezTo>
                <a:cubicBezTo>
                  <a:pt x="2193" y="788"/>
                  <a:pt x="2193" y="788"/>
                  <a:pt x="2193" y="788"/>
                </a:cubicBezTo>
                <a:cubicBezTo>
                  <a:pt x="2195" y="789"/>
                  <a:pt x="2195" y="789"/>
                  <a:pt x="2195" y="789"/>
                </a:cubicBezTo>
                <a:cubicBezTo>
                  <a:pt x="2198" y="792"/>
                  <a:pt x="2198" y="792"/>
                  <a:pt x="2198" y="792"/>
                </a:cubicBezTo>
                <a:cubicBezTo>
                  <a:pt x="2204" y="795"/>
                  <a:pt x="2204" y="795"/>
                  <a:pt x="2204" y="795"/>
                </a:cubicBezTo>
                <a:cubicBezTo>
                  <a:pt x="2206" y="794"/>
                  <a:pt x="2206" y="794"/>
                  <a:pt x="2206" y="794"/>
                </a:cubicBezTo>
                <a:cubicBezTo>
                  <a:pt x="2209" y="794"/>
                  <a:pt x="2209" y="794"/>
                  <a:pt x="2209" y="794"/>
                </a:cubicBezTo>
                <a:cubicBezTo>
                  <a:pt x="2213" y="792"/>
                  <a:pt x="2213" y="792"/>
                  <a:pt x="2213" y="792"/>
                </a:cubicBezTo>
                <a:cubicBezTo>
                  <a:pt x="2213" y="791"/>
                  <a:pt x="2213" y="791"/>
                  <a:pt x="2213" y="791"/>
                </a:cubicBezTo>
                <a:cubicBezTo>
                  <a:pt x="2213" y="791"/>
                  <a:pt x="2213" y="791"/>
                  <a:pt x="2213" y="791"/>
                </a:cubicBezTo>
                <a:cubicBezTo>
                  <a:pt x="2213" y="791"/>
                  <a:pt x="2213" y="791"/>
                  <a:pt x="2213" y="791"/>
                </a:cubicBezTo>
                <a:cubicBezTo>
                  <a:pt x="2216" y="791"/>
                  <a:pt x="2216" y="791"/>
                  <a:pt x="2216" y="791"/>
                </a:cubicBezTo>
                <a:cubicBezTo>
                  <a:pt x="2215" y="793"/>
                  <a:pt x="2215" y="793"/>
                  <a:pt x="2215" y="793"/>
                </a:cubicBezTo>
                <a:cubicBezTo>
                  <a:pt x="2214" y="793"/>
                  <a:pt x="2214" y="793"/>
                  <a:pt x="2214" y="793"/>
                </a:cubicBezTo>
                <a:cubicBezTo>
                  <a:pt x="2212" y="796"/>
                  <a:pt x="2212" y="796"/>
                  <a:pt x="2212" y="796"/>
                </a:cubicBezTo>
                <a:cubicBezTo>
                  <a:pt x="2211" y="796"/>
                  <a:pt x="2211" y="796"/>
                  <a:pt x="2211" y="796"/>
                </a:cubicBezTo>
                <a:cubicBezTo>
                  <a:pt x="2207" y="799"/>
                  <a:pt x="2207" y="799"/>
                  <a:pt x="2207" y="799"/>
                </a:cubicBezTo>
                <a:cubicBezTo>
                  <a:pt x="2207" y="800"/>
                  <a:pt x="2207" y="800"/>
                  <a:pt x="2207" y="800"/>
                </a:cubicBezTo>
                <a:cubicBezTo>
                  <a:pt x="2205" y="799"/>
                  <a:pt x="2205" y="799"/>
                  <a:pt x="2205" y="799"/>
                </a:cubicBezTo>
                <a:cubicBezTo>
                  <a:pt x="2205" y="799"/>
                  <a:pt x="2205" y="799"/>
                  <a:pt x="2205" y="799"/>
                </a:cubicBezTo>
                <a:cubicBezTo>
                  <a:pt x="2204" y="800"/>
                  <a:pt x="2204" y="800"/>
                  <a:pt x="2204" y="800"/>
                </a:cubicBezTo>
                <a:cubicBezTo>
                  <a:pt x="2202" y="800"/>
                  <a:pt x="2202" y="800"/>
                  <a:pt x="2202" y="800"/>
                </a:cubicBezTo>
                <a:cubicBezTo>
                  <a:pt x="2202" y="798"/>
                  <a:pt x="2202" y="798"/>
                  <a:pt x="2202" y="798"/>
                </a:cubicBezTo>
                <a:cubicBezTo>
                  <a:pt x="2201" y="798"/>
                  <a:pt x="2201" y="798"/>
                  <a:pt x="2201" y="798"/>
                </a:cubicBezTo>
                <a:cubicBezTo>
                  <a:pt x="2200" y="798"/>
                  <a:pt x="2200" y="798"/>
                  <a:pt x="2200" y="798"/>
                </a:cubicBezTo>
                <a:cubicBezTo>
                  <a:pt x="2199" y="798"/>
                  <a:pt x="2199" y="798"/>
                  <a:pt x="2199" y="798"/>
                </a:cubicBezTo>
                <a:cubicBezTo>
                  <a:pt x="2199" y="799"/>
                  <a:pt x="2199" y="799"/>
                  <a:pt x="2199" y="799"/>
                </a:cubicBezTo>
                <a:cubicBezTo>
                  <a:pt x="2199" y="800"/>
                  <a:pt x="2199" y="800"/>
                  <a:pt x="2199" y="800"/>
                </a:cubicBezTo>
                <a:cubicBezTo>
                  <a:pt x="2204" y="805"/>
                  <a:pt x="2204" y="805"/>
                  <a:pt x="2204" y="805"/>
                </a:cubicBezTo>
                <a:cubicBezTo>
                  <a:pt x="2205" y="805"/>
                  <a:pt x="2205" y="805"/>
                  <a:pt x="2205" y="805"/>
                </a:cubicBezTo>
                <a:cubicBezTo>
                  <a:pt x="2206" y="805"/>
                  <a:pt x="2206" y="805"/>
                  <a:pt x="2206" y="805"/>
                </a:cubicBezTo>
                <a:cubicBezTo>
                  <a:pt x="2206" y="806"/>
                  <a:pt x="2206" y="806"/>
                  <a:pt x="2206" y="806"/>
                </a:cubicBezTo>
                <a:cubicBezTo>
                  <a:pt x="2209" y="810"/>
                  <a:pt x="2209" y="810"/>
                  <a:pt x="2209" y="810"/>
                </a:cubicBezTo>
                <a:cubicBezTo>
                  <a:pt x="2217" y="817"/>
                  <a:pt x="2217" y="817"/>
                  <a:pt x="2217" y="817"/>
                </a:cubicBezTo>
                <a:cubicBezTo>
                  <a:pt x="2221" y="817"/>
                  <a:pt x="2221" y="817"/>
                  <a:pt x="2221" y="817"/>
                </a:cubicBezTo>
                <a:cubicBezTo>
                  <a:pt x="2223" y="817"/>
                  <a:pt x="2223" y="817"/>
                  <a:pt x="2223" y="817"/>
                </a:cubicBezTo>
                <a:cubicBezTo>
                  <a:pt x="2228" y="813"/>
                  <a:pt x="2228" y="813"/>
                  <a:pt x="2228" y="813"/>
                </a:cubicBezTo>
                <a:cubicBezTo>
                  <a:pt x="2232" y="812"/>
                  <a:pt x="2232" y="812"/>
                  <a:pt x="2232" y="812"/>
                </a:cubicBezTo>
                <a:cubicBezTo>
                  <a:pt x="2232" y="810"/>
                  <a:pt x="2232" y="810"/>
                  <a:pt x="2232" y="810"/>
                </a:cubicBezTo>
                <a:cubicBezTo>
                  <a:pt x="2233" y="809"/>
                  <a:pt x="2233" y="809"/>
                  <a:pt x="2233" y="809"/>
                </a:cubicBezTo>
                <a:cubicBezTo>
                  <a:pt x="2234" y="805"/>
                  <a:pt x="2234" y="805"/>
                  <a:pt x="2234" y="805"/>
                </a:cubicBezTo>
                <a:cubicBezTo>
                  <a:pt x="2232" y="803"/>
                  <a:pt x="2232" y="803"/>
                  <a:pt x="2232" y="803"/>
                </a:cubicBezTo>
                <a:cubicBezTo>
                  <a:pt x="2234" y="799"/>
                  <a:pt x="2234" y="799"/>
                  <a:pt x="2234" y="799"/>
                </a:cubicBezTo>
                <a:cubicBezTo>
                  <a:pt x="2234" y="797"/>
                  <a:pt x="2234" y="797"/>
                  <a:pt x="2234" y="797"/>
                </a:cubicBezTo>
                <a:cubicBezTo>
                  <a:pt x="2234" y="796"/>
                  <a:pt x="2234" y="796"/>
                  <a:pt x="2234" y="796"/>
                </a:cubicBezTo>
                <a:cubicBezTo>
                  <a:pt x="2235" y="798"/>
                  <a:pt x="2235" y="798"/>
                  <a:pt x="2235" y="798"/>
                </a:cubicBezTo>
                <a:cubicBezTo>
                  <a:pt x="2237" y="798"/>
                  <a:pt x="2237" y="798"/>
                  <a:pt x="2237" y="798"/>
                </a:cubicBezTo>
                <a:cubicBezTo>
                  <a:pt x="2238" y="798"/>
                  <a:pt x="2238" y="798"/>
                  <a:pt x="2238" y="798"/>
                </a:cubicBezTo>
                <a:cubicBezTo>
                  <a:pt x="2240" y="797"/>
                  <a:pt x="2240" y="797"/>
                  <a:pt x="2240" y="797"/>
                </a:cubicBezTo>
                <a:cubicBezTo>
                  <a:pt x="2239" y="798"/>
                  <a:pt x="2239" y="798"/>
                  <a:pt x="2239" y="798"/>
                </a:cubicBezTo>
                <a:cubicBezTo>
                  <a:pt x="2238" y="800"/>
                  <a:pt x="2238" y="800"/>
                  <a:pt x="2238" y="800"/>
                </a:cubicBezTo>
                <a:cubicBezTo>
                  <a:pt x="2236" y="800"/>
                  <a:pt x="2236" y="800"/>
                  <a:pt x="2236" y="800"/>
                </a:cubicBezTo>
                <a:cubicBezTo>
                  <a:pt x="2236" y="800"/>
                  <a:pt x="2236" y="800"/>
                  <a:pt x="2236" y="800"/>
                </a:cubicBezTo>
                <a:cubicBezTo>
                  <a:pt x="2236" y="802"/>
                  <a:pt x="2236" y="802"/>
                  <a:pt x="2236" y="802"/>
                </a:cubicBezTo>
                <a:cubicBezTo>
                  <a:pt x="2237" y="804"/>
                  <a:pt x="2237" y="804"/>
                  <a:pt x="2237" y="804"/>
                </a:cubicBezTo>
                <a:cubicBezTo>
                  <a:pt x="2236" y="806"/>
                  <a:pt x="2236" y="806"/>
                  <a:pt x="2236" y="806"/>
                </a:cubicBezTo>
                <a:cubicBezTo>
                  <a:pt x="2238" y="806"/>
                  <a:pt x="2238" y="806"/>
                  <a:pt x="2238" y="806"/>
                </a:cubicBezTo>
                <a:cubicBezTo>
                  <a:pt x="2240" y="805"/>
                  <a:pt x="2240" y="805"/>
                  <a:pt x="2240" y="805"/>
                </a:cubicBezTo>
                <a:cubicBezTo>
                  <a:pt x="2242" y="806"/>
                  <a:pt x="2242" y="806"/>
                  <a:pt x="2242" y="806"/>
                </a:cubicBezTo>
                <a:cubicBezTo>
                  <a:pt x="2240" y="806"/>
                  <a:pt x="2240" y="806"/>
                  <a:pt x="2240" y="806"/>
                </a:cubicBezTo>
                <a:cubicBezTo>
                  <a:pt x="2239" y="807"/>
                  <a:pt x="2239" y="807"/>
                  <a:pt x="2239" y="807"/>
                </a:cubicBezTo>
                <a:cubicBezTo>
                  <a:pt x="2237" y="808"/>
                  <a:pt x="2237" y="808"/>
                  <a:pt x="2237" y="808"/>
                </a:cubicBezTo>
                <a:cubicBezTo>
                  <a:pt x="2238" y="813"/>
                  <a:pt x="2238" y="813"/>
                  <a:pt x="2238" y="813"/>
                </a:cubicBezTo>
                <a:cubicBezTo>
                  <a:pt x="2239" y="814"/>
                  <a:pt x="2239" y="814"/>
                  <a:pt x="2239" y="814"/>
                </a:cubicBezTo>
                <a:cubicBezTo>
                  <a:pt x="2240" y="817"/>
                  <a:pt x="2240" y="817"/>
                  <a:pt x="2240" y="817"/>
                </a:cubicBezTo>
                <a:cubicBezTo>
                  <a:pt x="2240" y="820"/>
                  <a:pt x="2240" y="820"/>
                  <a:pt x="2240" y="820"/>
                </a:cubicBezTo>
                <a:cubicBezTo>
                  <a:pt x="2239" y="822"/>
                  <a:pt x="2239" y="822"/>
                  <a:pt x="2239" y="822"/>
                </a:cubicBezTo>
                <a:cubicBezTo>
                  <a:pt x="2239" y="824"/>
                  <a:pt x="2239" y="824"/>
                  <a:pt x="2239" y="824"/>
                </a:cubicBezTo>
                <a:cubicBezTo>
                  <a:pt x="2241" y="825"/>
                  <a:pt x="2241" y="825"/>
                  <a:pt x="2241" y="825"/>
                </a:cubicBezTo>
                <a:cubicBezTo>
                  <a:pt x="2239" y="826"/>
                  <a:pt x="2239" y="826"/>
                  <a:pt x="2239" y="826"/>
                </a:cubicBezTo>
                <a:cubicBezTo>
                  <a:pt x="2240" y="829"/>
                  <a:pt x="2240" y="829"/>
                  <a:pt x="2240" y="829"/>
                </a:cubicBezTo>
                <a:cubicBezTo>
                  <a:pt x="2243" y="834"/>
                  <a:pt x="2243" y="834"/>
                  <a:pt x="2243" y="834"/>
                </a:cubicBezTo>
                <a:cubicBezTo>
                  <a:pt x="2243" y="836"/>
                  <a:pt x="2243" y="836"/>
                  <a:pt x="2243" y="836"/>
                </a:cubicBezTo>
                <a:cubicBezTo>
                  <a:pt x="2244" y="838"/>
                  <a:pt x="2244" y="838"/>
                  <a:pt x="2244" y="838"/>
                </a:cubicBezTo>
                <a:cubicBezTo>
                  <a:pt x="2242" y="838"/>
                  <a:pt x="2242" y="838"/>
                  <a:pt x="2242" y="838"/>
                </a:cubicBezTo>
                <a:cubicBezTo>
                  <a:pt x="2242" y="840"/>
                  <a:pt x="2242" y="840"/>
                  <a:pt x="2242" y="840"/>
                </a:cubicBezTo>
                <a:cubicBezTo>
                  <a:pt x="2245" y="844"/>
                  <a:pt x="2245" y="844"/>
                  <a:pt x="2245" y="844"/>
                </a:cubicBezTo>
                <a:cubicBezTo>
                  <a:pt x="2243" y="844"/>
                  <a:pt x="2243" y="844"/>
                  <a:pt x="2243" y="844"/>
                </a:cubicBezTo>
                <a:cubicBezTo>
                  <a:pt x="2245" y="847"/>
                  <a:pt x="2245" y="847"/>
                  <a:pt x="2245" y="847"/>
                </a:cubicBezTo>
                <a:cubicBezTo>
                  <a:pt x="2245" y="850"/>
                  <a:pt x="2245" y="850"/>
                  <a:pt x="2245" y="850"/>
                </a:cubicBezTo>
                <a:cubicBezTo>
                  <a:pt x="2249" y="858"/>
                  <a:pt x="2249" y="858"/>
                  <a:pt x="2249" y="858"/>
                </a:cubicBezTo>
                <a:cubicBezTo>
                  <a:pt x="2249" y="864"/>
                  <a:pt x="2249" y="864"/>
                  <a:pt x="2249" y="864"/>
                </a:cubicBezTo>
                <a:cubicBezTo>
                  <a:pt x="2251" y="868"/>
                  <a:pt x="2251" y="868"/>
                  <a:pt x="2251" y="868"/>
                </a:cubicBezTo>
                <a:cubicBezTo>
                  <a:pt x="2253" y="869"/>
                  <a:pt x="2253" y="869"/>
                  <a:pt x="2253" y="869"/>
                </a:cubicBezTo>
                <a:cubicBezTo>
                  <a:pt x="2253" y="872"/>
                  <a:pt x="2253" y="872"/>
                  <a:pt x="2253" y="872"/>
                </a:cubicBezTo>
                <a:cubicBezTo>
                  <a:pt x="2255" y="873"/>
                  <a:pt x="2255" y="873"/>
                  <a:pt x="2255" y="873"/>
                </a:cubicBezTo>
                <a:cubicBezTo>
                  <a:pt x="2255" y="874"/>
                  <a:pt x="2255" y="874"/>
                  <a:pt x="2255" y="874"/>
                </a:cubicBezTo>
                <a:cubicBezTo>
                  <a:pt x="2257" y="879"/>
                  <a:pt x="2257" y="879"/>
                  <a:pt x="2257" y="879"/>
                </a:cubicBezTo>
                <a:cubicBezTo>
                  <a:pt x="2258" y="879"/>
                  <a:pt x="2258" y="879"/>
                  <a:pt x="2258" y="879"/>
                </a:cubicBezTo>
                <a:cubicBezTo>
                  <a:pt x="2258" y="880"/>
                  <a:pt x="2258" y="880"/>
                  <a:pt x="2258" y="880"/>
                </a:cubicBezTo>
                <a:cubicBezTo>
                  <a:pt x="2261" y="883"/>
                  <a:pt x="2261" y="883"/>
                  <a:pt x="2261" y="883"/>
                </a:cubicBezTo>
                <a:cubicBezTo>
                  <a:pt x="2261" y="883"/>
                  <a:pt x="2261" y="883"/>
                  <a:pt x="2261" y="883"/>
                </a:cubicBezTo>
                <a:cubicBezTo>
                  <a:pt x="2261" y="887"/>
                  <a:pt x="2261" y="887"/>
                  <a:pt x="2261" y="887"/>
                </a:cubicBezTo>
                <a:cubicBezTo>
                  <a:pt x="2262" y="888"/>
                  <a:pt x="2262" y="888"/>
                  <a:pt x="2262" y="888"/>
                </a:cubicBezTo>
                <a:cubicBezTo>
                  <a:pt x="2264" y="891"/>
                  <a:pt x="2264" y="891"/>
                  <a:pt x="2264" y="891"/>
                </a:cubicBezTo>
                <a:cubicBezTo>
                  <a:pt x="2264" y="894"/>
                  <a:pt x="2264" y="894"/>
                  <a:pt x="2264" y="894"/>
                </a:cubicBezTo>
                <a:cubicBezTo>
                  <a:pt x="2266" y="898"/>
                  <a:pt x="2266" y="898"/>
                  <a:pt x="2266" y="898"/>
                </a:cubicBezTo>
                <a:cubicBezTo>
                  <a:pt x="2267" y="900"/>
                  <a:pt x="2267" y="900"/>
                  <a:pt x="2267" y="900"/>
                </a:cubicBezTo>
                <a:cubicBezTo>
                  <a:pt x="2267" y="904"/>
                  <a:pt x="2267" y="904"/>
                  <a:pt x="2267" y="904"/>
                </a:cubicBezTo>
                <a:cubicBezTo>
                  <a:pt x="2268" y="905"/>
                  <a:pt x="2268" y="905"/>
                  <a:pt x="2268" y="905"/>
                </a:cubicBezTo>
                <a:cubicBezTo>
                  <a:pt x="2269" y="908"/>
                  <a:pt x="2269" y="908"/>
                  <a:pt x="2269" y="908"/>
                </a:cubicBezTo>
                <a:cubicBezTo>
                  <a:pt x="2272" y="911"/>
                  <a:pt x="2272" y="911"/>
                  <a:pt x="2272" y="911"/>
                </a:cubicBezTo>
                <a:cubicBezTo>
                  <a:pt x="2273" y="911"/>
                  <a:pt x="2273" y="911"/>
                  <a:pt x="2273" y="911"/>
                </a:cubicBezTo>
                <a:cubicBezTo>
                  <a:pt x="2275" y="914"/>
                  <a:pt x="2275" y="914"/>
                  <a:pt x="2275" y="914"/>
                </a:cubicBezTo>
                <a:cubicBezTo>
                  <a:pt x="2278" y="917"/>
                  <a:pt x="2278" y="917"/>
                  <a:pt x="2278" y="917"/>
                </a:cubicBezTo>
                <a:cubicBezTo>
                  <a:pt x="2279" y="920"/>
                  <a:pt x="2279" y="920"/>
                  <a:pt x="2279" y="920"/>
                </a:cubicBezTo>
                <a:cubicBezTo>
                  <a:pt x="2280" y="923"/>
                  <a:pt x="2280" y="923"/>
                  <a:pt x="2280" y="923"/>
                </a:cubicBezTo>
                <a:cubicBezTo>
                  <a:pt x="2280" y="923"/>
                  <a:pt x="2280" y="923"/>
                  <a:pt x="2280" y="923"/>
                </a:cubicBezTo>
                <a:cubicBezTo>
                  <a:pt x="2280" y="925"/>
                  <a:pt x="2280" y="925"/>
                  <a:pt x="2280" y="925"/>
                </a:cubicBezTo>
                <a:cubicBezTo>
                  <a:pt x="2283" y="929"/>
                  <a:pt x="2283" y="929"/>
                  <a:pt x="2283" y="929"/>
                </a:cubicBezTo>
                <a:cubicBezTo>
                  <a:pt x="2284" y="933"/>
                  <a:pt x="2284" y="933"/>
                  <a:pt x="2284" y="933"/>
                </a:cubicBezTo>
                <a:cubicBezTo>
                  <a:pt x="2284" y="937"/>
                  <a:pt x="2284" y="937"/>
                  <a:pt x="2284" y="937"/>
                </a:cubicBezTo>
                <a:cubicBezTo>
                  <a:pt x="2288" y="945"/>
                  <a:pt x="2288" y="945"/>
                  <a:pt x="2288" y="945"/>
                </a:cubicBezTo>
                <a:cubicBezTo>
                  <a:pt x="2291" y="948"/>
                  <a:pt x="2291" y="948"/>
                  <a:pt x="2291" y="948"/>
                </a:cubicBezTo>
                <a:cubicBezTo>
                  <a:pt x="2294" y="951"/>
                  <a:pt x="2294" y="951"/>
                  <a:pt x="2294" y="951"/>
                </a:cubicBezTo>
                <a:cubicBezTo>
                  <a:pt x="2297" y="951"/>
                  <a:pt x="2297" y="951"/>
                  <a:pt x="2297" y="951"/>
                </a:cubicBezTo>
                <a:cubicBezTo>
                  <a:pt x="2301" y="948"/>
                  <a:pt x="2301" y="948"/>
                  <a:pt x="2301" y="948"/>
                </a:cubicBezTo>
                <a:cubicBezTo>
                  <a:pt x="2302" y="946"/>
                  <a:pt x="2302" y="946"/>
                  <a:pt x="2302" y="946"/>
                </a:cubicBezTo>
                <a:cubicBezTo>
                  <a:pt x="2301" y="945"/>
                  <a:pt x="2301" y="945"/>
                  <a:pt x="2301" y="945"/>
                </a:cubicBezTo>
                <a:cubicBezTo>
                  <a:pt x="2302" y="945"/>
                  <a:pt x="2302" y="945"/>
                  <a:pt x="2302" y="945"/>
                </a:cubicBezTo>
                <a:cubicBezTo>
                  <a:pt x="2302" y="944"/>
                  <a:pt x="2302" y="944"/>
                  <a:pt x="2302" y="944"/>
                </a:cubicBezTo>
                <a:cubicBezTo>
                  <a:pt x="2303" y="942"/>
                  <a:pt x="2303" y="942"/>
                  <a:pt x="2303" y="942"/>
                </a:cubicBezTo>
                <a:cubicBezTo>
                  <a:pt x="2307" y="940"/>
                  <a:pt x="2307" y="940"/>
                  <a:pt x="2307" y="940"/>
                </a:cubicBezTo>
                <a:cubicBezTo>
                  <a:pt x="2307" y="940"/>
                  <a:pt x="2307" y="940"/>
                  <a:pt x="2307" y="940"/>
                </a:cubicBezTo>
                <a:cubicBezTo>
                  <a:pt x="2312" y="939"/>
                  <a:pt x="2312" y="939"/>
                  <a:pt x="2312" y="939"/>
                </a:cubicBezTo>
                <a:cubicBezTo>
                  <a:pt x="2313" y="939"/>
                  <a:pt x="2313" y="939"/>
                  <a:pt x="2313" y="939"/>
                </a:cubicBezTo>
                <a:cubicBezTo>
                  <a:pt x="2314" y="940"/>
                  <a:pt x="2314" y="940"/>
                  <a:pt x="2314" y="940"/>
                </a:cubicBezTo>
                <a:cubicBezTo>
                  <a:pt x="2314" y="939"/>
                  <a:pt x="2314" y="939"/>
                  <a:pt x="2314" y="939"/>
                </a:cubicBezTo>
                <a:cubicBezTo>
                  <a:pt x="2313" y="939"/>
                  <a:pt x="2313" y="939"/>
                  <a:pt x="2313" y="939"/>
                </a:cubicBezTo>
                <a:cubicBezTo>
                  <a:pt x="2310" y="937"/>
                  <a:pt x="2310" y="937"/>
                  <a:pt x="2310" y="937"/>
                </a:cubicBezTo>
                <a:cubicBezTo>
                  <a:pt x="2310" y="936"/>
                  <a:pt x="2310" y="936"/>
                  <a:pt x="2310" y="936"/>
                </a:cubicBezTo>
                <a:cubicBezTo>
                  <a:pt x="2311" y="935"/>
                  <a:pt x="2311" y="935"/>
                  <a:pt x="2311" y="935"/>
                </a:cubicBezTo>
                <a:cubicBezTo>
                  <a:pt x="2313" y="931"/>
                  <a:pt x="2313" y="931"/>
                  <a:pt x="2313" y="931"/>
                </a:cubicBezTo>
                <a:cubicBezTo>
                  <a:pt x="2313" y="931"/>
                  <a:pt x="2313" y="931"/>
                  <a:pt x="2313" y="931"/>
                </a:cubicBezTo>
                <a:cubicBezTo>
                  <a:pt x="2314" y="928"/>
                  <a:pt x="2314" y="928"/>
                  <a:pt x="2314" y="928"/>
                </a:cubicBezTo>
                <a:cubicBezTo>
                  <a:pt x="2316" y="928"/>
                  <a:pt x="2316" y="928"/>
                  <a:pt x="2316" y="928"/>
                </a:cubicBezTo>
                <a:cubicBezTo>
                  <a:pt x="2318" y="929"/>
                  <a:pt x="2318" y="929"/>
                  <a:pt x="2318" y="929"/>
                </a:cubicBezTo>
                <a:cubicBezTo>
                  <a:pt x="2319" y="928"/>
                  <a:pt x="2319" y="928"/>
                  <a:pt x="2319" y="928"/>
                </a:cubicBezTo>
                <a:cubicBezTo>
                  <a:pt x="2319" y="926"/>
                  <a:pt x="2319" y="926"/>
                  <a:pt x="2319" y="926"/>
                </a:cubicBezTo>
                <a:cubicBezTo>
                  <a:pt x="2319" y="917"/>
                  <a:pt x="2319" y="917"/>
                  <a:pt x="2319" y="917"/>
                </a:cubicBezTo>
                <a:cubicBezTo>
                  <a:pt x="2318" y="916"/>
                  <a:pt x="2318" y="916"/>
                  <a:pt x="2318" y="916"/>
                </a:cubicBezTo>
                <a:cubicBezTo>
                  <a:pt x="2318" y="912"/>
                  <a:pt x="2318" y="912"/>
                  <a:pt x="2318" y="912"/>
                </a:cubicBezTo>
                <a:cubicBezTo>
                  <a:pt x="2320" y="907"/>
                  <a:pt x="2320" y="907"/>
                  <a:pt x="2320" y="907"/>
                </a:cubicBezTo>
                <a:cubicBezTo>
                  <a:pt x="2323" y="900"/>
                  <a:pt x="2323" y="900"/>
                  <a:pt x="2323" y="900"/>
                </a:cubicBezTo>
                <a:cubicBezTo>
                  <a:pt x="2322" y="895"/>
                  <a:pt x="2322" y="895"/>
                  <a:pt x="2322" y="895"/>
                </a:cubicBezTo>
                <a:cubicBezTo>
                  <a:pt x="2320" y="895"/>
                  <a:pt x="2320" y="895"/>
                  <a:pt x="2320" y="895"/>
                </a:cubicBezTo>
                <a:cubicBezTo>
                  <a:pt x="2320" y="887"/>
                  <a:pt x="2320" y="887"/>
                  <a:pt x="2320" y="887"/>
                </a:cubicBezTo>
                <a:cubicBezTo>
                  <a:pt x="2319" y="884"/>
                  <a:pt x="2319" y="884"/>
                  <a:pt x="2319" y="884"/>
                </a:cubicBezTo>
                <a:cubicBezTo>
                  <a:pt x="2321" y="882"/>
                  <a:pt x="2321" y="882"/>
                  <a:pt x="2321" y="882"/>
                </a:cubicBezTo>
                <a:cubicBezTo>
                  <a:pt x="2319" y="877"/>
                  <a:pt x="2319" y="877"/>
                  <a:pt x="2319" y="877"/>
                </a:cubicBezTo>
                <a:cubicBezTo>
                  <a:pt x="2319" y="874"/>
                  <a:pt x="2319" y="874"/>
                  <a:pt x="2319" y="874"/>
                </a:cubicBezTo>
                <a:cubicBezTo>
                  <a:pt x="2320" y="872"/>
                  <a:pt x="2320" y="872"/>
                  <a:pt x="2320" y="872"/>
                </a:cubicBezTo>
                <a:cubicBezTo>
                  <a:pt x="2324" y="868"/>
                  <a:pt x="2324" y="868"/>
                  <a:pt x="2324" y="868"/>
                </a:cubicBezTo>
                <a:cubicBezTo>
                  <a:pt x="2324" y="868"/>
                  <a:pt x="2324" y="868"/>
                  <a:pt x="2324" y="868"/>
                </a:cubicBezTo>
                <a:cubicBezTo>
                  <a:pt x="2325" y="870"/>
                  <a:pt x="2325" y="870"/>
                  <a:pt x="2325" y="870"/>
                </a:cubicBezTo>
                <a:cubicBezTo>
                  <a:pt x="2327" y="870"/>
                  <a:pt x="2327" y="870"/>
                  <a:pt x="2327" y="870"/>
                </a:cubicBezTo>
                <a:cubicBezTo>
                  <a:pt x="2330" y="867"/>
                  <a:pt x="2330" y="867"/>
                  <a:pt x="2330" y="867"/>
                </a:cubicBezTo>
                <a:cubicBezTo>
                  <a:pt x="2330" y="864"/>
                  <a:pt x="2330" y="864"/>
                  <a:pt x="2330" y="864"/>
                </a:cubicBezTo>
                <a:cubicBezTo>
                  <a:pt x="2332" y="863"/>
                  <a:pt x="2332" y="863"/>
                  <a:pt x="2332" y="863"/>
                </a:cubicBezTo>
                <a:cubicBezTo>
                  <a:pt x="2336" y="863"/>
                  <a:pt x="2336" y="863"/>
                  <a:pt x="2336" y="863"/>
                </a:cubicBezTo>
                <a:cubicBezTo>
                  <a:pt x="2339" y="862"/>
                  <a:pt x="2339" y="862"/>
                  <a:pt x="2339" y="862"/>
                </a:cubicBezTo>
                <a:cubicBezTo>
                  <a:pt x="2340" y="859"/>
                  <a:pt x="2340" y="859"/>
                  <a:pt x="2340" y="859"/>
                </a:cubicBezTo>
                <a:cubicBezTo>
                  <a:pt x="2340" y="857"/>
                  <a:pt x="2340" y="857"/>
                  <a:pt x="2340" y="857"/>
                </a:cubicBezTo>
                <a:cubicBezTo>
                  <a:pt x="2340" y="855"/>
                  <a:pt x="2340" y="855"/>
                  <a:pt x="2340" y="855"/>
                </a:cubicBezTo>
                <a:cubicBezTo>
                  <a:pt x="2343" y="853"/>
                  <a:pt x="2343" y="853"/>
                  <a:pt x="2343" y="853"/>
                </a:cubicBezTo>
                <a:cubicBezTo>
                  <a:pt x="2347" y="851"/>
                  <a:pt x="2347" y="851"/>
                  <a:pt x="2347" y="851"/>
                </a:cubicBezTo>
                <a:cubicBezTo>
                  <a:pt x="2349" y="849"/>
                  <a:pt x="2349" y="849"/>
                  <a:pt x="2349" y="849"/>
                </a:cubicBezTo>
                <a:cubicBezTo>
                  <a:pt x="2350" y="847"/>
                  <a:pt x="2350" y="847"/>
                  <a:pt x="2350" y="847"/>
                </a:cubicBezTo>
                <a:cubicBezTo>
                  <a:pt x="2359" y="839"/>
                  <a:pt x="2359" y="839"/>
                  <a:pt x="2359" y="839"/>
                </a:cubicBezTo>
                <a:cubicBezTo>
                  <a:pt x="2361" y="834"/>
                  <a:pt x="2361" y="834"/>
                  <a:pt x="2361" y="834"/>
                </a:cubicBezTo>
                <a:cubicBezTo>
                  <a:pt x="2368" y="828"/>
                  <a:pt x="2368" y="828"/>
                  <a:pt x="2368" y="828"/>
                </a:cubicBezTo>
                <a:cubicBezTo>
                  <a:pt x="2367" y="828"/>
                  <a:pt x="2367" y="828"/>
                  <a:pt x="2367" y="828"/>
                </a:cubicBezTo>
                <a:cubicBezTo>
                  <a:pt x="2367" y="829"/>
                  <a:pt x="2367" y="829"/>
                  <a:pt x="2367" y="829"/>
                </a:cubicBezTo>
                <a:cubicBezTo>
                  <a:pt x="2365" y="829"/>
                  <a:pt x="2365" y="829"/>
                  <a:pt x="2365" y="829"/>
                </a:cubicBezTo>
                <a:cubicBezTo>
                  <a:pt x="2365" y="827"/>
                  <a:pt x="2365" y="827"/>
                  <a:pt x="2365" y="827"/>
                </a:cubicBezTo>
                <a:cubicBezTo>
                  <a:pt x="2366" y="826"/>
                  <a:pt x="2366" y="826"/>
                  <a:pt x="2366" y="826"/>
                </a:cubicBezTo>
                <a:cubicBezTo>
                  <a:pt x="2368" y="825"/>
                  <a:pt x="2368" y="825"/>
                  <a:pt x="2368" y="825"/>
                </a:cubicBezTo>
                <a:cubicBezTo>
                  <a:pt x="2369" y="825"/>
                  <a:pt x="2369" y="825"/>
                  <a:pt x="2369" y="825"/>
                </a:cubicBezTo>
                <a:cubicBezTo>
                  <a:pt x="2369" y="826"/>
                  <a:pt x="2369" y="826"/>
                  <a:pt x="2369" y="826"/>
                </a:cubicBezTo>
                <a:cubicBezTo>
                  <a:pt x="2369" y="827"/>
                  <a:pt x="2369" y="827"/>
                  <a:pt x="2369" y="827"/>
                </a:cubicBezTo>
                <a:cubicBezTo>
                  <a:pt x="2370" y="827"/>
                  <a:pt x="2370" y="827"/>
                  <a:pt x="2370" y="827"/>
                </a:cubicBezTo>
                <a:cubicBezTo>
                  <a:pt x="2376" y="824"/>
                  <a:pt x="2376" y="824"/>
                  <a:pt x="2376" y="824"/>
                </a:cubicBezTo>
                <a:cubicBezTo>
                  <a:pt x="2376" y="823"/>
                  <a:pt x="2376" y="823"/>
                  <a:pt x="2376" y="823"/>
                </a:cubicBezTo>
                <a:cubicBezTo>
                  <a:pt x="2379" y="821"/>
                  <a:pt x="2379" y="821"/>
                  <a:pt x="2379" y="821"/>
                </a:cubicBezTo>
                <a:cubicBezTo>
                  <a:pt x="2379" y="819"/>
                  <a:pt x="2379" y="819"/>
                  <a:pt x="2379" y="819"/>
                </a:cubicBezTo>
                <a:cubicBezTo>
                  <a:pt x="2380" y="819"/>
                  <a:pt x="2380" y="819"/>
                  <a:pt x="2380" y="819"/>
                </a:cubicBezTo>
                <a:cubicBezTo>
                  <a:pt x="2381" y="817"/>
                  <a:pt x="2381" y="817"/>
                  <a:pt x="2381" y="817"/>
                </a:cubicBezTo>
                <a:cubicBezTo>
                  <a:pt x="2383" y="815"/>
                  <a:pt x="2383" y="815"/>
                  <a:pt x="2383" y="815"/>
                </a:cubicBezTo>
                <a:cubicBezTo>
                  <a:pt x="2382" y="815"/>
                  <a:pt x="2382" y="815"/>
                  <a:pt x="2382" y="815"/>
                </a:cubicBezTo>
                <a:cubicBezTo>
                  <a:pt x="2382" y="814"/>
                  <a:pt x="2382" y="814"/>
                  <a:pt x="2382" y="814"/>
                </a:cubicBezTo>
                <a:cubicBezTo>
                  <a:pt x="2381" y="812"/>
                  <a:pt x="2381" y="812"/>
                  <a:pt x="2381" y="812"/>
                </a:cubicBezTo>
                <a:cubicBezTo>
                  <a:pt x="2381" y="811"/>
                  <a:pt x="2381" y="811"/>
                  <a:pt x="2381" y="811"/>
                </a:cubicBezTo>
                <a:cubicBezTo>
                  <a:pt x="2382" y="809"/>
                  <a:pt x="2382" y="809"/>
                  <a:pt x="2382" y="809"/>
                </a:cubicBezTo>
                <a:cubicBezTo>
                  <a:pt x="2382" y="808"/>
                  <a:pt x="2382" y="808"/>
                  <a:pt x="2382" y="808"/>
                </a:cubicBezTo>
                <a:cubicBezTo>
                  <a:pt x="2383" y="807"/>
                  <a:pt x="2383" y="807"/>
                  <a:pt x="2383" y="807"/>
                </a:cubicBezTo>
                <a:cubicBezTo>
                  <a:pt x="2390" y="804"/>
                  <a:pt x="2390" y="804"/>
                  <a:pt x="2390" y="804"/>
                </a:cubicBezTo>
                <a:cubicBezTo>
                  <a:pt x="2391" y="803"/>
                  <a:pt x="2391" y="803"/>
                  <a:pt x="2391" y="803"/>
                </a:cubicBezTo>
                <a:cubicBezTo>
                  <a:pt x="2391" y="801"/>
                  <a:pt x="2391" y="801"/>
                  <a:pt x="2391" y="801"/>
                </a:cubicBezTo>
                <a:cubicBezTo>
                  <a:pt x="2392" y="800"/>
                  <a:pt x="2392" y="800"/>
                  <a:pt x="2392" y="800"/>
                </a:cubicBezTo>
                <a:cubicBezTo>
                  <a:pt x="2393" y="799"/>
                  <a:pt x="2393" y="799"/>
                  <a:pt x="2393" y="799"/>
                </a:cubicBezTo>
                <a:cubicBezTo>
                  <a:pt x="2392" y="798"/>
                  <a:pt x="2392" y="798"/>
                  <a:pt x="2392" y="798"/>
                </a:cubicBezTo>
                <a:cubicBezTo>
                  <a:pt x="2391" y="798"/>
                  <a:pt x="2391" y="798"/>
                  <a:pt x="2391" y="798"/>
                </a:cubicBezTo>
                <a:cubicBezTo>
                  <a:pt x="2390" y="797"/>
                  <a:pt x="2390" y="797"/>
                  <a:pt x="2390" y="797"/>
                </a:cubicBezTo>
                <a:cubicBezTo>
                  <a:pt x="2392" y="797"/>
                  <a:pt x="2392" y="797"/>
                  <a:pt x="2392" y="797"/>
                </a:cubicBezTo>
                <a:cubicBezTo>
                  <a:pt x="2394" y="799"/>
                  <a:pt x="2394" y="799"/>
                  <a:pt x="2394" y="799"/>
                </a:cubicBezTo>
                <a:cubicBezTo>
                  <a:pt x="2393" y="800"/>
                  <a:pt x="2393" y="800"/>
                  <a:pt x="2393" y="800"/>
                </a:cubicBezTo>
                <a:cubicBezTo>
                  <a:pt x="2394" y="803"/>
                  <a:pt x="2394" y="803"/>
                  <a:pt x="2394" y="803"/>
                </a:cubicBezTo>
                <a:cubicBezTo>
                  <a:pt x="2396" y="803"/>
                  <a:pt x="2396" y="803"/>
                  <a:pt x="2396" y="803"/>
                </a:cubicBezTo>
                <a:cubicBezTo>
                  <a:pt x="2396" y="803"/>
                  <a:pt x="2396" y="803"/>
                  <a:pt x="2396" y="803"/>
                </a:cubicBezTo>
                <a:cubicBezTo>
                  <a:pt x="2397" y="803"/>
                  <a:pt x="2397" y="803"/>
                  <a:pt x="2397" y="803"/>
                </a:cubicBezTo>
                <a:cubicBezTo>
                  <a:pt x="2398" y="802"/>
                  <a:pt x="2398" y="802"/>
                  <a:pt x="2398" y="802"/>
                </a:cubicBezTo>
                <a:cubicBezTo>
                  <a:pt x="2398" y="803"/>
                  <a:pt x="2398" y="803"/>
                  <a:pt x="2398" y="803"/>
                </a:cubicBezTo>
                <a:cubicBezTo>
                  <a:pt x="2398" y="802"/>
                  <a:pt x="2398" y="802"/>
                  <a:pt x="2398" y="802"/>
                </a:cubicBezTo>
                <a:cubicBezTo>
                  <a:pt x="2398" y="801"/>
                  <a:pt x="2398" y="801"/>
                  <a:pt x="2398" y="801"/>
                </a:cubicBezTo>
                <a:cubicBezTo>
                  <a:pt x="2399" y="802"/>
                  <a:pt x="2399" y="802"/>
                  <a:pt x="2399" y="802"/>
                </a:cubicBezTo>
                <a:cubicBezTo>
                  <a:pt x="2400" y="804"/>
                  <a:pt x="2400" y="804"/>
                  <a:pt x="2400" y="804"/>
                </a:cubicBezTo>
                <a:cubicBezTo>
                  <a:pt x="2401" y="805"/>
                  <a:pt x="2401" y="805"/>
                  <a:pt x="2401" y="805"/>
                </a:cubicBezTo>
                <a:cubicBezTo>
                  <a:pt x="2401" y="804"/>
                  <a:pt x="2401" y="804"/>
                  <a:pt x="2401" y="804"/>
                </a:cubicBezTo>
                <a:cubicBezTo>
                  <a:pt x="2402" y="805"/>
                  <a:pt x="2402" y="805"/>
                  <a:pt x="2402" y="805"/>
                </a:cubicBezTo>
                <a:cubicBezTo>
                  <a:pt x="2403" y="804"/>
                  <a:pt x="2403" y="804"/>
                  <a:pt x="2403" y="804"/>
                </a:cubicBezTo>
                <a:cubicBezTo>
                  <a:pt x="2402" y="801"/>
                  <a:pt x="2402" y="801"/>
                  <a:pt x="2402" y="801"/>
                </a:cubicBezTo>
                <a:cubicBezTo>
                  <a:pt x="2403" y="801"/>
                  <a:pt x="2403" y="801"/>
                  <a:pt x="2403" y="801"/>
                </a:cubicBezTo>
                <a:cubicBezTo>
                  <a:pt x="2404" y="801"/>
                  <a:pt x="2404" y="801"/>
                  <a:pt x="2404" y="801"/>
                </a:cubicBezTo>
                <a:cubicBezTo>
                  <a:pt x="2404" y="803"/>
                  <a:pt x="2404" y="803"/>
                  <a:pt x="2404" y="803"/>
                </a:cubicBezTo>
                <a:cubicBezTo>
                  <a:pt x="2405" y="804"/>
                  <a:pt x="2405" y="804"/>
                  <a:pt x="2405" y="804"/>
                </a:cubicBezTo>
                <a:cubicBezTo>
                  <a:pt x="2406" y="804"/>
                  <a:pt x="2406" y="804"/>
                  <a:pt x="2406" y="804"/>
                </a:cubicBezTo>
                <a:cubicBezTo>
                  <a:pt x="2406" y="802"/>
                  <a:pt x="2406" y="802"/>
                  <a:pt x="2406" y="802"/>
                </a:cubicBezTo>
                <a:cubicBezTo>
                  <a:pt x="2407" y="802"/>
                  <a:pt x="2407" y="802"/>
                  <a:pt x="2407" y="802"/>
                </a:cubicBezTo>
                <a:cubicBezTo>
                  <a:pt x="2409" y="803"/>
                  <a:pt x="2409" y="803"/>
                  <a:pt x="2409" y="803"/>
                </a:cubicBezTo>
                <a:cubicBezTo>
                  <a:pt x="2409" y="803"/>
                  <a:pt x="2409" y="803"/>
                  <a:pt x="2409" y="803"/>
                </a:cubicBezTo>
                <a:cubicBezTo>
                  <a:pt x="2410" y="803"/>
                  <a:pt x="2410" y="803"/>
                  <a:pt x="2410" y="803"/>
                </a:cubicBezTo>
                <a:cubicBezTo>
                  <a:pt x="2410" y="801"/>
                  <a:pt x="2410" y="801"/>
                  <a:pt x="2410" y="801"/>
                </a:cubicBezTo>
                <a:cubicBezTo>
                  <a:pt x="2409" y="798"/>
                  <a:pt x="2409" y="798"/>
                  <a:pt x="2409" y="798"/>
                </a:cubicBezTo>
                <a:cubicBezTo>
                  <a:pt x="2409" y="798"/>
                  <a:pt x="2409" y="798"/>
                  <a:pt x="2409" y="798"/>
                </a:cubicBezTo>
                <a:cubicBezTo>
                  <a:pt x="2410" y="796"/>
                  <a:pt x="2410" y="796"/>
                  <a:pt x="2410" y="796"/>
                </a:cubicBezTo>
                <a:cubicBezTo>
                  <a:pt x="2410" y="795"/>
                  <a:pt x="2410" y="795"/>
                  <a:pt x="2410" y="795"/>
                </a:cubicBezTo>
                <a:cubicBezTo>
                  <a:pt x="2410" y="794"/>
                  <a:pt x="2410" y="794"/>
                  <a:pt x="2410" y="794"/>
                </a:cubicBezTo>
                <a:cubicBezTo>
                  <a:pt x="2411" y="795"/>
                  <a:pt x="2411" y="795"/>
                  <a:pt x="2411" y="795"/>
                </a:cubicBezTo>
                <a:cubicBezTo>
                  <a:pt x="2411" y="796"/>
                  <a:pt x="2411" y="796"/>
                  <a:pt x="2411" y="796"/>
                </a:cubicBezTo>
                <a:cubicBezTo>
                  <a:pt x="2410" y="799"/>
                  <a:pt x="2410" y="799"/>
                  <a:pt x="2410" y="799"/>
                </a:cubicBezTo>
                <a:cubicBezTo>
                  <a:pt x="2411" y="801"/>
                  <a:pt x="2411" y="801"/>
                  <a:pt x="2411" y="801"/>
                </a:cubicBezTo>
                <a:cubicBezTo>
                  <a:pt x="2412" y="799"/>
                  <a:pt x="2412" y="799"/>
                  <a:pt x="2412" y="799"/>
                </a:cubicBezTo>
                <a:cubicBezTo>
                  <a:pt x="2414" y="798"/>
                  <a:pt x="2414" y="798"/>
                  <a:pt x="2414" y="798"/>
                </a:cubicBezTo>
                <a:cubicBezTo>
                  <a:pt x="2413" y="799"/>
                  <a:pt x="2413" y="799"/>
                  <a:pt x="2413" y="799"/>
                </a:cubicBezTo>
                <a:cubicBezTo>
                  <a:pt x="2412" y="799"/>
                  <a:pt x="2412" y="799"/>
                  <a:pt x="2412" y="799"/>
                </a:cubicBezTo>
                <a:cubicBezTo>
                  <a:pt x="2412" y="801"/>
                  <a:pt x="2412" y="801"/>
                  <a:pt x="2412" y="801"/>
                </a:cubicBezTo>
                <a:cubicBezTo>
                  <a:pt x="2413" y="802"/>
                  <a:pt x="2413" y="802"/>
                  <a:pt x="2413" y="802"/>
                </a:cubicBezTo>
                <a:cubicBezTo>
                  <a:pt x="2415" y="799"/>
                  <a:pt x="2415" y="799"/>
                  <a:pt x="2415" y="799"/>
                </a:cubicBezTo>
                <a:cubicBezTo>
                  <a:pt x="2417" y="798"/>
                  <a:pt x="2417" y="798"/>
                  <a:pt x="2417" y="798"/>
                </a:cubicBezTo>
                <a:cubicBezTo>
                  <a:pt x="2417" y="796"/>
                  <a:pt x="2417" y="796"/>
                  <a:pt x="2417" y="796"/>
                </a:cubicBezTo>
                <a:cubicBezTo>
                  <a:pt x="2416" y="793"/>
                  <a:pt x="2416" y="793"/>
                  <a:pt x="2416" y="793"/>
                </a:cubicBezTo>
                <a:cubicBezTo>
                  <a:pt x="2414" y="793"/>
                  <a:pt x="2414" y="793"/>
                  <a:pt x="2414" y="793"/>
                </a:cubicBezTo>
                <a:cubicBezTo>
                  <a:pt x="2416" y="792"/>
                  <a:pt x="2416" y="792"/>
                  <a:pt x="2416" y="792"/>
                </a:cubicBezTo>
                <a:cubicBezTo>
                  <a:pt x="2417" y="791"/>
                  <a:pt x="2417" y="791"/>
                  <a:pt x="2417" y="791"/>
                </a:cubicBezTo>
                <a:cubicBezTo>
                  <a:pt x="2415" y="789"/>
                  <a:pt x="2415" y="789"/>
                  <a:pt x="2415" y="789"/>
                </a:cubicBezTo>
                <a:cubicBezTo>
                  <a:pt x="2415" y="785"/>
                  <a:pt x="2415" y="785"/>
                  <a:pt x="2415" y="785"/>
                </a:cubicBezTo>
                <a:cubicBezTo>
                  <a:pt x="2416" y="788"/>
                  <a:pt x="2416" y="788"/>
                  <a:pt x="2416" y="788"/>
                </a:cubicBezTo>
                <a:cubicBezTo>
                  <a:pt x="2417" y="790"/>
                  <a:pt x="2417" y="790"/>
                  <a:pt x="2417" y="790"/>
                </a:cubicBezTo>
                <a:cubicBezTo>
                  <a:pt x="2419" y="790"/>
                  <a:pt x="2419" y="790"/>
                  <a:pt x="2419" y="790"/>
                </a:cubicBezTo>
                <a:cubicBezTo>
                  <a:pt x="2419" y="791"/>
                  <a:pt x="2419" y="791"/>
                  <a:pt x="2419" y="791"/>
                </a:cubicBezTo>
                <a:cubicBezTo>
                  <a:pt x="2423" y="792"/>
                  <a:pt x="2423" y="792"/>
                  <a:pt x="2423" y="792"/>
                </a:cubicBezTo>
                <a:cubicBezTo>
                  <a:pt x="2425" y="791"/>
                  <a:pt x="2425" y="791"/>
                  <a:pt x="2425" y="791"/>
                </a:cubicBezTo>
                <a:cubicBezTo>
                  <a:pt x="2425" y="792"/>
                  <a:pt x="2425" y="792"/>
                  <a:pt x="2425" y="792"/>
                </a:cubicBezTo>
                <a:cubicBezTo>
                  <a:pt x="2425" y="791"/>
                  <a:pt x="2425" y="791"/>
                  <a:pt x="2425" y="791"/>
                </a:cubicBezTo>
                <a:cubicBezTo>
                  <a:pt x="2426" y="791"/>
                  <a:pt x="2426" y="791"/>
                  <a:pt x="2426" y="791"/>
                </a:cubicBezTo>
                <a:cubicBezTo>
                  <a:pt x="2429" y="798"/>
                  <a:pt x="2429" y="798"/>
                  <a:pt x="2429" y="798"/>
                </a:cubicBezTo>
                <a:cubicBezTo>
                  <a:pt x="2430" y="799"/>
                  <a:pt x="2430" y="799"/>
                  <a:pt x="2430" y="799"/>
                </a:cubicBezTo>
                <a:cubicBezTo>
                  <a:pt x="2430" y="800"/>
                  <a:pt x="2430" y="800"/>
                  <a:pt x="2430" y="800"/>
                </a:cubicBezTo>
                <a:cubicBezTo>
                  <a:pt x="2430" y="803"/>
                  <a:pt x="2430" y="803"/>
                  <a:pt x="2430" y="803"/>
                </a:cubicBezTo>
                <a:cubicBezTo>
                  <a:pt x="2431" y="803"/>
                  <a:pt x="2431" y="803"/>
                  <a:pt x="2431" y="803"/>
                </a:cubicBezTo>
                <a:cubicBezTo>
                  <a:pt x="2430" y="806"/>
                  <a:pt x="2430" y="806"/>
                  <a:pt x="2430" y="806"/>
                </a:cubicBezTo>
                <a:cubicBezTo>
                  <a:pt x="2430" y="807"/>
                  <a:pt x="2430" y="807"/>
                  <a:pt x="2430" y="807"/>
                </a:cubicBezTo>
                <a:cubicBezTo>
                  <a:pt x="2432" y="805"/>
                  <a:pt x="2432" y="805"/>
                  <a:pt x="2432" y="805"/>
                </a:cubicBezTo>
                <a:cubicBezTo>
                  <a:pt x="2432" y="805"/>
                  <a:pt x="2432" y="805"/>
                  <a:pt x="2432" y="805"/>
                </a:cubicBezTo>
                <a:cubicBezTo>
                  <a:pt x="2432" y="806"/>
                  <a:pt x="2432" y="806"/>
                  <a:pt x="2432" y="806"/>
                </a:cubicBezTo>
                <a:cubicBezTo>
                  <a:pt x="2431" y="807"/>
                  <a:pt x="2431" y="807"/>
                  <a:pt x="2431" y="807"/>
                </a:cubicBezTo>
                <a:cubicBezTo>
                  <a:pt x="2432" y="809"/>
                  <a:pt x="2432" y="809"/>
                  <a:pt x="2432" y="809"/>
                </a:cubicBezTo>
                <a:cubicBezTo>
                  <a:pt x="2434" y="811"/>
                  <a:pt x="2434" y="811"/>
                  <a:pt x="2434" y="811"/>
                </a:cubicBezTo>
                <a:cubicBezTo>
                  <a:pt x="2435" y="815"/>
                  <a:pt x="2435" y="815"/>
                  <a:pt x="2435" y="815"/>
                </a:cubicBezTo>
                <a:cubicBezTo>
                  <a:pt x="2436" y="815"/>
                  <a:pt x="2436" y="815"/>
                  <a:pt x="2436" y="815"/>
                </a:cubicBezTo>
                <a:cubicBezTo>
                  <a:pt x="2435" y="812"/>
                  <a:pt x="2435" y="812"/>
                  <a:pt x="2435" y="812"/>
                </a:cubicBezTo>
                <a:cubicBezTo>
                  <a:pt x="2436" y="812"/>
                  <a:pt x="2436" y="812"/>
                  <a:pt x="2436" y="812"/>
                </a:cubicBezTo>
                <a:cubicBezTo>
                  <a:pt x="2436" y="812"/>
                  <a:pt x="2436" y="812"/>
                  <a:pt x="2436" y="812"/>
                </a:cubicBezTo>
                <a:cubicBezTo>
                  <a:pt x="2437" y="814"/>
                  <a:pt x="2437" y="814"/>
                  <a:pt x="2437" y="814"/>
                </a:cubicBezTo>
                <a:cubicBezTo>
                  <a:pt x="2437" y="817"/>
                  <a:pt x="2437" y="817"/>
                  <a:pt x="2437" y="817"/>
                </a:cubicBezTo>
                <a:cubicBezTo>
                  <a:pt x="2442" y="821"/>
                  <a:pt x="2442" y="821"/>
                  <a:pt x="2442" y="821"/>
                </a:cubicBezTo>
                <a:cubicBezTo>
                  <a:pt x="2441" y="819"/>
                  <a:pt x="2441" y="819"/>
                  <a:pt x="2441" y="819"/>
                </a:cubicBezTo>
                <a:cubicBezTo>
                  <a:pt x="2441" y="818"/>
                  <a:pt x="2441" y="818"/>
                  <a:pt x="2441" y="818"/>
                </a:cubicBezTo>
                <a:cubicBezTo>
                  <a:pt x="2442" y="819"/>
                  <a:pt x="2442" y="819"/>
                  <a:pt x="2442" y="819"/>
                </a:cubicBezTo>
                <a:cubicBezTo>
                  <a:pt x="2444" y="819"/>
                  <a:pt x="2444" y="819"/>
                  <a:pt x="2444" y="819"/>
                </a:cubicBezTo>
                <a:cubicBezTo>
                  <a:pt x="2443" y="821"/>
                  <a:pt x="2443" y="821"/>
                  <a:pt x="2443" y="821"/>
                </a:cubicBezTo>
                <a:cubicBezTo>
                  <a:pt x="2443" y="822"/>
                  <a:pt x="2443" y="822"/>
                  <a:pt x="2443" y="822"/>
                </a:cubicBezTo>
                <a:cubicBezTo>
                  <a:pt x="2445" y="821"/>
                  <a:pt x="2445" y="821"/>
                  <a:pt x="2445" y="821"/>
                </a:cubicBezTo>
                <a:cubicBezTo>
                  <a:pt x="2445" y="820"/>
                  <a:pt x="2445" y="820"/>
                  <a:pt x="2445" y="820"/>
                </a:cubicBezTo>
                <a:cubicBezTo>
                  <a:pt x="2446" y="821"/>
                  <a:pt x="2446" y="821"/>
                  <a:pt x="2446" y="821"/>
                </a:cubicBezTo>
                <a:cubicBezTo>
                  <a:pt x="2447" y="822"/>
                  <a:pt x="2447" y="822"/>
                  <a:pt x="2447" y="822"/>
                </a:cubicBezTo>
                <a:cubicBezTo>
                  <a:pt x="2448" y="823"/>
                  <a:pt x="2448" y="823"/>
                  <a:pt x="2448" y="823"/>
                </a:cubicBezTo>
                <a:cubicBezTo>
                  <a:pt x="2451" y="824"/>
                  <a:pt x="2451" y="824"/>
                  <a:pt x="2451" y="824"/>
                </a:cubicBezTo>
                <a:cubicBezTo>
                  <a:pt x="2453" y="827"/>
                  <a:pt x="2453" y="827"/>
                  <a:pt x="2453" y="827"/>
                </a:cubicBezTo>
                <a:cubicBezTo>
                  <a:pt x="2453" y="828"/>
                  <a:pt x="2453" y="828"/>
                  <a:pt x="2453" y="828"/>
                </a:cubicBezTo>
                <a:cubicBezTo>
                  <a:pt x="2452" y="829"/>
                  <a:pt x="2452" y="829"/>
                  <a:pt x="2452" y="829"/>
                </a:cubicBezTo>
                <a:cubicBezTo>
                  <a:pt x="2451" y="828"/>
                  <a:pt x="2451" y="828"/>
                  <a:pt x="2451" y="828"/>
                </a:cubicBezTo>
                <a:cubicBezTo>
                  <a:pt x="2449" y="828"/>
                  <a:pt x="2449" y="828"/>
                  <a:pt x="2449" y="828"/>
                </a:cubicBezTo>
                <a:cubicBezTo>
                  <a:pt x="2451" y="830"/>
                  <a:pt x="2451" y="830"/>
                  <a:pt x="2451" y="830"/>
                </a:cubicBezTo>
                <a:cubicBezTo>
                  <a:pt x="2451" y="830"/>
                  <a:pt x="2451" y="830"/>
                  <a:pt x="2451" y="830"/>
                </a:cubicBezTo>
                <a:cubicBezTo>
                  <a:pt x="2451" y="831"/>
                  <a:pt x="2451" y="831"/>
                  <a:pt x="2451" y="831"/>
                </a:cubicBezTo>
                <a:cubicBezTo>
                  <a:pt x="2449" y="830"/>
                  <a:pt x="2449" y="830"/>
                  <a:pt x="2449" y="830"/>
                </a:cubicBezTo>
                <a:cubicBezTo>
                  <a:pt x="2449" y="829"/>
                  <a:pt x="2449" y="829"/>
                  <a:pt x="2449" y="829"/>
                </a:cubicBezTo>
                <a:cubicBezTo>
                  <a:pt x="2447" y="828"/>
                  <a:pt x="2447" y="828"/>
                  <a:pt x="2447" y="828"/>
                </a:cubicBezTo>
                <a:cubicBezTo>
                  <a:pt x="2447" y="829"/>
                  <a:pt x="2447" y="829"/>
                  <a:pt x="2447" y="829"/>
                </a:cubicBezTo>
                <a:cubicBezTo>
                  <a:pt x="2449" y="831"/>
                  <a:pt x="2449" y="831"/>
                  <a:pt x="2449" y="831"/>
                </a:cubicBezTo>
                <a:cubicBezTo>
                  <a:pt x="2449" y="832"/>
                  <a:pt x="2449" y="832"/>
                  <a:pt x="2449" y="832"/>
                </a:cubicBezTo>
                <a:cubicBezTo>
                  <a:pt x="2451" y="834"/>
                  <a:pt x="2451" y="834"/>
                  <a:pt x="2451" y="834"/>
                </a:cubicBezTo>
                <a:cubicBezTo>
                  <a:pt x="2455" y="836"/>
                  <a:pt x="2455" y="836"/>
                  <a:pt x="2455" y="836"/>
                </a:cubicBezTo>
                <a:cubicBezTo>
                  <a:pt x="2454" y="832"/>
                  <a:pt x="2454" y="832"/>
                  <a:pt x="2454" y="832"/>
                </a:cubicBezTo>
                <a:cubicBezTo>
                  <a:pt x="2453" y="830"/>
                  <a:pt x="2453" y="830"/>
                  <a:pt x="2453" y="830"/>
                </a:cubicBezTo>
                <a:cubicBezTo>
                  <a:pt x="2456" y="832"/>
                  <a:pt x="2456" y="832"/>
                  <a:pt x="2456" y="832"/>
                </a:cubicBezTo>
                <a:cubicBezTo>
                  <a:pt x="2456" y="834"/>
                  <a:pt x="2456" y="834"/>
                  <a:pt x="2456" y="834"/>
                </a:cubicBezTo>
                <a:cubicBezTo>
                  <a:pt x="2457" y="835"/>
                  <a:pt x="2457" y="835"/>
                  <a:pt x="2457" y="835"/>
                </a:cubicBezTo>
                <a:cubicBezTo>
                  <a:pt x="2458" y="837"/>
                  <a:pt x="2458" y="837"/>
                  <a:pt x="2458" y="837"/>
                </a:cubicBezTo>
                <a:cubicBezTo>
                  <a:pt x="2458" y="840"/>
                  <a:pt x="2458" y="840"/>
                  <a:pt x="2458" y="840"/>
                </a:cubicBezTo>
                <a:cubicBezTo>
                  <a:pt x="2460" y="841"/>
                  <a:pt x="2460" y="841"/>
                  <a:pt x="2460" y="841"/>
                </a:cubicBezTo>
                <a:cubicBezTo>
                  <a:pt x="2459" y="841"/>
                  <a:pt x="2459" y="841"/>
                  <a:pt x="2459" y="841"/>
                </a:cubicBezTo>
                <a:cubicBezTo>
                  <a:pt x="2460" y="842"/>
                  <a:pt x="2460" y="842"/>
                  <a:pt x="2460" y="842"/>
                </a:cubicBezTo>
                <a:cubicBezTo>
                  <a:pt x="2461" y="843"/>
                  <a:pt x="2461" y="843"/>
                  <a:pt x="2461" y="843"/>
                </a:cubicBezTo>
                <a:cubicBezTo>
                  <a:pt x="2461" y="847"/>
                  <a:pt x="2461" y="847"/>
                  <a:pt x="2461" y="847"/>
                </a:cubicBezTo>
                <a:cubicBezTo>
                  <a:pt x="2463" y="851"/>
                  <a:pt x="2463" y="851"/>
                  <a:pt x="2463" y="851"/>
                </a:cubicBezTo>
                <a:cubicBezTo>
                  <a:pt x="2464" y="852"/>
                  <a:pt x="2464" y="852"/>
                  <a:pt x="2464" y="852"/>
                </a:cubicBezTo>
                <a:cubicBezTo>
                  <a:pt x="2462" y="853"/>
                  <a:pt x="2462" y="853"/>
                  <a:pt x="2462" y="853"/>
                </a:cubicBezTo>
                <a:cubicBezTo>
                  <a:pt x="2460" y="864"/>
                  <a:pt x="2460" y="864"/>
                  <a:pt x="2460" y="864"/>
                </a:cubicBezTo>
                <a:cubicBezTo>
                  <a:pt x="2461" y="866"/>
                  <a:pt x="2461" y="866"/>
                  <a:pt x="2461" y="866"/>
                </a:cubicBezTo>
                <a:cubicBezTo>
                  <a:pt x="2460" y="866"/>
                  <a:pt x="2460" y="866"/>
                  <a:pt x="2460" y="866"/>
                </a:cubicBezTo>
                <a:cubicBezTo>
                  <a:pt x="2460" y="867"/>
                  <a:pt x="2460" y="867"/>
                  <a:pt x="2460" y="867"/>
                </a:cubicBezTo>
                <a:cubicBezTo>
                  <a:pt x="2462" y="865"/>
                  <a:pt x="2462" y="865"/>
                  <a:pt x="2462" y="865"/>
                </a:cubicBezTo>
                <a:cubicBezTo>
                  <a:pt x="2464" y="863"/>
                  <a:pt x="2464" y="863"/>
                  <a:pt x="2464" y="863"/>
                </a:cubicBezTo>
                <a:cubicBezTo>
                  <a:pt x="2465" y="860"/>
                  <a:pt x="2465" y="860"/>
                  <a:pt x="2465" y="860"/>
                </a:cubicBezTo>
                <a:cubicBezTo>
                  <a:pt x="2465" y="863"/>
                  <a:pt x="2465" y="863"/>
                  <a:pt x="2465" y="863"/>
                </a:cubicBezTo>
                <a:cubicBezTo>
                  <a:pt x="2463" y="866"/>
                  <a:pt x="2463" y="866"/>
                  <a:pt x="2463" y="866"/>
                </a:cubicBezTo>
                <a:cubicBezTo>
                  <a:pt x="2463" y="869"/>
                  <a:pt x="2463" y="869"/>
                  <a:pt x="2463" y="869"/>
                </a:cubicBezTo>
                <a:cubicBezTo>
                  <a:pt x="2464" y="869"/>
                  <a:pt x="2464" y="869"/>
                  <a:pt x="2464" y="869"/>
                </a:cubicBezTo>
                <a:cubicBezTo>
                  <a:pt x="2464" y="867"/>
                  <a:pt x="2464" y="867"/>
                  <a:pt x="2464" y="867"/>
                </a:cubicBezTo>
                <a:cubicBezTo>
                  <a:pt x="2467" y="866"/>
                  <a:pt x="2467" y="866"/>
                  <a:pt x="2467" y="866"/>
                </a:cubicBezTo>
                <a:cubicBezTo>
                  <a:pt x="2468" y="867"/>
                  <a:pt x="2468" y="867"/>
                  <a:pt x="2468" y="867"/>
                </a:cubicBezTo>
                <a:cubicBezTo>
                  <a:pt x="2469" y="867"/>
                  <a:pt x="2469" y="867"/>
                  <a:pt x="2469" y="867"/>
                </a:cubicBezTo>
                <a:cubicBezTo>
                  <a:pt x="2469" y="866"/>
                  <a:pt x="2469" y="866"/>
                  <a:pt x="2469" y="866"/>
                </a:cubicBezTo>
                <a:cubicBezTo>
                  <a:pt x="2469" y="867"/>
                  <a:pt x="2469" y="867"/>
                  <a:pt x="2469" y="867"/>
                </a:cubicBezTo>
                <a:cubicBezTo>
                  <a:pt x="2470" y="867"/>
                  <a:pt x="2470" y="867"/>
                  <a:pt x="2470" y="867"/>
                </a:cubicBezTo>
                <a:cubicBezTo>
                  <a:pt x="2471" y="866"/>
                  <a:pt x="2471" y="866"/>
                  <a:pt x="2471" y="866"/>
                </a:cubicBezTo>
                <a:cubicBezTo>
                  <a:pt x="2473" y="866"/>
                  <a:pt x="2473" y="866"/>
                  <a:pt x="2473" y="866"/>
                </a:cubicBezTo>
                <a:cubicBezTo>
                  <a:pt x="2477" y="864"/>
                  <a:pt x="2477" y="864"/>
                  <a:pt x="2477" y="864"/>
                </a:cubicBezTo>
                <a:cubicBezTo>
                  <a:pt x="2477" y="862"/>
                  <a:pt x="2477" y="862"/>
                  <a:pt x="2477" y="862"/>
                </a:cubicBezTo>
                <a:lnTo>
                  <a:pt x="2478" y="862"/>
                </a:lnTo>
                <a:close/>
                <a:moveTo>
                  <a:pt x="2594" y="883"/>
                </a:moveTo>
                <a:cubicBezTo>
                  <a:pt x="2594" y="883"/>
                  <a:pt x="2594" y="883"/>
                  <a:pt x="2594" y="883"/>
                </a:cubicBezTo>
                <a:cubicBezTo>
                  <a:pt x="2592" y="883"/>
                  <a:pt x="2592" y="883"/>
                  <a:pt x="2592" y="883"/>
                </a:cubicBezTo>
                <a:lnTo>
                  <a:pt x="2594" y="883"/>
                </a:lnTo>
                <a:close/>
                <a:moveTo>
                  <a:pt x="1735" y="173"/>
                </a:moveTo>
                <a:cubicBezTo>
                  <a:pt x="1734" y="169"/>
                  <a:pt x="1734" y="169"/>
                  <a:pt x="1734" y="169"/>
                </a:cubicBezTo>
                <a:cubicBezTo>
                  <a:pt x="1735" y="173"/>
                  <a:pt x="1735" y="173"/>
                  <a:pt x="1735" y="173"/>
                </a:cubicBezTo>
                <a:close/>
                <a:moveTo>
                  <a:pt x="1753" y="726"/>
                </a:moveTo>
                <a:cubicBezTo>
                  <a:pt x="1757" y="806"/>
                  <a:pt x="1757" y="806"/>
                  <a:pt x="1757" y="806"/>
                </a:cubicBezTo>
                <a:cubicBezTo>
                  <a:pt x="1758" y="826"/>
                  <a:pt x="1758" y="826"/>
                  <a:pt x="1758" y="826"/>
                </a:cubicBezTo>
                <a:lnTo>
                  <a:pt x="1753" y="726"/>
                </a:lnTo>
                <a:close/>
                <a:moveTo>
                  <a:pt x="1857" y="690"/>
                </a:moveTo>
                <a:cubicBezTo>
                  <a:pt x="1857" y="690"/>
                  <a:pt x="1857" y="690"/>
                  <a:pt x="1857" y="690"/>
                </a:cubicBezTo>
                <a:cubicBezTo>
                  <a:pt x="1858" y="690"/>
                  <a:pt x="1858" y="690"/>
                  <a:pt x="1858" y="690"/>
                </a:cubicBezTo>
                <a:lnTo>
                  <a:pt x="1857" y="690"/>
                </a:lnTo>
                <a:close/>
                <a:moveTo>
                  <a:pt x="1858" y="680"/>
                </a:moveTo>
                <a:cubicBezTo>
                  <a:pt x="1858" y="680"/>
                  <a:pt x="1858" y="680"/>
                  <a:pt x="1858" y="680"/>
                </a:cubicBezTo>
                <a:cubicBezTo>
                  <a:pt x="1857" y="680"/>
                  <a:pt x="1857" y="680"/>
                  <a:pt x="1857" y="680"/>
                </a:cubicBezTo>
                <a:cubicBezTo>
                  <a:pt x="1858" y="680"/>
                  <a:pt x="1858" y="680"/>
                  <a:pt x="1858" y="680"/>
                </a:cubicBezTo>
                <a:close/>
                <a:moveTo>
                  <a:pt x="2061" y="825"/>
                </a:moveTo>
                <a:cubicBezTo>
                  <a:pt x="2032" y="834"/>
                  <a:pt x="2032" y="834"/>
                  <a:pt x="2032" y="834"/>
                </a:cubicBezTo>
                <a:cubicBezTo>
                  <a:pt x="1994" y="845"/>
                  <a:pt x="1994" y="845"/>
                  <a:pt x="1994" y="845"/>
                </a:cubicBezTo>
                <a:lnTo>
                  <a:pt x="2061" y="825"/>
                </a:lnTo>
                <a:close/>
                <a:moveTo>
                  <a:pt x="1950" y="726"/>
                </a:moveTo>
                <a:cubicBezTo>
                  <a:pt x="1969" y="727"/>
                  <a:pt x="1969" y="727"/>
                  <a:pt x="1969" y="727"/>
                </a:cubicBezTo>
                <a:cubicBezTo>
                  <a:pt x="1970" y="727"/>
                  <a:pt x="1970" y="727"/>
                  <a:pt x="1970" y="727"/>
                </a:cubicBezTo>
                <a:lnTo>
                  <a:pt x="1950" y="726"/>
                </a:lnTo>
                <a:close/>
                <a:moveTo>
                  <a:pt x="2033" y="638"/>
                </a:moveTo>
                <a:cubicBezTo>
                  <a:pt x="2031" y="637"/>
                  <a:pt x="2031" y="637"/>
                  <a:pt x="2031" y="637"/>
                </a:cubicBezTo>
                <a:cubicBezTo>
                  <a:pt x="2025" y="637"/>
                  <a:pt x="2025" y="637"/>
                  <a:pt x="2025" y="637"/>
                </a:cubicBezTo>
                <a:cubicBezTo>
                  <a:pt x="2020" y="637"/>
                  <a:pt x="2020" y="637"/>
                  <a:pt x="2020" y="637"/>
                </a:cubicBezTo>
                <a:cubicBezTo>
                  <a:pt x="2014" y="639"/>
                  <a:pt x="2014" y="639"/>
                  <a:pt x="2014" y="639"/>
                </a:cubicBezTo>
                <a:cubicBezTo>
                  <a:pt x="2011" y="639"/>
                  <a:pt x="2011" y="639"/>
                  <a:pt x="2011" y="639"/>
                </a:cubicBezTo>
                <a:cubicBezTo>
                  <a:pt x="2004" y="637"/>
                  <a:pt x="2004" y="637"/>
                  <a:pt x="2004" y="637"/>
                </a:cubicBezTo>
                <a:cubicBezTo>
                  <a:pt x="2002" y="637"/>
                  <a:pt x="2002" y="637"/>
                  <a:pt x="2002" y="637"/>
                </a:cubicBezTo>
                <a:cubicBezTo>
                  <a:pt x="1997" y="635"/>
                  <a:pt x="1997" y="635"/>
                  <a:pt x="1997" y="635"/>
                </a:cubicBezTo>
                <a:cubicBezTo>
                  <a:pt x="1996" y="633"/>
                  <a:pt x="1996" y="633"/>
                  <a:pt x="1996" y="633"/>
                </a:cubicBezTo>
                <a:cubicBezTo>
                  <a:pt x="1995" y="631"/>
                  <a:pt x="1995" y="631"/>
                  <a:pt x="1995" y="631"/>
                </a:cubicBezTo>
                <a:cubicBezTo>
                  <a:pt x="1993" y="631"/>
                  <a:pt x="1993" y="631"/>
                  <a:pt x="1993" y="631"/>
                </a:cubicBezTo>
                <a:cubicBezTo>
                  <a:pt x="1991" y="629"/>
                  <a:pt x="1991" y="629"/>
                  <a:pt x="1991" y="629"/>
                </a:cubicBezTo>
                <a:cubicBezTo>
                  <a:pt x="1989" y="630"/>
                  <a:pt x="1989" y="630"/>
                  <a:pt x="1989" y="630"/>
                </a:cubicBezTo>
                <a:cubicBezTo>
                  <a:pt x="1987" y="630"/>
                  <a:pt x="1987" y="630"/>
                  <a:pt x="1987" y="630"/>
                </a:cubicBezTo>
                <a:cubicBezTo>
                  <a:pt x="1985" y="630"/>
                  <a:pt x="1985" y="630"/>
                  <a:pt x="1985" y="630"/>
                </a:cubicBezTo>
                <a:cubicBezTo>
                  <a:pt x="1983" y="628"/>
                  <a:pt x="1983" y="628"/>
                  <a:pt x="1983" y="628"/>
                </a:cubicBezTo>
                <a:cubicBezTo>
                  <a:pt x="1981" y="627"/>
                  <a:pt x="1981" y="627"/>
                  <a:pt x="1981" y="627"/>
                </a:cubicBezTo>
                <a:cubicBezTo>
                  <a:pt x="1980" y="627"/>
                  <a:pt x="1980" y="627"/>
                  <a:pt x="1980" y="627"/>
                </a:cubicBezTo>
                <a:cubicBezTo>
                  <a:pt x="1981" y="624"/>
                  <a:pt x="1981" y="624"/>
                  <a:pt x="1981" y="624"/>
                </a:cubicBezTo>
                <a:cubicBezTo>
                  <a:pt x="1981" y="622"/>
                  <a:pt x="1981" y="622"/>
                  <a:pt x="1981" y="622"/>
                </a:cubicBezTo>
                <a:cubicBezTo>
                  <a:pt x="1979" y="620"/>
                  <a:pt x="1979" y="620"/>
                  <a:pt x="1979" y="620"/>
                </a:cubicBezTo>
                <a:cubicBezTo>
                  <a:pt x="1979" y="619"/>
                  <a:pt x="1979" y="619"/>
                  <a:pt x="1979" y="619"/>
                </a:cubicBezTo>
                <a:cubicBezTo>
                  <a:pt x="1979" y="615"/>
                  <a:pt x="1979" y="615"/>
                  <a:pt x="1979" y="615"/>
                </a:cubicBezTo>
                <a:cubicBezTo>
                  <a:pt x="1979" y="614"/>
                  <a:pt x="1979" y="614"/>
                  <a:pt x="1979" y="614"/>
                </a:cubicBezTo>
                <a:cubicBezTo>
                  <a:pt x="1979" y="613"/>
                  <a:pt x="1979" y="613"/>
                  <a:pt x="1979" y="613"/>
                </a:cubicBezTo>
                <a:cubicBezTo>
                  <a:pt x="1978" y="610"/>
                  <a:pt x="1978" y="610"/>
                  <a:pt x="1978" y="610"/>
                </a:cubicBezTo>
                <a:cubicBezTo>
                  <a:pt x="1979" y="608"/>
                  <a:pt x="1979" y="608"/>
                  <a:pt x="1979" y="608"/>
                </a:cubicBezTo>
                <a:cubicBezTo>
                  <a:pt x="1980" y="608"/>
                  <a:pt x="1980" y="608"/>
                  <a:pt x="1980" y="608"/>
                </a:cubicBezTo>
                <a:cubicBezTo>
                  <a:pt x="1981" y="609"/>
                  <a:pt x="1981" y="609"/>
                  <a:pt x="1981" y="609"/>
                </a:cubicBezTo>
                <a:cubicBezTo>
                  <a:pt x="1980" y="611"/>
                  <a:pt x="1980" y="611"/>
                  <a:pt x="1980" y="611"/>
                </a:cubicBezTo>
                <a:cubicBezTo>
                  <a:pt x="1981" y="613"/>
                  <a:pt x="1981" y="613"/>
                  <a:pt x="1981" y="613"/>
                </a:cubicBezTo>
                <a:cubicBezTo>
                  <a:pt x="1982" y="611"/>
                  <a:pt x="1982" y="611"/>
                  <a:pt x="1982" y="611"/>
                </a:cubicBezTo>
                <a:cubicBezTo>
                  <a:pt x="1982" y="608"/>
                  <a:pt x="1982" y="608"/>
                  <a:pt x="1982" y="608"/>
                </a:cubicBezTo>
                <a:cubicBezTo>
                  <a:pt x="1982" y="607"/>
                  <a:pt x="1982" y="607"/>
                  <a:pt x="1982" y="607"/>
                </a:cubicBezTo>
                <a:cubicBezTo>
                  <a:pt x="1982" y="605"/>
                  <a:pt x="1982" y="605"/>
                  <a:pt x="1982" y="605"/>
                </a:cubicBezTo>
                <a:cubicBezTo>
                  <a:pt x="1982" y="604"/>
                  <a:pt x="1982" y="604"/>
                  <a:pt x="1982" y="604"/>
                </a:cubicBezTo>
                <a:cubicBezTo>
                  <a:pt x="1982" y="603"/>
                  <a:pt x="1982" y="603"/>
                  <a:pt x="1982" y="603"/>
                </a:cubicBezTo>
                <a:cubicBezTo>
                  <a:pt x="1983" y="601"/>
                  <a:pt x="1983" y="601"/>
                  <a:pt x="1983" y="601"/>
                </a:cubicBezTo>
                <a:cubicBezTo>
                  <a:pt x="1983" y="599"/>
                  <a:pt x="1983" y="599"/>
                  <a:pt x="1983" y="599"/>
                </a:cubicBezTo>
                <a:cubicBezTo>
                  <a:pt x="1982" y="597"/>
                  <a:pt x="1982" y="597"/>
                  <a:pt x="1982" y="597"/>
                </a:cubicBezTo>
                <a:cubicBezTo>
                  <a:pt x="1985" y="594"/>
                  <a:pt x="1985" y="594"/>
                  <a:pt x="1985" y="594"/>
                </a:cubicBezTo>
                <a:cubicBezTo>
                  <a:pt x="1988" y="594"/>
                  <a:pt x="1988" y="594"/>
                  <a:pt x="1988" y="594"/>
                </a:cubicBezTo>
                <a:cubicBezTo>
                  <a:pt x="1990" y="593"/>
                  <a:pt x="1990" y="593"/>
                  <a:pt x="1990" y="593"/>
                </a:cubicBezTo>
                <a:cubicBezTo>
                  <a:pt x="1991" y="593"/>
                  <a:pt x="1991" y="593"/>
                  <a:pt x="1991" y="593"/>
                </a:cubicBezTo>
                <a:cubicBezTo>
                  <a:pt x="1990" y="591"/>
                  <a:pt x="1990" y="591"/>
                  <a:pt x="1990" y="591"/>
                </a:cubicBezTo>
                <a:cubicBezTo>
                  <a:pt x="1987" y="590"/>
                  <a:pt x="1987" y="590"/>
                  <a:pt x="1987" y="590"/>
                </a:cubicBezTo>
                <a:cubicBezTo>
                  <a:pt x="1984" y="590"/>
                  <a:pt x="1984" y="590"/>
                  <a:pt x="1984" y="590"/>
                </a:cubicBezTo>
                <a:cubicBezTo>
                  <a:pt x="1982" y="588"/>
                  <a:pt x="1982" y="588"/>
                  <a:pt x="1982" y="588"/>
                </a:cubicBezTo>
                <a:cubicBezTo>
                  <a:pt x="1982" y="587"/>
                  <a:pt x="1982" y="587"/>
                  <a:pt x="1982" y="587"/>
                </a:cubicBezTo>
                <a:cubicBezTo>
                  <a:pt x="1978" y="584"/>
                  <a:pt x="1978" y="584"/>
                  <a:pt x="1978" y="584"/>
                </a:cubicBezTo>
                <a:cubicBezTo>
                  <a:pt x="1977" y="581"/>
                  <a:pt x="1977" y="581"/>
                  <a:pt x="1977" y="581"/>
                </a:cubicBezTo>
                <a:cubicBezTo>
                  <a:pt x="1977" y="579"/>
                  <a:pt x="1977" y="579"/>
                  <a:pt x="1977" y="579"/>
                </a:cubicBezTo>
                <a:cubicBezTo>
                  <a:pt x="1974" y="575"/>
                  <a:pt x="1974" y="575"/>
                  <a:pt x="1974" y="575"/>
                </a:cubicBezTo>
                <a:cubicBezTo>
                  <a:pt x="1972" y="574"/>
                  <a:pt x="1972" y="574"/>
                  <a:pt x="1972" y="574"/>
                </a:cubicBezTo>
                <a:cubicBezTo>
                  <a:pt x="1968" y="578"/>
                  <a:pt x="1968" y="578"/>
                  <a:pt x="1968" y="578"/>
                </a:cubicBezTo>
                <a:cubicBezTo>
                  <a:pt x="1971" y="574"/>
                  <a:pt x="1971" y="574"/>
                  <a:pt x="1971" y="574"/>
                </a:cubicBezTo>
                <a:cubicBezTo>
                  <a:pt x="1972" y="574"/>
                  <a:pt x="1972" y="574"/>
                  <a:pt x="1972" y="574"/>
                </a:cubicBezTo>
                <a:cubicBezTo>
                  <a:pt x="1971" y="573"/>
                  <a:pt x="1971" y="573"/>
                  <a:pt x="1971" y="573"/>
                </a:cubicBezTo>
                <a:cubicBezTo>
                  <a:pt x="1965" y="569"/>
                  <a:pt x="1965" y="569"/>
                  <a:pt x="1965" y="569"/>
                </a:cubicBezTo>
                <a:cubicBezTo>
                  <a:pt x="1961" y="564"/>
                  <a:pt x="1961" y="564"/>
                  <a:pt x="1961" y="564"/>
                </a:cubicBezTo>
                <a:cubicBezTo>
                  <a:pt x="1961" y="561"/>
                  <a:pt x="1961" y="561"/>
                  <a:pt x="1961" y="561"/>
                </a:cubicBezTo>
                <a:cubicBezTo>
                  <a:pt x="1959" y="559"/>
                  <a:pt x="1959" y="559"/>
                  <a:pt x="1959" y="559"/>
                </a:cubicBezTo>
                <a:cubicBezTo>
                  <a:pt x="1959" y="556"/>
                  <a:pt x="1959" y="556"/>
                  <a:pt x="1959" y="556"/>
                </a:cubicBezTo>
                <a:cubicBezTo>
                  <a:pt x="1958" y="555"/>
                  <a:pt x="1958" y="555"/>
                  <a:pt x="1958" y="555"/>
                </a:cubicBezTo>
                <a:cubicBezTo>
                  <a:pt x="1958" y="554"/>
                  <a:pt x="1958" y="554"/>
                  <a:pt x="1958" y="554"/>
                </a:cubicBezTo>
                <a:cubicBezTo>
                  <a:pt x="1957" y="554"/>
                  <a:pt x="1957" y="554"/>
                  <a:pt x="1957" y="554"/>
                </a:cubicBezTo>
                <a:cubicBezTo>
                  <a:pt x="1957" y="552"/>
                  <a:pt x="1957" y="552"/>
                  <a:pt x="1957" y="552"/>
                </a:cubicBezTo>
                <a:cubicBezTo>
                  <a:pt x="1958" y="553"/>
                  <a:pt x="1958" y="553"/>
                  <a:pt x="1958" y="553"/>
                </a:cubicBezTo>
                <a:cubicBezTo>
                  <a:pt x="1959" y="551"/>
                  <a:pt x="1959" y="551"/>
                  <a:pt x="1959" y="551"/>
                </a:cubicBezTo>
                <a:cubicBezTo>
                  <a:pt x="1959" y="549"/>
                  <a:pt x="1959" y="549"/>
                  <a:pt x="1959" y="549"/>
                </a:cubicBezTo>
                <a:cubicBezTo>
                  <a:pt x="1958" y="549"/>
                  <a:pt x="1958" y="549"/>
                  <a:pt x="1958" y="549"/>
                </a:cubicBezTo>
                <a:cubicBezTo>
                  <a:pt x="1957" y="550"/>
                  <a:pt x="1957" y="550"/>
                  <a:pt x="1957" y="550"/>
                </a:cubicBezTo>
                <a:cubicBezTo>
                  <a:pt x="1955" y="549"/>
                  <a:pt x="1955" y="549"/>
                  <a:pt x="1955" y="549"/>
                </a:cubicBezTo>
                <a:cubicBezTo>
                  <a:pt x="1955" y="545"/>
                  <a:pt x="1955" y="545"/>
                  <a:pt x="1955" y="545"/>
                </a:cubicBezTo>
                <a:cubicBezTo>
                  <a:pt x="1953" y="545"/>
                  <a:pt x="1953" y="545"/>
                  <a:pt x="1953" y="545"/>
                </a:cubicBezTo>
                <a:cubicBezTo>
                  <a:pt x="1952" y="543"/>
                  <a:pt x="1952" y="543"/>
                  <a:pt x="1952" y="543"/>
                </a:cubicBezTo>
                <a:cubicBezTo>
                  <a:pt x="1950" y="543"/>
                  <a:pt x="1950" y="543"/>
                  <a:pt x="1950" y="543"/>
                </a:cubicBezTo>
                <a:cubicBezTo>
                  <a:pt x="1949" y="543"/>
                  <a:pt x="1949" y="543"/>
                  <a:pt x="1949" y="543"/>
                </a:cubicBezTo>
                <a:cubicBezTo>
                  <a:pt x="1948" y="540"/>
                  <a:pt x="1948" y="540"/>
                  <a:pt x="1948" y="540"/>
                </a:cubicBezTo>
                <a:cubicBezTo>
                  <a:pt x="1948" y="538"/>
                  <a:pt x="1948" y="538"/>
                  <a:pt x="1948" y="538"/>
                </a:cubicBezTo>
                <a:cubicBezTo>
                  <a:pt x="1950" y="537"/>
                  <a:pt x="1950" y="537"/>
                  <a:pt x="1950" y="537"/>
                </a:cubicBezTo>
                <a:cubicBezTo>
                  <a:pt x="1950" y="533"/>
                  <a:pt x="1950" y="533"/>
                  <a:pt x="1950" y="533"/>
                </a:cubicBezTo>
                <a:cubicBezTo>
                  <a:pt x="1950" y="532"/>
                  <a:pt x="1950" y="532"/>
                  <a:pt x="1950" y="532"/>
                </a:cubicBezTo>
                <a:cubicBezTo>
                  <a:pt x="1951" y="530"/>
                  <a:pt x="1951" y="530"/>
                  <a:pt x="1951" y="530"/>
                </a:cubicBezTo>
                <a:cubicBezTo>
                  <a:pt x="1952" y="529"/>
                  <a:pt x="1952" y="529"/>
                  <a:pt x="1952" y="529"/>
                </a:cubicBezTo>
                <a:cubicBezTo>
                  <a:pt x="1953" y="527"/>
                  <a:pt x="1953" y="527"/>
                  <a:pt x="1953" y="527"/>
                </a:cubicBezTo>
                <a:cubicBezTo>
                  <a:pt x="1953" y="525"/>
                  <a:pt x="1953" y="525"/>
                  <a:pt x="1953" y="525"/>
                </a:cubicBezTo>
                <a:cubicBezTo>
                  <a:pt x="1953" y="524"/>
                  <a:pt x="1953" y="524"/>
                  <a:pt x="1953" y="524"/>
                </a:cubicBezTo>
                <a:cubicBezTo>
                  <a:pt x="1955" y="524"/>
                  <a:pt x="1955" y="524"/>
                  <a:pt x="1955" y="524"/>
                </a:cubicBezTo>
                <a:cubicBezTo>
                  <a:pt x="1955" y="525"/>
                  <a:pt x="1955" y="525"/>
                  <a:pt x="1955" y="525"/>
                </a:cubicBezTo>
                <a:cubicBezTo>
                  <a:pt x="1956" y="525"/>
                  <a:pt x="1956" y="525"/>
                  <a:pt x="1956" y="525"/>
                </a:cubicBezTo>
                <a:cubicBezTo>
                  <a:pt x="1957" y="523"/>
                  <a:pt x="1957" y="523"/>
                  <a:pt x="1957" y="523"/>
                </a:cubicBezTo>
                <a:cubicBezTo>
                  <a:pt x="1958" y="524"/>
                  <a:pt x="1958" y="524"/>
                  <a:pt x="1958" y="524"/>
                </a:cubicBezTo>
                <a:cubicBezTo>
                  <a:pt x="1959" y="523"/>
                  <a:pt x="1959" y="523"/>
                  <a:pt x="1959" y="523"/>
                </a:cubicBezTo>
                <a:cubicBezTo>
                  <a:pt x="1960" y="523"/>
                  <a:pt x="1960" y="523"/>
                  <a:pt x="1960" y="523"/>
                </a:cubicBezTo>
                <a:cubicBezTo>
                  <a:pt x="1961" y="522"/>
                  <a:pt x="1961" y="522"/>
                  <a:pt x="1961" y="522"/>
                </a:cubicBezTo>
                <a:cubicBezTo>
                  <a:pt x="1961" y="522"/>
                  <a:pt x="1961" y="522"/>
                  <a:pt x="1961" y="522"/>
                </a:cubicBezTo>
                <a:cubicBezTo>
                  <a:pt x="1960" y="521"/>
                  <a:pt x="1960" y="521"/>
                  <a:pt x="1960" y="521"/>
                </a:cubicBezTo>
                <a:cubicBezTo>
                  <a:pt x="1961" y="521"/>
                  <a:pt x="1961" y="521"/>
                  <a:pt x="1961" y="521"/>
                </a:cubicBezTo>
                <a:cubicBezTo>
                  <a:pt x="1961" y="521"/>
                  <a:pt x="1961" y="521"/>
                  <a:pt x="1961" y="521"/>
                </a:cubicBezTo>
                <a:cubicBezTo>
                  <a:pt x="1962" y="521"/>
                  <a:pt x="1963" y="521"/>
                  <a:pt x="1963" y="521"/>
                </a:cubicBezTo>
                <a:cubicBezTo>
                  <a:pt x="1964" y="522"/>
                  <a:pt x="1964" y="522"/>
                  <a:pt x="1964" y="522"/>
                </a:cubicBezTo>
                <a:cubicBezTo>
                  <a:pt x="1965" y="521"/>
                  <a:pt x="1965" y="521"/>
                  <a:pt x="1965" y="521"/>
                </a:cubicBezTo>
                <a:cubicBezTo>
                  <a:pt x="1964" y="520"/>
                  <a:pt x="1964" y="520"/>
                  <a:pt x="1964" y="520"/>
                </a:cubicBezTo>
                <a:cubicBezTo>
                  <a:pt x="1961" y="518"/>
                  <a:pt x="1961" y="518"/>
                  <a:pt x="1961" y="518"/>
                </a:cubicBezTo>
                <a:cubicBezTo>
                  <a:pt x="1963" y="518"/>
                  <a:pt x="1963" y="518"/>
                  <a:pt x="1963" y="518"/>
                </a:cubicBezTo>
                <a:cubicBezTo>
                  <a:pt x="1965" y="519"/>
                  <a:pt x="1965" y="519"/>
                  <a:pt x="1965" y="519"/>
                </a:cubicBezTo>
                <a:cubicBezTo>
                  <a:pt x="1965" y="518"/>
                  <a:pt x="1965" y="518"/>
                  <a:pt x="1965" y="518"/>
                </a:cubicBezTo>
                <a:cubicBezTo>
                  <a:pt x="1967" y="519"/>
                  <a:pt x="1967" y="519"/>
                  <a:pt x="1967" y="519"/>
                </a:cubicBezTo>
                <a:cubicBezTo>
                  <a:pt x="1967" y="518"/>
                  <a:pt x="1967" y="518"/>
                  <a:pt x="1967" y="518"/>
                </a:cubicBezTo>
                <a:cubicBezTo>
                  <a:pt x="1966" y="517"/>
                  <a:pt x="1966" y="517"/>
                  <a:pt x="1966" y="517"/>
                </a:cubicBezTo>
                <a:cubicBezTo>
                  <a:pt x="1967" y="517"/>
                  <a:pt x="1967" y="517"/>
                  <a:pt x="1967" y="517"/>
                </a:cubicBezTo>
                <a:cubicBezTo>
                  <a:pt x="1967" y="516"/>
                  <a:pt x="1967" y="516"/>
                  <a:pt x="1967" y="516"/>
                </a:cubicBezTo>
                <a:cubicBezTo>
                  <a:pt x="1966" y="515"/>
                  <a:pt x="1966" y="515"/>
                  <a:pt x="1966" y="515"/>
                </a:cubicBezTo>
                <a:cubicBezTo>
                  <a:pt x="1968" y="515"/>
                  <a:pt x="1968" y="515"/>
                  <a:pt x="1968" y="515"/>
                </a:cubicBezTo>
                <a:cubicBezTo>
                  <a:pt x="1968" y="514"/>
                  <a:pt x="1968" y="514"/>
                  <a:pt x="1968" y="514"/>
                </a:cubicBezTo>
                <a:cubicBezTo>
                  <a:pt x="1968" y="513"/>
                  <a:pt x="1968" y="513"/>
                  <a:pt x="1968" y="513"/>
                </a:cubicBezTo>
                <a:cubicBezTo>
                  <a:pt x="1968" y="513"/>
                  <a:pt x="1968" y="513"/>
                  <a:pt x="1968" y="513"/>
                </a:cubicBezTo>
                <a:cubicBezTo>
                  <a:pt x="1968" y="513"/>
                  <a:pt x="1968" y="513"/>
                  <a:pt x="1968" y="513"/>
                </a:cubicBezTo>
                <a:cubicBezTo>
                  <a:pt x="1965" y="511"/>
                  <a:pt x="1965" y="511"/>
                  <a:pt x="1965" y="511"/>
                </a:cubicBezTo>
                <a:cubicBezTo>
                  <a:pt x="1968" y="513"/>
                  <a:pt x="1968" y="513"/>
                  <a:pt x="1968" y="513"/>
                </a:cubicBezTo>
                <a:cubicBezTo>
                  <a:pt x="1969" y="513"/>
                  <a:pt x="1969" y="513"/>
                  <a:pt x="1969" y="513"/>
                </a:cubicBezTo>
                <a:cubicBezTo>
                  <a:pt x="1969" y="514"/>
                  <a:pt x="1969" y="514"/>
                  <a:pt x="1969" y="514"/>
                </a:cubicBezTo>
                <a:cubicBezTo>
                  <a:pt x="1971" y="514"/>
                  <a:pt x="1971" y="514"/>
                  <a:pt x="1971" y="514"/>
                </a:cubicBezTo>
                <a:cubicBezTo>
                  <a:pt x="1971" y="513"/>
                  <a:pt x="1971" y="513"/>
                  <a:pt x="1971" y="513"/>
                </a:cubicBezTo>
                <a:cubicBezTo>
                  <a:pt x="1972" y="513"/>
                  <a:pt x="1972" y="513"/>
                  <a:pt x="1972" y="513"/>
                </a:cubicBezTo>
                <a:cubicBezTo>
                  <a:pt x="1973" y="514"/>
                  <a:pt x="1973" y="514"/>
                  <a:pt x="1973" y="514"/>
                </a:cubicBezTo>
                <a:cubicBezTo>
                  <a:pt x="1974" y="513"/>
                  <a:pt x="1974" y="513"/>
                  <a:pt x="1974" y="513"/>
                </a:cubicBezTo>
                <a:cubicBezTo>
                  <a:pt x="1974" y="512"/>
                  <a:pt x="1974" y="512"/>
                  <a:pt x="1974" y="512"/>
                </a:cubicBezTo>
                <a:cubicBezTo>
                  <a:pt x="1975" y="512"/>
                  <a:pt x="1975" y="512"/>
                  <a:pt x="1975" y="512"/>
                </a:cubicBezTo>
                <a:cubicBezTo>
                  <a:pt x="1977" y="510"/>
                  <a:pt x="1977" y="510"/>
                  <a:pt x="1977" y="510"/>
                </a:cubicBezTo>
                <a:cubicBezTo>
                  <a:pt x="1977" y="509"/>
                  <a:pt x="1977" y="509"/>
                  <a:pt x="1977" y="509"/>
                </a:cubicBezTo>
                <a:cubicBezTo>
                  <a:pt x="1979" y="509"/>
                  <a:pt x="1979" y="509"/>
                  <a:pt x="1979" y="509"/>
                </a:cubicBezTo>
                <a:cubicBezTo>
                  <a:pt x="1980" y="508"/>
                  <a:pt x="1980" y="508"/>
                  <a:pt x="1980" y="508"/>
                </a:cubicBezTo>
                <a:cubicBezTo>
                  <a:pt x="1981" y="508"/>
                  <a:pt x="1981" y="508"/>
                  <a:pt x="1981" y="508"/>
                </a:cubicBezTo>
                <a:cubicBezTo>
                  <a:pt x="1981" y="508"/>
                  <a:pt x="1981" y="508"/>
                  <a:pt x="1981" y="508"/>
                </a:cubicBezTo>
                <a:cubicBezTo>
                  <a:pt x="1982" y="508"/>
                  <a:pt x="1982" y="508"/>
                  <a:pt x="1982" y="508"/>
                </a:cubicBezTo>
                <a:cubicBezTo>
                  <a:pt x="1982" y="507"/>
                  <a:pt x="1982" y="507"/>
                  <a:pt x="1982" y="507"/>
                </a:cubicBezTo>
                <a:cubicBezTo>
                  <a:pt x="1984" y="505"/>
                  <a:pt x="1984" y="505"/>
                  <a:pt x="1984" y="505"/>
                </a:cubicBezTo>
                <a:cubicBezTo>
                  <a:pt x="1986" y="505"/>
                  <a:pt x="1986" y="505"/>
                  <a:pt x="1986" y="505"/>
                </a:cubicBezTo>
                <a:cubicBezTo>
                  <a:pt x="1987" y="506"/>
                  <a:pt x="1987" y="506"/>
                  <a:pt x="1987" y="506"/>
                </a:cubicBezTo>
                <a:cubicBezTo>
                  <a:pt x="1989" y="506"/>
                  <a:pt x="1989" y="506"/>
                  <a:pt x="1989" y="506"/>
                </a:cubicBezTo>
                <a:cubicBezTo>
                  <a:pt x="1989" y="505"/>
                  <a:pt x="1989" y="505"/>
                  <a:pt x="1989" y="505"/>
                </a:cubicBezTo>
                <a:cubicBezTo>
                  <a:pt x="1990" y="506"/>
                  <a:pt x="1990" y="506"/>
                  <a:pt x="1990" y="506"/>
                </a:cubicBezTo>
                <a:cubicBezTo>
                  <a:pt x="1990" y="507"/>
                  <a:pt x="1990" y="507"/>
                  <a:pt x="1990" y="507"/>
                </a:cubicBezTo>
                <a:cubicBezTo>
                  <a:pt x="1991" y="508"/>
                  <a:pt x="1991" y="508"/>
                  <a:pt x="1991" y="508"/>
                </a:cubicBezTo>
                <a:cubicBezTo>
                  <a:pt x="1991" y="508"/>
                  <a:pt x="1991" y="508"/>
                  <a:pt x="1991" y="508"/>
                </a:cubicBezTo>
                <a:cubicBezTo>
                  <a:pt x="1993" y="508"/>
                  <a:pt x="1993" y="508"/>
                  <a:pt x="1993" y="508"/>
                </a:cubicBezTo>
                <a:cubicBezTo>
                  <a:pt x="1993" y="508"/>
                  <a:pt x="1993" y="508"/>
                  <a:pt x="1993" y="508"/>
                </a:cubicBezTo>
                <a:cubicBezTo>
                  <a:pt x="1994" y="509"/>
                  <a:pt x="1994" y="509"/>
                  <a:pt x="1994" y="509"/>
                </a:cubicBezTo>
                <a:cubicBezTo>
                  <a:pt x="1995" y="508"/>
                  <a:pt x="1995" y="508"/>
                  <a:pt x="1995" y="508"/>
                </a:cubicBezTo>
                <a:cubicBezTo>
                  <a:pt x="1995" y="507"/>
                  <a:pt x="1995" y="507"/>
                  <a:pt x="1995" y="507"/>
                </a:cubicBezTo>
                <a:cubicBezTo>
                  <a:pt x="1996" y="507"/>
                  <a:pt x="1996" y="507"/>
                  <a:pt x="1996" y="507"/>
                </a:cubicBezTo>
                <a:cubicBezTo>
                  <a:pt x="1997" y="506"/>
                  <a:pt x="1997" y="506"/>
                  <a:pt x="1997" y="506"/>
                </a:cubicBezTo>
                <a:cubicBezTo>
                  <a:pt x="1998" y="506"/>
                  <a:pt x="1998" y="506"/>
                  <a:pt x="1998" y="506"/>
                </a:cubicBezTo>
                <a:cubicBezTo>
                  <a:pt x="1999" y="506"/>
                  <a:pt x="1999" y="506"/>
                  <a:pt x="1999" y="506"/>
                </a:cubicBezTo>
                <a:cubicBezTo>
                  <a:pt x="2003" y="506"/>
                  <a:pt x="2003" y="506"/>
                  <a:pt x="2003" y="506"/>
                </a:cubicBezTo>
                <a:cubicBezTo>
                  <a:pt x="2003" y="507"/>
                  <a:pt x="2003" y="507"/>
                  <a:pt x="2003" y="507"/>
                </a:cubicBezTo>
                <a:cubicBezTo>
                  <a:pt x="2004" y="508"/>
                  <a:pt x="2004" y="508"/>
                  <a:pt x="2004" y="508"/>
                </a:cubicBezTo>
                <a:cubicBezTo>
                  <a:pt x="2005" y="509"/>
                  <a:pt x="2005" y="509"/>
                  <a:pt x="2005" y="509"/>
                </a:cubicBezTo>
                <a:cubicBezTo>
                  <a:pt x="2005" y="509"/>
                  <a:pt x="2005" y="509"/>
                  <a:pt x="2005" y="509"/>
                </a:cubicBezTo>
                <a:cubicBezTo>
                  <a:pt x="2004" y="511"/>
                  <a:pt x="2004" y="511"/>
                  <a:pt x="2004" y="511"/>
                </a:cubicBezTo>
                <a:cubicBezTo>
                  <a:pt x="2005" y="512"/>
                  <a:pt x="2005" y="512"/>
                  <a:pt x="2005" y="512"/>
                </a:cubicBezTo>
                <a:cubicBezTo>
                  <a:pt x="2006" y="513"/>
                  <a:pt x="2006" y="513"/>
                  <a:pt x="2006" y="513"/>
                </a:cubicBezTo>
                <a:cubicBezTo>
                  <a:pt x="2006" y="515"/>
                  <a:pt x="2006" y="515"/>
                  <a:pt x="2006" y="515"/>
                </a:cubicBezTo>
                <a:cubicBezTo>
                  <a:pt x="2005" y="517"/>
                  <a:pt x="2005" y="517"/>
                  <a:pt x="2005" y="517"/>
                </a:cubicBezTo>
                <a:cubicBezTo>
                  <a:pt x="2005" y="518"/>
                  <a:pt x="2005" y="518"/>
                  <a:pt x="2005" y="518"/>
                </a:cubicBezTo>
                <a:cubicBezTo>
                  <a:pt x="2006" y="519"/>
                  <a:pt x="2006" y="519"/>
                  <a:pt x="2006" y="519"/>
                </a:cubicBezTo>
                <a:cubicBezTo>
                  <a:pt x="2007" y="519"/>
                  <a:pt x="2007" y="519"/>
                  <a:pt x="2007" y="519"/>
                </a:cubicBezTo>
                <a:cubicBezTo>
                  <a:pt x="2006" y="520"/>
                  <a:pt x="2006" y="520"/>
                  <a:pt x="2006" y="520"/>
                </a:cubicBezTo>
                <a:cubicBezTo>
                  <a:pt x="2005" y="521"/>
                  <a:pt x="2005" y="521"/>
                  <a:pt x="2005" y="521"/>
                </a:cubicBezTo>
                <a:cubicBezTo>
                  <a:pt x="2004" y="523"/>
                  <a:pt x="2004" y="523"/>
                  <a:pt x="2004" y="523"/>
                </a:cubicBezTo>
                <a:cubicBezTo>
                  <a:pt x="2006" y="526"/>
                  <a:pt x="2006" y="526"/>
                  <a:pt x="2006" y="526"/>
                </a:cubicBezTo>
                <a:cubicBezTo>
                  <a:pt x="2007" y="526"/>
                  <a:pt x="2007" y="526"/>
                  <a:pt x="2007" y="526"/>
                </a:cubicBezTo>
                <a:cubicBezTo>
                  <a:pt x="2009" y="527"/>
                  <a:pt x="2009" y="527"/>
                  <a:pt x="2009" y="527"/>
                </a:cubicBezTo>
                <a:cubicBezTo>
                  <a:pt x="2009" y="528"/>
                  <a:pt x="2009" y="528"/>
                  <a:pt x="2009" y="528"/>
                </a:cubicBezTo>
                <a:cubicBezTo>
                  <a:pt x="2006" y="529"/>
                  <a:pt x="2006" y="529"/>
                  <a:pt x="2006" y="529"/>
                </a:cubicBezTo>
                <a:cubicBezTo>
                  <a:pt x="2005" y="529"/>
                  <a:pt x="2005" y="529"/>
                  <a:pt x="2005" y="529"/>
                </a:cubicBezTo>
                <a:cubicBezTo>
                  <a:pt x="2003" y="527"/>
                  <a:pt x="2003" y="527"/>
                  <a:pt x="2003" y="527"/>
                </a:cubicBezTo>
                <a:cubicBezTo>
                  <a:pt x="2002" y="527"/>
                  <a:pt x="2002" y="527"/>
                  <a:pt x="2002" y="527"/>
                </a:cubicBezTo>
                <a:cubicBezTo>
                  <a:pt x="2001" y="527"/>
                  <a:pt x="2001" y="527"/>
                  <a:pt x="2001" y="527"/>
                </a:cubicBezTo>
                <a:cubicBezTo>
                  <a:pt x="2000" y="527"/>
                  <a:pt x="2000" y="527"/>
                  <a:pt x="2000" y="527"/>
                </a:cubicBezTo>
                <a:cubicBezTo>
                  <a:pt x="1998" y="527"/>
                  <a:pt x="1998" y="527"/>
                  <a:pt x="1998" y="527"/>
                </a:cubicBezTo>
                <a:cubicBezTo>
                  <a:pt x="1996" y="527"/>
                  <a:pt x="1996" y="527"/>
                  <a:pt x="1996" y="527"/>
                </a:cubicBezTo>
                <a:cubicBezTo>
                  <a:pt x="1995" y="527"/>
                  <a:pt x="1995" y="527"/>
                  <a:pt x="1995" y="527"/>
                </a:cubicBezTo>
                <a:cubicBezTo>
                  <a:pt x="1993" y="527"/>
                  <a:pt x="1993" y="527"/>
                  <a:pt x="1993" y="527"/>
                </a:cubicBezTo>
                <a:cubicBezTo>
                  <a:pt x="1991" y="528"/>
                  <a:pt x="1991" y="528"/>
                  <a:pt x="1991" y="528"/>
                </a:cubicBezTo>
                <a:cubicBezTo>
                  <a:pt x="1990" y="529"/>
                  <a:pt x="1990" y="529"/>
                  <a:pt x="1990" y="529"/>
                </a:cubicBezTo>
                <a:cubicBezTo>
                  <a:pt x="1990" y="530"/>
                  <a:pt x="1990" y="530"/>
                  <a:pt x="1990" y="530"/>
                </a:cubicBezTo>
                <a:cubicBezTo>
                  <a:pt x="1990" y="532"/>
                  <a:pt x="1990" y="532"/>
                  <a:pt x="1990" y="532"/>
                </a:cubicBezTo>
                <a:cubicBezTo>
                  <a:pt x="1989" y="532"/>
                  <a:pt x="1989" y="532"/>
                  <a:pt x="1989" y="532"/>
                </a:cubicBezTo>
                <a:cubicBezTo>
                  <a:pt x="1989" y="533"/>
                  <a:pt x="1989" y="533"/>
                  <a:pt x="1989" y="533"/>
                </a:cubicBezTo>
                <a:cubicBezTo>
                  <a:pt x="1991" y="536"/>
                  <a:pt x="1991" y="536"/>
                  <a:pt x="1991" y="536"/>
                </a:cubicBezTo>
                <a:cubicBezTo>
                  <a:pt x="1991" y="537"/>
                  <a:pt x="1991" y="537"/>
                  <a:pt x="1991" y="537"/>
                </a:cubicBezTo>
                <a:cubicBezTo>
                  <a:pt x="1992" y="538"/>
                  <a:pt x="1992" y="538"/>
                  <a:pt x="1992" y="538"/>
                </a:cubicBezTo>
                <a:cubicBezTo>
                  <a:pt x="1994" y="537"/>
                  <a:pt x="1994" y="537"/>
                  <a:pt x="1994" y="537"/>
                </a:cubicBezTo>
                <a:cubicBezTo>
                  <a:pt x="1994" y="538"/>
                  <a:pt x="1994" y="538"/>
                  <a:pt x="1994" y="538"/>
                </a:cubicBezTo>
                <a:cubicBezTo>
                  <a:pt x="1994" y="539"/>
                  <a:pt x="1994" y="539"/>
                  <a:pt x="1994" y="539"/>
                </a:cubicBezTo>
                <a:cubicBezTo>
                  <a:pt x="1992" y="538"/>
                  <a:pt x="1992" y="538"/>
                  <a:pt x="1992" y="538"/>
                </a:cubicBezTo>
                <a:cubicBezTo>
                  <a:pt x="1991" y="539"/>
                  <a:pt x="1991" y="539"/>
                  <a:pt x="1991" y="539"/>
                </a:cubicBezTo>
                <a:cubicBezTo>
                  <a:pt x="1990" y="540"/>
                  <a:pt x="1990" y="540"/>
                  <a:pt x="1990" y="540"/>
                </a:cubicBezTo>
                <a:cubicBezTo>
                  <a:pt x="1989" y="539"/>
                  <a:pt x="1989" y="539"/>
                  <a:pt x="1989" y="539"/>
                </a:cubicBezTo>
                <a:cubicBezTo>
                  <a:pt x="1988" y="539"/>
                  <a:pt x="1988" y="539"/>
                  <a:pt x="1988" y="539"/>
                </a:cubicBezTo>
                <a:cubicBezTo>
                  <a:pt x="1987" y="539"/>
                  <a:pt x="1987" y="539"/>
                  <a:pt x="1987" y="539"/>
                </a:cubicBezTo>
                <a:cubicBezTo>
                  <a:pt x="1984" y="539"/>
                  <a:pt x="1984" y="539"/>
                  <a:pt x="1984" y="539"/>
                </a:cubicBezTo>
                <a:cubicBezTo>
                  <a:pt x="1983" y="539"/>
                  <a:pt x="1983" y="539"/>
                  <a:pt x="1983" y="539"/>
                </a:cubicBezTo>
                <a:cubicBezTo>
                  <a:pt x="1982" y="540"/>
                  <a:pt x="1982" y="540"/>
                  <a:pt x="1982" y="540"/>
                </a:cubicBezTo>
                <a:cubicBezTo>
                  <a:pt x="1982" y="541"/>
                  <a:pt x="1982" y="541"/>
                  <a:pt x="1982" y="541"/>
                </a:cubicBezTo>
                <a:cubicBezTo>
                  <a:pt x="1983" y="542"/>
                  <a:pt x="1983" y="542"/>
                  <a:pt x="1983" y="542"/>
                </a:cubicBezTo>
                <a:cubicBezTo>
                  <a:pt x="1985" y="542"/>
                  <a:pt x="1985" y="542"/>
                  <a:pt x="1985" y="542"/>
                </a:cubicBezTo>
                <a:cubicBezTo>
                  <a:pt x="1987" y="543"/>
                  <a:pt x="1987" y="543"/>
                  <a:pt x="1987" y="543"/>
                </a:cubicBezTo>
                <a:cubicBezTo>
                  <a:pt x="1988" y="544"/>
                  <a:pt x="1988" y="544"/>
                  <a:pt x="1988" y="544"/>
                </a:cubicBezTo>
                <a:cubicBezTo>
                  <a:pt x="1989" y="545"/>
                  <a:pt x="1989" y="545"/>
                  <a:pt x="1989" y="545"/>
                </a:cubicBezTo>
                <a:cubicBezTo>
                  <a:pt x="1989" y="547"/>
                  <a:pt x="1989" y="547"/>
                  <a:pt x="1989" y="547"/>
                </a:cubicBezTo>
                <a:cubicBezTo>
                  <a:pt x="1990" y="548"/>
                  <a:pt x="1990" y="548"/>
                  <a:pt x="1990" y="548"/>
                </a:cubicBezTo>
                <a:cubicBezTo>
                  <a:pt x="1991" y="549"/>
                  <a:pt x="1991" y="549"/>
                  <a:pt x="1991" y="549"/>
                </a:cubicBezTo>
                <a:cubicBezTo>
                  <a:pt x="1994" y="552"/>
                  <a:pt x="1994" y="552"/>
                  <a:pt x="1994" y="552"/>
                </a:cubicBezTo>
                <a:cubicBezTo>
                  <a:pt x="1994" y="554"/>
                  <a:pt x="1994" y="554"/>
                  <a:pt x="1994" y="554"/>
                </a:cubicBezTo>
                <a:cubicBezTo>
                  <a:pt x="1994" y="557"/>
                  <a:pt x="1994" y="557"/>
                  <a:pt x="1994" y="557"/>
                </a:cubicBezTo>
                <a:cubicBezTo>
                  <a:pt x="1994" y="557"/>
                  <a:pt x="1994" y="557"/>
                  <a:pt x="1994" y="557"/>
                </a:cubicBezTo>
                <a:cubicBezTo>
                  <a:pt x="1996" y="556"/>
                  <a:pt x="1996" y="556"/>
                  <a:pt x="1996" y="556"/>
                </a:cubicBezTo>
                <a:cubicBezTo>
                  <a:pt x="1997" y="556"/>
                  <a:pt x="1997" y="556"/>
                  <a:pt x="1997" y="556"/>
                </a:cubicBezTo>
                <a:cubicBezTo>
                  <a:pt x="1998" y="556"/>
                  <a:pt x="1998" y="556"/>
                  <a:pt x="1998" y="556"/>
                </a:cubicBezTo>
                <a:cubicBezTo>
                  <a:pt x="1999" y="558"/>
                  <a:pt x="1999" y="558"/>
                  <a:pt x="1999" y="558"/>
                </a:cubicBezTo>
                <a:cubicBezTo>
                  <a:pt x="2000" y="559"/>
                  <a:pt x="2000" y="559"/>
                  <a:pt x="2000" y="559"/>
                </a:cubicBezTo>
                <a:cubicBezTo>
                  <a:pt x="2000" y="561"/>
                  <a:pt x="2000" y="561"/>
                  <a:pt x="2000" y="561"/>
                </a:cubicBezTo>
                <a:cubicBezTo>
                  <a:pt x="2001" y="561"/>
                  <a:pt x="2001" y="561"/>
                  <a:pt x="2001" y="561"/>
                </a:cubicBezTo>
                <a:cubicBezTo>
                  <a:pt x="2003" y="560"/>
                  <a:pt x="2003" y="560"/>
                  <a:pt x="2003" y="560"/>
                </a:cubicBezTo>
                <a:cubicBezTo>
                  <a:pt x="2005" y="561"/>
                  <a:pt x="2005" y="561"/>
                  <a:pt x="2005" y="561"/>
                </a:cubicBezTo>
                <a:cubicBezTo>
                  <a:pt x="2006" y="561"/>
                  <a:pt x="2006" y="561"/>
                  <a:pt x="2006" y="561"/>
                </a:cubicBezTo>
                <a:cubicBezTo>
                  <a:pt x="2008" y="561"/>
                  <a:pt x="2008" y="561"/>
                  <a:pt x="2008" y="561"/>
                </a:cubicBezTo>
                <a:cubicBezTo>
                  <a:pt x="2009" y="562"/>
                  <a:pt x="2009" y="562"/>
                  <a:pt x="2009" y="562"/>
                </a:cubicBezTo>
                <a:cubicBezTo>
                  <a:pt x="2009" y="562"/>
                  <a:pt x="2009" y="562"/>
                  <a:pt x="2009" y="562"/>
                </a:cubicBezTo>
                <a:cubicBezTo>
                  <a:pt x="2009" y="563"/>
                  <a:pt x="2009" y="563"/>
                  <a:pt x="2009" y="563"/>
                </a:cubicBezTo>
                <a:cubicBezTo>
                  <a:pt x="2009" y="566"/>
                  <a:pt x="2009" y="566"/>
                  <a:pt x="2009" y="566"/>
                </a:cubicBezTo>
                <a:cubicBezTo>
                  <a:pt x="2007" y="569"/>
                  <a:pt x="2007" y="569"/>
                  <a:pt x="2007" y="569"/>
                </a:cubicBezTo>
                <a:cubicBezTo>
                  <a:pt x="2008" y="571"/>
                  <a:pt x="2008" y="571"/>
                  <a:pt x="2008" y="571"/>
                </a:cubicBezTo>
                <a:cubicBezTo>
                  <a:pt x="2008" y="574"/>
                  <a:pt x="2008" y="574"/>
                  <a:pt x="2008" y="574"/>
                </a:cubicBezTo>
                <a:cubicBezTo>
                  <a:pt x="2008" y="575"/>
                  <a:pt x="2008" y="575"/>
                  <a:pt x="2008" y="575"/>
                </a:cubicBezTo>
                <a:cubicBezTo>
                  <a:pt x="2010" y="576"/>
                  <a:pt x="2010" y="576"/>
                  <a:pt x="2010" y="576"/>
                </a:cubicBezTo>
                <a:cubicBezTo>
                  <a:pt x="2010" y="578"/>
                  <a:pt x="2010" y="578"/>
                  <a:pt x="2010" y="578"/>
                </a:cubicBezTo>
                <a:cubicBezTo>
                  <a:pt x="2012" y="579"/>
                  <a:pt x="2012" y="579"/>
                  <a:pt x="2012" y="579"/>
                </a:cubicBezTo>
                <a:cubicBezTo>
                  <a:pt x="2013" y="581"/>
                  <a:pt x="2013" y="581"/>
                  <a:pt x="2013" y="581"/>
                </a:cubicBezTo>
                <a:cubicBezTo>
                  <a:pt x="2015" y="584"/>
                  <a:pt x="2015" y="584"/>
                  <a:pt x="2015" y="584"/>
                </a:cubicBezTo>
                <a:cubicBezTo>
                  <a:pt x="2014" y="587"/>
                  <a:pt x="2014" y="587"/>
                  <a:pt x="2014" y="587"/>
                </a:cubicBezTo>
                <a:cubicBezTo>
                  <a:pt x="2013" y="589"/>
                  <a:pt x="2013" y="589"/>
                  <a:pt x="2013" y="589"/>
                </a:cubicBezTo>
                <a:cubicBezTo>
                  <a:pt x="2014" y="595"/>
                  <a:pt x="2014" y="595"/>
                  <a:pt x="2014" y="595"/>
                </a:cubicBezTo>
                <a:cubicBezTo>
                  <a:pt x="2015" y="596"/>
                  <a:pt x="2015" y="596"/>
                  <a:pt x="2015" y="596"/>
                </a:cubicBezTo>
                <a:cubicBezTo>
                  <a:pt x="2015" y="598"/>
                  <a:pt x="2015" y="598"/>
                  <a:pt x="2015" y="598"/>
                </a:cubicBezTo>
                <a:cubicBezTo>
                  <a:pt x="2019" y="601"/>
                  <a:pt x="2019" y="601"/>
                  <a:pt x="2019" y="601"/>
                </a:cubicBezTo>
                <a:cubicBezTo>
                  <a:pt x="2019" y="600"/>
                  <a:pt x="2019" y="600"/>
                  <a:pt x="2019" y="600"/>
                </a:cubicBezTo>
                <a:cubicBezTo>
                  <a:pt x="2017" y="598"/>
                  <a:pt x="2017" y="598"/>
                  <a:pt x="2017" y="598"/>
                </a:cubicBezTo>
                <a:cubicBezTo>
                  <a:pt x="2018" y="598"/>
                  <a:pt x="2018" y="598"/>
                  <a:pt x="2018" y="598"/>
                </a:cubicBezTo>
                <a:cubicBezTo>
                  <a:pt x="2021" y="598"/>
                  <a:pt x="2021" y="598"/>
                  <a:pt x="2021" y="598"/>
                </a:cubicBezTo>
                <a:cubicBezTo>
                  <a:pt x="2022" y="597"/>
                  <a:pt x="2022" y="597"/>
                  <a:pt x="2022" y="597"/>
                </a:cubicBezTo>
                <a:cubicBezTo>
                  <a:pt x="2023" y="598"/>
                  <a:pt x="2023" y="598"/>
                  <a:pt x="2023" y="598"/>
                </a:cubicBezTo>
                <a:cubicBezTo>
                  <a:pt x="2023" y="600"/>
                  <a:pt x="2023" y="600"/>
                  <a:pt x="2023" y="600"/>
                </a:cubicBezTo>
                <a:cubicBezTo>
                  <a:pt x="2023" y="602"/>
                  <a:pt x="2023" y="602"/>
                  <a:pt x="2023" y="602"/>
                </a:cubicBezTo>
                <a:cubicBezTo>
                  <a:pt x="2025" y="602"/>
                  <a:pt x="2025" y="602"/>
                  <a:pt x="2025" y="602"/>
                </a:cubicBezTo>
                <a:cubicBezTo>
                  <a:pt x="2026" y="603"/>
                  <a:pt x="2026" y="603"/>
                  <a:pt x="2026" y="603"/>
                </a:cubicBezTo>
                <a:cubicBezTo>
                  <a:pt x="2025" y="604"/>
                  <a:pt x="2025" y="604"/>
                  <a:pt x="2025" y="604"/>
                </a:cubicBezTo>
                <a:cubicBezTo>
                  <a:pt x="2024" y="604"/>
                  <a:pt x="2024" y="604"/>
                  <a:pt x="2024" y="604"/>
                </a:cubicBezTo>
                <a:cubicBezTo>
                  <a:pt x="2022" y="604"/>
                  <a:pt x="2022" y="604"/>
                  <a:pt x="2022" y="604"/>
                </a:cubicBezTo>
                <a:cubicBezTo>
                  <a:pt x="2022" y="603"/>
                  <a:pt x="2022" y="603"/>
                  <a:pt x="2022" y="603"/>
                </a:cubicBezTo>
                <a:cubicBezTo>
                  <a:pt x="2020" y="605"/>
                  <a:pt x="2020" y="605"/>
                  <a:pt x="2020" y="605"/>
                </a:cubicBezTo>
                <a:cubicBezTo>
                  <a:pt x="2020" y="607"/>
                  <a:pt x="2020" y="607"/>
                  <a:pt x="2020" y="607"/>
                </a:cubicBezTo>
                <a:cubicBezTo>
                  <a:pt x="2021" y="608"/>
                  <a:pt x="2021" y="608"/>
                  <a:pt x="2021" y="608"/>
                </a:cubicBezTo>
                <a:cubicBezTo>
                  <a:pt x="2021" y="606"/>
                  <a:pt x="2021" y="606"/>
                  <a:pt x="2021" y="606"/>
                </a:cubicBezTo>
                <a:cubicBezTo>
                  <a:pt x="2022" y="606"/>
                  <a:pt x="2022" y="606"/>
                  <a:pt x="2022" y="606"/>
                </a:cubicBezTo>
                <a:cubicBezTo>
                  <a:pt x="2023" y="606"/>
                  <a:pt x="2023" y="606"/>
                  <a:pt x="2023" y="606"/>
                </a:cubicBezTo>
                <a:cubicBezTo>
                  <a:pt x="2024" y="606"/>
                  <a:pt x="2024" y="606"/>
                  <a:pt x="2024" y="606"/>
                </a:cubicBezTo>
                <a:cubicBezTo>
                  <a:pt x="2025" y="608"/>
                  <a:pt x="2025" y="608"/>
                  <a:pt x="2025" y="608"/>
                </a:cubicBezTo>
                <a:cubicBezTo>
                  <a:pt x="2028" y="610"/>
                  <a:pt x="2028" y="610"/>
                  <a:pt x="2028" y="610"/>
                </a:cubicBezTo>
                <a:cubicBezTo>
                  <a:pt x="2029" y="612"/>
                  <a:pt x="2029" y="612"/>
                  <a:pt x="2029" y="612"/>
                </a:cubicBezTo>
                <a:cubicBezTo>
                  <a:pt x="2029" y="615"/>
                  <a:pt x="2029" y="615"/>
                  <a:pt x="2029" y="615"/>
                </a:cubicBezTo>
                <a:cubicBezTo>
                  <a:pt x="2029" y="616"/>
                  <a:pt x="2029" y="616"/>
                  <a:pt x="2029" y="616"/>
                </a:cubicBezTo>
                <a:cubicBezTo>
                  <a:pt x="2029" y="621"/>
                  <a:pt x="2029" y="621"/>
                  <a:pt x="2029" y="621"/>
                </a:cubicBezTo>
                <a:cubicBezTo>
                  <a:pt x="2030" y="625"/>
                  <a:pt x="2030" y="625"/>
                  <a:pt x="2030" y="625"/>
                </a:cubicBezTo>
                <a:cubicBezTo>
                  <a:pt x="2032" y="630"/>
                  <a:pt x="2032" y="630"/>
                  <a:pt x="2032" y="630"/>
                </a:cubicBezTo>
                <a:cubicBezTo>
                  <a:pt x="2033" y="633"/>
                  <a:pt x="2033" y="633"/>
                  <a:pt x="2033" y="633"/>
                </a:cubicBezTo>
                <a:cubicBezTo>
                  <a:pt x="2034" y="635"/>
                  <a:pt x="2034" y="635"/>
                  <a:pt x="2034" y="635"/>
                </a:cubicBezTo>
                <a:lnTo>
                  <a:pt x="2033" y="638"/>
                </a:lnTo>
                <a:close/>
                <a:moveTo>
                  <a:pt x="2780" y="659"/>
                </a:moveTo>
                <a:cubicBezTo>
                  <a:pt x="2781" y="661"/>
                  <a:pt x="2781" y="661"/>
                  <a:pt x="2781" y="661"/>
                </a:cubicBezTo>
                <a:cubicBezTo>
                  <a:pt x="2782" y="661"/>
                  <a:pt x="2782" y="661"/>
                  <a:pt x="2782" y="661"/>
                </a:cubicBezTo>
                <a:cubicBezTo>
                  <a:pt x="2783" y="660"/>
                  <a:pt x="2783" y="660"/>
                  <a:pt x="2783" y="660"/>
                </a:cubicBezTo>
                <a:cubicBezTo>
                  <a:pt x="2782" y="659"/>
                  <a:pt x="2782" y="659"/>
                  <a:pt x="2782" y="659"/>
                </a:cubicBezTo>
                <a:cubicBezTo>
                  <a:pt x="2781" y="658"/>
                  <a:pt x="2781" y="658"/>
                  <a:pt x="2781" y="658"/>
                </a:cubicBezTo>
                <a:cubicBezTo>
                  <a:pt x="2781" y="657"/>
                  <a:pt x="2781" y="657"/>
                  <a:pt x="2781" y="657"/>
                </a:cubicBezTo>
                <a:cubicBezTo>
                  <a:pt x="2780" y="657"/>
                  <a:pt x="2780" y="657"/>
                  <a:pt x="2780" y="657"/>
                </a:cubicBezTo>
                <a:lnTo>
                  <a:pt x="2780" y="659"/>
                </a:lnTo>
                <a:close/>
                <a:moveTo>
                  <a:pt x="2785" y="654"/>
                </a:moveTo>
                <a:cubicBezTo>
                  <a:pt x="2785" y="654"/>
                  <a:pt x="2785" y="654"/>
                  <a:pt x="2785" y="654"/>
                </a:cubicBezTo>
                <a:cubicBezTo>
                  <a:pt x="2784" y="654"/>
                  <a:pt x="2784" y="654"/>
                  <a:pt x="2784" y="654"/>
                </a:cubicBezTo>
                <a:lnTo>
                  <a:pt x="2785" y="654"/>
                </a:lnTo>
                <a:close/>
                <a:moveTo>
                  <a:pt x="2784" y="922"/>
                </a:moveTo>
                <a:cubicBezTo>
                  <a:pt x="2785" y="923"/>
                  <a:pt x="2785" y="923"/>
                  <a:pt x="2785" y="923"/>
                </a:cubicBezTo>
                <a:cubicBezTo>
                  <a:pt x="2786" y="922"/>
                  <a:pt x="2786" y="922"/>
                  <a:pt x="2786" y="922"/>
                </a:cubicBezTo>
                <a:cubicBezTo>
                  <a:pt x="2784" y="921"/>
                  <a:pt x="2784" y="921"/>
                  <a:pt x="2784" y="921"/>
                </a:cubicBezTo>
                <a:lnTo>
                  <a:pt x="2784" y="922"/>
                </a:lnTo>
                <a:close/>
                <a:moveTo>
                  <a:pt x="2784" y="655"/>
                </a:moveTo>
                <a:cubicBezTo>
                  <a:pt x="2783" y="655"/>
                  <a:pt x="2783" y="655"/>
                  <a:pt x="2783" y="655"/>
                </a:cubicBezTo>
                <a:cubicBezTo>
                  <a:pt x="2784" y="655"/>
                  <a:pt x="2784" y="655"/>
                  <a:pt x="2784" y="655"/>
                </a:cubicBezTo>
                <a:close/>
                <a:moveTo>
                  <a:pt x="2698" y="961"/>
                </a:moveTo>
                <a:cubicBezTo>
                  <a:pt x="2700" y="960"/>
                  <a:pt x="2700" y="960"/>
                  <a:pt x="2700" y="960"/>
                </a:cubicBezTo>
                <a:cubicBezTo>
                  <a:pt x="2700" y="959"/>
                  <a:pt x="2700" y="959"/>
                  <a:pt x="2700" y="959"/>
                </a:cubicBezTo>
                <a:cubicBezTo>
                  <a:pt x="2699" y="958"/>
                  <a:pt x="2699" y="958"/>
                  <a:pt x="2699" y="958"/>
                </a:cubicBezTo>
                <a:cubicBezTo>
                  <a:pt x="2698" y="960"/>
                  <a:pt x="2698" y="960"/>
                  <a:pt x="2698" y="960"/>
                </a:cubicBezTo>
                <a:lnTo>
                  <a:pt x="2698" y="961"/>
                </a:lnTo>
                <a:close/>
                <a:moveTo>
                  <a:pt x="2947" y="1538"/>
                </a:moveTo>
                <a:cubicBezTo>
                  <a:pt x="2947" y="1536"/>
                  <a:pt x="2947" y="1536"/>
                  <a:pt x="2947" y="1536"/>
                </a:cubicBezTo>
                <a:cubicBezTo>
                  <a:pt x="2946" y="1537"/>
                  <a:pt x="2946" y="1537"/>
                  <a:pt x="2946" y="1537"/>
                </a:cubicBezTo>
                <a:lnTo>
                  <a:pt x="2947" y="1538"/>
                </a:lnTo>
                <a:close/>
                <a:moveTo>
                  <a:pt x="2940" y="1507"/>
                </a:moveTo>
                <a:cubicBezTo>
                  <a:pt x="2938" y="1507"/>
                  <a:pt x="2938" y="1507"/>
                  <a:pt x="2938" y="1507"/>
                </a:cubicBezTo>
                <a:cubicBezTo>
                  <a:pt x="2939" y="1508"/>
                  <a:pt x="2939" y="1508"/>
                  <a:pt x="2939" y="1508"/>
                </a:cubicBezTo>
                <a:lnTo>
                  <a:pt x="2940" y="1507"/>
                </a:lnTo>
                <a:close/>
                <a:moveTo>
                  <a:pt x="2946" y="1525"/>
                </a:moveTo>
                <a:cubicBezTo>
                  <a:pt x="2946" y="1526"/>
                  <a:pt x="2946" y="1526"/>
                  <a:pt x="2946" y="1526"/>
                </a:cubicBezTo>
                <a:cubicBezTo>
                  <a:pt x="2945" y="1528"/>
                  <a:pt x="2945" y="1528"/>
                  <a:pt x="2945" y="1528"/>
                </a:cubicBezTo>
                <a:cubicBezTo>
                  <a:pt x="2946" y="1529"/>
                  <a:pt x="2946" y="1529"/>
                  <a:pt x="2946" y="1529"/>
                </a:cubicBezTo>
                <a:cubicBezTo>
                  <a:pt x="2947" y="1531"/>
                  <a:pt x="2947" y="1531"/>
                  <a:pt x="2947" y="1531"/>
                </a:cubicBezTo>
                <a:cubicBezTo>
                  <a:pt x="2950" y="1529"/>
                  <a:pt x="2950" y="1529"/>
                  <a:pt x="2950" y="1529"/>
                </a:cubicBezTo>
                <a:cubicBezTo>
                  <a:pt x="2950" y="1527"/>
                  <a:pt x="2950" y="1527"/>
                  <a:pt x="2950" y="1527"/>
                </a:cubicBezTo>
                <a:cubicBezTo>
                  <a:pt x="2947" y="1524"/>
                  <a:pt x="2947" y="1524"/>
                  <a:pt x="2947" y="1524"/>
                </a:cubicBezTo>
                <a:lnTo>
                  <a:pt x="2946" y="1525"/>
                </a:lnTo>
                <a:close/>
                <a:moveTo>
                  <a:pt x="2946" y="1532"/>
                </a:moveTo>
                <a:cubicBezTo>
                  <a:pt x="2945" y="1533"/>
                  <a:pt x="2945" y="1533"/>
                  <a:pt x="2945" y="1533"/>
                </a:cubicBezTo>
                <a:cubicBezTo>
                  <a:pt x="2945" y="1534"/>
                  <a:pt x="2945" y="1534"/>
                  <a:pt x="2945" y="1534"/>
                </a:cubicBezTo>
                <a:cubicBezTo>
                  <a:pt x="2948" y="1534"/>
                  <a:pt x="2948" y="1534"/>
                  <a:pt x="2948" y="1534"/>
                </a:cubicBezTo>
                <a:cubicBezTo>
                  <a:pt x="2950" y="1535"/>
                  <a:pt x="2950" y="1535"/>
                  <a:pt x="2950" y="1535"/>
                </a:cubicBezTo>
                <a:cubicBezTo>
                  <a:pt x="2950" y="1534"/>
                  <a:pt x="2950" y="1534"/>
                  <a:pt x="2950" y="1534"/>
                </a:cubicBezTo>
                <a:cubicBezTo>
                  <a:pt x="2948" y="1532"/>
                  <a:pt x="2948" y="1532"/>
                  <a:pt x="2948" y="1532"/>
                </a:cubicBezTo>
                <a:lnTo>
                  <a:pt x="2946" y="1532"/>
                </a:lnTo>
                <a:close/>
                <a:moveTo>
                  <a:pt x="2914" y="1536"/>
                </a:moveTo>
                <a:cubicBezTo>
                  <a:pt x="2915" y="1536"/>
                  <a:pt x="2915" y="1536"/>
                  <a:pt x="2915" y="1536"/>
                </a:cubicBezTo>
                <a:cubicBezTo>
                  <a:pt x="2916" y="1535"/>
                  <a:pt x="2916" y="1535"/>
                  <a:pt x="2916" y="1535"/>
                </a:cubicBezTo>
                <a:cubicBezTo>
                  <a:pt x="2915" y="1534"/>
                  <a:pt x="2915" y="1534"/>
                  <a:pt x="2915" y="1534"/>
                </a:cubicBezTo>
                <a:cubicBezTo>
                  <a:pt x="2914" y="1534"/>
                  <a:pt x="2914" y="1534"/>
                  <a:pt x="2914" y="1534"/>
                </a:cubicBezTo>
                <a:lnTo>
                  <a:pt x="2914" y="1536"/>
                </a:lnTo>
                <a:close/>
                <a:moveTo>
                  <a:pt x="2916" y="1530"/>
                </a:moveTo>
                <a:cubicBezTo>
                  <a:pt x="2915" y="1531"/>
                  <a:pt x="2915" y="1531"/>
                  <a:pt x="2915" y="1531"/>
                </a:cubicBezTo>
                <a:cubicBezTo>
                  <a:pt x="2915" y="1532"/>
                  <a:pt x="2915" y="1532"/>
                  <a:pt x="2915" y="1532"/>
                </a:cubicBezTo>
                <a:cubicBezTo>
                  <a:pt x="2916" y="1532"/>
                  <a:pt x="2916" y="1532"/>
                  <a:pt x="2916" y="1532"/>
                </a:cubicBezTo>
                <a:lnTo>
                  <a:pt x="2916" y="1530"/>
                </a:lnTo>
                <a:close/>
                <a:moveTo>
                  <a:pt x="2912" y="1531"/>
                </a:moveTo>
                <a:cubicBezTo>
                  <a:pt x="2912" y="1532"/>
                  <a:pt x="2912" y="1532"/>
                  <a:pt x="2912" y="1532"/>
                </a:cubicBezTo>
                <a:cubicBezTo>
                  <a:pt x="2913" y="1533"/>
                  <a:pt x="2913" y="1533"/>
                  <a:pt x="2913" y="1533"/>
                </a:cubicBezTo>
                <a:cubicBezTo>
                  <a:pt x="2914" y="1532"/>
                  <a:pt x="2914" y="1532"/>
                  <a:pt x="2914" y="1532"/>
                </a:cubicBezTo>
                <a:cubicBezTo>
                  <a:pt x="2914" y="1530"/>
                  <a:pt x="2914" y="1530"/>
                  <a:pt x="2914" y="1530"/>
                </a:cubicBezTo>
                <a:lnTo>
                  <a:pt x="2912" y="1531"/>
                </a:lnTo>
                <a:close/>
                <a:moveTo>
                  <a:pt x="3043" y="1353"/>
                </a:moveTo>
                <a:cubicBezTo>
                  <a:pt x="3044" y="1352"/>
                  <a:pt x="3044" y="1352"/>
                  <a:pt x="3044" y="1352"/>
                </a:cubicBezTo>
                <a:cubicBezTo>
                  <a:pt x="3043" y="1350"/>
                  <a:pt x="3043" y="1350"/>
                  <a:pt x="3043" y="1350"/>
                </a:cubicBezTo>
                <a:lnTo>
                  <a:pt x="3043" y="1353"/>
                </a:lnTo>
                <a:close/>
                <a:moveTo>
                  <a:pt x="2943" y="1540"/>
                </a:moveTo>
                <a:cubicBezTo>
                  <a:pt x="2942" y="1542"/>
                  <a:pt x="2942" y="1542"/>
                  <a:pt x="2942" y="1542"/>
                </a:cubicBezTo>
                <a:cubicBezTo>
                  <a:pt x="2941" y="1541"/>
                  <a:pt x="2941" y="1541"/>
                  <a:pt x="2941" y="1541"/>
                </a:cubicBezTo>
                <a:cubicBezTo>
                  <a:pt x="2940" y="1541"/>
                  <a:pt x="2940" y="1541"/>
                  <a:pt x="2940" y="1541"/>
                </a:cubicBezTo>
                <a:cubicBezTo>
                  <a:pt x="2939" y="1542"/>
                  <a:pt x="2939" y="1542"/>
                  <a:pt x="2939" y="1542"/>
                </a:cubicBezTo>
                <a:cubicBezTo>
                  <a:pt x="2938" y="1543"/>
                  <a:pt x="2938" y="1543"/>
                  <a:pt x="2938" y="1543"/>
                </a:cubicBezTo>
                <a:cubicBezTo>
                  <a:pt x="2932" y="1543"/>
                  <a:pt x="2932" y="1543"/>
                  <a:pt x="2932" y="1543"/>
                </a:cubicBezTo>
                <a:cubicBezTo>
                  <a:pt x="2930" y="1543"/>
                  <a:pt x="2930" y="1543"/>
                  <a:pt x="2930" y="1543"/>
                </a:cubicBezTo>
                <a:cubicBezTo>
                  <a:pt x="2930" y="1545"/>
                  <a:pt x="2930" y="1545"/>
                  <a:pt x="2930" y="1545"/>
                </a:cubicBezTo>
                <a:cubicBezTo>
                  <a:pt x="2929" y="1544"/>
                  <a:pt x="2929" y="1544"/>
                  <a:pt x="2929" y="1544"/>
                </a:cubicBezTo>
                <a:cubicBezTo>
                  <a:pt x="2927" y="1544"/>
                  <a:pt x="2927" y="1544"/>
                  <a:pt x="2927" y="1544"/>
                </a:cubicBezTo>
                <a:cubicBezTo>
                  <a:pt x="2926" y="1545"/>
                  <a:pt x="2926" y="1545"/>
                  <a:pt x="2926" y="1545"/>
                </a:cubicBezTo>
                <a:cubicBezTo>
                  <a:pt x="2924" y="1543"/>
                  <a:pt x="2924" y="1543"/>
                  <a:pt x="2924" y="1543"/>
                </a:cubicBezTo>
                <a:cubicBezTo>
                  <a:pt x="2921" y="1541"/>
                  <a:pt x="2921" y="1541"/>
                  <a:pt x="2921" y="1541"/>
                </a:cubicBezTo>
                <a:cubicBezTo>
                  <a:pt x="2917" y="1539"/>
                  <a:pt x="2917" y="1539"/>
                  <a:pt x="2917" y="1539"/>
                </a:cubicBezTo>
                <a:cubicBezTo>
                  <a:pt x="2918" y="1536"/>
                  <a:pt x="2918" y="1536"/>
                  <a:pt x="2918" y="1536"/>
                </a:cubicBezTo>
                <a:cubicBezTo>
                  <a:pt x="2917" y="1537"/>
                  <a:pt x="2917" y="1537"/>
                  <a:pt x="2917" y="1537"/>
                </a:cubicBezTo>
                <a:cubicBezTo>
                  <a:pt x="2916" y="1538"/>
                  <a:pt x="2916" y="1538"/>
                  <a:pt x="2916" y="1538"/>
                </a:cubicBezTo>
                <a:cubicBezTo>
                  <a:pt x="2915" y="1537"/>
                  <a:pt x="2915" y="1537"/>
                  <a:pt x="2915" y="1537"/>
                </a:cubicBezTo>
                <a:cubicBezTo>
                  <a:pt x="2913" y="1536"/>
                  <a:pt x="2913" y="1536"/>
                  <a:pt x="2913" y="1536"/>
                </a:cubicBezTo>
                <a:cubicBezTo>
                  <a:pt x="2911" y="1535"/>
                  <a:pt x="2911" y="1535"/>
                  <a:pt x="2911" y="1535"/>
                </a:cubicBezTo>
                <a:cubicBezTo>
                  <a:pt x="2910" y="1536"/>
                  <a:pt x="2910" y="1536"/>
                  <a:pt x="2910" y="1536"/>
                </a:cubicBezTo>
                <a:cubicBezTo>
                  <a:pt x="2910" y="1538"/>
                  <a:pt x="2910" y="1538"/>
                  <a:pt x="2910" y="1538"/>
                </a:cubicBezTo>
                <a:cubicBezTo>
                  <a:pt x="2910" y="1538"/>
                  <a:pt x="2910" y="1538"/>
                  <a:pt x="2910" y="1538"/>
                </a:cubicBezTo>
                <a:cubicBezTo>
                  <a:pt x="2910" y="1540"/>
                  <a:pt x="2910" y="1540"/>
                  <a:pt x="2910" y="1540"/>
                </a:cubicBezTo>
                <a:cubicBezTo>
                  <a:pt x="2910" y="1544"/>
                  <a:pt x="2910" y="1544"/>
                  <a:pt x="2910" y="1544"/>
                </a:cubicBezTo>
                <a:cubicBezTo>
                  <a:pt x="2910" y="1547"/>
                  <a:pt x="2910" y="1547"/>
                  <a:pt x="2910" y="1547"/>
                </a:cubicBezTo>
                <a:cubicBezTo>
                  <a:pt x="2910" y="1551"/>
                  <a:pt x="2910" y="1551"/>
                  <a:pt x="2910" y="1551"/>
                </a:cubicBezTo>
                <a:cubicBezTo>
                  <a:pt x="2910" y="1555"/>
                  <a:pt x="2910" y="1555"/>
                  <a:pt x="2910" y="1555"/>
                </a:cubicBezTo>
                <a:cubicBezTo>
                  <a:pt x="2910" y="1558"/>
                  <a:pt x="2910" y="1558"/>
                  <a:pt x="2910" y="1558"/>
                </a:cubicBezTo>
                <a:cubicBezTo>
                  <a:pt x="2911" y="1558"/>
                  <a:pt x="2911" y="1558"/>
                  <a:pt x="2911" y="1558"/>
                </a:cubicBezTo>
                <a:cubicBezTo>
                  <a:pt x="2911" y="1560"/>
                  <a:pt x="2911" y="1560"/>
                  <a:pt x="2911" y="1560"/>
                </a:cubicBezTo>
                <a:cubicBezTo>
                  <a:pt x="2913" y="1562"/>
                  <a:pt x="2913" y="1562"/>
                  <a:pt x="2913" y="1562"/>
                </a:cubicBezTo>
                <a:cubicBezTo>
                  <a:pt x="2910" y="1561"/>
                  <a:pt x="2910" y="1561"/>
                  <a:pt x="2910" y="1561"/>
                </a:cubicBezTo>
                <a:cubicBezTo>
                  <a:pt x="2909" y="1560"/>
                  <a:pt x="2909" y="1560"/>
                  <a:pt x="2909" y="1560"/>
                </a:cubicBezTo>
                <a:cubicBezTo>
                  <a:pt x="2908" y="1561"/>
                  <a:pt x="2908" y="1561"/>
                  <a:pt x="2908" y="1561"/>
                </a:cubicBezTo>
                <a:cubicBezTo>
                  <a:pt x="2908" y="1565"/>
                  <a:pt x="2908" y="1565"/>
                  <a:pt x="2908" y="1565"/>
                </a:cubicBezTo>
                <a:cubicBezTo>
                  <a:pt x="2909" y="1566"/>
                  <a:pt x="2909" y="1566"/>
                  <a:pt x="2909" y="1566"/>
                </a:cubicBezTo>
                <a:cubicBezTo>
                  <a:pt x="2909" y="1567"/>
                  <a:pt x="2909" y="1567"/>
                  <a:pt x="2909" y="1567"/>
                </a:cubicBezTo>
                <a:cubicBezTo>
                  <a:pt x="2909" y="1573"/>
                  <a:pt x="2909" y="1573"/>
                  <a:pt x="2909" y="1573"/>
                </a:cubicBezTo>
                <a:cubicBezTo>
                  <a:pt x="2910" y="1574"/>
                  <a:pt x="2910" y="1574"/>
                  <a:pt x="2910" y="1574"/>
                </a:cubicBezTo>
                <a:cubicBezTo>
                  <a:pt x="2910" y="1575"/>
                  <a:pt x="2910" y="1575"/>
                  <a:pt x="2910" y="1575"/>
                </a:cubicBezTo>
                <a:cubicBezTo>
                  <a:pt x="2910" y="1577"/>
                  <a:pt x="2910" y="1577"/>
                  <a:pt x="2910" y="1577"/>
                </a:cubicBezTo>
                <a:cubicBezTo>
                  <a:pt x="2912" y="1578"/>
                  <a:pt x="2912" y="1578"/>
                  <a:pt x="2912" y="1578"/>
                </a:cubicBezTo>
                <a:cubicBezTo>
                  <a:pt x="2911" y="1579"/>
                  <a:pt x="2911" y="1579"/>
                  <a:pt x="2911" y="1579"/>
                </a:cubicBezTo>
                <a:cubicBezTo>
                  <a:pt x="2911" y="1581"/>
                  <a:pt x="2911" y="1581"/>
                  <a:pt x="2911" y="1581"/>
                </a:cubicBezTo>
                <a:cubicBezTo>
                  <a:pt x="2911" y="1581"/>
                  <a:pt x="2912" y="1582"/>
                  <a:pt x="2912" y="1582"/>
                </a:cubicBezTo>
                <a:cubicBezTo>
                  <a:pt x="2914" y="1581"/>
                  <a:pt x="2914" y="1581"/>
                  <a:pt x="2914" y="1581"/>
                </a:cubicBezTo>
                <a:cubicBezTo>
                  <a:pt x="2915" y="1583"/>
                  <a:pt x="2915" y="1583"/>
                  <a:pt x="2915" y="1583"/>
                </a:cubicBezTo>
                <a:cubicBezTo>
                  <a:pt x="2917" y="1581"/>
                  <a:pt x="2917" y="1581"/>
                  <a:pt x="2917" y="1581"/>
                </a:cubicBezTo>
                <a:cubicBezTo>
                  <a:pt x="2917" y="1582"/>
                  <a:pt x="2917" y="1582"/>
                  <a:pt x="2917" y="1582"/>
                </a:cubicBezTo>
                <a:cubicBezTo>
                  <a:pt x="2918" y="1584"/>
                  <a:pt x="2918" y="1584"/>
                  <a:pt x="2918" y="1584"/>
                </a:cubicBezTo>
                <a:cubicBezTo>
                  <a:pt x="2919" y="1584"/>
                  <a:pt x="2919" y="1584"/>
                  <a:pt x="2919" y="1584"/>
                </a:cubicBezTo>
                <a:cubicBezTo>
                  <a:pt x="2921" y="1581"/>
                  <a:pt x="2921" y="1581"/>
                  <a:pt x="2921" y="1581"/>
                </a:cubicBezTo>
                <a:cubicBezTo>
                  <a:pt x="2921" y="1579"/>
                  <a:pt x="2921" y="1579"/>
                  <a:pt x="2921" y="1579"/>
                </a:cubicBezTo>
                <a:cubicBezTo>
                  <a:pt x="2922" y="1576"/>
                  <a:pt x="2922" y="1576"/>
                  <a:pt x="2922" y="1576"/>
                </a:cubicBezTo>
                <a:cubicBezTo>
                  <a:pt x="2924" y="1577"/>
                  <a:pt x="2924" y="1577"/>
                  <a:pt x="2924" y="1577"/>
                </a:cubicBezTo>
                <a:cubicBezTo>
                  <a:pt x="2924" y="1576"/>
                  <a:pt x="2924" y="1576"/>
                  <a:pt x="2924" y="1576"/>
                </a:cubicBezTo>
                <a:cubicBezTo>
                  <a:pt x="2926" y="1575"/>
                  <a:pt x="2926" y="1575"/>
                  <a:pt x="2926" y="1575"/>
                </a:cubicBezTo>
                <a:cubicBezTo>
                  <a:pt x="2927" y="1573"/>
                  <a:pt x="2927" y="1573"/>
                  <a:pt x="2927" y="1573"/>
                </a:cubicBezTo>
                <a:cubicBezTo>
                  <a:pt x="2927" y="1575"/>
                  <a:pt x="2927" y="1575"/>
                  <a:pt x="2927" y="1575"/>
                </a:cubicBezTo>
                <a:cubicBezTo>
                  <a:pt x="2928" y="1575"/>
                  <a:pt x="2928" y="1575"/>
                  <a:pt x="2928" y="1575"/>
                </a:cubicBezTo>
                <a:cubicBezTo>
                  <a:pt x="2929" y="1574"/>
                  <a:pt x="2929" y="1574"/>
                  <a:pt x="2929" y="1574"/>
                </a:cubicBezTo>
                <a:cubicBezTo>
                  <a:pt x="2931" y="1573"/>
                  <a:pt x="2931" y="1573"/>
                  <a:pt x="2931" y="1573"/>
                </a:cubicBezTo>
                <a:cubicBezTo>
                  <a:pt x="2932" y="1574"/>
                  <a:pt x="2932" y="1574"/>
                  <a:pt x="2932" y="1574"/>
                </a:cubicBezTo>
                <a:cubicBezTo>
                  <a:pt x="2932" y="1576"/>
                  <a:pt x="2932" y="1576"/>
                  <a:pt x="2932" y="1576"/>
                </a:cubicBezTo>
                <a:cubicBezTo>
                  <a:pt x="2930" y="1575"/>
                  <a:pt x="2930" y="1575"/>
                  <a:pt x="2930" y="1575"/>
                </a:cubicBezTo>
                <a:cubicBezTo>
                  <a:pt x="2930" y="1578"/>
                  <a:pt x="2930" y="1578"/>
                  <a:pt x="2930" y="1578"/>
                </a:cubicBezTo>
                <a:cubicBezTo>
                  <a:pt x="2931" y="1577"/>
                  <a:pt x="2931" y="1577"/>
                  <a:pt x="2931" y="1577"/>
                </a:cubicBezTo>
                <a:cubicBezTo>
                  <a:pt x="2932" y="1577"/>
                  <a:pt x="2932" y="1577"/>
                  <a:pt x="2932" y="1577"/>
                </a:cubicBezTo>
                <a:cubicBezTo>
                  <a:pt x="2935" y="1574"/>
                  <a:pt x="2935" y="1574"/>
                  <a:pt x="2935" y="1574"/>
                </a:cubicBezTo>
                <a:cubicBezTo>
                  <a:pt x="2935" y="1573"/>
                  <a:pt x="2935" y="1573"/>
                  <a:pt x="2935" y="1573"/>
                </a:cubicBezTo>
                <a:cubicBezTo>
                  <a:pt x="2933" y="1572"/>
                  <a:pt x="2933" y="1572"/>
                  <a:pt x="2933" y="1572"/>
                </a:cubicBezTo>
                <a:cubicBezTo>
                  <a:pt x="2934" y="1570"/>
                  <a:pt x="2934" y="1570"/>
                  <a:pt x="2934" y="1570"/>
                </a:cubicBezTo>
                <a:cubicBezTo>
                  <a:pt x="2934" y="1568"/>
                  <a:pt x="2934" y="1568"/>
                  <a:pt x="2934" y="1568"/>
                </a:cubicBezTo>
                <a:cubicBezTo>
                  <a:pt x="2936" y="1568"/>
                  <a:pt x="2936" y="1568"/>
                  <a:pt x="2936" y="1568"/>
                </a:cubicBezTo>
                <a:cubicBezTo>
                  <a:pt x="2937" y="1567"/>
                  <a:pt x="2937" y="1567"/>
                  <a:pt x="2937" y="1567"/>
                </a:cubicBezTo>
                <a:cubicBezTo>
                  <a:pt x="2937" y="1562"/>
                  <a:pt x="2937" y="1562"/>
                  <a:pt x="2937" y="1562"/>
                </a:cubicBezTo>
                <a:cubicBezTo>
                  <a:pt x="2938" y="1562"/>
                  <a:pt x="2938" y="1562"/>
                  <a:pt x="2938" y="1562"/>
                </a:cubicBezTo>
                <a:cubicBezTo>
                  <a:pt x="2939" y="1560"/>
                  <a:pt x="2939" y="1560"/>
                  <a:pt x="2939" y="1560"/>
                </a:cubicBezTo>
                <a:cubicBezTo>
                  <a:pt x="2940" y="1563"/>
                  <a:pt x="2940" y="1563"/>
                  <a:pt x="2940" y="1563"/>
                </a:cubicBezTo>
                <a:cubicBezTo>
                  <a:pt x="2940" y="1564"/>
                  <a:pt x="2940" y="1564"/>
                  <a:pt x="2940" y="1564"/>
                </a:cubicBezTo>
                <a:cubicBezTo>
                  <a:pt x="2941" y="1562"/>
                  <a:pt x="2941" y="1562"/>
                  <a:pt x="2941" y="1562"/>
                </a:cubicBezTo>
                <a:cubicBezTo>
                  <a:pt x="2941" y="1560"/>
                  <a:pt x="2941" y="1560"/>
                  <a:pt x="2941" y="1560"/>
                </a:cubicBezTo>
                <a:cubicBezTo>
                  <a:pt x="2942" y="1559"/>
                  <a:pt x="2942" y="1559"/>
                  <a:pt x="2942" y="1559"/>
                </a:cubicBezTo>
                <a:cubicBezTo>
                  <a:pt x="2941" y="1557"/>
                  <a:pt x="2941" y="1557"/>
                  <a:pt x="2941" y="1557"/>
                </a:cubicBezTo>
                <a:cubicBezTo>
                  <a:pt x="2943" y="1554"/>
                  <a:pt x="2943" y="1554"/>
                  <a:pt x="2943" y="1554"/>
                </a:cubicBezTo>
                <a:cubicBezTo>
                  <a:pt x="2943" y="1551"/>
                  <a:pt x="2943" y="1551"/>
                  <a:pt x="2943" y="1551"/>
                </a:cubicBezTo>
                <a:cubicBezTo>
                  <a:pt x="2945" y="1548"/>
                  <a:pt x="2945" y="1548"/>
                  <a:pt x="2945" y="1548"/>
                </a:cubicBezTo>
                <a:cubicBezTo>
                  <a:pt x="2946" y="1543"/>
                  <a:pt x="2946" y="1543"/>
                  <a:pt x="2946" y="1543"/>
                </a:cubicBezTo>
                <a:cubicBezTo>
                  <a:pt x="2946" y="1542"/>
                  <a:pt x="2946" y="1542"/>
                  <a:pt x="2946" y="1542"/>
                </a:cubicBezTo>
                <a:cubicBezTo>
                  <a:pt x="2944" y="1540"/>
                  <a:pt x="2944" y="1540"/>
                  <a:pt x="2944" y="1540"/>
                </a:cubicBezTo>
                <a:lnTo>
                  <a:pt x="2943" y="1540"/>
                </a:lnTo>
                <a:close/>
                <a:moveTo>
                  <a:pt x="3046" y="1314"/>
                </a:moveTo>
                <a:cubicBezTo>
                  <a:pt x="3045" y="1316"/>
                  <a:pt x="3045" y="1316"/>
                  <a:pt x="3045" y="1316"/>
                </a:cubicBezTo>
                <a:cubicBezTo>
                  <a:pt x="3046" y="1317"/>
                  <a:pt x="3046" y="1317"/>
                  <a:pt x="3046" y="1317"/>
                </a:cubicBezTo>
                <a:cubicBezTo>
                  <a:pt x="3045" y="1319"/>
                  <a:pt x="3045" y="1319"/>
                  <a:pt x="3045" y="1319"/>
                </a:cubicBezTo>
                <a:cubicBezTo>
                  <a:pt x="3043" y="1321"/>
                  <a:pt x="3043" y="1321"/>
                  <a:pt x="3043" y="1321"/>
                </a:cubicBezTo>
                <a:cubicBezTo>
                  <a:pt x="3043" y="1323"/>
                  <a:pt x="3043" y="1323"/>
                  <a:pt x="3043" y="1323"/>
                </a:cubicBezTo>
                <a:cubicBezTo>
                  <a:pt x="3043" y="1325"/>
                  <a:pt x="3043" y="1325"/>
                  <a:pt x="3043" y="1325"/>
                </a:cubicBezTo>
                <a:cubicBezTo>
                  <a:pt x="3043" y="1328"/>
                  <a:pt x="3043" y="1328"/>
                  <a:pt x="3043" y="1328"/>
                </a:cubicBezTo>
                <a:cubicBezTo>
                  <a:pt x="3045" y="1328"/>
                  <a:pt x="3045" y="1328"/>
                  <a:pt x="3045" y="1328"/>
                </a:cubicBezTo>
                <a:cubicBezTo>
                  <a:pt x="3044" y="1326"/>
                  <a:pt x="3044" y="1326"/>
                  <a:pt x="3044" y="1326"/>
                </a:cubicBezTo>
                <a:cubicBezTo>
                  <a:pt x="3045" y="1322"/>
                  <a:pt x="3045" y="1322"/>
                  <a:pt x="3045" y="1322"/>
                </a:cubicBezTo>
                <a:cubicBezTo>
                  <a:pt x="3047" y="1319"/>
                  <a:pt x="3047" y="1319"/>
                  <a:pt x="3047" y="1319"/>
                </a:cubicBezTo>
                <a:cubicBezTo>
                  <a:pt x="3047" y="1316"/>
                  <a:pt x="3047" y="1316"/>
                  <a:pt x="3047" y="1316"/>
                </a:cubicBezTo>
                <a:cubicBezTo>
                  <a:pt x="3047" y="1314"/>
                  <a:pt x="3047" y="1314"/>
                  <a:pt x="3047" y="1314"/>
                </a:cubicBezTo>
                <a:lnTo>
                  <a:pt x="3046" y="1314"/>
                </a:lnTo>
                <a:close/>
                <a:moveTo>
                  <a:pt x="2888" y="1184"/>
                </a:moveTo>
                <a:cubicBezTo>
                  <a:pt x="2888" y="1184"/>
                  <a:pt x="2888" y="1184"/>
                  <a:pt x="2888" y="1184"/>
                </a:cubicBezTo>
                <a:cubicBezTo>
                  <a:pt x="2889" y="1185"/>
                  <a:pt x="2889" y="1185"/>
                  <a:pt x="2889" y="1185"/>
                </a:cubicBezTo>
                <a:cubicBezTo>
                  <a:pt x="2890" y="1184"/>
                  <a:pt x="2890" y="1184"/>
                  <a:pt x="2890" y="1184"/>
                </a:cubicBezTo>
                <a:cubicBezTo>
                  <a:pt x="2889" y="1182"/>
                  <a:pt x="2889" y="1182"/>
                  <a:pt x="2889" y="1182"/>
                </a:cubicBezTo>
                <a:cubicBezTo>
                  <a:pt x="2888" y="1184"/>
                  <a:pt x="2888" y="1184"/>
                  <a:pt x="2888" y="1184"/>
                </a:cubicBezTo>
                <a:close/>
                <a:moveTo>
                  <a:pt x="2896" y="1205"/>
                </a:moveTo>
                <a:cubicBezTo>
                  <a:pt x="2895" y="1204"/>
                  <a:pt x="2895" y="1204"/>
                  <a:pt x="2895" y="1204"/>
                </a:cubicBezTo>
                <a:cubicBezTo>
                  <a:pt x="2894" y="1205"/>
                  <a:pt x="2894" y="1205"/>
                  <a:pt x="2894" y="1205"/>
                </a:cubicBezTo>
                <a:cubicBezTo>
                  <a:pt x="2895" y="1207"/>
                  <a:pt x="2895" y="1207"/>
                  <a:pt x="2895" y="1207"/>
                </a:cubicBezTo>
                <a:lnTo>
                  <a:pt x="2896" y="1205"/>
                </a:lnTo>
                <a:close/>
                <a:moveTo>
                  <a:pt x="2929" y="1501"/>
                </a:moveTo>
                <a:cubicBezTo>
                  <a:pt x="2929" y="1500"/>
                  <a:pt x="2929" y="1500"/>
                  <a:pt x="2929" y="1500"/>
                </a:cubicBezTo>
                <a:cubicBezTo>
                  <a:pt x="2928" y="1501"/>
                  <a:pt x="2928" y="1501"/>
                  <a:pt x="2928" y="1501"/>
                </a:cubicBezTo>
                <a:cubicBezTo>
                  <a:pt x="2929" y="1502"/>
                  <a:pt x="2929" y="1502"/>
                  <a:pt x="2929" y="1502"/>
                </a:cubicBezTo>
                <a:lnTo>
                  <a:pt x="2929" y="1501"/>
                </a:lnTo>
                <a:close/>
                <a:moveTo>
                  <a:pt x="3042" y="1356"/>
                </a:moveTo>
                <a:cubicBezTo>
                  <a:pt x="3042" y="1354"/>
                  <a:pt x="3042" y="1354"/>
                  <a:pt x="3042" y="1354"/>
                </a:cubicBezTo>
                <a:cubicBezTo>
                  <a:pt x="3041" y="1350"/>
                  <a:pt x="3041" y="1350"/>
                  <a:pt x="3041" y="1350"/>
                </a:cubicBezTo>
                <a:cubicBezTo>
                  <a:pt x="3040" y="1349"/>
                  <a:pt x="3040" y="1349"/>
                  <a:pt x="3040" y="1349"/>
                </a:cubicBezTo>
                <a:cubicBezTo>
                  <a:pt x="3040" y="1347"/>
                  <a:pt x="3040" y="1347"/>
                  <a:pt x="3040" y="1347"/>
                </a:cubicBezTo>
                <a:cubicBezTo>
                  <a:pt x="3041" y="1346"/>
                  <a:pt x="3041" y="1346"/>
                  <a:pt x="3041" y="1346"/>
                </a:cubicBezTo>
                <a:cubicBezTo>
                  <a:pt x="3041" y="1343"/>
                  <a:pt x="3041" y="1343"/>
                  <a:pt x="3041" y="1343"/>
                </a:cubicBezTo>
                <a:cubicBezTo>
                  <a:pt x="3042" y="1340"/>
                  <a:pt x="3042" y="1340"/>
                  <a:pt x="3042" y="1340"/>
                </a:cubicBezTo>
                <a:cubicBezTo>
                  <a:pt x="3042" y="1339"/>
                  <a:pt x="3042" y="1339"/>
                  <a:pt x="3042" y="1339"/>
                </a:cubicBezTo>
                <a:cubicBezTo>
                  <a:pt x="3042" y="1333"/>
                  <a:pt x="3042" y="1333"/>
                  <a:pt x="3042" y="1333"/>
                </a:cubicBezTo>
                <a:cubicBezTo>
                  <a:pt x="3043" y="1331"/>
                  <a:pt x="3043" y="1331"/>
                  <a:pt x="3043" y="1331"/>
                </a:cubicBezTo>
                <a:cubicBezTo>
                  <a:pt x="3042" y="1330"/>
                  <a:pt x="3042" y="1330"/>
                  <a:pt x="3042" y="1330"/>
                </a:cubicBezTo>
                <a:cubicBezTo>
                  <a:pt x="3042" y="1328"/>
                  <a:pt x="3042" y="1328"/>
                  <a:pt x="3042" y="1328"/>
                </a:cubicBezTo>
                <a:cubicBezTo>
                  <a:pt x="3042" y="1324"/>
                  <a:pt x="3042" y="1324"/>
                  <a:pt x="3042" y="1324"/>
                </a:cubicBezTo>
                <a:cubicBezTo>
                  <a:pt x="3041" y="1324"/>
                  <a:pt x="3041" y="1324"/>
                  <a:pt x="3041" y="1324"/>
                </a:cubicBezTo>
                <a:cubicBezTo>
                  <a:pt x="3042" y="1322"/>
                  <a:pt x="3042" y="1322"/>
                  <a:pt x="3042" y="1322"/>
                </a:cubicBezTo>
                <a:cubicBezTo>
                  <a:pt x="3040" y="1321"/>
                  <a:pt x="3040" y="1321"/>
                  <a:pt x="3040" y="1321"/>
                </a:cubicBezTo>
                <a:cubicBezTo>
                  <a:pt x="3039" y="1319"/>
                  <a:pt x="3039" y="1319"/>
                  <a:pt x="3039" y="1319"/>
                </a:cubicBezTo>
                <a:cubicBezTo>
                  <a:pt x="3039" y="1317"/>
                  <a:pt x="3039" y="1317"/>
                  <a:pt x="3039" y="1317"/>
                </a:cubicBezTo>
                <a:cubicBezTo>
                  <a:pt x="3037" y="1315"/>
                  <a:pt x="3037" y="1315"/>
                  <a:pt x="3037" y="1315"/>
                </a:cubicBezTo>
                <a:cubicBezTo>
                  <a:pt x="3036" y="1312"/>
                  <a:pt x="3036" y="1312"/>
                  <a:pt x="3036" y="1312"/>
                </a:cubicBezTo>
                <a:cubicBezTo>
                  <a:pt x="3035" y="1309"/>
                  <a:pt x="3035" y="1309"/>
                  <a:pt x="3035" y="1309"/>
                </a:cubicBezTo>
                <a:cubicBezTo>
                  <a:pt x="3034" y="1306"/>
                  <a:pt x="3034" y="1306"/>
                  <a:pt x="3034" y="1306"/>
                </a:cubicBezTo>
                <a:cubicBezTo>
                  <a:pt x="3032" y="1306"/>
                  <a:pt x="3032" y="1306"/>
                  <a:pt x="3032" y="1306"/>
                </a:cubicBezTo>
                <a:cubicBezTo>
                  <a:pt x="3031" y="1307"/>
                  <a:pt x="3031" y="1307"/>
                  <a:pt x="3031" y="1307"/>
                </a:cubicBezTo>
                <a:cubicBezTo>
                  <a:pt x="3029" y="1306"/>
                  <a:pt x="3029" y="1306"/>
                  <a:pt x="3029" y="1306"/>
                </a:cubicBezTo>
                <a:cubicBezTo>
                  <a:pt x="3029" y="1303"/>
                  <a:pt x="3029" y="1303"/>
                  <a:pt x="3029" y="1303"/>
                </a:cubicBezTo>
                <a:cubicBezTo>
                  <a:pt x="3028" y="1303"/>
                  <a:pt x="3028" y="1303"/>
                  <a:pt x="3028" y="1303"/>
                </a:cubicBezTo>
                <a:cubicBezTo>
                  <a:pt x="3028" y="1301"/>
                  <a:pt x="3028" y="1301"/>
                  <a:pt x="3028" y="1301"/>
                </a:cubicBezTo>
                <a:cubicBezTo>
                  <a:pt x="3025" y="1299"/>
                  <a:pt x="3025" y="1299"/>
                  <a:pt x="3025" y="1299"/>
                </a:cubicBezTo>
                <a:cubicBezTo>
                  <a:pt x="3024" y="1298"/>
                  <a:pt x="3024" y="1298"/>
                  <a:pt x="3024" y="1298"/>
                </a:cubicBezTo>
                <a:cubicBezTo>
                  <a:pt x="3025" y="1297"/>
                  <a:pt x="3025" y="1297"/>
                  <a:pt x="3025" y="1297"/>
                </a:cubicBezTo>
                <a:cubicBezTo>
                  <a:pt x="3023" y="1294"/>
                  <a:pt x="3023" y="1294"/>
                  <a:pt x="3023" y="1294"/>
                </a:cubicBezTo>
                <a:cubicBezTo>
                  <a:pt x="3025" y="1292"/>
                  <a:pt x="3025" y="1292"/>
                  <a:pt x="3025" y="1292"/>
                </a:cubicBezTo>
                <a:cubicBezTo>
                  <a:pt x="3026" y="1289"/>
                  <a:pt x="3026" y="1289"/>
                  <a:pt x="3026" y="1289"/>
                </a:cubicBezTo>
                <a:cubicBezTo>
                  <a:pt x="3025" y="1287"/>
                  <a:pt x="3025" y="1287"/>
                  <a:pt x="3025" y="1287"/>
                </a:cubicBezTo>
                <a:cubicBezTo>
                  <a:pt x="3025" y="1285"/>
                  <a:pt x="3025" y="1285"/>
                  <a:pt x="3025" y="1285"/>
                </a:cubicBezTo>
                <a:cubicBezTo>
                  <a:pt x="3024" y="1284"/>
                  <a:pt x="3024" y="1284"/>
                  <a:pt x="3024" y="1284"/>
                </a:cubicBezTo>
                <a:cubicBezTo>
                  <a:pt x="3024" y="1285"/>
                  <a:pt x="3024" y="1285"/>
                  <a:pt x="3024" y="1285"/>
                </a:cubicBezTo>
                <a:cubicBezTo>
                  <a:pt x="3024" y="1286"/>
                  <a:pt x="3024" y="1286"/>
                  <a:pt x="3024" y="1286"/>
                </a:cubicBezTo>
                <a:cubicBezTo>
                  <a:pt x="3024" y="1287"/>
                  <a:pt x="3024" y="1287"/>
                  <a:pt x="3024" y="1287"/>
                </a:cubicBezTo>
                <a:cubicBezTo>
                  <a:pt x="3019" y="1283"/>
                  <a:pt x="3019" y="1283"/>
                  <a:pt x="3019" y="1283"/>
                </a:cubicBezTo>
                <a:cubicBezTo>
                  <a:pt x="3018" y="1281"/>
                  <a:pt x="3018" y="1281"/>
                  <a:pt x="3018" y="1281"/>
                </a:cubicBezTo>
                <a:cubicBezTo>
                  <a:pt x="3017" y="1281"/>
                  <a:pt x="3017" y="1281"/>
                  <a:pt x="3017" y="1281"/>
                </a:cubicBezTo>
                <a:cubicBezTo>
                  <a:pt x="3017" y="1283"/>
                  <a:pt x="3017" y="1283"/>
                  <a:pt x="3017" y="1283"/>
                </a:cubicBezTo>
                <a:cubicBezTo>
                  <a:pt x="3017" y="1284"/>
                  <a:pt x="3017" y="1284"/>
                  <a:pt x="3017" y="1284"/>
                </a:cubicBezTo>
                <a:cubicBezTo>
                  <a:pt x="3018" y="1287"/>
                  <a:pt x="3018" y="1287"/>
                  <a:pt x="3018" y="1287"/>
                </a:cubicBezTo>
                <a:cubicBezTo>
                  <a:pt x="3016" y="1285"/>
                  <a:pt x="3016" y="1285"/>
                  <a:pt x="3016" y="1285"/>
                </a:cubicBezTo>
                <a:cubicBezTo>
                  <a:pt x="3014" y="1286"/>
                  <a:pt x="3014" y="1286"/>
                  <a:pt x="3014" y="1286"/>
                </a:cubicBezTo>
                <a:cubicBezTo>
                  <a:pt x="3014" y="1284"/>
                  <a:pt x="3014" y="1284"/>
                  <a:pt x="3014" y="1284"/>
                </a:cubicBezTo>
                <a:cubicBezTo>
                  <a:pt x="3014" y="1282"/>
                  <a:pt x="3014" y="1282"/>
                  <a:pt x="3014" y="1282"/>
                </a:cubicBezTo>
                <a:cubicBezTo>
                  <a:pt x="3013" y="1277"/>
                  <a:pt x="3013" y="1277"/>
                  <a:pt x="3013" y="1277"/>
                </a:cubicBezTo>
                <a:cubicBezTo>
                  <a:pt x="3014" y="1276"/>
                  <a:pt x="3014" y="1276"/>
                  <a:pt x="3014" y="1276"/>
                </a:cubicBezTo>
                <a:cubicBezTo>
                  <a:pt x="3014" y="1275"/>
                  <a:pt x="3014" y="1275"/>
                  <a:pt x="3014" y="1275"/>
                </a:cubicBezTo>
                <a:cubicBezTo>
                  <a:pt x="3012" y="1274"/>
                  <a:pt x="3012" y="1274"/>
                  <a:pt x="3012" y="1274"/>
                </a:cubicBezTo>
                <a:cubicBezTo>
                  <a:pt x="3013" y="1272"/>
                  <a:pt x="3013" y="1272"/>
                  <a:pt x="3013" y="1272"/>
                </a:cubicBezTo>
                <a:cubicBezTo>
                  <a:pt x="3011" y="1271"/>
                  <a:pt x="3011" y="1271"/>
                  <a:pt x="3011" y="1271"/>
                </a:cubicBezTo>
                <a:cubicBezTo>
                  <a:pt x="3012" y="1269"/>
                  <a:pt x="3012" y="1269"/>
                  <a:pt x="3012" y="1269"/>
                </a:cubicBezTo>
                <a:cubicBezTo>
                  <a:pt x="3008" y="1266"/>
                  <a:pt x="3008" y="1266"/>
                  <a:pt x="3008" y="1266"/>
                </a:cubicBezTo>
                <a:cubicBezTo>
                  <a:pt x="3008" y="1264"/>
                  <a:pt x="3008" y="1264"/>
                  <a:pt x="3008" y="1264"/>
                </a:cubicBezTo>
                <a:cubicBezTo>
                  <a:pt x="3007" y="1262"/>
                  <a:pt x="3007" y="1262"/>
                  <a:pt x="3007" y="1262"/>
                </a:cubicBezTo>
                <a:cubicBezTo>
                  <a:pt x="3009" y="1262"/>
                  <a:pt x="3009" y="1262"/>
                  <a:pt x="3009" y="1262"/>
                </a:cubicBezTo>
                <a:cubicBezTo>
                  <a:pt x="3009" y="1260"/>
                  <a:pt x="3009" y="1260"/>
                  <a:pt x="3009" y="1260"/>
                </a:cubicBezTo>
                <a:cubicBezTo>
                  <a:pt x="3008" y="1257"/>
                  <a:pt x="3008" y="1257"/>
                  <a:pt x="3008" y="1257"/>
                </a:cubicBezTo>
                <a:cubicBezTo>
                  <a:pt x="3007" y="1258"/>
                  <a:pt x="3007" y="1258"/>
                  <a:pt x="3007" y="1258"/>
                </a:cubicBezTo>
                <a:cubicBezTo>
                  <a:pt x="3005" y="1258"/>
                  <a:pt x="3005" y="1258"/>
                  <a:pt x="3005" y="1258"/>
                </a:cubicBezTo>
                <a:cubicBezTo>
                  <a:pt x="3003" y="1255"/>
                  <a:pt x="3003" y="1255"/>
                  <a:pt x="3003" y="1255"/>
                </a:cubicBezTo>
                <a:cubicBezTo>
                  <a:pt x="3001" y="1255"/>
                  <a:pt x="3001" y="1255"/>
                  <a:pt x="3001" y="1255"/>
                </a:cubicBezTo>
                <a:cubicBezTo>
                  <a:pt x="3000" y="1253"/>
                  <a:pt x="3000" y="1253"/>
                  <a:pt x="3000" y="1253"/>
                </a:cubicBezTo>
                <a:cubicBezTo>
                  <a:pt x="2999" y="1254"/>
                  <a:pt x="2999" y="1254"/>
                  <a:pt x="2999" y="1254"/>
                </a:cubicBezTo>
                <a:cubicBezTo>
                  <a:pt x="2998" y="1253"/>
                  <a:pt x="2998" y="1253"/>
                  <a:pt x="2998" y="1253"/>
                </a:cubicBezTo>
                <a:cubicBezTo>
                  <a:pt x="2996" y="1252"/>
                  <a:pt x="2996" y="1252"/>
                  <a:pt x="2996" y="1252"/>
                </a:cubicBezTo>
                <a:cubicBezTo>
                  <a:pt x="2994" y="1254"/>
                  <a:pt x="2994" y="1254"/>
                  <a:pt x="2994" y="1254"/>
                </a:cubicBezTo>
                <a:cubicBezTo>
                  <a:pt x="2995" y="1252"/>
                  <a:pt x="2995" y="1252"/>
                  <a:pt x="2995" y="1252"/>
                </a:cubicBezTo>
                <a:cubicBezTo>
                  <a:pt x="2997" y="1251"/>
                  <a:pt x="2997" y="1251"/>
                  <a:pt x="2997" y="1251"/>
                </a:cubicBezTo>
                <a:cubicBezTo>
                  <a:pt x="2997" y="1250"/>
                  <a:pt x="2997" y="1250"/>
                  <a:pt x="2997" y="1250"/>
                </a:cubicBezTo>
                <a:cubicBezTo>
                  <a:pt x="2997" y="1249"/>
                  <a:pt x="2997" y="1249"/>
                  <a:pt x="2997" y="1249"/>
                </a:cubicBezTo>
                <a:cubicBezTo>
                  <a:pt x="2995" y="1249"/>
                  <a:pt x="2995" y="1249"/>
                  <a:pt x="2995" y="1249"/>
                </a:cubicBezTo>
                <a:cubicBezTo>
                  <a:pt x="2993" y="1249"/>
                  <a:pt x="2993" y="1249"/>
                  <a:pt x="2993" y="1249"/>
                </a:cubicBezTo>
                <a:cubicBezTo>
                  <a:pt x="2992" y="1247"/>
                  <a:pt x="2992" y="1247"/>
                  <a:pt x="2992" y="1247"/>
                </a:cubicBezTo>
                <a:cubicBezTo>
                  <a:pt x="2991" y="1247"/>
                  <a:pt x="2991" y="1247"/>
                  <a:pt x="2991" y="1247"/>
                </a:cubicBezTo>
                <a:cubicBezTo>
                  <a:pt x="2987" y="1245"/>
                  <a:pt x="2987" y="1245"/>
                  <a:pt x="2987" y="1245"/>
                </a:cubicBezTo>
                <a:cubicBezTo>
                  <a:pt x="2985" y="1241"/>
                  <a:pt x="2985" y="1241"/>
                  <a:pt x="2985" y="1241"/>
                </a:cubicBezTo>
                <a:cubicBezTo>
                  <a:pt x="2985" y="1238"/>
                  <a:pt x="2985" y="1238"/>
                  <a:pt x="2985" y="1238"/>
                </a:cubicBezTo>
                <a:cubicBezTo>
                  <a:pt x="2984" y="1235"/>
                  <a:pt x="2984" y="1235"/>
                  <a:pt x="2984" y="1235"/>
                </a:cubicBezTo>
                <a:cubicBezTo>
                  <a:pt x="2984" y="1233"/>
                  <a:pt x="2984" y="1233"/>
                  <a:pt x="2984" y="1233"/>
                </a:cubicBezTo>
                <a:cubicBezTo>
                  <a:pt x="2985" y="1233"/>
                  <a:pt x="2985" y="1233"/>
                  <a:pt x="2985" y="1233"/>
                </a:cubicBezTo>
                <a:cubicBezTo>
                  <a:pt x="2985" y="1229"/>
                  <a:pt x="2985" y="1229"/>
                  <a:pt x="2985" y="1229"/>
                </a:cubicBezTo>
                <a:cubicBezTo>
                  <a:pt x="2984" y="1224"/>
                  <a:pt x="2984" y="1224"/>
                  <a:pt x="2984" y="1224"/>
                </a:cubicBezTo>
                <a:cubicBezTo>
                  <a:pt x="2983" y="1221"/>
                  <a:pt x="2983" y="1221"/>
                  <a:pt x="2983" y="1221"/>
                </a:cubicBezTo>
                <a:cubicBezTo>
                  <a:pt x="2984" y="1221"/>
                  <a:pt x="2984" y="1221"/>
                  <a:pt x="2984" y="1221"/>
                </a:cubicBezTo>
                <a:cubicBezTo>
                  <a:pt x="2983" y="1219"/>
                  <a:pt x="2983" y="1219"/>
                  <a:pt x="2983" y="1219"/>
                </a:cubicBezTo>
                <a:cubicBezTo>
                  <a:pt x="2981" y="1219"/>
                  <a:pt x="2981" y="1219"/>
                  <a:pt x="2981" y="1219"/>
                </a:cubicBezTo>
                <a:cubicBezTo>
                  <a:pt x="2979" y="1215"/>
                  <a:pt x="2979" y="1215"/>
                  <a:pt x="2979" y="1215"/>
                </a:cubicBezTo>
                <a:cubicBezTo>
                  <a:pt x="2979" y="1210"/>
                  <a:pt x="2979" y="1210"/>
                  <a:pt x="2979" y="1210"/>
                </a:cubicBezTo>
                <a:cubicBezTo>
                  <a:pt x="2980" y="1210"/>
                  <a:pt x="2980" y="1210"/>
                  <a:pt x="2980" y="1210"/>
                </a:cubicBezTo>
                <a:cubicBezTo>
                  <a:pt x="2980" y="1209"/>
                  <a:pt x="2980" y="1209"/>
                  <a:pt x="2980" y="1209"/>
                </a:cubicBezTo>
                <a:cubicBezTo>
                  <a:pt x="2979" y="1208"/>
                  <a:pt x="2979" y="1208"/>
                  <a:pt x="2979" y="1208"/>
                </a:cubicBezTo>
                <a:cubicBezTo>
                  <a:pt x="2979" y="1201"/>
                  <a:pt x="2979" y="1201"/>
                  <a:pt x="2979" y="1201"/>
                </a:cubicBezTo>
                <a:cubicBezTo>
                  <a:pt x="2979" y="1200"/>
                  <a:pt x="2979" y="1200"/>
                  <a:pt x="2979" y="1200"/>
                </a:cubicBezTo>
                <a:cubicBezTo>
                  <a:pt x="2979" y="1198"/>
                  <a:pt x="2979" y="1198"/>
                  <a:pt x="2979" y="1198"/>
                </a:cubicBezTo>
                <a:cubicBezTo>
                  <a:pt x="2979" y="1197"/>
                  <a:pt x="2979" y="1197"/>
                  <a:pt x="2979" y="1197"/>
                </a:cubicBezTo>
                <a:cubicBezTo>
                  <a:pt x="2980" y="1196"/>
                  <a:pt x="2980" y="1196"/>
                  <a:pt x="2980" y="1196"/>
                </a:cubicBezTo>
                <a:cubicBezTo>
                  <a:pt x="2976" y="1192"/>
                  <a:pt x="2976" y="1192"/>
                  <a:pt x="2976" y="1192"/>
                </a:cubicBezTo>
                <a:cubicBezTo>
                  <a:pt x="2974" y="1191"/>
                  <a:pt x="2974" y="1191"/>
                  <a:pt x="2974" y="1191"/>
                </a:cubicBezTo>
                <a:cubicBezTo>
                  <a:pt x="2975" y="1190"/>
                  <a:pt x="2975" y="1190"/>
                  <a:pt x="2975" y="1190"/>
                </a:cubicBezTo>
                <a:cubicBezTo>
                  <a:pt x="2972" y="1188"/>
                  <a:pt x="2972" y="1188"/>
                  <a:pt x="2972" y="1188"/>
                </a:cubicBezTo>
                <a:cubicBezTo>
                  <a:pt x="2970" y="1189"/>
                  <a:pt x="2970" y="1189"/>
                  <a:pt x="2970" y="1189"/>
                </a:cubicBezTo>
                <a:cubicBezTo>
                  <a:pt x="2969" y="1188"/>
                  <a:pt x="2969" y="1188"/>
                  <a:pt x="2969" y="1188"/>
                </a:cubicBezTo>
                <a:cubicBezTo>
                  <a:pt x="2968" y="1191"/>
                  <a:pt x="2968" y="1191"/>
                  <a:pt x="2968" y="1191"/>
                </a:cubicBezTo>
                <a:cubicBezTo>
                  <a:pt x="2966" y="1191"/>
                  <a:pt x="2966" y="1191"/>
                  <a:pt x="2966" y="1191"/>
                </a:cubicBezTo>
                <a:cubicBezTo>
                  <a:pt x="2964" y="1188"/>
                  <a:pt x="2964" y="1188"/>
                  <a:pt x="2964" y="1188"/>
                </a:cubicBezTo>
                <a:cubicBezTo>
                  <a:pt x="2965" y="1186"/>
                  <a:pt x="2965" y="1186"/>
                  <a:pt x="2965" y="1186"/>
                </a:cubicBezTo>
                <a:cubicBezTo>
                  <a:pt x="2963" y="1183"/>
                  <a:pt x="2963" y="1183"/>
                  <a:pt x="2963" y="1183"/>
                </a:cubicBezTo>
                <a:cubicBezTo>
                  <a:pt x="2964" y="1179"/>
                  <a:pt x="2964" y="1179"/>
                  <a:pt x="2964" y="1179"/>
                </a:cubicBezTo>
                <a:cubicBezTo>
                  <a:pt x="2964" y="1175"/>
                  <a:pt x="2964" y="1175"/>
                  <a:pt x="2964" y="1175"/>
                </a:cubicBezTo>
                <a:cubicBezTo>
                  <a:pt x="2963" y="1175"/>
                  <a:pt x="2963" y="1175"/>
                  <a:pt x="2963" y="1175"/>
                </a:cubicBezTo>
                <a:cubicBezTo>
                  <a:pt x="2962" y="1173"/>
                  <a:pt x="2962" y="1173"/>
                  <a:pt x="2962" y="1173"/>
                </a:cubicBezTo>
                <a:cubicBezTo>
                  <a:pt x="2963" y="1172"/>
                  <a:pt x="2963" y="1172"/>
                  <a:pt x="2963" y="1172"/>
                </a:cubicBezTo>
                <a:cubicBezTo>
                  <a:pt x="2961" y="1170"/>
                  <a:pt x="2961" y="1170"/>
                  <a:pt x="2961" y="1170"/>
                </a:cubicBezTo>
                <a:cubicBezTo>
                  <a:pt x="2961" y="1168"/>
                  <a:pt x="2961" y="1168"/>
                  <a:pt x="2961" y="1168"/>
                </a:cubicBezTo>
                <a:cubicBezTo>
                  <a:pt x="2960" y="1167"/>
                  <a:pt x="2960" y="1167"/>
                  <a:pt x="2960" y="1167"/>
                </a:cubicBezTo>
                <a:cubicBezTo>
                  <a:pt x="2960" y="1165"/>
                  <a:pt x="2960" y="1165"/>
                  <a:pt x="2960" y="1165"/>
                </a:cubicBezTo>
                <a:cubicBezTo>
                  <a:pt x="2962" y="1163"/>
                  <a:pt x="2962" y="1163"/>
                  <a:pt x="2962" y="1163"/>
                </a:cubicBezTo>
                <a:cubicBezTo>
                  <a:pt x="2960" y="1163"/>
                  <a:pt x="2960" y="1163"/>
                  <a:pt x="2960" y="1163"/>
                </a:cubicBezTo>
                <a:cubicBezTo>
                  <a:pt x="2959" y="1163"/>
                  <a:pt x="2959" y="1163"/>
                  <a:pt x="2959" y="1163"/>
                </a:cubicBezTo>
                <a:cubicBezTo>
                  <a:pt x="2957" y="1162"/>
                  <a:pt x="2957" y="1162"/>
                  <a:pt x="2957" y="1162"/>
                </a:cubicBezTo>
                <a:cubicBezTo>
                  <a:pt x="2958" y="1157"/>
                  <a:pt x="2958" y="1157"/>
                  <a:pt x="2958" y="1157"/>
                </a:cubicBezTo>
                <a:cubicBezTo>
                  <a:pt x="2957" y="1156"/>
                  <a:pt x="2957" y="1156"/>
                  <a:pt x="2957" y="1156"/>
                </a:cubicBezTo>
                <a:cubicBezTo>
                  <a:pt x="2957" y="1153"/>
                  <a:pt x="2957" y="1153"/>
                  <a:pt x="2957" y="1153"/>
                </a:cubicBezTo>
                <a:cubicBezTo>
                  <a:pt x="2955" y="1153"/>
                  <a:pt x="2955" y="1153"/>
                  <a:pt x="2955" y="1153"/>
                </a:cubicBezTo>
                <a:cubicBezTo>
                  <a:pt x="2955" y="1151"/>
                  <a:pt x="2955" y="1151"/>
                  <a:pt x="2955" y="1151"/>
                </a:cubicBezTo>
                <a:cubicBezTo>
                  <a:pt x="2952" y="1152"/>
                  <a:pt x="2952" y="1152"/>
                  <a:pt x="2952" y="1152"/>
                </a:cubicBezTo>
                <a:cubicBezTo>
                  <a:pt x="2951" y="1154"/>
                  <a:pt x="2951" y="1154"/>
                  <a:pt x="2951" y="1154"/>
                </a:cubicBezTo>
                <a:cubicBezTo>
                  <a:pt x="2951" y="1157"/>
                  <a:pt x="2951" y="1157"/>
                  <a:pt x="2951" y="1157"/>
                </a:cubicBezTo>
                <a:cubicBezTo>
                  <a:pt x="2950" y="1160"/>
                  <a:pt x="2950" y="1160"/>
                  <a:pt x="2950" y="1160"/>
                </a:cubicBezTo>
                <a:cubicBezTo>
                  <a:pt x="2950" y="1161"/>
                  <a:pt x="2950" y="1161"/>
                  <a:pt x="2950" y="1161"/>
                </a:cubicBezTo>
                <a:cubicBezTo>
                  <a:pt x="2950" y="1163"/>
                  <a:pt x="2950" y="1163"/>
                  <a:pt x="2950" y="1163"/>
                </a:cubicBezTo>
                <a:cubicBezTo>
                  <a:pt x="2949" y="1163"/>
                  <a:pt x="2949" y="1163"/>
                  <a:pt x="2949" y="1163"/>
                </a:cubicBezTo>
                <a:cubicBezTo>
                  <a:pt x="2947" y="1166"/>
                  <a:pt x="2947" y="1166"/>
                  <a:pt x="2947" y="1166"/>
                </a:cubicBezTo>
                <a:cubicBezTo>
                  <a:pt x="2945" y="1169"/>
                  <a:pt x="2945" y="1169"/>
                  <a:pt x="2945" y="1169"/>
                </a:cubicBezTo>
                <a:cubicBezTo>
                  <a:pt x="2947" y="1170"/>
                  <a:pt x="2947" y="1170"/>
                  <a:pt x="2947" y="1170"/>
                </a:cubicBezTo>
                <a:cubicBezTo>
                  <a:pt x="2949" y="1172"/>
                  <a:pt x="2949" y="1172"/>
                  <a:pt x="2949" y="1172"/>
                </a:cubicBezTo>
                <a:cubicBezTo>
                  <a:pt x="2948" y="1173"/>
                  <a:pt x="2948" y="1173"/>
                  <a:pt x="2948" y="1173"/>
                </a:cubicBezTo>
                <a:cubicBezTo>
                  <a:pt x="2946" y="1173"/>
                  <a:pt x="2946" y="1173"/>
                  <a:pt x="2946" y="1173"/>
                </a:cubicBezTo>
                <a:cubicBezTo>
                  <a:pt x="2946" y="1175"/>
                  <a:pt x="2946" y="1175"/>
                  <a:pt x="2946" y="1175"/>
                </a:cubicBezTo>
                <a:cubicBezTo>
                  <a:pt x="2944" y="1177"/>
                  <a:pt x="2944" y="1177"/>
                  <a:pt x="2944" y="1177"/>
                </a:cubicBezTo>
                <a:cubicBezTo>
                  <a:pt x="2946" y="1179"/>
                  <a:pt x="2946" y="1179"/>
                  <a:pt x="2946" y="1179"/>
                </a:cubicBezTo>
                <a:cubicBezTo>
                  <a:pt x="2946" y="1181"/>
                  <a:pt x="2946" y="1181"/>
                  <a:pt x="2946" y="1181"/>
                </a:cubicBezTo>
                <a:cubicBezTo>
                  <a:pt x="2945" y="1180"/>
                  <a:pt x="2945" y="1180"/>
                  <a:pt x="2945" y="1180"/>
                </a:cubicBezTo>
                <a:cubicBezTo>
                  <a:pt x="2943" y="1181"/>
                  <a:pt x="2943" y="1181"/>
                  <a:pt x="2943" y="1181"/>
                </a:cubicBezTo>
                <a:cubicBezTo>
                  <a:pt x="2943" y="1186"/>
                  <a:pt x="2943" y="1186"/>
                  <a:pt x="2943" y="1186"/>
                </a:cubicBezTo>
                <a:cubicBezTo>
                  <a:pt x="2943" y="1189"/>
                  <a:pt x="2943" y="1189"/>
                  <a:pt x="2943" y="1189"/>
                </a:cubicBezTo>
                <a:cubicBezTo>
                  <a:pt x="2943" y="1193"/>
                  <a:pt x="2943" y="1193"/>
                  <a:pt x="2943" y="1193"/>
                </a:cubicBezTo>
                <a:cubicBezTo>
                  <a:pt x="2944" y="1195"/>
                  <a:pt x="2944" y="1195"/>
                  <a:pt x="2944" y="1195"/>
                </a:cubicBezTo>
                <a:cubicBezTo>
                  <a:pt x="2944" y="1198"/>
                  <a:pt x="2944" y="1198"/>
                  <a:pt x="2944" y="1198"/>
                </a:cubicBezTo>
                <a:cubicBezTo>
                  <a:pt x="2942" y="1200"/>
                  <a:pt x="2942" y="1200"/>
                  <a:pt x="2942" y="1200"/>
                </a:cubicBezTo>
                <a:cubicBezTo>
                  <a:pt x="2942" y="1202"/>
                  <a:pt x="2942" y="1202"/>
                  <a:pt x="2942" y="1202"/>
                </a:cubicBezTo>
                <a:cubicBezTo>
                  <a:pt x="2940" y="1206"/>
                  <a:pt x="2940" y="1206"/>
                  <a:pt x="2940" y="1206"/>
                </a:cubicBezTo>
                <a:cubicBezTo>
                  <a:pt x="2939" y="1211"/>
                  <a:pt x="2939" y="1211"/>
                  <a:pt x="2939" y="1211"/>
                </a:cubicBezTo>
                <a:cubicBezTo>
                  <a:pt x="2937" y="1213"/>
                  <a:pt x="2937" y="1213"/>
                  <a:pt x="2937" y="1213"/>
                </a:cubicBezTo>
                <a:cubicBezTo>
                  <a:pt x="2938" y="1216"/>
                  <a:pt x="2938" y="1216"/>
                  <a:pt x="2938" y="1216"/>
                </a:cubicBezTo>
                <a:cubicBezTo>
                  <a:pt x="2937" y="1219"/>
                  <a:pt x="2937" y="1219"/>
                  <a:pt x="2937" y="1219"/>
                </a:cubicBezTo>
                <a:cubicBezTo>
                  <a:pt x="2935" y="1221"/>
                  <a:pt x="2935" y="1221"/>
                  <a:pt x="2935" y="1221"/>
                </a:cubicBezTo>
                <a:cubicBezTo>
                  <a:pt x="2935" y="1224"/>
                  <a:pt x="2935" y="1224"/>
                  <a:pt x="2935" y="1224"/>
                </a:cubicBezTo>
                <a:cubicBezTo>
                  <a:pt x="2932" y="1227"/>
                  <a:pt x="2932" y="1227"/>
                  <a:pt x="2932" y="1227"/>
                </a:cubicBezTo>
                <a:cubicBezTo>
                  <a:pt x="2925" y="1229"/>
                  <a:pt x="2925" y="1229"/>
                  <a:pt x="2925" y="1229"/>
                </a:cubicBezTo>
                <a:cubicBezTo>
                  <a:pt x="2923" y="1227"/>
                  <a:pt x="2923" y="1227"/>
                  <a:pt x="2923" y="1227"/>
                </a:cubicBezTo>
                <a:cubicBezTo>
                  <a:pt x="2920" y="1227"/>
                  <a:pt x="2920" y="1227"/>
                  <a:pt x="2920" y="1227"/>
                </a:cubicBezTo>
                <a:cubicBezTo>
                  <a:pt x="2919" y="1225"/>
                  <a:pt x="2919" y="1225"/>
                  <a:pt x="2919" y="1225"/>
                </a:cubicBezTo>
                <a:cubicBezTo>
                  <a:pt x="2916" y="1223"/>
                  <a:pt x="2916" y="1223"/>
                  <a:pt x="2916" y="1223"/>
                </a:cubicBezTo>
                <a:cubicBezTo>
                  <a:pt x="2916" y="1222"/>
                  <a:pt x="2916" y="1222"/>
                  <a:pt x="2916" y="1222"/>
                </a:cubicBezTo>
                <a:cubicBezTo>
                  <a:pt x="2915" y="1221"/>
                  <a:pt x="2915" y="1221"/>
                  <a:pt x="2915" y="1221"/>
                </a:cubicBezTo>
                <a:cubicBezTo>
                  <a:pt x="2915" y="1219"/>
                  <a:pt x="2915" y="1219"/>
                  <a:pt x="2915" y="1219"/>
                </a:cubicBezTo>
                <a:cubicBezTo>
                  <a:pt x="2912" y="1219"/>
                  <a:pt x="2912" y="1219"/>
                  <a:pt x="2912" y="1219"/>
                </a:cubicBezTo>
                <a:cubicBezTo>
                  <a:pt x="2910" y="1218"/>
                  <a:pt x="2910" y="1218"/>
                  <a:pt x="2910" y="1218"/>
                </a:cubicBezTo>
                <a:cubicBezTo>
                  <a:pt x="2907" y="1218"/>
                  <a:pt x="2907" y="1218"/>
                  <a:pt x="2907" y="1218"/>
                </a:cubicBezTo>
                <a:cubicBezTo>
                  <a:pt x="2904" y="1216"/>
                  <a:pt x="2904" y="1216"/>
                  <a:pt x="2904" y="1216"/>
                </a:cubicBezTo>
                <a:cubicBezTo>
                  <a:pt x="2904" y="1214"/>
                  <a:pt x="2904" y="1214"/>
                  <a:pt x="2904" y="1214"/>
                </a:cubicBezTo>
                <a:cubicBezTo>
                  <a:pt x="2902" y="1211"/>
                  <a:pt x="2902" y="1211"/>
                  <a:pt x="2902" y="1211"/>
                </a:cubicBezTo>
                <a:cubicBezTo>
                  <a:pt x="2899" y="1211"/>
                  <a:pt x="2899" y="1211"/>
                  <a:pt x="2899" y="1211"/>
                </a:cubicBezTo>
                <a:cubicBezTo>
                  <a:pt x="2897" y="1209"/>
                  <a:pt x="2897" y="1209"/>
                  <a:pt x="2897" y="1209"/>
                </a:cubicBezTo>
                <a:cubicBezTo>
                  <a:pt x="2896" y="1208"/>
                  <a:pt x="2896" y="1208"/>
                  <a:pt x="2896" y="1208"/>
                </a:cubicBezTo>
                <a:cubicBezTo>
                  <a:pt x="2895" y="1208"/>
                  <a:pt x="2895" y="1208"/>
                  <a:pt x="2895" y="1208"/>
                </a:cubicBezTo>
                <a:cubicBezTo>
                  <a:pt x="2894" y="1207"/>
                  <a:pt x="2894" y="1207"/>
                  <a:pt x="2894" y="1207"/>
                </a:cubicBezTo>
                <a:cubicBezTo>
                  <a:pt x="2892" y="1207"/>
                  <a:pt x="2892" y="1207"/>
                  <a:pt x="2892" y="1207"/>
                </a:cubicBezTo>
                <a:cubicBezTo>
                  <a:pt x="2890" y="1207"/>
                  <a:pt x="2890" y="1207"/>
                  <a:pt x="2890" y="1207"/>
                </a:cubicBezTo>
                <a:cubicBezTo>
                  <a:pt x="2890" y="1206"/>
                  <a:pt x="2890" y="1206"/>
                  <a:pt x="2890" y="1206"/>
                </a:cubicBezTo>
                <a:cubicBezTo>
                  <a:pt x="2888" y="1204"/>
                  <a:pt x="2888" y="1204"/>
                  <a:pt x="2888" y="1204"/>
                </a:cubicBezTo>
                <a:cubicBezTo>
                  <a:pt x="2887" y="1202"/>
                  <a:pt x="2887" y="1202"/>
                  <a:pt x="2887" y="1202"/>
                </a:cubicBezTo>
                <a:cubicBezTo>
                  <a:pt x="2885" y="1199"/>
                  <a:pt x="2885" y="1199"/>
                  <a:pt x="2885" y="1199"/>
                </a:cubicBezTo>
                <a:cubicBezTo>
                  <a:pt x="2883" y="1199"/>
                  <a:pt x="2883" y="1199"/>
                  <a:pt x="2883" y="1199"/>
                </a:cubicBezTo>
                <a:cubicBezTo>
                  <a:pt x="2881" y="1196"/>
                  <a:pt x="2881" y="1196"/>
                  <a:pt x="2881" y="1196"/>
                </a:cubicBezTo>
                <a:cubicBezTo>
                  <a:pt x="2881" y="1194"/>
                  <a:pt x="2881" y="1194"/>
                  <a:pt x="2881" y="1194"/>
                </a:cubicBezTo>
                <a:cubicBezTo>
                  <a:pt x="2883" y="1191"/>
                  <a:pt x="2883" y="1191"/>
                  <a:pt x="2883" y="1191"/>
                </a:cubicBezTo>
                <a:cubicBezTo>
                  <a:pt x="2883" y="1188"/>
                  <a:pt x="2883" y="1188"/>
                  <a:pt x="2883" y="1188"/>
                </a:cubicBezTo>
                <a:cubicBezTo>
                  <a:pt x="2885" y="1187"/>
                  <a:pt x="2885" y="1187"/>
                  <a:pt x="2885" y="1187"/>
                </a:cubicBezTo>
                <a:cubicBezTo>
                  <a:pt x="2886" y="1184"/>
                  <a:pt x="2886" y="1184"/>
                  <a:pt x="2886" y="1184"/>
                </a:cubicBezTo>
                <a:cubicBezTo>
                  <a:pt x="2887" y="1182"/>
                  <a:pt x="2887" y="1182"/>
                  <a:pt x="2887" y="1182"/>
                </a:cubicBezTo>
                <a:cubicBezTo>
                  <a:pt x="2885" y="1184"/>
                  <a:pt x="2885" y="1184"/>
                  <a:pt x="2885" y="1184"/>
                </a:cubicBezTo>
                <a:cubicBezTo>
                  <a:pt x="2883" y="1181"/>
                  <a:pt x="2883" y="1181"/>
                  <a:pt x="2883" y="1181"/>
                </a:cubicBezTo>
                <a:cubicBezTo>
                  <a:pt x="2886" y="1179"/>
                  <a:pt x="2886" y="1179"/>
                  <a:pt x="2886" y="1179"/>
                </a:cubicBezTo>
                <a:cubicBezTo>
                  <a:pt x="2885" y="1177"/>
                  <a:pt x="2885" y="1177"/>
                  <a:pt x="2885" y="1177"/>
                </a:cubicBezTo>
                <a:cubicBezTo>
                  <a:pt x="2886" y="1177"/>
                  <a:pt x="2886" y="1177"/>
                  <a:pt x="2886" y="1177"/>
                </a:cubicBezTo>
                <a:cubicBezTo>
                  <a:pt x="2887" y="1177"/>
                  <a:pt x="2887" y="1177"/>
                  <a:pt x="2887" y="1177"/>
                </a:cubicBezTo>
                <a:cubicBezTo>
                  <a:pt x="2888" y="1178"/>
                  <a:pt x="2888" y="1178"/>
                  <a:pt x="2888" y="1178"/>
                </a:cubicBezTo>
                <a:cubicBezTo>
                  <a:pt x="2890" y="1178"/>
                  <a:pt x="2890" y="1178"/>
                  <a:pt x="2890" y="1178"/>
                </a:cubicBezTo>
                <a:cubicBezTo>
                  <a:pt x="2892" y="1177"/>
                  <a:pt x="2892" y="1177"/>
                  <a:pt x="2892" y="1177"/>
                </a:cubicBezTo>
                <a:cubicBezTo>
                  <a:pt x="2893" y="1175"/>
                  <a:pt x="2893" y="1175"/>
                  <a:pt x="2893" y="1175"/>
                </a:cubicBezTo>
                <a:cubicBezTo>
                  <a:pt x="2891" y="1173"/>
                  <a:pt x="2891" y="1173"/>
                  <a:pt x="2891" y="1173"/>
                </a:cubicBezTo>
                <a:cubicBezTo>
                  <a:pt x="2893" y="1172"/>
                  <a:pt x="2893" y="1172"/>
                  <a:pt x="2893" y="1172"/>
                </a:cubicBezTo>
                <a:cubicBezTo>
                  <a:pt x="2894" y="1172"/>
                  <a:pt x="2894" y="1172"/>
                  <a:pt x="2894" y="1172"/>
                </a:cubicBezTo>
                <a:cubicBezTo>
                  <a:pt x="2895" y="1169"/>
                  <a:pt x="2895" y="1169"/>
                  <a:pt x="2895" y="1169"/>
                </a:cubicBezTo>
                <a:cubicBezTo>
                  <a:pt x="2897" y="1168"/>
                  <a:pt x="2897" y="1168"/>
                  <a:pt x="2897" y="1168"/>
                </a:cubicBezTo>
                <a:cubicBezTo>
                  <a:pt x="2898" y="1166"/>
                  <a:pt x="2898" y="1166"/>
                  <a:pt x="2898" y="1166"/>
                </a:cubicBezTo>
                <a:cubicBezTo>
                  <a:pt x="2898" y="1165"/>
                  <a:pt x="2898" y="1165"/>
                  <a:pt x="2898" y="1165"/>
                </a:cubicBezTo>
                <a:cubicBezTo>
                  <a:pt x="2896" y="1164"/>
                  <a:pt x="2896" y="1164"/>
                  <a:pt x="2896" y="1164"/>
                </a:cubicBezTo>
                <a:cubicBezTo>
                  <a:pt x="2895" y="1166"/>
                  <a:pt x="2895" y="1166"/>
                  <a:pt x="2895" y="1166"/>
                </a:cubicBezTo>
                <a:cubicBezTo>
                  <a:pt x="2893" y="1165"/>
                  <a:pt x="2893" y="1165"/>
                  <a:pt x="2893" y="1165"/>
                </a:cubicBezTo>
                <a:cubicBezTo>
                  <a:pt x="2893" y="1162"/>
                  <a:pt x="2893" y="1162"/>
                  <a:pt x="2893" y="1162"/>
                </a:cubicBezTo>
                <a:cubicBezTo>
                  <a:pt x="2891" y="1163"/>
                  <a:pt x="2891" y="1163"/>
                  <a:pt x="2891" y="1163"/>
                </a:cubicBezTo>
                <a:cubicBezTo>
                  <a:pt x="2889" y="1166"/>
                  <a:pt x="2889" y="1166"/>
                  <a:pt x="2889" y="1166"/>
                </a:cubicBezTo>
                <a:cubicBezTo>
                  <a:pt x="2890" y="1166"/>
                  <a:pt x="2890" y="1166"/>
                  <a:pt x="2890" y="1166"/>
                </a:cubicBezTo>
                <a:cubicBezTo>
                  <a:pt x="2890" y="1167"/>
                  <a:pt x="2890" y="1167"/>
                  <a:pt x="2890" y="1167"/>
                </a:cubicBezTo>
                <a:cubicBezTo>
                  <a:pt x="2889" y="1168"/>
                  <a:pt x="2889" y="1168"/>
                  <a:pt x="2889" y="1168"/>
                </a:cubicBezTo>
                <a:cubicBezTo>
                  <a:pt x="2887" y="1167"/>
                  <a:pt x="2887" y="1167"/>
                  <a:pt x="2887" y="1167"/>
                </a:cubicBezTo>
                <a:cubicBezTo>
                  <a:pt x="2887" y="1166"/>
                  <a:pt x="2887" y="1166"/>
                  <a:pt x="2887" y="1166"/>
                </a:cubicBezTo>
                <a:cubicBezTo>
                  <a:pt x="2886" y="1165"/>
                  <a:pt x="2886" y="1165"/>
                  <a:pt x="2886" y="1165"/>
                </a:cubicBezTo>
                <a:cubicBezTo>
                  <a:pt x="2885" y="1166"/>
                  <a:pt x="2885" y="1166"/>
                  <a:pt x="2885" y="1166"/>
                </a:cubicBezTo>
                <a:cubicBezTo>
                  <a:pt x="2884" y="1167"/>
                  <a:pt x="2884" y="1167"/>
                  <a:pt x="2884" y="1167"/>
                </a:cubicBezTo>
                <a:cubicBezTo>
                  <a:pt x="2884" y="1165"/>
                  <a:pt x="2884" y="1165"/>
                  <a:pt x="2884" y="1165"/>
                </a:cubicBezTo>
                <a:cubicBezTo>
                  <a:pt x="2885" y="1164"/>
                  <a:pt x="2885" y="1164"/>
                  <a:pt x="2885" y="1164"/>
                </a:cubicBezTo>
                <a:cubicBezTo>
                  <a:pt x="2885" y="1163"/>
                  <a:pt x="2885" y="1163"/>
                  <a:pt x="2885" y="1163"/>
                </a:cubicBezTo>
                <a:cubicBezTo>
                  <a:pt x="2884" y="1164"/>
                  <a:pt x="2884" y="1164"/>
                  <a:pt x="2884" y="1164"/>
                </a:cubicBezTo>
                <a:cubicBezTo>
                  <a:pt x="2883" y="1165"/>
                  <a:pt x="2883" y="1165"/>
                  <a:pt x="2883" y="1165"/>
                </a:cubicBezTo>
                <a:cubicBezTo>
                  <a:pt x="2880" y="1166"/>
                  <a:pt x="2880" y="1166"/>
                  <a:pt x="2880" y="1166"/>
                </a:cubicBezTo>
                <a:cubicBezTo>
                  <a:pt x="2880" y="1167"/>
                  <a:pt x="2880" y="1167"/>
                  <a:pt x="2880" y="1167"/>
                </a:cubicBezTo>
                <a:cubicBezTo>
                  <a:pt x="2879" y="1167"/>
                  <a:pt x="2879" y="1167"/>
                  <a:pt x="2879" y="1167"/>
                </a:cubicBezTo>
                <a:cubicBezTo>
                  <a:pt x="2878" y="1166"/>
                  <a:pt x="2878" y="1166"/>
                  <a:pt x="2878" y="1166"/>
                </a:cubicBezTo>
                <a:cubicBezTo>
                  <a:pt x="2876" y="1166"/>
                  <a:pt x="2876" y="1166"/>
                  <a:pt x="2876" y="1166"/>
                </a:cubicBezTo>
                <a:cubicBezTo>
                  <a:pt x="2876" y="1165"/>
                  <a:pt x="2876" y="1165"/>
                  <a:pt x="2876" y="1165"/>
                </a:cubicBezTo>
                <a:cubicBezTo>
                  <a:pt x="2875" y="1163"/>
                  <a:pt x="2875" y="1163"/>
                  <a:pt x="2875" y="1163"/>
                </a:cubicBezTo>
                <a:cubicBezTo>
                  <a:pt x="2874" y="1163"/>
                  <a:pt x="2874" y="1163"/>
                  <a:pt x="2874" y="1163"/>
                </a:cubicBezTo>
                <a:cubicBezTo>
                  <a:pt x="2872" y="1164"/>
                  <a:pt x="2872" y="1164"/>
                  <a:pt x="2872" y="1164"/>
                </a:cubicBezTo>
                <a:cubicBezTo>
                  <a:pt x="2870" y="1163"/>
                  <a:pt x="2870" y="1163"/>
                  <a:pt x="2870" y="1163"/>
                </a:cubicBezTo>
                <a:cubicBezTo>
                  <a:pt x="2869" y="1164"/>
                  <a:pt x="2869" y="1164"/>
                  <a:pt x="2869" y="1164"/>
                </a:cubicBezTo>
                <a:cubicBezTo>
                  <a:pt x="2868" y="1162"/>
                  <a:pt x="2868" y="1162"/>
                  <a:pt x="2868" y="1162"/>
                </a:cubicBezTo>
                <a:cubicBezTo>
                  <a:pt x="2867" y="1162"/>
                  <a:pt x="2867" y="1162"/>
                  <a:pt x="2867" y="1162"/>
                </a:cubicBezTo>
                <a:cubicBezTo>
                  <a:pt x="2866" y="1160"/>
                  <a:pt x="2866" y="1160"/>
                  <a:pt x="2866" y="1160"/>
                </a:cubicBezTo>
                <a:cubicBezTo>
                  <a:pt x="2864" y="1161"/>
                  <a:pt x="2864" y="1161"/>
                  <a:pt x="2864" y="1161"/>
                </a:cubicBezTo>
                <a:cubicBezTo>
                  <a:pt x="2861" y="1161"/>
                  <a:pt x="2861" y="1161"/>
                  <a:pt x="2861" y="1161"/>
                </a:cubicBezTo>
                <a:cubicBezTo>
                  <a:pt x="2859" y="1160"/>
                  <a:pt x="2859" y="1160"/>
                  <a:pt x="2859" y="1160"/>
                </a:cubicBezTo>
                <a:cubicBezTo>
                  <a:pt x="2859" y="1158"/>
                  <a:pt x="2859" y="1158"/>
                  <a:pt x="2859" y="1158"/>
                </a:cubicBezTo>
                <a:cubicBezTo>
                  <a:pt x="2858" y="1156"/>
                  <a:pt x="2858" y="1156"/>
                  <a:pt x="2858" y="1156"/>
                </a:cubicBezTo>
                <a:cubicBezTo>
                  <a:pt x="2857" y="1156"/>
                  <a:pt x="2857" y="1156"/>
                  <a:pt x="2857" y="1156"/>
                </a:cubicBezTo>
                <a:cubicBezTo>
                  <a:pt x="2857" y="1157"/>
                  <a:pt x="2857" y="1157"/>
                  <a:pt x="2857" y="1157"/>
                </a:cubicBezTo>
                <a:cubicBezTo>
                  <a:pt x="2854" y="1158"/>
                  <a:pt x="2854" y="1158"/>
                  <a:pt x="2854" y="1158"/>
                </a:cubicBezTo>
                <a:cubicBezTo>
                  <a:pt x="2853" y="1156"/>
                  <a:pt x="2853" y="1156"/>
                  <a:pt x="2853" y="1156"/>
                </a:cubicBezTo>
                <a:cubicBezTo>
                  <a:pt x="2852" y="1156"/>
                  <a:pt x="2852" y="1156"/>
                  <a:pt x="2852" y="1156"/>
                </a:cubicBezTo>
                <a:cubicBezTo>
                  <a:pt x="2849" y="1154"/>
                  <a:pt x="2849" y="1154"/>
                  <a:pt x="2849" y="1154"/>
                </a:cubicBezTo>
                <a:cubicBezTo>
                  <a:pt x="2848" y="1155"/>
                  <a:pt x="2848" y="1155"/>
                  <a:pt x="2848" y="1155"/>
                </a:cubicBezTo>
                <a:cubicBezTo>
                  <a:pt x="2847" y="1154"/>
                  <a:pt x="2847" y="1154"/>
                  <a:pt x="2847" y="1154"/>
                </a:cubicBezTo>
                <a:cubicBezTo>
                  <a:pt x="2845" y="1155"/>
                  <a:pt x="2845" y="1155"/>
                  <a:pt x="2845" y="1155"/>
                </a:cubicBezTo>
                <a:cubicBezTo>
                  <a:pt x="2847" y="1157"/>
                  <a:pt x="2847" y="1157"/>
                  <a:pt x="2847" y="1157"/>
                </a:cubicBezTo>
                <a:cubicBezTo>
                  <a:pt x="2847" y="1157"/>
                  <a:pt x="2847" y="1157"/>
                  <a:pt x="2847" y="1157"/>
                </a:cubicBezTo>
                <a:cubicBezTo>
                  <a:pt x="2849" y="1158"/>
                  <a:pt x="2849" y="1158"/>
                  <a:pt x="2849" y="1158"/>
                </a:cubicBezTo>
                <a:cubicBezTo>
                  <a:pt x="2850" y="1157"/>
                  <a:pt x="2850" y="1157"/>
                  <a:pt x="2850" y="1157"/>
                </a:cubicBezTo>
                <a:cubicBezTo>
                  <a:pt x="2853" y="1160"/>
                  <a:pt x="2853" y="1160"/>
                  <a:pt x="2853" y="1160"/>
                </a:cubicBezTo>
                <a:cubicBezTo>
                  <a:pt x="2853" y="1161"/>
                  <a:pt x="2853" y="1161"/>
                  <a:pt x="2853" y="1161"/>
                </a:cubicBezTo>
                <a:cubicBezTo>
                  <a:pt x="2854" y="1164"/>
                  <a:pt x="2854" y="1164"/>
                  <a:pt x="2854" y="1164"/>
                </a:cubicBezTo>
                <a:cubicBezTo>
                  <a:pt x="2852" y="1164"/>
                  <a:pt x="2852" y="1164"/>
                  <a:pt x="2852" y="1164"/>
                </a:cubicBezTo>
                <a:cubicBezTo>
                  <a:pt x="2851" y="1167"/>
                  <a:pt x="2851" y="1167"/>
                  <a:pt x="2851" y="1167"/>
                </a:cubicBezTo>
                <a:cubicBezTo>
                  <a:pt x="2850" y="1165"/>
                  <a:pt x="2850" y="1165"/>
                  <a:pt x="2850" y="1165"/>
                </a:cubicBezTo>
                <a:cubicBezTo>
                  <a:pt x="2849" y="1165"/>
                  <a:pt x="2849" y="1165"/>
                  <a:pt x="2849" y="1165"/>
                </a:cubicBezTo>
                <a:cubicBezTo>
                  <a:pt x="2847" y="1166"/>
                  <a:pt x="2847" y="1166"/>
                  <a:pt x="2847" y="1166"/>
                </a:cubicBezTo>
                <a:cubicBezTo>
                  <a:pt x="2841" y="1166"/>
                  <a:pt x="2841" y="1166"/>
                  <a:pt x="2841" y="1166"/>
                </a:cubicBezTo>
                <a:cubicBezTo>
                  <a:pt x="2839" y="1164"/>
                  <a:pt x="2839" y="1164"/>
                  <a:pt x="2839" y="1164"/>
                </a:cubicBezTo>
                <a:cubicBezTo>
                  <a:pt x="2839" y="1165"/>
                  <a:pt x="2839" y="1165"/>
                  <a:pt x="2839" y="1165"/>
                </a:cubicBezTo>
                <a:cubicBezTo>
                  <a:pt x="2836" y="1166"/>
                  <a:pt x="2836" y="1166"/>
                  <a:pt x="2836" y="1166"/>
                </a:cubicBezTo>
                <a:cubicBezTo>
                  <a:pt x="2837" y="1168"/>
                  <a:pt x="2837" y="1168"/>
                  <a:pt x="2837" y="1168"/>
                </a:cubicBezTo>
                <a:cubicBezTo>
                  <a:pt x="2835" y="1167"/>
                  <a:pt x="2835" y="1167"/>
                  <a:pt x="2835" y="1167"/>
                </a:cubicBezTo>
                <a:cubicBezTo>
                  <a:pt x="2835" y="1170"/>
                  <a:pt x="2835" y="1170"/>
                  <a:pt x="2835" y="1170"/>
                </a:cubicBezTo>
                <a:cubicBezTo>
                  <a:pt x="2835" y="1169"/>
                  <a:pt x="2835" y="1169"/>
                  <a:pt x="2835" y="1169"/>
                </a:cubicBezTo>
                <a:cubicBezTo>
                  <a:pt x="2832" y="1168"/>
                  <a:pt x="2832" y="1168"/>
                  <a:pt x="2832" y="1168"/>
                </a:cubicBezTo>
                <a:cubicBezTo>
                  <a:pt x="2831" y="1170"/>
                  <a:pt x="2831" y="1170"/>
                  <a:pt x="2831" y="1170"/>
                </a:cubicBezTo>
                <a:cubicBezTo>
                  <a:pt x="2832" y="1171"/>
                  <a:pt x="2832" y="1171"/>
                  <a:pt x="2832" y="1171"/>
                </a:cubicBezTo>
                <a:cubicBezTo>
                  <a:pt x="2832" y="1172"/>
                  <a:pt x="2832" y="1172"/>
                  <a:pt x="2832" y="1172"/>
                </a:cubicBezTo>
                <a:cubicBezTo>
                  <a:pt x="2830" y="1171"/>
                  <a:pt x="2830" y="1171"/>
                  <a:pt x="2830" y="1171"/>
                </a:cubicBezTo>
                <a:cubicBezTo>
                  <a:pt x="2828" y="1172"/>
                  <a:pt x="2828" y="1172"/>
                  <a:pt x="2828" y="1172"/>
                </a:cubicBezTo>
                <a:cubicBezTo>
                  <a:pt x="2829" y="1173"/>
                  <a:pt x="2829" y="1173"/>
                  <a:pt x="2829" y="1173"/>
                </a:cubicBezTo>
                <a:cubicBezTo>
                  <a:pt x="2828" y="1174"/>
                  <a:pt x="2828" y="1174"/>
                  <a:pt x="2828" y="1174"/>
                </a:cubicBezTo>
                <a:cubicBezTo>
                  <a:pt x="2827" y="1175"/>
                  <a:pt x="2827" y="1175"/>
                  <a:pt x="2827" y="1175"/>
                </a:cubicBezTo>
                <a:cubicBezTo>
                  <a:pt x="2827" y="1176"/>
                  <a:pt x="2827" y="1176"/>
                  <a:pt x="2827" y="1176"/>
                </a:cubicBezTo>
                <a:cubicBezTo>
                  <a:pt x="2828" y="1178"/>
                  <a:pt x="2828" y="1178"/>
                  <a:pt x="2828" y="1178"/>
                </a:cubicBezTo>
                <a:cubicBezTo>
                  <a:pt x="2829" y="1179"/>
                  <a:pt x="2829" y="1179"/>
                  <a:pt x="2829" y="1179"/>
                </a:cubicBezTo>
                <a:cubicBezTo>
                  <a:pt x="2827" y="1178"/>
                  <a:pt x="2827" y="1178"/>
                  <a:pt x="2827" y="1178"/>
                </a:cubicBezTo>
                <a:cubicBezTo>
                  <a:pt x="2825" y="1179"/>
                  <a:pt x="2825" y="1179"/>
                  <a:pt x="2825" y="1179"/>
                </a:cubicBezTo>
                <a:cubicBezTo>
                  <a:pt x="2824" y="1179"/>
                  <a:pt x="2824" y="1179"/>
                  <a:pt x="2824" y="1179"/>
                </a:cubicBezTo>
                <a:cubicBezTo>
                  <a:pt x="2822" y="1182"/>
                  <a:pt x="2822" y="1182"/>
                  <a:pt x="2822" y="1182"/>
                </a:cubicBezTo>
                <a:cubicBezTo>
                  <a:pt x="2820" y="1185"/>
                  <a:pt x="2820" y="1185"/>
                  <a:pt x="2820" y="1185"/>
                </a:cubicBezTo>
                <a:cubicBezTo>
                  <a:pt x="2819" y="1186"/>
                  <a:pt x="2819" y="1186"/>
                  <a:pt x="2819" y="1186"/>
                </a:cubicBezTo>
                <a:cubicBezTo>
                  <a:pt x="2818" y="1188"/>
                  <a:pt x="2818" y="1188"/>
                  <a:pt x="2818" y="1188"/>
                </a:cubicBezTo>
                <a:cubicBezTo>
                  <a:pt x="2817" y="1189"/>
                  <a:pt x="2817" y="1189"/>
                  <a:pt x="2817" y="1189"/>
                </a:cubicBezTo>
                <a:cubicBezTo>
                  <a:pt x="2818" y="1191"/>
                  <a:pt x="2818" y="1191"/>
                  <a:pt x="2818" y="1191"/>
                </a:cubicBezTo>
                <a:cubicBezTo>
                  <a:pt x="2822" y="1191"/>
                  <a:pt x="2822" y="1191"/>
                  <a:pt x="2822" y="1191"/>
                </a:cubicBezTo>
                <a:cubicBezTo>
                  <a:pt x="2820" y="1192"/>
                  <a:pt x="2820" y="1192"/>
                  <a:pt x="2820" y="1192"/>
                </a:cubicBezTo>
                <a:cubicBezTo>
                  <a:pt x="2819" y="1193"/>
                  <a:pt x="2819" y="1193"/>
                  <a:pt x="2819" y="1193"/>
                </a:cubicBezTo>
                <a:cubicBezTo>
                  <a:pt x="2824" y="1194"/>
                  <a:pt x="2824" y="1194"/>
                  <a:pt x="2824" y="1194"/>
                </a:cubicBezTo>
                <a:cubicBezTo>
                  <a:pt x="2822" y="1195"/>
                  <a:pt x="2822" y="1195"/>
                  <a:pt x="2822" y="1195"/>
                </a:cubicBezTo>
                <a:cubicBezTo>
                  <a:pt x="2819" y="1195"/>
                  <a:pt x="2819" y="1195"/>
                  <a:pt x="2819" y="1195"/>
                </a:cubicBezTo>
                <a:cubicBezTo>
                  <a:pt x="2819" y="1194"/>
                  <a:pt x="2819" y="1194"/>
                  <a:pt x="2819" y="1194"/>
                </a:cubicBezTo>
                <a:cubicBezTo>
                  <a:pt x="2819" y="1195"/>
                  <a:pt x="2819" y="1195"/>
                  <a:pt x="2819" y="1195"/>
                </a:cubicBezTo>
                <a:cubicBezTo>
                  <a:pt x="2820" y="1196"/>
                  <a:pt x="2820" y="1196"/>
                  <a:pt x="2820" y="1196"/>
                </a:cubicBezTo>
                <a:cubicBezTo>
                  <a:pt x="2820" y="1198"/>
                  <a:pt x="2820" y="1198"/>
                  <a:pt x="2820" y="1198"/>
                </a:cubicBezTo>
                <a:cubicBezTo>
                  <a:pt x="2822" y="1201"/>
                  <a:pt x="2822" y="1201"/>
                  <a:pt x="2822" y="1201"/>
                </a:cubicBezTo>
                <a:cubicBezTo>
                  <a:pt x="2819" y="1199"/>
                  <a:pt x="2819" y="1199"/>
                  <a:pt x="2819" y="1199"/>
                </a:cubicBezTo>
                <a:cubicBezTo>
                  <a:pt x="2818" y="1196"/>
                  <a:pt x="2818" y="1196"/>
                  <a:pt x="2818" y="1196"/>
                </a:cubicBezTo>
                <a:cubicBezTo>
                  <a:pt x="2816" y="1195"/>
                  <a:pt x="2816" y="1195"/>
                  <a:pt x="2816" y="1195"/>
                </a:cubicBezTo>
                <a:cubicBezTo>
                  <a:pt x="2816" y="1197"/>
                  <a:pt x="2816" y="1197"/>
                  <a:pt x="2816" y="1197"/>
                </a:cubicBezTo>
                <a:cubicBezTo>
                  <a:pt x="2815" y="1198"/>
                  <a:pt x="2815" y="1198"/>
                  <a:pt x="2815" y="1198"/>
                </a:cubicBezTo>
                <a:cubicBezTo>
                  <a:pt x="2815" y="1196"/>
                  <a:pt x="2815" y="1196"/>
                  <a:pt x="2815" y="1196"/>
                </a:cubicBezTo>
                <a:cubicBezTo>
                  <a:pt x="2811" y="1194"/>
                  <a:pt x="2811" y="1194"/>
                  <a:pt x="2811" y="1194"/>
                </a:cubicBezTo>
                <a:cubicBezTo>
                  <a:pt x="2807" y="1194"/>
                  <a:pt x="2807" y="1194"/>
                  <a:pt x="2807" y="1194"/>
                </a:cubicBezTo>
                <a:cubicBezTo>
                  <a:pt x="2808" y="1195"/>
                  <a:pt x="2808" y="1195"/>
                  <a:pt x="2808" y="1195"/>
                </a:cubicBezTo>
                <a:cubicBezTo>
                  <a:pt x="2807" y="1197"/>
                  <a:pt x="2807" y="1197"/>
                  <a:pt x="2807" y="1197"/>
                </a:cubicBezTo>
                <a:cubicBezTo>
                  <a:pt x="2806" y="1196"/>
                  <a:pt x="2806" y="1196"/>
                  <a:pt x="2806" y="1196"/>
                </a:cubicBezTo>
                <a:cubicBezTo>
                  <a:pt x="2805" y="1196"/>
                  <a:pt x="2805" y="1196"/>
                  <a:pt x="2805" y="1196"/>
                </a:cubicBezTo>
                <a:cubicBezTo>
                  <a:pt x="2804" y="1197"/>
                  <a:pt x="2804" y="1197"/>
                  <a:pt x="2804" y="1197"/>
                </a:cubicBezTo>
                <a:cubicBezTo>
                  <a:pt x="2806" y="1199"/>
                  <a:pt x="2806" y="1199"/>
                  <a:pt x="2806" y="1199"/>
                </a:cubicBezTo>
                <a:cubicBezTo>
                  <a:pt x="2806" y="1200"/>
                  <a:pt x="2806" y="1200"/>
                  <a:pt x="2806" y="1200"/>
                </a:cubicBezTo>
                <a:cubicBezTo>
                  <a:pt x="2805" y="1199"/>
                  <a:pt x="2805" y="1199"/>
                  <a:pt x="2805" y="1199"/>
                </a:cubicBezTo>
                <a:cubicBezTo>
                  <a:pt x="2804" y="1199"/>
                  <a:pt x="2804" y="1199"/>
                  <a:pt x="2804" y="1199"/>
                </a:cubicBezTo>
                <a:cubicBezTo>
                  <a:pt x="2804" y="1200"/>
                  <a:pt x="2804" y="1200"/>
                  <a:pt x="2804" y="1200"/>
                </a:cubicBezTo>
                <a:cubicBezTo>
                  <a:pt x="2802" y="1201"/>
                  <a:pt x="2802" y="1201"/>
                  <a:pt x="2802" y="1201"/>
                </a:cubicBezTo>
                <a:cubicBezTo>
                  <a:pt x="2799" y="1202"/>
                  <a:pt x="2799" y="1202"/>
                  <a:pt x="2799" y="1202"/>
                </a:cubicBezTo>
                <a:cubicBezTo>
                  <a:pt x="2802" y="1201"/>
                  <a:pt x="2802" y="1201"/>
                  <a:pt x="2802" y="1201"/>
                </a:cubicBezTo>
                <a:cubicBezTo>
                  <a:pt x="2803" y="1199"/>
                  <a:pt x="2803" y="1199"/>
                  <a:pt x="2803" y="1199"/>
                </a:cubicBezTo>
                <a:cubicBezTo>
                  <a:pt x="2803" y="1196"/>
                  <a:pt x="2803" y="1196"/>
                  <a:pt x="2803" y="1196"/>
                </a:cubicBezTo>
                <a:cubicBezTo>
                  <a:pt x="2805" y="1194"/>
                  <a:pt x="2805" y="1194"/>
                  <a:pt x="2805" y="1194"/>
                </a:cubicBezTo>
                <a:cubicBezTo>
                  <a:pt x="2804" y="1192"/>
                  <a:pt x="2804" y="1192"/>
                  <a:pt x="2804" y="1192"/>
                </a:cubicBezTo>
                <a:cubicBezTo>
                  <a:pt x="2802" y="1192"/>
                  <a:pt x="2802" y="1192"/>
                  <a:pt x="2802" y="1192"/>
                </a:cubicBezTo>
                <a:cubicBezTo>
                  <a:pt x="2799" y="1187"/>
                  <a:pt x="2799" y="1187"/>
                  <a:pt x="2799" y="1187"/>
                </a:cubicBezTo>
                <a:cubicBezTo>
                  <a:pt x="2798" y="1185"/>
                  <a:pt x="2798" y="1185"/>
                  <a:pt x="2798" y="1185"/>
                </a:cubicBezTo>
                <a:cubicBezTo>
                  <a:pt x="2795" y="1184"/>
                  <a:pt x="2795" y="1184"/>
                  <a:pt x="2795" y="1184"/>
                </a:cubicBezTo>
                <a:cubicBezTo>
                  <a:pt x="2793" y="1183"/>
                  <a:pt x="2793" y="1183"/>
                  <a:pt x="2793" y="1183"/>
                </a:cubicBezTo>
                <a:cubicBezTo>
                  <a:pt x="2792" y="1183"/>
                  <a:pt x="2792" y="1183"/>
                  <a:pt x="2792" y="1183"/>
                </a:cubicBezTo>
                <a:cubicBezTo>
                  <a:pt x="2793" y="1184"/>
                  <a:pt x="2793" y="1184"/>
                  <a:pt x="2793" y="1184"/>
                </a:cubicBezTo>
                <a:cubicBezTo>
                  <a:pt x="2791" y="1185"/>
                  <a:pt x="2791" y="1185"/>
                  <a:pt x="2791" y="1185"/>
                </a:cubicBezTo>
                <a:cubicBezTo>
                  <a:pt x="2790" y="1187"/>
                  <a:pt x="2790" y="1187"/>
                  <a:pt x="2790" y="1187"/>
                </a:cubicBezTo>
                <a:cubicBezTo>
                  <a:pt x="2789" y="1187"/>
                  <a:pt x="2789" y="1187"/>
                  <a:pt x="2789" y="1187"/>
                </a:cubicBezTo>
                <a:cubicBezTo>
                  <a:pt x="2789" y="1186"/>
                  <a:pt x="2789" y="1186"/>
                  <a:pt x="2789" y="1186"/>
                </a:cubicBezTo>
                <a:cubicBezTo>
                  <a:pt x="2787" y="1186"/>
                  <a:pt x="2787" y="1186"/>
                  <a:pt x="2787" y="1186"/>
                </a:cubicBezTo>
                <a:cubicBezTo>
                  <a:pt x="2787" y="1187"/>
                  <a:pt x="2787" y="1187"/>
                  <a:pt x="2787" y="1187"/>
                </a:cubicBezTo>
                <a:cubicBezTo>
                  <a:pt x="2785" y="1184"/>
                  <a:pt x="2785" y="1184"/>
                  <a:pt x="2785" y="1184"/>
                </a:cubicBezTo>
                <a:cubicBezTo>
                  <a:pt x="2784" y="1184"/>
                  <a:pt x="2784" y="1184"/>
                  <a:pt x="2784" y="1184"/>
                </a:cubicBezTo>
                <a:cubicBezTo>
                  <a:pt x="2784" y="1186"/>
                  <a:pt x="2784" y="1186"/>
                  <a:pt x="2784" y="1186"/>
                </a:cubicBezTo>
                <a:cubicBezTo>
                  <a:pt x="2785" y="1187"/>
                  <a:pt x="2785" y="1187"/>
                  <a:pt x="2785" y="1187"/>
                </a:cubicBezTo>
                <a:cubicBezTo>
                  <a:pt x="2783" y="1188"/>
                  <a:pt x="2783" y="1188"/>
                  <a:pt x="2783" y="1188"/>
                </a:cubicBezTo>
                <a:cubicBezTo>
                  <a:pt x="2783" y="1190"/>
                  <a:pt x="2783" y="1190"/>
                  <a:pt x="2783" y="1190"/>
                </a:cubicBezTo>
                <a:cubicBezTo>
                  <a:pt x="2783" y="1191"/>
                  <a:pt x="2783" y="1191"/>
                  <a:pt x="2783" y="1191"/>
                </a:cubicBezTo>
                <a:cubicBezTo>
                  <a:pt x="2781" y="1193"/>
                  <a:pt x="2781" y="1193"/>
                  <a:pt x="2781" y="1193"/>
                </a:cubicBezTo>
                <a:cubicBezTo>
                  <a:pt x="2780" y="1191"/>
                  <a:pt x="2780" y="1191"/>
                  <a:pt x="2780" y="1191"/>
                </a:cubicBezTo>
                <a:cubicBezTo>
                  <a:pt x="2779" y="1191"/>
                  <a:pt x="2779" y="1191"/>
                  <a:pt x="2779" y="1191"/>
                </a:cubicBezTo>
                <a:cubicBezTo>
                  <a:pt x="2779" y="1190"/>
                  <a:pt x="2779" y="1190"/>
                  <a:pt x="2779" y="1190"/>
                </a:cubicBezTo>
                <a:cubicBezTo>
                  <a:pt x="2780" y="1188"/>
                  <a:pt x="2780" y="1188"/>
                  <a:pt x="2780" y="1188"/>
                </a:cubicBezTo>
                <a:cubicBezTo>
                  <a:pt x="2779" y="1188"/>
                  <a:pt x="2779" y="1188"/>
                  <a:pt x="2779" y="1188"/>
                </a:cubicBezTo>
                <a:cubicBezTo>
                  <a:pt x="2778" y="1191"/>
                  <a:pt x="2778" y="1191"/>
                  <a:pt x="2778" y="1191"/>
                </a:cubicBezTo>
                <a:cubicBezTo>
                  <a:pt x="2776" y="1191"/>
                  <a:pt x="2776" y="1191"/>
                  <a:pt x="2776" y="1191"/>
                </a:cubicBezTo>
                <a:cubicBezTo>
                  <a:pt x="2775" y="1192"/>
                  <a:pt x="2775" y="1192"/>
                  <a:pt x="2775" y="1192"/>
                </a:cubicBezTo>
                <a:cubicBezTo>
                  <a:pt x="2775" y="1194"/>
                  <a:pt x="2775" y="1194"/>
                  <a:pt x="2775" y="1194"/>
                </a:cubicBezTo>
                <a:cubicBezTo>
                  <a:pt x="2778" y="1195"/>
                  <a:pt x="2778" y="1195"/>
                  <a:pt x="2778" y="1195"/>
                </a:cubicBezTo>
                <a:cubicBezTo>
                  <a:pt x="2775" y="1198"/>
                  <a:pt x="2775" y="1198"/>
                  <a:pt x="2775" y="1198"/>
                </a:cubicBezTo>
                <a:cubicBezTo>
                  <a:pt x="2773" y="1196"/>
                  <a:pt x="2773" y="1196"/>
                  <a:pt x="2773" y="1196"/>
                </a:cubicBezTo>
                <a:cubicBezTo>
                  <a:pt x="2771" y="1198"/>
                  <a:pt x="2771" y="1198"/>
                  <a:pt x="2771" y="1198"/>
                </a:cubicBezTo>
                <a:cubicBezTo>
                  <a:pt x="2771" y="1200"/>
                  <a:pt x="2771" y="1200"/>
                  <a:pt x="2771" y="1200"/>
                </a:cubicBezTo>
                <a:cubicBezTo>
                  <a:pt x="2774" y="1200"/>
                  <a:pt x="2774" y="1200"/>
                  <a:pt x="2774" y="1200"/>
                </a:cubicBezTo>
                <a:cubicBezTo>
                  <a:pt x="2773" y="1202"/>
                  <a:pt x="2773" y="1202"/>
                  <a:pt x="2773" y="1202"/>
                </a:cubicBezTo>
                <a:cubicBezTo>
                  <a:pt x="2772" y="1202"/>
                  <a:pt x="2772" y="1202"/>
                  <a:pt x="2772" y="1202"/>
                </a:cubicBezTo>
                <a:cubicBezTo>
                  <a:pt x="2770" y="1199"/>
                  <a:pt x="2770" y="1199"/>
                  <a:pt x="2770" y="1199"/>
                </a:cubicBezTo>
                <a:cubicBezTo>
                  <a:pt x="2768" y="1201"/>
                  <a:pt x="2768" y="1201"/>
                  <a:pt x="2768" y="1201"/>
                </a:cubicBezTo>
                <a:cubicBezTo>
                  <a:pt x="2766" y="1202"/>
                  <a:pt x="2766" y="1202"/>
                  <a:pt x="2766" y="1202"/>
                </a:cubicBezTo>
                <a:cubicBezTo>
                  <a:pt x="2766" y="1203"/>
                  <a:pt x="2766" y="1203"/>
                  <a:pt x="2766" y="1203"/>
                </a:cubicBezTo>
                <a:cubicBezTo>
                  <a:pt x="2767" y="1205"/>
                  <a:pt x="2767" y="1205"/>
                  <a:pt x="2767" y="1205"/>
                </a:cubicBezTo>
                <a:cubicBezTo>
                  <a:pt x="2767" y="1206"/>
                  <a:pt x="2767" y="1206"/>
                  <a:pt x="2767" y="1206"/>
                </a:cubicBezTo>
                <a:cubicBezTo>
                  <a:pt x="2768" y="1205"/>
                  <a:pt x="2768" y="1205"/>
                  <a:pt x="2768" y="1205"/>
                </a:cubicBezTo>
                <a:cubicBezTo>
                  <a:pt x="2767" y="1207"/>
                  <a:pt x="2767" y="1207"/>
                  <a:pt x="2767" y="1207"/>
                </a:cubicBezTo>
                <a:cubicBezTo>
                  <a:pt x="2768" y="1209"/>
                  <a:pt x="2768" y="1209"/>
                  <a:pt x="2768" y="1209"/>
                </a:cubicBezTo>
                <a:cubicBezTo>
                  <a:pt x="2766" y="1210"/>
                  <a:pt x="2766" y="1210"/>
                  <a:pt x="2766" y="1210"/>
                </a:cubicBezTo>
                <a:cubicBezTo>
                  <a:pt x="2765" y="1211"/>
                  <a:pt x="2765" y="1211"/>
                  <a:pt x="2765" y="1211"/>
                </a:cubicBezTo>
                <a:cubicBezTo>
                  <a:pt x="2768" y="1212"/>
                  <a:pt x="2768" y="1212"/>
                  <a:pt x="2768" y="1212"/>
                </a:cubicBezTo>
                <a:cubicBezTo>
                  <a:pt x="2766" y="1213"/>
                  <a:pt x="2766" y="1213"/>
                  <a:pt x="2766" y="1213"/>
                </a:cubicBezTo>
                <a:cubicBezTo>
                  <a:pt x="2766" y="1214"/>
                  <a:pt x="2766" y="1214"/>
                  <a:pt x="2766" y="1214"/>
                </a:cubicBezTo>
                <a:cubicBezTo>
                  <a:pt x="2764" y="1213"/>
                  <a:pt x="2764" y="1213"/>
                  <a:pt x="2764" y="1213"/>
                </a:cubicBezTo>
                <a:cubicBezTo>
                  <a:pt x="2763" y="1212"/>
                  <a:pt x="2763" y="1212"/>
                  <a:pt x="2763" y="1212"/>
                </a:cubicBezTo>
                <a:cubicBezTo>
                  <a:pt x="2761" y="1211"/>
                  <a:pt x="2761" y="1211"/>
                  <a:pt x="2761" y="1211"/>
                </a:cubicBezTo>
                <a:cubicBezTo>
                  <a:pt x="2760" y="1212"/>
                  <a:pt x="2760" y="1212"/>
                  <a:pt x="2760" y="1212"/>
                </a:cubicBezTo>
                <a:cubicBezTo>
                  <a:pt x="2759" y="1211"/>
                  <a:pt x="2759" y="1211"/>
                  <a:pt x="2759" y="1211"/>
                </a:cubicBezTo>
                <a:cubicBezTo>
                  <a:pt x="2757" y="1209"/>
                  <a:pt x="2757" y="1209"/>
                  <a:pt x="2757" y="1209"/>
                </a:cubicBezTo>
                <a:cubicBezTo>
                  <a:pt x="2756" y="1211"/>
                  <a:pt x="2756" y="1211"/>
                  <a:pt x="2756" y="1211"/>
                </a:cubicBezTo>
                <a:cubicBezTo>
                  <a:pt x="2758" y="1212"/>
                  <a:pt x="2758" y="1212"/>
                  <a:pt x="2758" y="1212"/>
                </a:cubicBezTo>
                <a:cubicBezTo>
                  <a:pt x="2757" y="1213"/>
                  <a:pt x="2757" y="1213"/>
                  <a:pt x="2757" y="1213"/>
                </a:cubicBezTo>
                <a:cubicBezTo>
                  <a:pt x="2756" y="1215"/>
                  <a:pt x="2756" y="1215"/>
                  <a:pt x="2756" y="1215"/>
                </a:cubicBezTo>
                <a:cubicBezTo>
                  <a:pt x="2758" y="1217"/>
                  <a:pt x="2758" y="1217"/>
                  <a:pt x="2758" y="1217"/>
                </a:cubicBezTo>
                <a:cubicBezTo>
                  <a:pt x="2760" y="1217"/>
                  <a:pt x="2760" y="1217"/>
                  <a:pt x="2760" y="1217"/>
                </a:cubicBezTo>
                <a:cubicBezTo>
                  <a:pt x="2759" y="1218"/>
                  <a:pt x="2759" y="1218"/>
                  <a:pt x="2759" y="1218"/>
                </a:cubicBezTo>
                <a:cubicBezTo>
                  <a:pt x="2759" y="1220"/>
                  <a:pt x="2759" y="1220"/>
                  <a:pt x="2759" y="1220"/>
                </a:cubicBezTo>
                <a:cubicBezTo>
                  <a:pt x="2759" y="1219"/>
                  <a:pt x="2759" y="1219"/>
                  <a:pt x="2759" y="1219"/>
                </a:cubicBezTo>
                <a:cubicBezTo>
                  <a:pt x="2757" y="1219"/>
                  <a:pt x="2757" y="1219"/>
                  <a:pt x="2757" y="1219"/>
                </a:cubicBezTo>
                <a:cubicBezTo>
                  <a:pt x="2758" y="1221"/>
                  <a:pt x="2758" y="1221"/>
                  <a:pt x="2758" y="1221"/>
                </a:cubicBezTo>
                <a:cubicBezTo>
                  <a:pt x="2757" y="1224"/>
                  <a:pt x="2757" y="1224"/>
                  <a:pt x="2757" y="1224"/>
                </a:cubicBezTo>
                <a:cubicBezTo>
                  <a:pt x="2757" y="1226"/>
                  <a:pt x="2757" y="1226"/>
                  <a:pt x="2757" y="1226"/>
                </a:cubicBezTo>
                <a:cubicBezTo>
                  <a:pt x="2753" y="1219"/>
                  <a:pt x="2753" y="1219"/>
                  <a:pt x="2753" y="1219"/>
                </a:cubicBezTo>
                <a:cubicBezTo>
                  <a:pt x="2751" y="1215"/>
                  <a:pt x="2751" y="1215"/>
                  <a:pt x="2751" y="1215"/>
                </a:cubicBezTo>
                <a:cubicBezTo>
                  <a:pt x="2750" y="1214"/>
                  <a:pt x="2750" y="1214"/>
                  <a:pt x="2750" y="1214"/>
                </a:cubicBezTo>
                <a:cubicBezTo>
                  <a:pt x="2751" y="1211"/>
                  <a:pt x="2751" y="1211"/>
                  <a:pt x="2751" y="1211"/>
                </a:cubicBezTo>
                <a:cubicBezTo>
                  <a:pt x="2750" y="1212"/>
                  <a:pt x="2750" y="1212"/>
                  <a:pt x="2750" y="1212"/>
                </a:cubicBezTo>
                <a:cubicBezTo>
                  <a:pt x="2748" y="1214"/>
                  <a:pt x="2748" y="1214"/>
                  <a:pt x="2748" y="1214"/>
                </a:cubicBezTo>
                <a:cubicBezTo>
                  <a:pt x="2747" y="1217"/>
                  <a:pt x="2747" y="1217"/>
                  <a:pt x="2747" y="1217"/>
                </a:cubicBezTo>
                <a:cubicBezTo>
                  <a:pt x="2746" y="1217"/>
                  <a:pt x="2746" y="1217"/>
                  <a:pt x="2746" y="1217"/>
                </a:cubicBezTo>
                <a:cubicBezTo>
                  <a:pt x="2745" y="1218"/>
                  <a:pt x="2745" y="1218"/>
                  <a:pt x="2745" y="1218"/>
                </a:cubicBezTo>
                <a:cubicBezTo>
                  <a:pt x="2743" y="1218"/>
                  <a:pt x="2743" y="1218"/>
                  <a:pt x="2743" y="1218"/>
                </a:cubicBezTo>
                <a:cubicBezTo>
                  <a:pt x="2742" y="1219"/>
                  <a:pt x="2742" y="1219"/>
                  <a:pt x="2742" y="1219"/>
                </a:cubicBezTo>
                <a:cubicBezTo>
                  <a:pt x="2741" y="1221"/>
                  <a:pt x="2741" y="1221"/>
                  <a:pt x="2741" y="1221"/>
                </a:cubicBezTo>
                <a:cubicBezTo>
                  <a:pt x="2741" y="1224"/>
                  <a:pt x="2741" y="1224"/>
                  <a:pt x="2741" y="1224"/>
                </a:cubicBezTo>
                <a:cubicBezTo>
                  <a:pt x="2741" y="1229"/>
                  <a:pt x="2741" y="1229"/>
                  <a:pt x="2741" y="1229"/>
                </a:cubicBezTo>
                <a:cubicBezTo>
                  <a:pt x="2742" y="1229"/>
                  <a:pt x="2742" y="1229"/>
                  <a:pt x="2742" y="1229"/>
                </a:cubicBezTo>
                <a:cubicBezTo>
                  <a:pt x="2742" y="1231"/>
                  <a:pt x="2742" y="1231"/>
                  <a:pt x="2742" y="1231"/>
                </a:cubicBezTo>
                <a:cubicBezTo>
                  <a:pt x="2740" y="1232"/>
                  <a:pt x="2740" y="1232"/>
                  <a:pt x="2740" y="1232"/>
                </a:cubicBezTo>
                <a:cubicBezTo>
                  <a:pt x="2739" y="1234"/>
                  <a:pt x="2739" y="1234"/>
                  <a:pt x="2739" y="1234"/>
                </a:cubicBezTo>
                <a:cubicBezTo>
                  <a:pt x="2736" y="1235"/>
                  <a:pt x="2736" y="1235"/>
                  <a:pt x="2736" y="1235"/>
                </a:cubicBezTo>
                <a:cubicBezTo>
                  <a:pt x="2737" y="1236"/>
                  <a:pt x="2737" y="1236"/>
                  <a:pt x="2737" y="1236"/>
                </a:cubicBezTo>
                <a:cubicBezTo>
                  <a:pt x="2734" y="1238"/>
                  <a:pt x="2734" y="1238"/>
                  <a:pt x="2734" y="1238"/>
                </a:cubicBezTo>
                <a:cubicBezTo>
                  <a:pt x="2734" y="1240"/>
                  <a:pt x="2734" y="1240"/>
                  <a:pt x="2734" y="1240"/>
                </a:cubicBezTo>
                <a:cubicBezTo>
                  <a:pt x="2733" y="1241"/>
                  <a:pt x="2733" y="1241"/>
                  <a:pt x="2733" y="1241"/>
                </a:cubicBezTo>
                <a:cubicBezTo>
                  <a:pt x="2730" y="1246"/>
                  <a:pt x="2730" y="1246"/>
                  <a:pt x="2730" y="1246"/>
                </a:cubicBezTo>
                <a:cubicBezTo>
                  <a:pt x="2724" y="1249"/>
                  <a:pt x="2724" y="1249"/>
                  <a:pt x="2724" y="1249"/>
                </a:cubicBezTo>
                <a:cubicBezTo>
                  <a:pt x="2719" y="1250"/>
                  <a:pt x="2719" y="1250"/>
                  <a:pt x="2719" y="1250"/>
                </a:cubicBezTo>
                <a:cubicBezTo>
                  <a:pt x="2716" y="1251"/>
                  <a:pt x="2716" y="1251"/>
                  <a:pt x="2716" y="1251"/>
                </a:cubicBezTo>
                <a:cubicBezTo>
                  <a:pt x="2713" y="1251"/>
                  <a:pt x="2713" y="1251"/>
                  <a:pt x="2713" y="1251"/>
                </a:cubicBezTo>
                <a:cubicBezTo>
                  <a:pt x="2711" y="1251"/>
                  <a:pt x="2711" y="1251"/>
                  <a:pt x="2711" y="1251"/>
                </a:cubicBezTo>
                <a:cubicBezTo>
                  <a:pt x="2708" y="1251"/>
                  <a:pt x="2708" y="1251"/>
                  <a:pt x="2708" y="1251"/>
                </a:cubicBezTo>
                <a:cubicBezTo>
                  <a:pt x="2705" y="1252"/>
                  <a:pt x="2705" y="1252"/>
                  <a:pt x="2705" y="1252"/>
                </a:cubicBezTo>
                <a:cubicBezTo>
                  <a:pt x="2705" y="1254"/>
                  <a:pt x="2705" y="1254"/>
                  <a:pt x="2705" y="1254"/>
                </a:cubicBezTo>
                <a:cubicBezTo>
                  <a:pt x="2703" y="1255"/>
                  <a:pt x="2703" y="1255"/>
                  <a:pt x="2703" y="1255"/>
                </a:cubicBezTo>
                <a:cubicBezTo>
                  <a:pt x="2696" y="1255"/>
                  <a:pt x="2696" y="1255"/>
                  <a:pt x="2696" y="1255"/>
                </a:cubicBezTo>
                <a:cubicBezTo>
                  <a:pt x="2695" y="1256"/>
                  <a:pt x="2695" y="1256"/>
                  <a:pt x="2695" y="1256"/>
                </a:cubicBezTo>
                <a:cubicBezTo>
                  <a:pt x="2694" y="1257"/>
                  <a:pt x="2694" y="1257"/>
                  <a:pt x="2694" y="1257"/>
                </a:cubicBezTo>
                <a:cubicBezTo>
                  <a:pt x="2690" y="1259"/>
                  <a:pt x="2690" y="1259"/>
                  <a:pt x="2690" y="1259"/>
                </a:cubicBezTo>
                <a:cubicBezTo>
                  <a:pt x="2687" y="1259"/>
                  <a:pt x="2687" y="1259"/>
                  <a:pt x="2687" y="1259"/>
                </a:cubicBezTo>
                <a:cubicBezTo>
                  <a:pt x="2685" y="1258"/>
                  <a:pt x="2685" y="1258"/>
                  <a:pt x="2685" y="1258"/>
                </a:cubicBezTo>
                <a:cubicBezTo>
                  <a:pt x="2684" y="1259"/>
                  <a:pt x="2684" y="1259"/>
                  <a:pt x="2684" y="1259"/>
                </a:cubicBezTo>
                <a:cubicBezTo>
                  <a:pt x="2683" y="1257"/>
                  <a:pt x="2683" y="1257"/>
                  <a:pt x="2683" y="1257"/>
                </a:cubicBezTo>
                <a:cubicBezTo>
                  <a:pt x="2681" y="1258"/>
                  <a:pt x="2681" y="1258"/>
                  <a:pt x="2681" y="1258"/>
                </a:cubicBezTo>
                <a:cubicBezTo>
                  <a:pt x="2680" y="1261"/>
                  <a:pt x="2680" y="1261"/>
                  <a:pt x="2680" y="1261"/>
                </a:cubicBezTo>
                <a:cubicBezTo>
                  <a:pt x="2675" y="1261"/>
                  <a:pt x="2675" y="1261"/>
                  <a:pt x="2675" y="1261"/>
                </a:cubicBezTo>
                <a:cubicBezTo>
                  <a:pt x="2675" y="1262"/>
                  <a:pt x="2675" y="1262"/>
                  <a:pt x="2675" y="1262"/>
                </a:cubicBezTo>
                <a:cubicBezTo>
                  <a:pt x="2674" y="1262"/>
                  <a:pt x="2674" y="1262"/>
                  <a:pt x="2674" y="1262"/>
                </a:cubicBezTo>
                <a:cubicBezTo>
                  <a:pt x="2670" y="1265"/>
                  <a:pt x="2670" y="1265"/>
                  <a:pt x="2670" y="1265"/>
                </a:cubicBezTo>
                <a:cubicBezTo>
                  <a:pt x="2666" y="1267"/>
                  <a:pt x="2666" y="1267"/>
                  <a:pt x="2666" y="1267"/>
                </a:cubicBezTo>
                <a:cubicBezTo>
                  <a:pt x="2660" y="1269"/>
                  <a:pt x="2660" y="1269"/>
                  <a:pt x="2660" y="1269"/>
                </a:cubicBezTo>
                <a:cubicBezTo>
                  <a:pt x="2658" y="1273"/>
                  <a:pt x="2658" y="1273"/>
                  <a:pt x="2658" y="1273"/>
                </a:cubicBezTo>
                <a:cubicBezTo>
                  <a:pt x="2658" y="1276"/>
                  <a:pt x="2658" y="1276"/>
                  <a:pt x="2658" y="1276"/>
                </a:cubicBezTo>
                <a:cubicBezTo>
                  <a:pt x="2655" y="1278"/>
                  <a:pt x="2655" y="1278"/>
                  <a:pt x="2655" y="1278"/>
                </a:cubicBezTo>
                <a:cubicBezTo>
                  <a:pt x="2654" y="1277"/>
                  <a:pt x="2654" y="1277"/>
                  <a:pt x="2654" y="1277"/>
                </a:cubicBezTo>
                <a:cubicBezTo>
                  <a:pt x="2655" y="1276"/>
                  <a:pt x="2655" y="1276"/>
                  <a:pt x="2655" y="1276"/>
                </a:cubicBezTo>
                <a:cubicBezTo>
                  <a:pt x="2654" y="1274"/>
                  <a:pt x="2654" y="1274"/>
                  <a:pt x="2654" y="1274"/>
                </a:cubicBezTo>
                <a:cubicBezTo>
                  <a:pt x="2655" y="1272"/>
                  <a:pt x="2655" y="1272"/>
                  <a:pt x="2655" y="1272"/>
                </a:cubicBezTo>
                <a:cubicBezTo>
                  <a:pt x="2655" y="1270"/>
                  <a:pt x="2655" y="1270"/>
                  <a:pt x="2655" y="1270"/>
                </a:cubicBezTo>
                <a:cubicBezTo>
                  <a:pt x="2652" y="1272"/>
                  <a:pt x="2652" y="1272"/>
                  <a:pt x="2652" y="1272"/>
                </a:cubicBezTo>
                <a:cubicBezTo>
                  <a:pt x="2651" y="1275"/>
                  <a:pt x="2651" y="1275"/>
                  <a:pt x="2651" y="1275"/>
                </a:cubicBezTo>
                <a:cubicBezTo>
                  <a:pt x="2649" y="1280"/>
                  <a:pt x="2649" y="1280"/>
                  <a:pt x="2649" y="1280"/>
                </a:cubicBezTo>
                <a:cubicBezTo>
                  <a:pt x="2651" y="1283"/>
                  <a:pt x="2651" y="1283"/>
                  <a:pt x="2651" y="1283"/>
                </a:cubicBezTo>
                <a:cubicBezTo>
                  <a:pt x="2649" y="1285"/>
                  <a:pt x="2649" y="1285"/>
                  <a:pt x="2649" y="1285"/>
                </a:cubicBezTo>
                <a:cubicBezTo>
                  <a:pt x="2650" y="1290"/>
                  <a:pt x="2650" y="1290"/>
                  <a:pt x="2650" y="1290"/>
                </a:cubicBezTo>
                <a:cubicBezTo>
                  <a:pt x="2646" y="1295"/>
                  <a:pt x="2646" y="1295"/>
                  <a:pt x="2646" y="1295"/>
                </a:cubicBezTo>
                <a:cubicBezTo>
                  <a:pt x="2644" y="1301"/>
                  <a:pt x="2644" y="1301"/>
                  <a:pt x="2644" y="1301"/>
                </a:cubicBezTo>
                <a:cubicBezTo>
                  <a:pt x="2645" y="1305"/>
                  <a:pt x="2645" y="1305"/>
                  <a:pt x="2645" y="1305"/>
                </a:cubicBezTo>
                <a:cubicBezTo>
                  <a:pt x="2645" y="1310"/>
                  <a:pt x="2645" y="1310"/>
                  <a:pt x="2645" y="1310"/>
                </a:cubicBezTo>
                <a:cubicBezTo>
                  <a:pt x="2648" y="1316"/>
                  <a:pt x="2648" y="1316"/>
                  <a:pt x="2648" y="1316"/>
                </a:cubicBezTo>
                <a:cubicBezTo>
                  <a:pt x="2648" y="1318"/>
                  <a:pt x="2648" y="1318"/>
                  <a:pt x="2648" y="1318"/>
                </a:cubicBezTo>
                <a:cubicBezTo>
                  <a:pt x="2650" y="1320"/>
                  <a:pt x="2650" y="1320"/>
                  <a:pt x="2650" y="1320"/>
                </a:cubicBezTo>
                <a:cubicBezTo>
                  <a:pt x="2649" y="1323"/>
                  <a:pt x="2649" y="1323"/>
                  <a:pt x="2649" y="1323"/>
                </a:cubicBezTo>
                <a:cubicBezTo>
                  <a:pt x="2649" y="1325"/>
                  <a:pt x="2649" y="1325"/>
                  <a:pt x="2649" y="1325"/>
                </a:cubicBezTo>
                <a:cubicBezTo>
                  <a:pt x="2647" y="1326"/>
                  <a:pt x="2647" y="1326"/>
                  <a:pt x="2647" y="1326"/>
                </a:cubicBezTo>
                <a:cubicBezTo>
                  <a:pt x="2646" y="1324"/>
                  <a:pt x="2646" y="1324"/>
                  <a:pt x="2646" y="1324"/>
                </a:cubicBezTo>
                <a:cubicBezTo>
                  <a:pt x="2646" y="1321"/>
                  <a:pt x="2646" y="1321"/>
                  <a:pt x="2646" y="1321"/>
                </a:cubicBezTo>
                <a:cubicBezTo>
                  <a:pt x="2645" y="1323"/>
                  <a:pt x="2645" y="1323"/>
                  <a:pt x="2645" y="1323"/>
                </a:cubicBezTo>
                <a:cubicBezTo>
                  <a:pt x="2644" y="1322"/>
                  <a:pt x="2644" y="1322"/>
                  <a:pt x="2644" y="1322"/>
                </a:cubicBezTo>
                <a:cubicBezTo>
                  <a:pt x="2644" y="1319"/>
                  <a:pt x="2644" y="1319"/>
                  <a:pt x="2644" y="1319"/>
                </a:cubicBezTo>
                <a:cubicBezTo>
                  <a:pt x="2642" y="1315"/>
                  <a:pt x="2642" y="1315"/>
                  <a:pt x="2642" y="1315"/>
                </a:cubicBezTo>
                <a:cubicBezTo>
                  <a:pt x="2641" y="1317"/>
                  <a:pt x="2641" y="1317"/>
                  <a:pt x="2641" y="1317"/>
                </a:cubicBezTo>
                <a:cubicBezTo>
                  <a:pt x="2641" y="1321"/>
                  <a:pt x="2641" y="1321"/>
                  <a:pt x="2641" y="1321"/>
                </a:cubicBezTo>
                <a:cubicBezTo>
                  <a:pt x="2644" y="1324"/>
                  <a:pt x="2644" y="1324"/>
                  <a:pt x="2644" y="1324"/>
                </a:cubicBezTo>
                <a:cubicBezTo>
                  <a:pt x="2646" y="1328"/>
                  <a:pt x="2646" y="1328"/>
                  <a:pt x="2646" y="1328"/>
                </a:cubicBezTo>
                <a:cubicBezTo>
                  <a:pt x="2643" y="1328"/>
                  <a:pt x="2643" y="1328"/>
                  <a:pt x="2643" y="1328"/>
                </a:cubicBezTo>
                <a:cubicBezTo>
                  <a:pt x="2641" y="1325"/>
                  <a:pt x="2641" y="1325"/>
                  <a:pt x="2641" y="1325"/>
                </a:cubicBezTo>
                <a:cubicBezTo>
                  <a:pt x="2640" y="1322"/>
                  <a:pt x="2640" y="1322"/>
                  <a:pt x="2640" y="1322"/>
                </a:cubicBezTo>
                <a:cubicBezTo>
                  <a:pt x="2640" y="1323"/>
                  <a:pt x="2640" y="1323"/>
                  <a:pt x="2640" y="1323"/>
                </a:cubicBezTo>
                <a:cubicBezTo>
                  <a:pt x="2638" y="1324"/>
                  <a:pt x="2638" y="1324"/>
                  <a:pt x="2638" y="1324"/>
                </a:cubicBezTo>
                <a:cubicBezTo>
                  <a:pt x="2640" y="1327"/>
                  <a:pt x="2640" y="1327"/>
                  <a:pt x="2640" y="1327"/>
                </a:cubicBezTo>
                <a:cubicBezTo>
                  <a:pt x="2644" y="1331"/>
                  <a:pt x="2644" y="1331"/>
                  <a:pt x="2644" y="1331"/>
                </a:cubicBezTo>
                <a:cubicBezTo>
                  <a:pt x="2646" y="1337"/>
                  <a:pt x="2646" y="1337"/>
                  <a:pt x="2646" y="1337"/>
                </a:cubicBezTo>
                <a:cubicBezTo>
                  <a:pt x="2645" y="1347"/>
                  <a:pt x="2645" y="1347"/>
                  <a:pt x="2645" y="1347"/>
                </a:cubicBezTo>
                <a:cubicBezTo>
                  <a:pt x="2647" y="1349"/>
                  <a:pt x="2647" y="1349"/>
                  <a:pt x="2647" y="1349"/>
                </a:cubicBezTo>
                <a:cubicBezTo>
                  <a:pt x="2648" y="1355"/>
                  <a:pt x="2648" y="1355"/>
                  <a:pt x="2648" y="1355"/>
                </a:cubicBezTo>
                <a:cubicBezTo>
                  <a:pt x="2651" y="1363"/>
                  <a:pt x="2651" y="1363"/>
                  <a:pt x="2651" y="1363"/>
                </a:cubicBezTo>
                <a:cubicBezTo>
                  <a:pt x="2650" y="1365"/>
                  <a:pt x="2650" y="1365"/>
                  <a:pt x="2650" y="1365"/>
                </a:cubicBezTo>
                <a:cubicBezTo>
                  <a:pt x="2650" y="1377"/>
                  <a:pt x="2650" y="1377"/>
                  <a:pt x="2650" y="1377"/>
                </a:cubicBezTo>
                <a:cubicBezTo>
                  <a:pt x="2650" y="1378"/>
                  <a:pt x="2650" y="1378"/>
                  <a:pt x="2650" y="1378"/>
                </a:cubicBezTo>
                <a:cubicBezTo>
                  <a:pt x="2651" y="1381"/>
                  <a:pt x="2651" y="1381"/>
                  <a:pt x="2651" y="1381"/>
                </a:cubicBezTo>
                <a:cubicBezTo>
                  <a:pt x="2651" y="1385"/>
                  <a:pt x="2651" y="1385"/>
                  <a:pt x="2651" y="1385"/>
                </a:cubicBezTo>
                <a:cubicBezTo>
                  <a:pt x="2653" y="1390"/>
                  <a:pt x="2653" y="1390"/>
                  <a:pt x="2653" y="1390"/>
                </a:cubicBezTo>
                <a:cubicBezTo>
                  <a:pt x="2653" y="1392"/>
                  <a:pt x="2653" y="1392"/>
                  <a:pt x="2653" y="1392"/>
                </a:cubicBezTo>
                <a:cubicBezTo>
                  <a:pt x="2651" y="1394"/>
                  <a:pt x="2651" y="1394"/>
                  <a:pt x="2651" y="1394"/>
                </a:cubicBezTo>
                <a:cubicBezTo>
                  <a:pt x="2652" y="1395"/>
                  <a:pt x="2652" y="1395"/>
                  <a:pt x="2652" y="1395"/>
                </a:cubicBezTo>
                <a:cubicBezTo>
                  <a:pt x="2651" y="1397"/>
                  <a:pt x="2651" y="1397"/>
                  <a:pt x="2651" y="1397"/>
                </a:cubicBezTo>
                <a:cubicBezTo>
                  <a:pt x="2651" y="1402"/>
                  <a:pt x="2651" y="1402"/>
                  <a:pt x="2651" y="1402"/>
                </a:cubicBezTo>
                <a:cubicBezTo>
                  <a:pt x="2649" y="1403"/>
                  <a:pt x="2649" y="1403"/>
                  <a:pt x="2649" y="1403"/>
                </a:cubicBezTo>
                <a:cubicBezTo>
                  <a:pt x="2650" y="1405"/>
                  <a:pt x="2650" y="1405"/>
                  <a:pt x="2650" y="1405"/>
                </a:cubicBezTo>
                <a:cubicBezTo>
                  <a:pt x="2649" y="1407"/>
                  <a:pt x="2649" y="1407"/>
                  <a:pt x="2649" y="1407"/>
                </a:cubicBezTo>
                <a:cubicBezTo>
                  <a:pt x="2647" y="1409"/>
                  <a:pt x="2647" y="1409"/>
                  <a:pt x="2647" y="1409"/>
                </a:cubicBezTo>
                <a:cubicBezTo>
                  <a:pt x="2648" y="1411"/>
                  <a:pt x="2648" y="1411"/>
                  <a:pt x="2648" y="1411"/>
                </a:cubicBezTo>
                <a:cubicBezTo>
                  <a:pt x="2645" y="1414"/>
                  <a:pt x="2645" y="1414"/>
                  <a:pt x="2645" y="1414"/>
                </a:cubicBezTo>
                <a:cubicBezTo>
                  <a:pt x="2643" y="1413"/>
                  <a:pt x="2643" y="1413"/>
                  <a:pt x="2643" y="1413"/>
                </a:cubicBezTo>
                <a:cubicBezTo>
                  <a:pt x="2641" y="1416"/>
                  <a:pt x="2641" y="1416"/>
                  <a:pt x="2641" y="1416"/>
                </a:cubicBezTo>
                <a:cubicBezTo>
                  <a:pt x="2641" y="1423"/>
                  <a:pt x="2641" y="1423"/>
                  <a:pt x="2641" y="1423"/>
                </a:cubicBezTo>
                <a:cubicBezTo>
                  <a:pt x="2642" y="1424"/>
                  <a:pt x="2642" y="1424"/>
                  <a:pt x="2642" y="1424"/>
                </a:cubicBezTo>
                <a:cubicBezTo>
                  <a:pt x="2644" y="1424"/>
                  <a:pt x="2644" y="1424"/>
                  <a:pt x="2644" y="1424"/>
                </a:cubicBezTo>
                <a:cubicBezTo>
                  <a:pt x="2648" y="1428"/>
                  <a:pt x="2648" y="1428"/>
                  <a:pt x="2648" y="1428"/>
                </a:cubicBezTo>
                <a:cubicBezTo>
                  <a:pt x="2648" y="1430"/>
                  <a:pt x="2648" y="1430"/>
                  <a:pt x="2648" y="1430"/>
                </a:cubicBezTo>
                <a:cubicBezTo>
                  <a:pt x="2649" y="1431"/>
                  <a:pt x="2649" y="1431"/>
                  <a:pt x="2649" y="1431"/>
                </a:cubicBezTo>
                <a:cubicBezTo>
                  <a:pt x="2651" y="1431"/>
                  <a:pt x="2651" y="1431"/>
                  <a:pt x="2651" y="1431"/>
                </a:cubicBezTo>
                <a:cubicBezTo>
                  <a:pt x="2652" y="1432"/>
                  <a:pt x="2652" y="1432"/>
                  <a:pt x="2652" y="1432"/>
                </a:cubicBezTo>
                <a:cubicBezTo>
                  <a:pt x="2655" y="1433"/>
                  <a:pt x="2655" y="1433"/>
                  <a:pt x="2655" y="1433"/>
                </a:cubicBezTo>
                <a:cubicBezTo>
                  <a:pt x="2656" y="1433"/>
                  <a:pt x="2656" y="1433"/>
                  <a:pt x="2656" y="1433"/>
                </a:cubicBezTo>
                <a:cubicBezTo>
                  <a:pt x="2656" y="1434"/>
                  <a:pt x="2656" y="1434"/>
                  <a:pt x="2656" y="1434"/>
                </a:cubicBezTo>
                <a:cubicBezTo>
                  <a:pt x="2659" y="1434"/>
                  <a:pt x="2659" y="1434"/>
                  <a:pt x="2659" y="1434"/>
                </a:cubicBezTo>
                <a:cubicBezTo>
                  <a:pt x="2661" y="1433"/>
                  <a:pt x="2661" y="1433"/>
                  <a:pt x="2661" y="1433"/>
                </a:cubicBezTo>
                <a:cubicBezTo>
                  <a:pt x="2662" y="1435"/>
                  <a:pt x="2662" y="1435"/>
                  <a:pt x="2662" y="1435"/>
                </a:cubicBezTo>
                <a:cubicBezTo>
                  <a:pt x="2663" y="1434"/>
                  <a:pt x="2663" y="1434"/>
                  <a:pt x="2663" y="1434"/>
                </a:cubicBezTo>
                <a:cubicBezTo>
                  <a:pt x="2664" y="1434"/>
                  <a:pt x="2664" y="1434"/>
                  <a:pt x="2664" y="1434"/>
                </a:cubicBezTo>
                <a:cubicBezTo>
                  <a:pt x="2667" y="1434"/>
                  <a:pt x="2667" y="1434"/>
                  <a:pt x="2667" y="1434"/>
                </a:cubicBezTo>
                <a:cubicBezTo>
                  <a:pt x="2669" y="1434"/>
                  <a:pt x="2669" y="1434"/>
                  <a:pt x="2669" y="1434"/>
                </a:cubicBezTo>
                <a:cubicBezTo>
                  <a:pt x="2669" y="1432"/>
                  <a:pt x="2669" y="1432"/>
                  <a:pt x="2669" y="1432"/>
                </a:cubicBezTo>
                <a:cubicBezTo>
                  <a:pt x="2671" y="1432"/>
                  <a:pt x="2671" y="1432"/>
                  <a:pt x="2671" y="1432"/>
                </a:cubicBezTo>
                <a:cubicBezTo>
                  <a:pt x="2673" y="1429"/>
                  <a:pt x="2673" y="1429"/>
                  <a:pt x="2673" y="1429"/>
                </a:cubicBezTo>
                <a:cubicBezTo>
                  <a:pt x="2676" y="1430"/>
                  <a:pt x="2676" y="1430"/>
                  <a:pt x="2676" y="1430"/>
                </a:cubicBezTo>
                <a:cubicBezTo>
                  <a:pt x="2676" y="1428"/>
                  <a:pt x="2676" y="1428"/>
                  <a:pt x="2676" y="1428"/>
                </a:cubicBezTo>
                <a:cubicBezTo>
                  <a:pt x="2678" y="1427"/>
                  <a:pt x="2678" y="1427"/>
                  <a:pt x="2678" y="1427"/>
                </a:cubicBezTo>
                <a:cubicBezTo>
                  <a:pt x="2679" y="1427"/>
                  <a:pt x="2679" y="1427"/>
                  <a:pt x="2679" y="1427"/>
                </a:cubicBezTo>
                <a:cubicBezTo>
                  <a:pt x="2681" y="1429"/>
                  <a:pt x="2681" y="1429"/>
                  <a:pt x="2681" y="1429"/>
                </a:cubicBezTo>
                <a:cubicBezTo>
                  <a:pt x="2682" y="1426"/>
                  <a:pt x="2682" y="1426"/>
                  <a:pt x="2682" y="1426"/>
                </a:cubicBezTo>
                <a:cubicBezTo>
                  <a:pt x="2683" y="1427"/>
                  <a:pt x="2683" y="1427"/>
                  <a:pt x="2683" y="1427"/>
                </a:cubicBezTo>
                <a:cubicBezTo>
                  <a:pt x="2684" y="1426"/>
                  <a:pt x="2684" y="1426"/>
                  <a:pt x="2684" y="1426"/>
                </a:cubicBezTo>
                <a:cubicBezTo>
                  <a:pt x="2685" y="1424"/>
                  <a:pt x="2685" y="1424"/>
                  <a:pt x="2685" y="1424"/>
                </a:cubicBezTo>
                <a:cubicBezTo>
                  <a:pt x="2690" y="1420"/>
                  <a:pt x="2690" y="1420"/>
                  <a:pt x="2690" y="1420"/>
                </a:cubicBezTo>
                <a:cubicBezTo>
                  <a:pt x="2692" y="1421"/>
                  <a:pt x="2692" y="1421"/>
                  <a:pt x="2692" y="1421"/>
                </a:cubicBezTo>
                <a:cubicBezTo>
                  <a:pt x="2694" y="1421"/>
                  <a:pt x="2694" y="1421"/>
                  <a:pt x="2694" y="1421"/>
                </a:cubicBezTo>
                <a:cubicBezTo>
                  <a:pt x="2696" y="1420"/>
                  <a:pt x="2696" y="1420"/>
                  <a:pt x="2696" y="1420"/>
                </a:cubicBezTo>
                <a:cubicBezTo>
                  <a:pt x="2701" y="1419"/>
                  <a:pt x="2701" y="1419"/>
                  <a:pt x="2701" y="1419"/>
                </a:cubicBezTo>
                <a:cubicBezTo>
                  <a:pt x="2702" y="1420"/>
                  <a:pt x="2702" y="1420"/>
                  <a:pt x="2702" y="1420"/>
                </a:cubicBezTo>
                <a:cubicBezTo>
                  <a:pt x="2705" y="1419"/>
                  <a:pt x="2705" y="1419"/>
                  <a:pt x="2705" y="1419"/>
                </a:cubicBezTo>
                <a:cubicBezTo>
                  <a:pt x="2706" y="1420"/>
                  <a:pt x="2706" y="1420"/>
                  <a:pt x="2706" y="1420"/>
                </a:cubicBezTo>
                <a:cubicBezTo>
                  <a:pt x="2708" y="1420"/>
                  <a:pt x="2708" y="1420"/>
                  <a:pt x="2708" y="1420"/>
                </a:cubicBezTo>
                <a:cubicBezTo>
                  <a:pt x="2710" y="1420"/>
                  <a:pt x="2710" y="1420"/>
                  <a:pt x="2710" y="1420"/>
                </a:cubicBezTo>
                <a:cubicBezTo>
                  <a:pt x="2710" y="1422"/>
                  <a:pt x="2710" y="1422"/>
                  <a:pt x="2710" y="1422"/>
                </a:cubicBezTo>
                <a:cubicBezTo>
                  <a:pt x="2712" y="1422"/>
                  <a:pt x="2712" y="1422"/>
                  <a:pt x="2712" y="1422"/>
                </a:cubicBezTo>
                <a:cubicBezTo>
                  <a:pt x="2713" y="1421"/>
                  <a:pt x="2713" y="1421"/>
                  <a:pt x="2713" y="1421"/>
                </a:cubicBezTo>
                <a:cubicBezTo>
                  <a:pt x="2714" y="1422"/>
                  <a:pt x="2714" y="1422"/>
                  <a:pt x="2714" y="1422"/>
                </a:cubicBezTo>
                <a:cubicBezTo>
                  <a:pt x="2716" y="1421"/>
                  <a:pt x="2716" y="1421"/>
                  <a:pt x="2716" y="1421"/>
                </a:cubicBezTo>
                <a:cubicBezTo>
                  <a:pt x="2720" y="1421"/>
                  <a:pt x="2720" y="1421"/>
                  <a:pt x="2720" y="1421"/>
                </a:cubicBezTo>
                <a:cubicBezTo>
                  <a:pt x="2720" y="1422"/>
                  <a:pt x="2720" y="1422"/>
                  <a:pt x="2720" y="1422"/>
                </a:cubicBezTo>
                <a:cubicBezTo>
                  <a:pt x="2720" y="1423"/>
                  <a:pt x="2720" y="1423"/>
                  <a:pt x="2720" y="1423"/>
                </a:cubicBezTo>
                <a:cubicBezTo>
                  <a:pt x="2722" y="1421"/>
                  <a:pt x="2722" y="1421"/>
                  <a:pt x="2722" y="1421"/>
                </a:cubicBezTo>
                <a:cubicBezTo>
                  <a:pt x="2725" y="1421"/>
                  <a:pt x="2725" y="1421"/>
                  <a:pt x="2725" y="1421"/>
                </a:cubicBezTo>
                <a:cubicBezTo>
                  <a:pt x="2727" y="1419"/>
                  <a:pt x="2727" y="1419"/>
                  <a:pt x="2727" y="1419"/>
                </a:cubicBezTo>
                <a:cubicBezTo>
                  <a:pt x="2728" y="1417"/>
                  <a:pt x="2728" y="1417"/>
                  <a:pt x="2728" y="1417"/>
                </a:cubicBezTo>
                <a:cubicBezTo>
                  <a:pt x="2729" y="1417"/>
                  <a:pt x="2729" y="1417"/>
                  <a:pt x="2729" y="1417"/>
                </a:cubicBezTo>
                <a:cubicBezTo>
                  <a:pt x="2732" y="1415"/>
                  <a:pt x="2732" y="1415"/>
                  <a:pt x="2732" y="1415"/>
                </a:cubicBezTo>
                <a:cubicBezTo>
                  <a:pt x="2733" y="1411"/>
                  <a:pt x="2733" y="1411"/>
                  <a:pt x="2733" y="1411"/>
                </a:cubicBezTo>
                <a:cubicBezTo>
                  <a:pt x="2735" y="1409"/>
                  <a:pt x="2735" y="1409"/>
                  <a:pt x="2735" y="1409"/>
                </a:cubicBezTo>
                <a:cubicBezTo>
                  <a:pt x="2738" y="1408"/>
                  <a:pt x="2738" y="1408"/>
                  <a:pt x="2738" y="1408"/>
                </a:cubicBezTo>
                <a:cubicBezTo>
                  <a:pt x="2739" y="1409"/>
                  <a:pt x="2739" y="1409"/>
                  <a:pt x="2739" y="1409"/>
                </a:cubicBezTo>
                <a:cubicBezTo>
                  <a:pt x="2743" y="1407"/>
                  <a:pt x="2743" y="1407"/>
                  <a:pt x="2743" y="1407"/>
                </a:cubicBezTo>
                <a:cubicBezTo>
                  <a:pt x="2749" y="1404"/>
                  <a:pt x="2749" y="1404"/>
                  <a:pt x="2749" y="1404"/>
                </a:cubicBezTo>
                <a:cubicBezTo>
                  <a:pt x="2752" y="1401"/>
                  <a:pt x="2752" y="1401"/>
                  <a:pt x="2752" y="1401"/>
                </a:cubicBezTo>
                <a:cubicBezTo>
                  <a:pt x="2754" y="1400"/>
                  <a:pt x="2754" y="1400"/>
                  <a:pt x="2754" y="1400"/>
                </a:cubicBezTo>
                <a:cubicBezTo>
                  <a:pt x="2755" y="1401"/>
                  <a:pt x="2755" y="1401"/>
                  <a:pt x="2755" y="1401"/>
                </a:cubicBezTo>
                <a:cubicBezTo>
                  <a:pt x="2757" y="1400"/>
                  <a:pt x="2757" y="1400"/>
                  <a:pt x="2757" y="1400"/>
                </a:cubicBezTo>
                <a:cubicBezTo>
                  <a:pt x="2760" y="1402"/>
                  <a:pt x="2760" y="1402"/>
                  <a:pt x="2760" y="1402"/>
                </a:cubicBezTo>
                <a:cubicBezTo>
                  <a:pt x="2763" y="1402"/>
                  <a:pt x="2763" y="1402"/>
                  <a:pt x="2763" y="1402"/>
                </a:cubicBezTo>
                <a:cubicBezTo>
                  <a:pt x="2764" y="1401"/>
                  <a:pt x="2764" y="1401"/>
                  <a:pt x="2764" y="1401"/>
                </a:cubicBezTo>
                <a:cubicBezTo>
                  <a:pt x="2768" y="1401"/>
                  <a:pt x="2768" y="1401"/>
                  <a:pt x="2768" y="1401"/>
                </a:cubicBezTo>
                <a:cubicBezTo>
                  <a:pt x="2774" y="1399"/>
                  <a:pt x="2774" y="1399"/>
                  <a:pt x="2774" y="1399"/>
                </a:cubicBezTo>
                <a:cubicBezTo>
                  <a:pt x="2777" y="1399"/>
                  <a:pt x="2777" y="1399"/>
                  <a:pt x="2777" y="1399"/>
                </a:cubicBezTo>
                <a:cubicBezTo>
                  <a:pt x="2780" y="1397"/>
                  <a:pt x="2780" y="1397"/>
                  <a:pt x="2780" y="1397"/>
                </a:cubicBezTo>
                <a:cubicBezTo>
                  <a:pt x="2781" y="1397"/>
                  <a:pt x="2781" y="1397"/>
                  <a:pt x="2781" y="1397"/>
                </a:cubicBezTo>
                <a:cubicBezTo>
                  <a:pt x="2784" y="1395"/>
                  <a:pt x="2784" y="1395"/>
                  <a:pt x="2784" y="1395"/>
                </a:cubicBezTo>
                <a:cubicBezTo>
                  <a:pt x="2788" y="1395"/>
                  <a:pt x="2788" y="1395"/>
                  <a:pt x="2788" y="1395"/>
                </a:cubicBezTo>
                <a:cubicBezTo>
                  <a:pt x="2799" y="1394"/>
                  <a:pt x="2799" y="1394"/>
                  <a:pt x="2799" y="1394"/>
                </a:cubicBezTo>
                <a:cubicBezTo>
                  <a:pt x="2803" y="1395"/>
                  <a:pt x="2803" y="1395"/>
                  <a:pt x="2803" y="1395"/>
                </a:cubicBezTo>
                <a:cubicBezTo>
                  <a:pt x="2806" y="1395"/>
                  <a:pt x="2806" y="1395"/>
                  <a:pt x="2806" y="1395"/>
                </a:cubicBezTo>
                <a:cubicBezTo>
                  <a:pt x="2809" y="1394"/>
                  <a:pt x="2809" y="1394"/>
                  <a:pt x="2809" y="1394"/>
                </a:cubicBezTo>
                <a:cubicBezTo>
                  <a:pt x="2811" y="1394"/>
                  <a:pt x="2811" y="1394"/>
                  <a:pt x="2811" y="1394"/>
                </a:cubicBezTo>
                <a:cubicBezTo>
                  <a:pt x="2814" y="1397"/>
                  <a:pt x="2814" y="1397"/>
                  <a:pt x="2814" y="1397"/>
                </a:cubicBezTo>
                <a:cubicBezTo>
                  <a:pt x="2816" y="1401"/>
                  <a:pt x="2816" y="1401"/>
                  <a:pt x="2816" y="1401"/>
                </a:cubicBezTo>
                <a:cubicBezTo>
                  <a:pt x="2818" y="1402"/>
                  <a:pt x="2818" y="1402"/>
                  <a:pt x="2818" y="1402"/>
                </a:cubicBezTo>
                <a:cubicBezTo>
                  <a:pt x="2820" y="1401"/>
                  <a:pt x="2820" y="1401"/>
                  <a:pt x="2820" y="1401"/>
                </a:cubicBezTo>
                <a:cubicBezTo>
                  <a:pt x="2821" y="1400"/>
                  <a:pt x="2821" y="1400"/>
                  <a:pt x="2821" y="1400"/>
                </a:cubicBezTo>
                <a:cubicBezTo>
                  <a:pt x="2822" y="1401"/>
                  <a:pt x="2822" y="1401"/>
                  <a:pt x="2822" y="1401"/>
                </a:cubicBezTo>
                <a:cubicBezTo>
                  <a:pt x="2823" y="1401"/>
                  <a:pt x="2823" y="1401"/>
                  <a:pt x="2823" y="1401"/>
                </a:cubicBezTo>
                <a:cubicBezTo>
                  <a:pt x="2825" y="1401"/>
                  <a:pt x="2825" y="1401"/>
                  <a:pt x="2825" y="1401"/>
                </a:cubicBezTo>
                <a:cubicBezTo>
                  <a:pt x="2827" y="1404"/>
                  <a:pt x="2827" y="1404"/>
                  <a:pt x="2827" y="1404"/>
                </a:cubicBezTo>
                <a:cubicBezTo>
                  <a:pt x="2830" y="1404"/>
                  <a:pt x="2830" y="1404"/>
                  <a:pt x="2830" y="1404"/>
                </a:cubicBezTo>
                <a:cubicBezTo>
                  <a:pt x="2831" y="1403"/>
                  <a:pt x="2831" y="1403"/>
                  <a:pt x="2831" y="1403"/>
                </a:cubicBezTo>
                <a:cubicBezTo>
                  <a:pt x="2835" y="1407"/>
                  <a:pt x="2835" y="1407"/>
                  <a:pt x="2835" y="1407"/>
                </a:cubicBezTo>
                <a:cubicBezTo>
                  <a:pt x="2835" y="1408"/>
                  <a:pt x="2835" y="1408"/>
                  <a:pt x="2835" y="1408"/>
                </a:cubicBezTo>
                <a:cubicBezTo>
                  <a:pt x="2836" y="1408"/>
                  <a:pt x="2836" y="1408"/>
                  <a:pt x="2836" y="1408"/>
                </a:cubicBezTo>
                <a:cubicBezTo>
                  <a:pt x="2838" y="1410"/>
                  <a:pt x="2838" y="1410"/>
                  <a:pt x="2838" y="1410"/>
                </a:cubicBezTo>
                <a:cubicBezTo>
                  <a:pt x="2837" y="1412"/>
                  <a:pt x="2837" y="1412"/>
                  <a:pt x="2837" y="1412"/>
                </a:cubicBezTo>
                <a:cubicBezTo>
                  <a:pt x="2835" y="1412"/>
                  <a:pt x="2835" y="1412"/>
                  <a:pt x="2835" y="1412"/>
                </a:cubicBezTo>
                <a:cubicBezTo>
                  <a:pt x="2835" y="1413"/>
                  <a:pt x="2835" y="1413"/>
                  <a:pt x="2835" y="1413"/>
                </a:cubicBezTo>
                <a:cubicBezTo>
                  <a:pt x="2837" y="1417"/>
                  <a:pt x="2837" y="1417"/>
                  <a:pt x="2837" y="1417"/>
                </a:cubicBezTo>
                <a:cubicBezTo>
                  <a:pt x="2839" y="1417"/>
                  <a:pt x="2839" y="1417"/>
                  <a:pt x="2839" y="1417"/>
                </a:cubicBezTo>
                <a:cubicBezTo>
                  <a:pt x="2841" y="1419"/>
                  <a:pt x="2841" y="1419"/>
                  <a:pt x="2841" y="1419"/>
                </a:cubicBezTo>
                <a:cubicBezTo>
                  <a:pt x="2841" y="1422"/>
                  <a:pt x="2841" y="1422"/>
                  <a:pt x="2841" y="1422"/>
                </a:cubicBezTo>
                <a:cubicBezTo>
                  <a:pt x="2841" y="1424"/>
                  <a:pt x="2841" y="1424"/>
                  <a:pt x="2841" y="1424"/>
                </a:cubicBezTo>
                <a:cubicBezTo>
                  <a:pt x="2843" y="1429"/>
                  <a:pt x="2843" y="1429"/>
                  <a:pt x="2843" y="1429"/>
                </a:cubicBezTo>
                <a:cubicBezTo>
                  <a:pt x="2842" y="1431"/>
                  <a:pt x="2842" y="1431"/>
                  <a:pt x="2842" y="1431"/>
                </a:cubicBezTo>
                <a:cubicBezTo>
                  <a:pt x="2843" y="1433"/>
                  <a:pt x="2843" y="1433"/>
                  <a:pt x="2843" y="1433"/>
                </a:cubicBezTo>
                <a:cubicBezTo>
                  <a:pt x="2843" y="1435"/>
                  <a:pt x="2843" y="1435"/>
                  <a:pt x="2843" y="1435"/>
                </a:cubicBezTo>
                <a:cubicBezTo>
                  <a:pt x="2842" y="1437"/>
                  <a:pt x="2842" y="1437"/>
                  <a:pt x="2842" y="1437"/>
                </a:cubicBezTo>
                <a:cubicBezTo>
                  <a:pt x="2841" y="1436"/>
                  <a:pt x="2841" y="1436"/>
                  <a:pt x="2841" y="1436"/>
                </a:cubicBezTo>
                <a:cubicBezTo>
                  <a:pt x="2840" y="1437"/>
                  <a:pt x="2840" y="1437"/>
                  <a:pt x="2840" y="1437"/>
                </a:cubicBezTo>
                <a:cubicBezTo>
                  <a:pt x="2842" y="1439"/>
                  <a:pt x="2842" y="1439"/>
                  <a:pt x="2842" y="1439"/>
                </a:cubicBezTo>
                <a:cubicBezTo>
                  <a:pt x="2843" y="1439"/>
                  <a:pt x="2843" y="1439"/>
                  <a:pt x="2843" y="1439"/>
                </a:cubicBezTo>
                <a:cubicBezTo>
                  <a:pt x="2844" y="1441"/>
                  <a:pt x="2844" y="1441"/>
                  <a:pt x="2844" y="1441"/>
                </a:cubicBezTo>
                <a:cubicBezTo>
                  <a:pt x="2846" y="1441"/>
                  <a:pt x="2846" y="1441"/>
                  <a:pt x="2846" y="1441"/>
                </a:cubicBezTo>
                <a:cubicBezTo>
                  <a:pt x="2848" y="1442"/>
                  <a:pt x="2848" y="1442"/>
                  <a:pt x="2848" y="1442"/>
                </a:cubicBezTo>
                <a:cubicBezTo>
                  <a:pt x="2848" y="1440"/>
                  <a:pt x="2848" y="1440"/>
                  <a:pt x="2848" y="1440"/>
                </a:cubicBezTo>
                <a:cubicBezTo>
                  <a:pt x="2847" y="1439"/>
                  <a:pt x="2847" y="1439"/>
                  <a:pt x="2847" y="1439"/>
                </a:cubicBezTo>
                <a:cubicBezTo>
                  <a:pt x="2848" y="1438"/>
                  <a:pt x="2848" y="1438"/>
                  <a:pt x="2848" y="1438"/>
                </a:cubicBezTo>
                <a:cubicBezTo>
                  <a:pt x="2849" y="1436"/>
                  <a:pt x="2849" y="1436"/>
                  <a:pt x="2849" y="1436"/>
                </a:cubicBezTo>
                <a:cubicBezTo>
                  <a:pt x="2850" y="1435"/>
                  <a:pt x="2850" y="1435"/>
                  <a:pt x="2850" y="1435"/>
                </a:cubicBezTo>
                <a:cubicBezTo>
                  <a:pt x="2851" y="1434"/>
                  <a:pt x="2851" y="1434"/>
                  <a:pt x="2851" y="1434"/>
                </a:cubicBezTo>
                <a:cubicBezTo>
                  <a:pt x="2853" y="1433"/>
                  <a:pt x="2853" y="1433"/>
                  <a:pt x="2853" y="1433"/>
                </a:cubicBezTo>
                <a:cubicBezTo>
                  <a:pt x="2854" y="1431"/>
                  <a:pt x="2854" y="1431"/>
                  <a:pt x="2854" y="1431"/>
                </a:cubicBezTo>
                <a:cubicBezTo>
                  <a:pt x="2855" y="1429"/>
                  <a:pt x="2855" y="1429"/>
                  <a:pt x="2855" y="1429"/>
                </a:cubicBezTo>
                <a:cubicBezTo>
                  <a:pt x="2860" y="1427"/>
                  <a:pt x="2860" y="1427"/>
                  <a:pt x="2860" y="1427"/>
                </a:cubicBezTo>
                <a:cubicBezTo>
                  <a:pt x="2860" y="1425"/>
                  <a:pt x="2860" y="1425"/>
                  <a:pt x="2860" y="1425"/>
                </a:cubicBezTo>
                <a:cubicBezTo>
                  <a:pt x="2861" y="1425"/>
                  <a:pt x="2861" y="1425"/>
                  <a:pt x="2861" y="1425"/>
                </a:cubicBezTo>
                <a:cubicBezTo>
                  <a:pt x="2864" y="1424"/>
                  <a:pt x="2864" y="1424"/>
                  <a:pt x="2864" y="1424"/>
                </a:cubicBezTo>
                <a:cubicBezTo>
                  <a:pt x="2865" y="1421"/>
                  <a:pt x="2865" y="1421"/>
                  <a:pt x="2865" y="1421"/>
                </a:cubicBezTo>
                <a:cubicBezTo>
                  <a:pt x="2868" y="1417"/>
                  <a:pt x="2868" y="1417"/>
                  <a:pt x="2868" y="1417"/>
                </a:cubicBezTo>
                <a:cubicBezTo>
                  <a:pt x="2871" y="1416"/>
                  <a:pt x="2871" y="1416"/>
                  <a:pt x="2871" y="1416"/>
                </a:cubicBezTo>
                <a:cubicBezTo>
                  <a:pt x="2872" y="1414"/>
                  <a:pt x="2872" y="1414"/>
                  <a:pt x="2872" y="1414"/>
                </a:cubicBezTo>
                <a:cubicBezTo>
                  <a:pt x="2871" y="1412"/>
                  <a:pt x="2871" y="1412"/>
                  <a:pt x="2871" y="1412"/>
                </a:cubicBezTo>
                <a:cubicBezTo>
                  <a:pt x="2872" y="1410"/>
                  <a:pt x="2872" y="1410"/>
                  <a:pt x="2872" y="1410"/>
                </a:cubicBezTo>
                <a:cubicBezTo>
                  <a:pt x="2873" y="1413"/>
                  <a:pt x="2873" y="1413"/>
                  <a:pt x="2873" y="1413"/>
                </a:cubicBezTo>
                <a:cubicBezTo>
                  <a:pt x="2873" y="1415"/>
                  <a:pt x="2873" y="1415"/>
                  <a:pt x="2873" y="1415"/>
                </a:cubicBezTo>
                <a:cubicBezTo>
                  <a:pt x="2873" y="1418"/>
                  <a:pt x="2873" y="1418"/>
                  <a:pt x="2873" y="1418"/>
                </a:cubicBezTo>
                <a:cubicBezTo>
                  <a:pt x="2872" y="1419"/>
                  <a:pt x="2872" y="1419"/>
                  <a:pt x="2872" y="1419"/>
                </a:cubicBezTo>
                <a:cubicBezTo>
                  <a:pt x="2871" y="1425"/>
                  <a:pt x="2871" y="1425"/>
                  <a:pt x="2871" y="1425"/>
                </a:cubicBezTo>
                <a:cubicBezTo>
                  <a:pt x="2867" y="1427"/>
                  <a:pt x="2867" y="1427"/>
                  <a:pt x="2867" y="1427"/>
                </a:cubicBezTo>
                <a:cubicBezTo>
                  <a:pt x="2866" y="1430"/>
                  <a:pt x="2866" y="1430"/>
                  <a:pt x="2866" y="1430"/>
                </a:cubicBezTo>
                <a:cubicBezTo>
                  <a:pt x="2865" y="1431"/>
                  <a:pt x="2865" y="1431"/>
                  <a:pt x="2865" y="1431"/>
                </a:cubicBezTo>
                <a:cubicBezTo>
                  <a:pt x="2865" y="1433"/>
                  <a:pt x="2865" y="1433"/>
                  <a:pt x="2865" y="1433"/>
                </a:cubicBezTo>
                <a:cubicBezTo>
                  <a:pt x="2863" y="1437"/>
                  <a:pt x="2863" y="1437"/>
                  <a:pt x="2863" y="1437"/>
                </a:cubicBezTo>
                <a:cubicBezTo>
                  <a:pt x="2864" y="1438"/>
                  <a:pt x="2864" y="1438"/>
                  <a:pt x="2864" y="1438"/>
                </a:cubicBezTo>
                <a:cubicBezTo>
                  <a:pt x="2862" y="1443"/>
                  <a:pt x="2862" y="1443"/>
                  <a:pt x="2862" y="1443"/>
                </a:cubicBezTo>
                <a:cubicBezTo>
                  <a:pt x="2857" y="1442"/>
                  <a:pt x="2857" y="1442"/>
                  <a:pt x="2857" y="1442"/>
                </a:cubicBezTo>
                <a:cubicBezTo>
                  <a:pt x="2856" y="1445"/>
                  <a:pt x="2856" y="1445"/>
                  <a:pt x="2856" y="1445"/>
                </a:cubicBezTo>
                <a:cubicBezTo>
                  <a:pt x="2855" y="1447"/>
                  <a:pt x="2855" y="1447"/>
                  <a:pt x="2855" y="1447"/>
                </a:cubicBezTo>
                <a:cubicBezTo>
                  <a:pt x="2855" y="1448"/>
                  <a:pt x="2855" y="1448"/>
                  <a:pt x="2855" y="1448"/>
                </a:cubicBezTo>
                <a:cubicBezTo>
                  <a:pt x="2858" y="1447"/>
                  <a:pt x="2858" y="1447"/>
                  <a:pt x="2858" y="1447"/>
                </a:cubicBezTo>
                <a:cubicBezTo>
                  <a:pt x="2861" y="1446"/>
                  <a:pt x="2861" y="1446"/>
                  <a:pt x="2861" y="1446"/>
                </a:cubicBezTo>
                <a:cubicBezTo>
                  <a:pt x="2864" y="1447"/>
                  <a:pt x="2864" y="1447"/>
                  <a:pt x="2864" y="1447"/>
                </a:cubicBezTo>
                <a:cubicBezTo>
                  <a:pt x="2867" y="1441"/>
                  <a:pt x="2867" y="1441"/>
                  <a:pt x="2867" y="1441"/>
                </a:cubicBezTo>
                <a:cubicBezTo>
                  <a:pt x="2868" y="1436"/>
                  <a:pt x="2868" y="1436"/>
                  <a:pt x="2868" y="1436"/>
                </a:cubicBezTo>
                <a:cubicBezTo>
                  <a:pt x="2871" y="1433"/>
                  <a:pt x="2871" y="1433"/>
                  <a:pt x="2871" y="1433"/>
                </a:cubicBezTo>
                <a:cubicBezTo>
                  <a:pt x="2872" y="1434"/>
                  <a:pt x="2872" y="1434"/>
                  <a:pt x="2872" y="1434"/>
                </a:cubicBezTo>
                <a:cubicBezTo>
                  <a:pt x="2872" y="1439"/>
                  <a:pt x="2872" y="1439"/>
                  <a:pt x="2872" y="1439"/>
                </a:cubicBezTo>
                <a:cubicBezTo>
                  <a:pt x="2873" y="1442"/>
                  <a:pt x="2873" y="1442"/>
                  <a:pt x="2873" y="1442"/>
                </a:cubicBezTo>
                <a:cubicBezTo>
                  <a:pt x="2872" y="1442"/>
                  <a:pt x="2872" y="1442"/>
                  <a:pt x="2872" y="1442"/>
                </a:cubicBezTo>
                <a:cubicBezTo>
                  <a:pt x="2873" y="1447"/>
                  <a:pt x="2873" y="1447"/>
                  <a:pt x="2873" y="1447"/>
                </a:cubicBezTo>
                <a:cubicBezTo>
                  <a:pt x="2870" y="1451"/>
                  <a:pt x="2870" y="1451"/>
                  <a:pt x="2870" y="1451"/>
                </a:cubicBezTo>
                <a:cubicBezTo>
                  <a:pt x="2866" y="1453"/>
                  <a:pt x="2866" y="1453"/>
                  <a:pt x="2866" y="1453"/>
                </a:cubicBezTo>
                <a:cubicBezTo>
                  <a:pt x="2867" y="1454"/>
                  <a:pt x="2867" y="1454"/>
                  <a:pt x="2867" y="1454"/>
                </a:cubicBezTo>
                <a:cubicBezTo>
                  <a:pt x="2870" y="1454"/>
                  <a:pt x="2870" y="1454"/>
                  <a:pt x="2870" y="1454"/>
                </a:cubicBezTo>
                <a:cubicBezTo>
                  <a:pt x="2872" y="1454"/>
                  <a:pt x="2872" y="1454"/>
                  <a:pt x="2872" y="1454"/>
                </a:cubicBezTo>
                <a:cubicBezTo>
                  <a:pt x="2873" y="1453"/>
                  <a:pt x="2873" y="1453"/>
                  <a:pt x="2873" y="1453"/>
                </a:cubicBezTo>
                <a:cubicBezTo>
                  <a:pt x="2875" y="1452"/>
                  <a:pt x="2875" y="1452"/>
                  <a:pt x="2875" y="1452"/>
                </a:cubicBezTo>
                <a:cubicBezTo>
                  <a:pt x="2877" y="1450"/>
                  <a:pt x="2877" y="1450"/>
                  <a:pt x="2877" y="1450"/>
                </a:cubicBezTo>
                <a:cubicBezTo>
                  <a:pt x="2879" y="1451"/>
                  <a:pt x="2879" y="1451"/>
                  <a:pt x="2879" y="1451"/>
                </a:cubicBezTo>
                <a:cubicBezTo>
                  <a:pt x="2880" y="1451"/>
                  <a:pt x="2880" y="1451"/>
                  <a:pt x="2880" y="1451"/>
                </a:cubicBezTo>
                <a:cubicBezTo>
                  <a:pt x="2879" y="1452"/>
                  <a:pt x="2879" y="1452"/>
                  <a:pt x="2879" y="1452"/>
                </a:cubicBezTo>
                <a:cubicBezTo>
                  <a:pt x="2878" y="1454"/>
                  <a:pt x="2878" y="1454"/>
                  <a:pt x="2878" y="1454"/>
                </a:cubicBezTo>
                <a:cubicBezTo>
                  <a:pt x="2876" y="1454"/>
                  <a:pt x="2876" y="1454"/>
                  <a:pt x="2876" y="1454"/>
                </a:cubicBezTo>
                <a:cubicBezTo>
                  <a:pt x="2876" y="1455"/>
                  <a:pt x="2876" y="1455"/>
                  <a:pt x="2876" y="1455"/>
                </a:cubicBezTo>
                <a:cubicBezTo>
                  <a:pt x="2878" y="1458"/>
                  <a:pt x="2878" y="1458"/>
                  <a:pt x="2878" y="1458"/>
                </a:cubicBezTo>
                <a:cubicBezTo>
                  <a:pt x="2878" y="1460"/>
                  <a:pt x="2878" y="1460"/>
                  <a:pt x="2878" y="1460"/>
                </a:cubicBezTo>
                <a:cubicBezTo>
                  <a:pt x="2880" y="1463"/>
                  <a:pt x="2880" y="1463"/>
                  <a:pt x="2880" y="1463"/>
                </a:cubicBezTo>
                <a:cubicBezTo>
                  <a:pt x="2880" y="1467"/>
                  <a:pt x="2880" y="1467"/>
                  <a:pt x="2880" y="1467"/>
                </a:cubicBezTo>
                <a:cubicBezTo>
                  <a:pt x="2879" y="1471"/>
                  <a:pt x="2879" y="1471"/>
                  <a:pt x="2879" y="1471"/>
                </a:cubicBezTo>
                <a:cubicBezTo>
                  <a:pt x="2877" y="1474"/>
                  <a:pt x="2877" y="1474"/>
                  <a:pt x="2877" y="1474"/>
                </a:cubicBezTo>
                <a:cubicBezTo>
                  <a:pt x="2877" y="1475"/>
                  <a:pt x="2877" y="1475"/>
                  <a:pt x="2877" y="1475"/>
                </a:cubicBezTo>
                <a:cubicBezTo>
                  <a:pt x="2877" y="1479"/>
                  <a:pt x="2877" y="1479"/>
                  <a:pt x="2877" y="1479"/>
                </a:cubicBezTo>
                <a:cubicBezTo>
                  <a:pt x="2879" y="1481"/>
                  <a:pt x="2879" y="1481"/>
                  <a:pt x="2879" y="1481"/>
                </a:cubicBezTo>
                <a:cubicBezTo>
                  <a:pt x="2880" y="1483"/>
                  <a:pt x="2880" y="1483"/>
                  <a:pt x="2880" y="1483"/>
                </a:cubicBezTo>
                <a:cubicBezTo>
                  <a:pt x="2881" y="1486"/>
                  <a:pt x="2881" y="1486"/>
                  <a:pt x="2881" y="1486"/>
                </a:cubicBezTo>
                <a:cubicBezTo>
                  <a:pt x="2884" y="1491"/>
                  <a:pt x="2884" y="1491"/>
                  <a:pt x="2884" y="1491"/>
                </a:cubicBezTo>
                <a:cubicBezTo>
                  <a:pt x="2887" y="1492"/>
                  <a:pt x="2887" y="1492"/>
                  <a:pt x="2887" y="1492"/>
                </a:cubicBezTo>
                <a:cubicBezTo>
                  <a:pt x="2889" y="1493"/>
                  <a:pt x="2889" y="1493"/>
                  <a:pt x="2889" y="1493"/>
                </a:cubicBezTo>
                <a:cubicBezTo>
                  <a:pt x="2890" y="1496"/>
                  <a:pt x="2890" y="1496"/>
                  <a:pt x="2890" y="1496"/>
                </a:cubicBezTo>
                <a:cubicBezTo>
                  <a:pt x="2892" y="1496"/>
                  <a:pt x="2892" y="1496"/>
                  <a:pt x="2892" y="1496"/>
                </a:cubicBezTo>
                <a:cubicBezTo>
                  <a:pt x="2892" y="1495"/>
                  <a:pt x="2892" y="1495"/>
                  <a:pt x="2892" y="1495"/>
                </a:cubicBezTo>
                <a:cubicBezTo>
                  <a:pt x="2894" y="1495"/>
                  <a:pt x="2894" y="1495"/>
                  <a:pt x="2894" y="1495"/>
                </a:cubicBezTo>
                <a:cubicBezTo>
                  <a:pt x="2896" y="1495"/>
                  <a:pt x="2896" y="1495"/>
                  <a:pt x="2896" y="1495"/>
                </a:cubicBezTo>
                <a:cubicBezTo>
                  <a:pt x="2899" y="1498"/>
                  <a:pt x="2899" y="1498"/>
                  <a:pt x="2899" y="1498"/>
                </a:cubicBezTo>
                <a:cubicBezTo>
                  <a:pt x="2901" y="1498"/>
                  <a:pt x="2901" y="1498"/>
                  <a:pt x="2901" y="1498"/>
                </a:cubicBezTo>
                <a:cubicBezTo>
                  <a:pt x="2903" y="1501"/>
                  <a:pt x="2903" y="1501"/>
                  <a:pt x="2903" y="1501"/>
                </a:cubicBezTo>
                <a:cubicBezTo>
                  <a:pt x="2904" y="1503"/>
                  <a:pt x="2904" y="1503"/>
                  <a:pt x="2904" y="1503"/>
                </a:cubicBezTo>
                <a:cubicBezTo>
                  <a:pt x="2906" y="1503"/>
                  <a:pt x="2906" y="1503"/>
                  <a:pt x="2906" y="1503"/>
                </a:cubicBezTo>
                <a:cubicBezTo>
                  <a:pt x="2908" y="1506"/>
                  <a:pt x="2908" y="1506"/>
                  <a:pt x="2908" y="1506"/>
                </a:cubicBezTo>
                <a:cubicBezTo>
                  <a:pt x="2909" y="1506"/>
                  <a:pt x="2909" y="1506"/>
                  <a:pt x="2909" y="1506"/>
                </a:cubicBezTo>
                <a:cubicBezTo>
                  <a:pt x="2910" y="1504"/>
                  <a:pt x="2910" y="1504"/>
                  <a:pt x="2910" y="1504"/>
                </a:cubicBezTo>
                <a:cubicBezTo>
                  <a:pt x="2914" y="1503"/>
                  <a:pt x="2914" y="1503"/>
                  <a:pt x="2914" y="1503"/>
                </a:cubicBezTo>
                <a:cubicBezTo>
                  <a:pt x="2915" y="1501"/>
                  <a:pt x="2915" y="1501"/>
                  <a:pt x="2915" y="1501"/>
                </a:cubicBezTo>
                <a:cubicBezTo>
                  <a:pt x="2917" y="1501"/>
                  <a:pt x="2917" y="1501"/>
                  <a:pt x="2917" y="1501"/>
                </a:cubicBezTo>
                <a:cubicBezTo>
                  <a:pt x="2920" y="1498"/>
                  <a:pt x="2920" y="1498"/>
                  <a:pt x="2920" y="1498"/>
                </a:cubicBezTo>
                <a:cubicBezTo>
                  <a:pt x="2922" y="1499"/>
                  <a:pt x="2922" y="1499"/>
                  <a:pt x="2922" y="1499"/>
                </a:cubicBezTo>
                <a:cubicBezTo>
                  <a:pt x="2923" y="1498"/>
                  <a:pt x="2923" y="1498"/>
                  <a:pt x="2923" y="1498"/>
                </a:cubicBezTo>
                <a:cubicBezTo>
                  <a:pt x="2922" y="1497"/>
                  <a:pt x="2922" y="1497"/>
                  <a:pt x="2922" y="1497"/>
                </a:cubicBezTo>
                <a:cubicBezTo>
                  <a:pt x="2920" y="1496"/>
                  <a:pt x="2920" y="1496"/>
                  <a:pt x="2920" y="1496"/>
                </a:cubicBezTo>
                <a:cubicBezTo>
                  <a:pt x="2921" y="1495"/>
                  <a:pt x="2921" y="1495"/>
                  <a:pt x="2921" y="1495"/>
                </a:cubicBezTo>
                <a:cubicBezTo>
                  <a:pt x="2925" y="1492"/>
                  <a:pt x="2925" y="1492"/>
                  <a:pt x="2925" y="1492"/>
                </a:cubicBezTo>
                <a:cubicBezTo>
                  <a:pt x="2928" y="1494"/>
                  <a:pt x="2928" y="1494"/>
                  <a:pt x="2928" y="1494"/>
                </a:cubicBezTo>
                <a:cubicBezTo>
                  <a:pt x="2928" y="1497"/>
                  <a:pt x="2928" y="1497"/>
                  <a:pt x="2928" y="1497"/>
                </a:cubicBezTo>
                <a:cubicBezTo>
                  <a:pt x="2924" y="1499"/>
                  <a:pt x="2924" y="1499"/>
                  <a:pt x="2924" y="1499"/>
                </a:cubicBezTo>
                <a:cubicBezTo>
                  <a:pt x="2925" y="1501"/>
                  <a:pt x="2925" y="1501"/>
                  <a:pt x="2925" y="1501"/>
                </a:cubicBezTo>
                <a:cubicBezTo>
                  <a:pt x="2926" y="1501"/>
                  <a:pt x="2926" y="1501"/>
                  <a:pt x="2926" y="1501"/>
                </a:cubicBezTo>
                <a:cubicBezTo>
                  <a:pt x="2928" y="1499"/>
                  <a:pt x="2928" y="1499"/>
                  <a:pt x="2928" y="1499"/>
                </a:cubicBezTo>
                <a:cubicBezTo>
                  <a:pt x="2929" y="1498"/>
                  <a:pt x="2929" y="1498"/>
                  <a:pt x="2929" y="1498"/>
                </a:cubicBezTo>
                <a:cubicBezTo>
                  <a:pt x="2931" y="1499"/>
                  <a:pt x="2931" y="1499"/>
                  <a:pt x="2931" y="1499"/>
                </a:cubicBezTo>
                <a:cubicBezTo>
                  <a:pt x="2931" y="1501"/>
                  <a:pt x="2931" y="1501"/>
                  <a:pt x="2931" y="1501"/>
                </a:cubicBezTo>
                <a:cubicBezTo>
                  <a:pt x="2930" y="1501"/>
                  <a:pt x="2930" y="1501"/>
                  <a:pt x="2930" y="1501"/>
                </a:cubicBezTo>
                <a:cubicBezTo>
                  <a:pt x="2928" y="1503"/>
                  <a:pt x="2928" y="1503"/>
                  <a:pt x="2928" y="1503"/>
                </a:cubicBezTo>
                <a:cubicBezTo>
                  <a:pt x="2931" y="1506"/>
                  <a:pt x="2931" y="1506"/>
                  <a:pt x="2931" y="1506"/>
                </a:cubicBezTo>
                <a:cubicBezTo>
                  <a:pt x="2932" y="1509"/>
                  <a:pt x="2932" y="1509"/>
                  <a:pt x="2932" y="1509"/>
                </a:cubicBezTo>
                <a:cubicBezTo>
                  <a:pt x="2933" y="1509"/>
                  <a:pt x="2933" y="1509"/>
                  <a:pt x="2933" y="1509"/>
                </a:cubicBezTo>
                <a:cubicBezTo>
                  <a:pt x="2934" y="1509"/>
                  <a:pt x="2934" y="1509"/>
                  <a:pt x="2934" y="1509"/>
                </a:cubicBezTo>
                <a:cubicBezTo>
                  <a:pt x="2934" y="1511"/>
                  <a:pt x="2934" y="1511"/>
                  <a:pt x="2934" y="1511"/>
                </a:cubicBezTo>
                <a:cubicBezTo>
                  <a:pt x="2935" y="1513"/>
                  <a:pt x="2935" y="1513"/>
                  <a:pt x="2935" y="1513"/>
                </a:cubicBezTo>
                <a:cubicBezTo>
                  <a:pt x="2937" y="1511"/>
                  <a:pt x="2937" y="1511"/>
                  <a:pt x="2937" y="1511"/>
                </a:cubicBezTo>
                <a:cubicBezTo>
                  <a:pt x="2937" y="1508"/>
                  <a:pt x="2937" y="1508"/>
                  <a:pt x="2937" y="1508"/>
                </a:cubicBezTo>
                <a:cubicBezTo>
                  <a:pt x="2935" y="1509"/>
                  <a:pt x="2935" y="1509"/>
                  <a:pt x="2935" y="1509"/>
                </a:cubicBezTo>
                <a:cubicBezTo>
                  <a:pt x="2935" y="1508"/>
                  <a:pt x="2935" y="1508"/>
                  <a:pt x="2935" y="1508"/>
                </a:cubicBezTo>
                <a:cubicBezTo>
                  <a:pt x="2936" y="1507"/>
                  <a:pt x="2936" y="1507"/>
                  <a:pt x="2936" y="1507"/>
                </a:cubicBezTo>
                <a:cubicBezTo>
                  <a:pt x="2941" y="1507"/>
                  <a:pt x="2941" y="1507"/>
                  <a:pt x="2941" y="1507"/>
                </a:cubicBezTo>
                <a:cubicBezTo>
                  <a:pt x="2942" y="1508"/>
                  <a:pt x="2942" y="1508"/>
                  <a:pt x="2942" y="1508"/>
                </a:cubicBezTo>
                <a:cubicBezTo>
                  <a:pt x="2942" y="1507"/>
                  <a:pt x="2942" y="1507"/>
                  <a:pt x="2942" y="1507"/>
                </a:cubicBezTo>
                <a:cubicBezTo>
                  <a:pt x="2945" y="1503"/>
                  <a:pt x="2945" y="1503"/>
                  <a:pt x="2945" y="1503"/>
                </a:cubicBezTo>
                <a:cubicBezTo>
                  <a:pt x="2950" y="1500"/>
                  <a:pt x="2950" y="1500"/>
                  <a:pt x="2950" y="1500"/>
                </a:cubicBezTo>
                <a:cubicBezTo>
                  <a:pt x="2953" y="1497"/>
                  <a:pt x="2953" y="1497"/>
                  <a:pt x="2953" y="1497"/>
                </a:cubicBezTo>
                <a:cubicBezTo>
                  <a:pt x="2951" y="1497"/>
                  <a:pt x="2951" y="1497"/>
                  <a:pt x="2951" y="1497"/>
                </a:cubicBezTo>
                <a:cubicBezTo>
                  <a:pt x="2950" y="1498"/>
                  <a:pt x="2950" y="1498"/>
                  <a:pt x="2950" y="1498"/>
                </a:cubicBezTo>
                <a:cubicBezTo>
                  <a:pt x="2951" y="1497"/>
                  <a:pt x="2951" y="1497"/>
                  <a:pt x="2951" y="1497"/>
                </a:cubicBezTo>
                <a:cubicBezTo>
                  <a:pt x="2949" y="1497"/>
                  <a:pt x="2949" y="1497"/>
                  <a:pt x="2949" y="1497"/>
                </a:cubicBezTo>
                <a:cubicBezTo>
                  <a:pt x="2951" y="1497"/>
                  <a:pt x="2951" y="1497"/>
                  <a:pt x="2951" y="1497"/>
                </a:cubicBezTo>
                <a:cubicBezTo>
                  <a:pt x="2953" y="1497"/>
                  <a:pt x="2953" y="1497"/>
                  <a:pt x="2953" y="1497"/>
                </a:cubicBezTo>
                <a:cubicBezTo>
                  <a:pt x="2957" y="1496"/>
                  <a:pt x="2957" y="1496"/>
                  <a:pt x="2957" y="1496"/>
                </a:cubicBezTo>
                <a:cubicBezTo>
                  <a:pt x="2965" y="1494"/>
                  <a:pt x="2965" y="1494"/>
                  <a:pt x="2965" y="1494"/>
                </a:cubicBezTo>
                <a:cubicBezTo>
                  <a:pt x="2971" y="1495"/>
                  <a:pt x="2971" y="1495"/>
                  <a:pt x="2971" y="1495"/>
                </a:cubicBezTo>
                <a:cubicBezTo>
                  <a:pt x="2974" y="1494"/>
                  <a:pt x="2974" y="1494"/>
                  <a:pt x="2974" y="1494"/>
                </a:cubicBezTo>
                <a:cubicBezTo>
                  <a:pt x="2974" y="1492"/>
                  <a:pt x="2974" y="1492"/>
                  <a:pt x="2974" y="1492"/>
                </a:cubicBezTo>
                <a:cubicBezTo>
                  <a:pt x="2976" y="1492"/>
                  <a:pt x="2976" y="1492"/>
                  <a:pt x="2976" y="1492"/>
                </a:cubicBezTo>
                <a:cubicBezTo>
                  <a:pt x="2978" y="1491"/>
                  <a:pt x="2978" y="1491"/>
                  <a:pt x="2978" y="1491"/>
                </a:cubicBezTo>
                <a:cubicBezTo>
                  <a:pt x="2979" y="1487"/>
                  <a:pt x="2979" y="1487"/>
                  <a:pt x="2979" y="1487"/>
                </a:cubicBezTo>
                <a:cubicBezTo>
                  <a:pt x="2979" y="1483"/>
                  <a:pt x="2979" y="1483"/>
                  <a:pt x="2979" y="1483"/>
                </a:cubicBezTo>
                <a:cubicBezTo>
                  <a:pt x="2979" y="1481"/>
                  <a:pt x="2979" y="1481"/>
                  <a:pt x="2979" y="1481"/>
                </a:cubicBezTo>
                <a:cubicBezTo>
                  <a:pt x="2982" y="1478"/>
                  <a:pt x="2982" y="1478"/>
                  <a:pt x="2982" y="1478"/>
                </a:cubicBezTo>
                <a:cubicBezTo>
                  <a:pt x="2982" y="1472"/>
                  <a:pt x="2982" y="1472"/>
                  <a:pt x="2982" y="1472"/>
                </a:cubicBezTo>
                <a:cubicBezTo>
                  <a:pt x="2984" y="1469"/>
                  <a:pt x="2984" y="1469"/>
                  <a:pt x="2984" y="1469"/>
                </a:cubicBezTo>
                <a:cubicBezTo>
                  <a:pt x="2984" y="1465"/>
                  <a:pt x="2984" y="1465"/>
                  <a:pt x="2984" y="1465"/>
                </a:cubicBezTo>
                <a:cubicBezTo>
                  <a:pt x="2986" y="1464"/>
                  <a:pt x="2986" y="1464"/>
                  <a:pt x="2986" y="1464"/>
                </a:cubicBezTo>
                <a:cubicBezTo>
                  <a:pt x="2986" y="1462"/>
                  <a:pt x="2986" y="1462"/>
                  <a:pt x="2986" y="1462"/>
                </a:cubicBezTo>
                <a:cubicBezTo>
                  <a:pt x="2992" y="1455"/>
                  <a:pt x="2992" y="1455"/>
                  <a:pt x="2992" y="1455"/>
                </a:cubicBezTo>
                <a:cubicBezTo>
                  <a:pt x="2994" y="1454"/>
                  <a:pt x="2994" y="1454"/>
                  <a:pt x="2994" y="1454"/>
                </a:cubicBezTo>
                <a:cubicBezTo>
                  <a:pt x="2995" y="1450"/>
                  <a:pt x="2995" y="1450"/>
                  <a:pt x="2995" y="1450"/>
                </a:cubicBezTo>
                <a:cubicBezTo>
                  <a:pt x="2998" y="1447"/>
                  <a:pt x="2998" y="1447"/>
                  <a:pt x="2998" y="1447"/>
                </a:cubicBezTo>
                <a:cubicBezTo>
                  <a:pt x="2999" y="1443"/>
                  <a:pt x="2999" y="1443"/>
                  <a:pt x="2999" y="1443"/>
                </a:cubicBezTo>
                <a:cubicBezTo>
                  <a:pt x="3002" y="1440"/>
                  <a:pt x="3002" y="1440"/>
                  <a:pt x="3002" y="1440"/>
                </a:cubicBezTo>
                <a:cubicBezTo>
                  <a:pt x="3001" y="1438"/>
                  <a:pt x="3001" y="1438"/>
                  <a:pt x="3001" y="1438"/>
                </a:cubicBezTo>
                <a:cubicBezTo>
                  <a:pt x="3003" y="1437"/>
                  <a:pt x="3003" y="1437"/>
                  <a:pt x="3003" y="1437"/>
                </a:cubicBezTo>
                <a:cubicBezTo>
                  <a:pt x="3005" y="1433"/>
                  <a:pt x="3005" y="1433"/>
                  <a:pt x="3005" y="1433"/>
                </a:cubicBezTo>
                <a:cubicBezTo>
                  <a:pt x="3003" y="1432"/>
                  <a:pt x="3003" y="1432"/>
                  <a:pt x="3003" y="1432"/>
                </a:cubicBezTo>
                <a:cubicBezTo>
                  <a:pt x="3007" y="1431"/>
                  <a:pt x="3007" y="1431"/>
                  <a:pt x="3007" y="1431"/>
                </a:cubicBezTo>
                <a:cubicBezTo>
                  <a:pt x="3009" y="1427"/>
                  <a:pt x="3009" y="1427"/>
                  <a:pt x="3009" y="1427"/>
                </a:cubicBezTo>
                <a:cubicBezTo>
                  <a:pt x="3010" y="1426"/>
                  <a:pt x="3010" y="1426"/>
                  <a:pt x="3010" y="1426"/>
                </a:cubicBezTo>
                <a:cubicBezTo>
                  <a:pt x="3011" y="1423"/>
                  <a:pt x="3011" y="1423"/>
                  <a:pt x="3011" y="1423"/>
                </a:cubicBezTo>
                <a:cubicBezTo>
                  <a:pt x="3014" y="1422"/>
                  <a:pt x="3014" y="1422"/>
                  <a:pt x="3014" y="1422"/>
                </a:cubicBezTo>
                <a:cubicBezTo>
                  <a:pt x="3016" y="1421"/>
                  <a:pt x="3016" y="1421"/>
                  <a:pt x="3016" y="1421"/>
                </a:cubicBezTo>
                <a:cubicBezTo>
                  <a:pt x="3013" y="1421"/>
                  <a:pt x="3013" y="1421"/>
                  <a:pt x="3013" y="1421"/>
                </a:cubicBezTo>
                <a:cubicBezTo>
                  <a:pt x="3014" y="1420"/>
                  <a:pt x="3014" y="1420"/>
                  <a:pt x="3014" y="1420"/>
                </a:cubicBezTo>
                <a:cubicBezTo>
                  <a:pt x="3018" y="1420"/>
                  <a:pt x="3018" y="1420"/>
                  <a:pt x="3018" y="1420"/>
                </a:cubicBezTo>
                <a:cubicBezTo>
                  <a:pt x="3021" y="1417"/>
                  <a:pt x="3021" y="1417"/>
                  <a:pt x="3021" y="1417"/>
                </a:cubicBezTo>
                <a:cubicBezTo>
                  <a:pt x="3022" y="1415"/>
                  <a:pt x="3022" y="1415"/>
                  <a:pt x="3022" y="1415"/>
                </a:cubicBezTo>
                <a:cubicBezTo>
                  <a:pt x="3021" y="1414"/>
                  <a:pt x="3021" y="1414"/>
                  <a:pt x="3021" y="1414"/>
                </a:cubicBezTo>
                <a:cubicBezTo>
                  <a:pt x="3022" y="1412"/>
                  <a:pt x="3022" y="1412"/>
                  <a:pt x="3022" y="1412"/>
                </a:cubicBezTo>
                <a:cubicBezTo>
                  <a:pt x="3025" y="1409"/>
                  <a:pt x="3025" y="1409"/>
                  <a:pt x="3025" y="1409"/>
                </a:cubicBezTo>
                <a:cubicBezTo>
                  <a:pt x="3025" y="1407"/>
                  <a:pt x="3025" y="1407"/>
                  <a:pt x="3025" y="1407"/>
                </a:cubicBezTo>
                <a:cubicBezTo>
                  <a:pt x="3027" y="1406"/>
                  <a:pt x="3027" y="1406"/>
                  <a:pt x="3027" y="1406"/>
                </a:cubicBezTo>
                <a:cubicBezTo>
                  <a:pt x="3029" y="1402"/>
                  <a:pt x="3029" y="1402"/>
                  <a:pt x="3029" y="1402"/>
                </a:cubicBezTo>
                <a:cubicBezTo>
                  <a:pt x="3029" y="1400"/>
                  <a:pt x="3029" y="1400"/>
                  <a:pt x="3029" y="1400"/>
                </a:cubicBezTo>
                <a:cubicBezTo>
                  <a:pt x="3030" y="1397"/>
                  <a:pt x="3030" y="1397"/>
                  <a:pt x="3030" y="1397"/>
                </a:cubicBezTo>
                <a:cubicBezTo>
                  <a:pt x="3029" y="1396"/>
                  <a:pt x="3029" y="1396"/>
                  <a:pt x="3029" y="1396"/>
                </a:cubicBezTo>
                <a:cubicBezTo>
                  <a:pt x="3030" y="1395"/>
                  <a:pt x="3030" y="1395"/>
                  <a:pt x="3030" y="1395"/>
                </a:cubicBezTo>
                <a:cubicBezTo>
                  <a:pt x="3033" y="1388"/>
                  <a:pt x="3033" y="1388"/>
                  <a:pt x="3033" y="1388"/>
                </a:cubicBezTo>
                <a:cubicBezTo>
                  <a:pt x="3033" y="1385"/>
                  <a:pt x="3033" y="1385"/>
                  <a:pt x="3033" y="1385"/>
                </a:cubicBezTo>
                <a:cubicBezTo>
                  <a:pt x="3037" y="1378"/>
                  <a:pt x="3037" y="1378"/>
                  <a:pt x="3037" y="1378"/>
                </a:cubicBezTo>
                <a:cubicBezTo>
                  <a:pt x="3037" y="1376"/>
                  <a:pt x="3037" y="1376"/>
                  <a:pt x="3037" y="1376"/>
                </a:cubicBezTo>
                <a:cubicBezTo>
                  <a:pt x="3039" y="1371"/>
                  <a:pt x="3039" y="1371"/>
                  <a:pt x="3039" y="1371"/>
                </a:cubicBezTo>
                <a:cubicBezTo>
                  <a:pt x="3041" y="1369"/>
                  <a:pt x="3041" y="1369"/>
                  <a:pt x="3041" y="1369"/>
                </a:cubicBezTo>
                <a:cubicBezTo>
                  <a:pt x="3042" y="1366"/>
                  <a:pt x="3042" y="1366"/>
                  <a:pt x="3042" y="1366"/>
                </a:cubicBezTo>
                <a:cubicBezTo>
                  <a:pt x="3042" y="1363"/>
                  <a:pt x="3042" y="1363"/>
                  <a:pt x="3042" y="1363"/>
                </a:cubicBezTo>
                <a:cubicBezTo>
                  <a:pt x="3043" y="1361"/>
                  <a:pt x="3043" y="1361"/>
                  <a:pt x="3043" y="1361"/>
                </a:cubicBezTo>
                <a:lnTo>
                  <a:pt x="3042" y="1356"/>
                </a:lnTo>
                <a:close/>
                <a:moveTo>
                  <a:pt x="2891" y="1188"/>
                </a:moveTo>
                <a:cubicBezTo>
                  <a:pt x="2892" y="1188"/>
                  <a:pt x="2892" y="1188"/>
                  <a:pt x="2892" y="1188"/>
                </a:cubicBezTo>
                <a:cubicBezTo>
                  <a:pt x="2895" y="1188"/>
                  <a:pt x="2895" y="1188"/>
                  <a:pt x="2895" y="1188"/>
                </a:cubicBezTo>
                <a:cubicBezTo>
                  <a:pt x="2896" y="1187"/>
                  <a:pt x="2896" y="1187"/>
                  <a:pt x="2896" y="1187"/>
                </a:cubicBezTo>
                <a:cubicBezTo>
                  <a:pt x="2895" y="1186"/>
                  <a:pt x="2895" y="1186"/>
                  <a:pt x="2895" y="1186"/>
                </a:cubicBezTo>
                <a:cubicBezTo>
                  <a:pt x="2894" y="1187"/>
                  <a:pt x="2894" y="1187"/>
                  <a:pt x="2894" y="1187"/>
                </a:cubicBezTo>
                <a:cubicBezTo>
                  <a:pt x="2894" y="1186"/>
                  <a:pt x="2894" y="1186"/>
                  <a:pt x="2894" y="1186"/>
                </a:cubicBezTo>
                <a:cubicBezTo>
                  <a:pt x="2895" y="1184"/>
                  <a:pt x="2895" y="1184"/>
                  <a:pt x="2895" y="1184"/>
                </a:cubicBezTo>
                <a:cubicBezTo>
                  <a:pt x="2895" y="1184"/>
                  <a:pt x="2895" y="1184"/>
                  <a:pt x="2895" y="1184"/>
                </a:cubicBezTo>
                <a:cubicBezTo>
                  <a:pt x="2893" y="1185"/>
                  <a:pt x="2893" y="1185"/>
                  <a:pt x="2893" y="1185"/>
                </a:cubicBezTo>
                <a:cubicBezTo>
                  <a:pt x="2893" y="1183"/>
                  <a:pt x="2893" y="1183"/>
                  <a:pt x="2893" y="1183"/>
                </a:cubicBezTo>
                <a:cubicBezTo>
                  <a:pt x="2892" y="1183"/>
                  <a:pt x="2892" y="1183"/>
                  <a:pt x="2892" y="1183"/>
                </a:cubicBezTo>
                <a:cubicBezTo>
                  <a:pt x="2892" y="1184"/>
                  <a:pt x="2892" y="1184"/>
                  <a:pt x="2892" y="1184"/>
                </a:cubicBezTo>
                <a:cubicBezTo>
                  <a:pt x="2890" y="1184"/>
                  <a:pt x="2890" y="1184"/>
                  <a:pt x="2890" y="1184"/>
                </a:cubicBezTo>
                <a:cubicBezTo>
                  <a:pt x="2891" y="1185"/>
                  <a:pt x="2891" y="1185"/>
                  <a:pt x="2891" y="1185"/>
                </a:cubicBezTo>
                <a:cubicBezTo>
                  <a:pt x="2890" y="1185"/>
                  <a:pt x="2890" y="1185"/>
                  <a:pt x="2890" y="1185"/>
                </a:cubicBezTo>
                <a:cubicBezTo>
                  <a:pt x="2891" y="1188"/>
                  <a:pt x="2891" y="1188"/>
                  <a:pt x="2891" y="1188"/>
                </a:cubicBezTo>
                <a:cubicBezTo>
                  <a:pt x="2890" y="1188"/>
                  <a:pt x="2890" y="1188"/>
                  <a:pt x="2890" y="1188"/>
                </a:cubicBezTo>
                <a:lnTo>
                  <a:pt x="2891" y="1188"/>
                </a:lnTo>
                <a:close/>
                <a:moveTo>
                  <a:pt x="2936" y="1570"/>
                </a:moveTo>
                <a:cubicBezTo>
                  <a:pt x="2937" y="1570"/>
                  <a:pt x="2937" y="1570"/>
                  <a:pt x="2937" y="1570"/>
                </a:cubicBezTo>
                <a:cubicBezTo>
                  <a:pt x="2936" y="1569"/>
                  <a:pt x="2936" y="1569"/>
                  <a:pt x="2936" y="1569"/>
                </a:cubicBezTo>
                <a:lnTo>
                  <a:pt x="2936" y="1570"/>
                </a:lnTo>
                <a:close/>
                <a:moveTo>
                  <a:pt x="2683" y="1124"/>
                </a:moveTo>
                <a:cubicBezTo>
                  <a:pt x="2681" y="1121"/>
                  <a:pt x="2681" y="1121"/>
                  <a:pt x="2681" y="1121"/>
                </a:cubicBezTo>
                <a:cubicBezTo>
                  <a:pt x="2678" y="1121"/>
                  <a:pt x="2678" y="1121"/>
                  <a:pt x="2678" y="1121"/>
                </a:cubicBezTo>
                <a:cubicBezTo>
                  <a:pt x="2675" y="1122"/>
                  <a:pt x="2675" y="1122"/>
                  <a:pt x="2675" y="1122"/>
                </a:cubicBezTo>
                <a:cubicBezTo>
                  <a:pt x="2673" y="1121"/>
                  <a:pt x="2673" y="1121"/>
                  <a:pt x="2673" y="1121"/>
                </a:cubicBezTo>
                <a:cubicBezTo>
                  <a:pt x="2671" y="1122"/>
                  <a:pt x="2671" y="1122"/>
                  <a:pt x="2671" y="1122"/>
                </a:cubicBezTo>
                <a:cubicBezTo>
                  <a:pt x="2671" y="1123"/>
                  <a:pt x="2671" y="1123"/>
                  <a:pt x="2671" y="1123"/>
                </a:cubicBezTo>
                <a:cubicBezTo>
                  <a:pt x="2672" y="1125"/>
                  <a:pt x="2672" y="1125"/>
                  <a:pt x="2672" y="1125"/>
                </a:cubicBezTo>
                <a:cubicBezTo>
                  <a:pt x="2674" y="1125"/>
                  <a:pt x="2674" y="1125"/>
                  <a:pt x="2674" y="1125"/>
                </a:cubicBezTo>
                <a:cubicBezTo>
                  <a:pt x="2677" y="1127"/>
                  <a:pt x="2677" y="1127"/>
                  <a:pt x="2677" y="1127"/>
                </a:cubicBezTo>
                <a:cubicBezTo>
                  <a:pt x="2677" y="1128"/>
                  <a:pt x="2677" y="1128"/>
                  <a:pt x="2677" y="1128"/>
                </a:cubicBezTo>
                <a:cubicBezTo>
                  <a:pt x="2678" y="1127"/>
                  <a:pt x="2678" y="1127"/>
                  <a:pt x="2678" y="1127"/>
                </a:cubicBezTo>
                <a:cubicBezTo>
                  <a:pt x="2680" y="1126"/>
                  <a:pt x="2680" y="1126"/>
                  <a:pt x="2680" y="1126"/>
                </a:cubicBezTo>
                <a:cubicBezTo>
                  <a:pt x="2680" y="1125"/>
                  <a:pt x="2680" y="1125"/>
                  <a:pt x="2680" y="1125"/>
                </a:cubicBezTo>
                <a:cubicBezTo>
                  <a:pt x="2682" y="1125"/>
                  <a:pt x="2682" y="1125"/>
                  <a:pt x="2682" y="1125"/>
                </a:cubicBezTo>
                <a:lnTo>
                  <a:pt x="2683" y="1124"/>
                </a:lnTo>
                <a:close/>
                <a:moveTo>
                  <a:pt x="2624" y="1052"/>
                </a:moveTo>
                <a:cubicBezTo>
                  <a:pt x="2625" y="1052"/>
                  <a:pt x="2625" y="1052"/>
                  <a:pt x="2625" y="1052"/>
                </a:cubicBezTo>
                <a:cubicBezTo>
                  <a:pt x="2627" y="1050"/>
                  <a:pt x="2627" y="1050"/>
                  <a:pt x="2627" y="1050"/>
                </a:cubicBezTo>
                <a:cubicBezTo>
                  <a:pt x="2625" y="1048"/>
                  <a:pt x="2625" y="1048"/>
                  <a:pt x="2625" y="1048"/>
                </a:cubicBezTo>
                <a:cubicBezTo>
                  <a:pt x="2623" y="1048"/>
                  <a:pt x="2623" y="1048"/>
                  <a:pt x="2623" y="1048"/>
                </a:cubicBezTo>
                <a:cubicBezTo>
                  <a:pt x="2623" y="1048"/>
                  <a:pt x="2623" y="1050"/>
                  <a:pt x="2623" y="1050"/>
                </a:cubicBezTo>
                <a:cubicBezTo>
                  <a:pt x="2623" y="1051"/>
                  <a:pt x="2623" y="1051"/>
                  <a:pt x="2623" y="1051"/>
                </a:cubicBezTo>
                <a:lnTo>
                  <a:pt x="2624" y="1052"/>
                </a:lnTo>
                <a:close/>
                <a:moveTo>
                  <a:pt x="2616" y="1055"/>
                </a:moveTo>
                <a:cubicBezTo>
                  <a:pt x="2618" y="1056"/>
                  <a:pt x="2618" y="1056"/>
                  <a:pt x="2618" y="1056"/>
                </a:cubicBezTo>
                <a:cubicBezTo>
                  <a:pt x="2618" y="1055"/>
                  <a:pt x="2618" y="1055"/>
                  <a:pt x="2618" y="1055"/>
                </a:cubicBezTo>
                <a:cubicBezTo>
                  <a:pt x="2618" y="1054"/>
                  <a:pt x="2618" y="1054"/>
                  <a:pt x="2618" y="1054"/>
                </a:cubicBezTo>
                <a:cubicBezTo>
                  <a:pt x="2616" y="1054"/>
                  <a:pt x="2616" y="1054"/>
                  <a:pt x="2616" y="1054"/>
                </a:cubicBezTo>
                <a:lnTo>
                  <a:pt x="2616" y="1055"/>
                </a:lnTo>
                <a:close/>
                <a:moveTo>
                  <a:pt x="2622" y="1041"/>
                </a:moveTo>
                <a:cubicBezTo>
                  <a:pt x="2620" y="1041"/>
                  <a:pt x="2620" y="1041"/>
                  <a:pt x="2620" y="1041"/>
                </a:cubicBezTo>
                <a:cubicBezTo>
                  <a:pt x="2619" y="1041"/>
                  <a:pt x="2619" y="1041"/>
                  <a:pt x="2619" y="1041"/>
                </a:cubicBezTo>
                <a:cubicBezTo>
                  <a:pt x="2620" y="1042"/>
                  <a:pt x="2620" y="1042"/>
                  <a:pt x="2620" y="1042"/>
                </a:cubicBezTo>
                <a:cubicBezTo>
                  <a:pt x="2622" y="1043"/>
                  <a:pt x="2622" y="1043"/>
                  <a:pt x="2622" y="1043"/>
                </a:cubicBezTo>
                <a:cubicBezTo>
                  <a:pt x="2623" y="1042"/>
                  <a:pt x="2623" y="1042"/>
                  <a:pt x="2623" y="1042"/>
                </a:cubicBezTo>
                <a:lnTo>
                  <a:pt x="2622" y="1041"/>
                </a:lnTo>
                <a:close/>
                <a:moveTo>
                  <a:pt x="2681" y="1129"/>
                </a:moveTo>
                <a:cubicBezTo>
                  <a:pt x="2682" y="1128"/>
                  <a:pt x="2682" y="1128"/>
                  <a:pt x="2682" y="1128"/>
                </a:cubicBezTo>
                <a:cubicBezTo>
                  <a:pt x="2681" y="1127"/>
                  <a:pt x="2681" y="1127"/>
                  <a:pt x="2681" y="1127"/>
                </a:cubicBezTo>
                <a:cubicBezTo>
                  <a:pt x="2680" y="1128"/>
                  <a:pt x="2680" y="1128"/>
                  <a:pt x="2680" y="1128"/>
                </a:cubicBezTo>
                <a:lnTo>
                  <a:pt x="2681" y="1129"/>
                </a:lnTo>
                <a:close/>
                <a:moveTo>
                  <a:pt x="2680" y="1109"/>
                </a:moveTo>
                <a:cubicBezTo>
                  <a:pt x="2681" y="1109"/>
                  <a:pt x="2681" y="1109"/>
                  <a:pt x="2681" y="1109"/>
                </a:cubicBezTo>
                <a:cubicBezTo>
                  <a:pt x="2682" y="1109"/>
                  <a:pt x="2682" y="1109"/>
                  <a:pt x="2682" y="1109"/>
                </a:cubicBezTo>
                <a:cubicBezTo>
                  <a:pt x="2682" y="1109"/>
                  <a:pt x="2682" y="1109"/>
                  <a:pt x="2682" y="1109"/>
                </a:cubicBezTo>
                <a:cubicBezTo>
                  <a:pt x="2680" y="1108"/>
                  <a:pt x="2680" y="1108"/>
                  <a:pt x="2680" y="1108"/>
                </a:cubicBezTo>
                <a:cubicBezTo>
                  <a:pt x="2679" y="1108"/>
                  <a:pt x="2679" y="1108"/>
                  <a:pt x="2679" y="1108"/>
                </a:cubicBezTo>
                <a:cubicBezTo>
                  <a:pt x="2678" y="1109"/>
                  <a:pt x="2678" y="1109"/>
                  <a:pt x="2678" y="1109"/>
                </a:cubicBezTo>
                <a:cubicBezTo>
                  <a:pt x="2678" y="1109"/>
                  <a:pt x="2678" y="1109"/>
                  <a:pt x="2678" y="1109"/>
                </a:cubicBezTo>
                <a:cubicBezTo>
                  <a:pt x="2679" y="1111"/>
                  <a:pt x="2679" y="1111"/>
                  <a:pt x="2679" y="1111"/>
                </a:cubicBezTo>
                <a:lnTo>
                  <a:pt x="2680" y="1109"/>
                </a:lnTo>
                <a:close/>
                <a:moveTo>
                  <a:pt x="2663" y="1110"/>
                </a:moveTo>
                <a:cubicBezTo>
                  <a:pt x="2662" y="1109"/>
                  <a:pt x="2662" y="1109"/>
                  <a:pt x="2662" y="1109"/>
                </a:cubicBezTo>
                <a:cubicBezTo>
                  <a:pt x="2656" y="1109"/>
                  <a:pt x="2656" y="1109"/>
                  <a:pt x="2656" y="1109"/>
                </a:cubicBezTo>
                <a:cubicBezTo>
                  <a:pt x="2655" y="1108"/>
                  <a:pt x="2655" y="1108"/>
                  <a:pt x="2655" y="1108"/>
                </a:cubicBezTo>
                <a:cubicBezTo>
                  <a:pt x="2654" y="1110"/>
                  <a:pt x="2654" y="1110"/>
                  <a:pt x="2654" y="1110"/>
                </a:cubicBezTo>
                <a:cubicBezTo>
                  <a:pt x="2656" y="1112"/>
                  <a:pt x="2656" y="1112"/>
                  <a:pt x="2656" y="1112"/>
                </a:cubicBezTo>
                <a:cubicBezTo>
                  <a:pt x="2657" y="1113"/>
                  <a:pt x="2657" y="1113"/>
                  <a:pt x="2657" y="1113"/>
                </a:cubicBezTo>
                <a:cubicBezTo>
                  <a:pt x="2659" y="1112"/>
                  <a:pt x="2659" y="1112"/>
                  <a:pt x="2659" y="1112"/>
                </a:cubicBezTo>
                <a:cubicBezTo>
                  <a:pt x="2662" y="1112"/>
                  <a:pt x="2662" y="1112"/>
                  <a:pt x="2662" y="1112"/>
                </a:cubicBezTo>
                <a:cubicBezTo>
                  <a:pt x="2664" y="1111"/>
                  <a:pt x="2664" y="1111"/>
                  <a:pt x="2664" y="1111"/>
                </a:cubicBezTo>
                <a:cubicBezTo>
                  <a:pt x="2666" y="1111"/>
                  <a:pt x="2666" y="1111"/>
                  <a:pt x="2666" y="1111"/>
                </a:cubicBezTo>
                <a:cubicBezTo>
                  <a:pt x="2667" y="1110"/>
                  <a:pt x="2667" y="1110"/>
                  <a:pt x="2667" y="1110"/>
                </a:cubicBezTo>
                <a:cubicBezTo>
                  <a:pt x="2666" y="1109"/>
                  <a:pt x="2666" y="1109"/>
                  <a:pt x="2666" y="1109"/>
                </a:cubicBezTo>
                <a:lnTo>
                  <a:pt x="2663" y="1110"/>
                </a:lnTo>
                <a:close/>
                <a:moveTo>
                  <a:pt x="2625" y="1048"/>
                </a:moveTo>
                <a:cubicBezTo>
                  <a:pt x="2625" y="1047"/>
                  <a:pt x="2625" y="1047"/>
                  <a:pt x="2625" y="1047"/>
                </a:cubicBezTo>
                <a:cubicBezTo>
                  <a:pt x="2625" y="1047"/>
                  <a:pt x="2625" y="1047"/>
                  <a:pt x="2625" y="1047"/>
                </a:cubicBezTo>
                <a:cubicBezTo>
                  <a:pt x="2623" y="1046"/>
                  <a:pt x="2623" y="1046"/>
                  <a:pt x="2623" y="1046"/>
                </a:cubicBezTo>
                <a:cubicBezTo>
                  <a:pt x="2621" y="1045"/>
                  <a:pt x="2621" y="1045"/>
                  <a:pt x="2621" y="1045"/>
                </a:cubicBezTo>
                <a:cubicBezTo>
                  <a:pt x="2621" y="1046"/>
                  <a:pt x="2621" y="1046"/>
                  <a:pt x="2621" y="1046"/>
                </a:cubicBezTo>
                <a:cubicBezTo>
                  <a:pt x="2622" y="1048"/>
                  <a:pt x="2622" y="1048"/>
                  <a:pt x="2622" y="1048"/>
                </a:cubicBezTo>
                <a:cubicBezTo>
                  <a:pt x="2623" y="1048"/>
                  <a:pt x="2623" y="1048"/>
                  <a:pt x="2623" y="1048"/>
                </a:cubicBezTo>
                <a:lnTo>
                  <a:pt x="2625" y="1048"/>
                </a:lnTo>
                <a:close/>
                <a:moveTo>
                  <a:pt x="2864" y="1456"/>
                </a:moveTo>
                <a:cubicBezTo>
                  <a:pt x="2862" y="1456"/>
                  <a:pt x="2862" y="1456"/>
                  <a:pt x="2862" y="1456"/>
                </a:cubicBezTo>
                <a:cubicBezTo>
                  <a:pt x="2863" y="1455"/>
                  <a:pt x="2863" y="1455"/>
                  <a:pt x="2863" y="1455"/>
                </a:cubicBezTo>
                <a:cubicBezTo>
                  <a:pt x="2862" y="1455"/>
                  <a:pt x="2862" y="1455"/>
                  <a:pt x="2862" y="1455"/>
                </a:cubicBezTo>
                <a:cubicBezTo>
                  <a:pt x="2861" y="1454"/>
                  <a:pt x="2861" y="1454"/>
                  <a:pt x="2861" y="1454"/>
                </a:cubicBezTo>
                <a:cubicBezTo>
                  <a:pt x="2862" y="1453"/>
                  <a:pt x="2862" y="1453"/>
                  <a:pt x="2862" y="1453"/>
                </a:cubicBezTo>
                <a:cubicBezTo>
                  <a:pt x="2860" y="1453"/>
                  <a:pt x="2860" y="1453"/>
                  <a:pt x="2860" y="1453"/>
                </a:cubicBezTo>
                <a:cubicBezTo>
                  <a:pt x="2858" y="1453"/>
                  <a:pt x="2858" y="1453"/>
                  <a:pt x="2858" y="1453"/>
                </a:cubicBezTo>
                <a:cubicBezTo>
                  <a:pt x="2853" y="1454"/>
                  <a:pt x="2853" y="1454"/>
                  <a:pt x="2853" y="1454"/>
                </a:cubicBezTo>
                <a:cubicBezTo>
                  <a:pt x="2850" y="1456"/>
                  <a:pt x="2850" y="1456"/>
                  <a:pt x="2850" y="1456"/>
                </a:cubicBezTo>
                <a:cubicBezTo>
                  <a:pt x="2850" y="1457"/>
                  <a:pt x="2850" y="1457"/>
                  <a:pt x="2850" y="1457"/>
                </a:cubicBezTo>
                <a:cubicBezTo>
                  <a:pt x="2852" y="1458"/>
                  <a:pt x="2852" y="1458"/>
                  <a:pt x="2852" y="1458"/>
                </a:cubicBezTo>
                <a:cubicBezTo>
                  <a:pt x="2854" y="1458"/>
                  <a:pt x="2854" y="1458"/>
                  <a:pt x="2854" y="1458"/>
                </a:cubicBezTo>
                <a:cubicBezTo>
                  <a:pt x="2855" y="1458"/>
                  <a:pt x="2855" y="1458"/>
                  <a:pt x="2855" y="1458"/>
                </a:cubicBezTo>
                <a:cubicBezTo>
                  <a:pt x="2857" y="1458"/>
                  <a:pt x="2857" y="1458"/>
                  <a:pt x="2857" y="1458"/>
                </a:cubicBezTo>
                <a:cubicBezTo>
                  <a:pt x="2858" y="1458"/>
                  <a:pt x="2858" y="1458"/>
                  <a:pt x="2858" y="1458"/>
                </a:cubicBezTo>
                <a:cubicBezTo>
                  <a:pt x="2859" y="1459"/>
                  <a:pt x="2859" y="1459"/>
                  <a:pt x="2859" y="1459"/>
                </a:cubicBezTo>
                <a:cubicBezTo>
                  <a:pt x="2860" y="1459"/>
                  <a:pt x="2860" y="1459"/>
                  <a:pt x="2860" y="1459"/>
                </a:cubicBezTo>
                <a:cubicBezTo>
                  <a:pt x="2860" y="1458"/>
                  <a:pt x="2860" y="1458"/>
                  <a:pt x="2860" y="1458"/>
                </a:cubicBezTo>
                <a:cubicBezTo>
                  <a:pt x="2861" y="1458"/>
                  <a:pt x="2861" y="1458"/>
                  <a:pt x="2861" y="1458"/>
                </a:cubicBezTo>
                <a:cubicBezTo>
                  <a:pt x="2862" y="1457"/>
                  <a:pt x="2862" y="1457"/>
                  <a:pt x="2862" y="1457"/>
                </a:cubicBezTo>
                <a:cubicBezTo>
                  <a:pt x="2865" y="1457"/>
                  <a:pt x="2865" y="1457"/>
                  <a:pt x="2865" y="1457"/>
                </a:cubicBezTo>
                <a:cubicBezTo>
                  <a:pt x="2866" y="1456"/>
                  <a:pt x="2866" y="1456"/>
                  <a:pt x="2866" y="1456"/>
                </a:cubicBezTo>
                <a:cubicBezTo>
                  <a:pt x="2865" y="1456"/>
                  <a:pt x="2865" y="1456"/>
                  <a:pt x="2865" y="1456"/>
                </a:cubicBezTo>
                <a:lnTo>
                  <a:pt x="2864" y="1456"/>
                </a:lnTo>
                <a:close/>
                <a:moveTo>
                  <a:pt x="2910" y="1524"/>
                </a:moveTo>
                <a:cubicBezTo>
                  <a:pt x="2911" y="1522"/>
                  <a:pt x="2911" y="1522"/>
                  <a:pt x="2911" y="1522"/>
                </a:cubicBezTo>
                <a:cubicBezTo>
                  <a:pt x="2911" y="1520"/>
                  <a:pt x="2911" y="1520"/>
                  <a:pt x="2911" y="1520"/>
                </a:cubicBezTo>
                <a:cubicBezTo>
                  <a:pt x="2911" y="1517"/>
                  <a:pt x="2911" y="1517"/>
                  <a:pt x="2911" y="1517"/>
                </a:cubicBezTo>
                <a:cubicBezTo>
                  <a:pt x="2910" y="1516"/>
                  <a:pt x="2910" y="1516"/>
                  <a:pt x="2910" y="1516"/>
                </a:cubicBezTo>
                <a:cubicBezTo>
                  <a:pt x="2909" y="1517"/>
                  <a:pt x="2909" y="1517"/>
                  <a:pt x="2909" y="1517"/>
                </a:cubicBezTo>
                <a:cubicBezTo>
                  <a:pt x="2907" y="1519"/>
                  <a:pt x="2907" y="1519"/>
                  <a:pt x="2907" y="1519"/>
                </a:cubicBezTo>
                <a:cubicBezTo>
                  <a:pt x="2908" y="1521"/>
                  <a:pt x="2908" y="1521"/>
                  <a:pt x="2908" y="1521"/>
                </a:cubicBezTo>
                <a:cubicBezTo>
                  <a:pt x="2906" y="1523"/>
                  <a:pt x="2906" y="1523"/>
                  <a:pt x="2906" y="1523"/>
                </a:cubicBezTo>
                <a:cubicBezTo>
                  <a:pt x="2907" y="1524"/>
                  <a:pt x="2907" y="1524"/>
                  <a:pt x="2907" y="1524"/>
                </a:cubicBezTo>
                <a:cubicBezTo>
                  <a:pt x="2906" y="1526"/>
                  <a:pt x="2906" y="1526"/>
                  <a:pt x="2906" y="1526"/>
                </a:cubicBezTo>
                <a:cubicBezTo>
                  <a:pt x="2908" y="1526"/>
                  <a:pt x="2908" y="1526"/>
                  <a:pt x="2908" y="1526"/>
                </a:cubicBezTo>
                <a:cubicBezTo>
                  <a:pt x="2909" y="1525"/>
                  <a:pt x="2909" y="1525"/>
                  <a:pt x="2909" y="1525"/>
                </a:cubicBezTo>
                <a:lnTo>
                  <a:pt x="2910" y="1524"/>
                </a:lnTo>
                <a:close/>
                <a:moveTo>
                  <a:pt x="2924" y="1578"/>
                </a:moveTo>
                <a:cubicBezTo>
                  <a:pt x="2924" y="1579"/>
                  <a:pt x="2924" y="1579"/>
                  <a:pt x="2924" y="1579"/>
                </a:cubicBezTo>
                <a:cubicBezTo>
                  <a:pt x="2923" y="1582"/>
                  <a:pt x="2923" y="1582"/>
                  <a:pt x="2923" y="1582"/>
                </a:cubicBezTo>
                <a:cubicBezTo>
                  <a:pt x="2924" y="1582"/>
                  <a:pt x="2924" y="1582"/>
                  <a:pt x="2924" y="1582"/>
                </a:cubicBezTo>
                <a:cubicBezTo>
                  <a:pt x="2925" y="1579"/>
                  <a:pt x="2925" y="1579"/>
                  <a:pt x="2925" y="1579"/>
                </a:cubicBezTo>
                <a:cubicBezTo>
                  <a:pt x="2926" y="1578"/>
                  <a:pt x="2926" y="1578"/>
                  <a:pt x="2926" y="1578"/>
                </a:cubicBezTo>
                <a:cubicBezTo>
                  <a:pt x="2925" y="1577"/>
                  <a:pt x="2925" y="1577"/>
                  <a:pt x="2925" y="1577"/>
                </a:cubicBezTo>
                <a:lnTo>
                  <a:pt x="2924" y="1578"/>
                </a:lnTo>
                <a:close/>
                <a:moveTo>
                  <a:pt x="2636" y="1317"/>
                </a:moveTo>
                <a:cubicBezTo>
                  <a:pt x="2637" y="1321"/>
                  <a:pt x="2637" y="1321"/>
                  <a:pt x="2637" y="1321"/>
                </a:cubicBezTo>
                <a:cubicBezTo>
                  <a:pt x="2638" y="1318"/>
                  <a:pt x="2638" y="1318"/>
                  <a:pt x="2638" y="1318"/>
                </a:cubicBezTo>
                <a:cubicBezTo>
                  <a:pt x="2637" y="1315"/>
                  <a:pt x="2637" y="1315"/>
                  <a:pt x="2637" y="1315"/>
                </a:cubicBezTo>
                <a:lnTo>
                  <a:pt x="2636" y="1317"/>
                </a:lnTo>
                <a:close/>
                <a:moveTo>
                  <a:pt x="2638" y="1312"/>
                </a:moveTo>
                <a:cubicBezTo>
                  <a:pt x="2638" y="1309"/>
                  <a:pt x="2638" y="1309"/>
                  <a:pt x="2638" y="1309"/>
                </a:cubicBezTo>
                <a:cubicBezTo>
                  <a:pt x="2637" y="1313"/>
                  <a:pt x="2637" y="1313"/>
                  <a:pt x="2637" y="1313"/>
                </a:cubicBezTo>
                <a:cubicBezTo>
                  <a:pt x="2637" y="1313"/>
                  <a:pt x="2638" y="1312"/>
                  <a:pt x="2638" y="1312"/>
                </a:cubicBezTo>
                <a:close/>
                <a:moveTo>
                  <a:pt x="2668" y="1261"/>
                </a:moveTo>
                <a:cubicBezTo>
                  <a:pt x="2669" y="1260"/>
                  <a:pt x="2669" y="1260"/>
                  <a:pt x="2669" y="1260"/>
                </a:cubicBezTo>
                <a:cubicBezTo>
                  <a:pt x="2669" y="1257"/>
                  <a:pt x="2669" y="1257"/>
                  <a:pt x="2669" y="1257"/>
                </a:cubicBezTo>
                <a:cubicBezTo>
                  <a:pt x="2667" y="1260"/>
                  <a:pt x="2667" y="1260"/>
                  <a:pt x="2667" y="1260"/>
                </a:cubicBezTo>
                <a:lnTo>
                  <a:pt x="2668" y="1261"/>
                </a:lnTo>
                <a:close/>
                <a:moveTo>
                  <a:pt x="2783" y="633"/>
                </a:moveTo>
                <a:cubicBezTo>
                  <a:pt x="2782" y="633"/>
                  <a:pt x="2782" y="633"/>
                  <a:pt x="2782" y="633"/>
                </a:cubicBezTo>
                <a:cubicBezTo>
                  <a:pt x="2781" y="635"/>
                  <a:pt x="2781" y="635"/>
                  <a:pt x="2781" y="635"/>
                </a:cubicBezTo>
                <a:cubicBezTo>
                  <a:pt x="2781" y="636"/>
                  <a:pt x="2781" y="636"/>
                  <a:pt x="2781" y="636"/>
                </a:cubicBezTo>
                <a:cubicBezTo>
                  <a:pt x="2782" y="638"/>
                  <a:pt x="2782" y="638"/>
                  <a:pt x="2782" y="638"/>
                </a:cubicBezTo>
                <a:cubicBezTo>
                  <a:pt x="2783" y="637"/>
                  <a:pt x="2783" y="637"/>
                  <a:pt x="2783" y="637"/>
                </a:cubicBezTo>
                <a:cubicBezTo>
                  <a:pt x="2784" y="635"/>
                  <a:pt x="2784" y="635"/>
                  <a:pt x="2784" y="635"/>
                </a:cubicBezTo>
                <a:cubicBezTo>
                  <a:pt x="2783" y="634"/>
                  <a:pt x="2783" y="634"/>
                  <a:pt x="2783" y="634"/>
                </a:cubicBezTo>
                <a:lnTo>
                  <a:pt x="2783" y="633"/>
                </a:lnTo>
                <a:close/>
                <a:moveTo>
                  <a:pt x="824" y="1635"/>
                </a:moveTo>
                <a:cubicBezTo>
                  <a:pt x="825" y="1634"/>
                  <a:pt x="825" y="1634"/>
                  <a:pt x="825" y="1634"/>
                </a:cubicBezTo>
                <a:cubicBezTo>
                  <a:pt x="826" y="1634"/>
                  <a:pt x="826" y="1634"/>
                  <a:pt x="826" y="1634"/>
                </a:cubicBezTo>
                <a:cubicBezTo>
                  <a:pt x="826" y="1633"/>
                  <a:pt x="826" y="1633"/>
                  <a:pt x="826" y="1633"/>
                </a:cubicBezTo>
                <a:cubicBezTo>
                  <a:pt x="823" y="1631"/>
                  <a:pt x="823" y="1631"/>
                  <a:pt x="823" y="1631"/>
                </a:cubicBezTo>
                <a:cubicBezTo>
                  <a:pt x="822" y="1631"/>
                  <a:pt x="822" y="1631"/>
                  <a:pt x="822" y="1631"/>
                </a:cubicBezTo>
                <a:cubicBezTo>
                  <a:pt x="821" y="1630"/>
                  <a:pt x="821" y="1630"/>
                  <a:pt x="821" y="1630"/>
                </a:cubicBezTo>
                <a:cubicBezTo>
                  <a:pt x="820" y="1630"/>
                  <a:pt x="820" y="1630"/>
                  <a:pt x="820" y="1630"/>
                </a:cubicBezTo>
                <a:cubicBezTo>
                  <a:pt x="821" y="1632"/>
                  <a:pt x="821" y="1632"/>
                  <a:pt x="821" y="1632"/>
                </a:cubicBezTo>
                <a:cubicBezTo>
                  <a:pt x="820" y="1634"/>
                  <a:pt x="820" y="1634"/>
                  <a:pt x="820" y="1634"/>
                </a:cubicBezTo>
                <a:cubicBezTo>
                  <a:pt x="819" y="1635"/>
                  <a:pt x="819" y="1635"/>
                  <a:pt x="819" y="1635"/>
                </a:cubicBezTo>
                <a:cubicBezTo>
                  <a:pt x="820" y="1635"/>
                  <a:pt x="820" y="1635"/>
                  <a:pt x="820" y="1635"/>
                </a:cubicBezTo>
                <a:cubicBezTo>
                  <a:pt x="822" y="1635"/>
                  <a:pt x="822" y="1635"/>
                  <a:pt x="822" y="1635"/>
                </a:cubicBezTo>
                <a:lnTo>
                  <a:pt x="824" y="1635"/>
                </a:lnTo>
                <a:close/>
                <a:moveTo>
                  <a:pt x="820" y="1625"/>
                </a:moveTo>
                <a:cubicBezTo>
                  <a:pt x="820" y="1624"/>
                  <a:pt x="820" y="1624"/>
                  <a:pt x="820" y="1624"/>
                </a:cubicBezTo>
                <a:cubicBezTo>
                  <a:pt x="819" y="1623"/>
                  <a:pt x="819" y="1623"/>
                  <a:pt x="819" y="1623"/>
                </a:cubicBezTo>
                <a:cubicBezTo>
                  <a:pt x="818" y="1624"/>
                  <a:pt x="818" y="1624"/>
                  <a:pt x="818" y="1624"/>
                </a:cubicBezTo>
                <a:cubicBezTo>
                  <a:pt x="819" y="1626"/>
                  <a:pt x="819" y="1626"/>
                  <a:pt x="819" y="1626"/>
                </a:cubicBezTo>
                <a:lnTo>
                  <a:pt x="820" y="1625"/>
                </a:lnTo>
                <a:close/>
                <a:moveTo>
                  <a:pt x="823" y="1638"/>
                </a:moveTo>
                <a:cubicBezTo>
                  <a:pt x="823" y="1639"/>
                  <a:pt x="823" y="1639"/>
                  <a:pt x="823" y="1639"/>
                </a:cubicBezTo>
                <a:cubicBezTo>
                  <a:pt x="823" y="1639"/>
                  <a:pt x="823" y="1639"/>
                  <a:pt x="823" y="1639"/>
                </a:cubicBezTo>
                <a:cubicBezTo>
                  <a:pt x="823" y="1640"/>
                  <a:pt x="823" y="1640"/>
                  <a:pt x="823" y="1640"/>
                </a:cubicBezTo>
                <a:cubicBezTo>
                  <a:pt x="822" y="1641"/>
                  <a:pt x="822" y="1641"/>
                  <a:pt x="822" y="1641"/>
                </a:cubicBezTo>
                <a:cubicBezTo>
                  <a:pt x="823" y="1642"/>
                  <a:pt x="823" y="1642"/>
                  <a:pt x="823" y="1642"/>
                </a:cubicBezTo>
                <a:cubicBezTo>
                  <a:pt x="824" y="1643"/>
                  <a:pt x="824" y="1643"/>
                  <a:pt x="824" y="1643"/>
                </a:cubicBezTo>
                <a:cubicBezTo>
                  <a:pt x="825" y="1643"/>
                  <a:pt x="825" y="1643"/>
                  <a:pt x="825" y="1643"/>
                </a:cubicBezTo>
                <a:cubicBezTo>
                  <a:pt x="824" y="1642"/>
                  <a:pt x="824" y="1642"/>
                  <a:pt x="824" y="1642"/>
                </a:cubicBezTo>
                <a:cubicBezTo>
                  <a:pt x="825" y="1641"/>
                  <a:pt x="825" y="1641"/>
                  <a:pt x="825" y="1641"/>
                </a:cubicBezTo>
                <a:cubicBezTo>
                  <a:pt x="825" y="1639"/>
                  <a:pt x="825" y="1639"/>
                  <a:pt x="825" y="1639"/>
                </a:cubicBezTo>
                <a:cubicBezTo>
                  <a:pt x="824" y="1638"/>
                  <a:pt x="824" y="1638"/>
                  <a:pt x="824" y="1638"/>
                </a:cubicBezTo>
                <a:lnTo>
                  <a:pt x="823" y="1638"/>
                </a:lnTo>
                <a:close/>
                <a:moveTo>
                  <a:pt x="828" y="1642"/>
                </a:moveTo>
                <a:cubicBezTo>
                  <a:pt x="828" y="1641"/>
                  <a:pt x="828" y="1641"/>
                  <a:pt x="828" y="1641"/>
                </a:cubicBezTo>
                <a:cubicBezTo>
                  <a:pt x="827" y="1640"/>
                  <a:pt x="827" y="1640"/>
                  <a:pt x="827" y="1640"/>
                </a:cubicBezTo>
                <a:cubicBezTo>
                  <a:pt x="826" y="1639"/>
                  <a:pt x="826" y="1639"/>
                  <a:pt x="826" y="1639"/>
                </a:cubicBezTo>
                <a:cubicBezTo>
                  <a:pt x="826" y="1639"/>
                  <a:pt x="826" y="1639"/>
                  <a:pt x="826" y="1639"/>
                </a:cubicBezTo>
                <a:cubicBezTo>
                  <a:pt x="825" y="1640"/>
                  <a:pt x="825" y="1640"/>
                  <a:pt x="825" y="1640"/>
                </a:cubicBezTo>
                <a:cubicBezTo>
                  <a:pt x="826" y="1642"/>
                  <a:pt x="826" y="1642"/>
                  <a:pt x="826" y="1642"/>
                </a:cubicBezTo>
                <a:cubicBezTo>
                  <a:pt x="826" y="1642"/>
                  <a:pt x="826" y="1642"/>
                  <a:pt x="826" y="1642"/>
                </a:cubicBezTo>
                <a:cubicBezTo>
                  <a:pt x="826" y="1643"/>
                  <a:pt x="826" y="1643"/>
                  <a:pt x="826" y="1643"/>
                </a:cubicBezTo>
                <a:cubicBezTo>
                  <a:pt x="827" y="1643"/>
                  <a:pt x="827" y="1643"/>
                  <a:pt x="827" y="1643"/>
                </a:cubicBezTo>
                <a:lnTo>
                  <a:pt x="828" y="1642"/>
                </a:lnTo>
                <a:close/>
                <a:moveTo>
                  <a:pt x="827" y="1645"/>
                </a:moveTo>
                <a:cubicBezTo>
                  <a:pt x="827" y="1647"/>
                  <a:pt x="827" y="1647"/>
                  <a:pt x="827" y="1647"/>
                </a:cubicBezTo>
                <a:cubicBezTo>
                  <a:pt x="827" y="1648"/>
                  <a:pt x="827" y="1648"/>
                  <a:pt x="827" y="1648"/>
                </a:cubicBezTo>
                <a:cubicBezTo>
                  <a:pt x="827" y="1648"/>
                  <a:pt x="827" y="1648"/>
                  <a:pt x="827" y="1648"/>
                </a:cubicBezTo>
                <a:cubicBezTo>
                  <a:pt x="828" y="1648"/>
                  <a:pt x="828" y="1648"/>
                  <a:pt x="828" y="1648"/>
                </a:cubicBezTo>
                <a:cubicBezTo>
                  <a:pt x="829" y="1645"/>
                  <a:pt x="829" y="1645"/>
                  <a:pt x="829" y="1645"/>
                </a:cubicBezTo>
                <a:cubicBezTo>
                  <a:pt x="828" y="1644"/>
                  <a:pt x="828" y="1644"/>
                  <a:pt x="828" y="1644"/>
                </a:cubicBezTo>
                <a:lnTo>
                  <a:pt x="827" y="1645"/>
                </a:lnTo>
                <a:close/>
                <a:moveTo>
                  <a:pt x="821" y="1625"/>
                </a:moveTo>
                <a:cubicBezTo>
                  <a:pt x="820" y="1625"/>
                  <a:pt x="820" y="1625"/>
                  <a:pt x="820" y="1625"/>
                </a:cubicBezTo>
                <a:cubicBezTo>
                  <a:pt x="821" y="1628"/>
                  <a:pt x="821" y="1628"/>
                  <a:pt x="821" y="1628"/>
                </a:cubicBezTo>
                <a:cubicBezTo>
                  <a:pt x="823" y="1630"/>
                  <a:pt x="823" y="1630"/>
                  <a:pt x="823" y="1630"/>
                </a:cubicBezTo>
                <a:cubicBezTo>
                  <a:pt x="825" y="1630"/>
                  <a:pt x="825" y="1630"/>
                  <a:pt x="825" y="1630"/>
                </a:cubicBezTo>
                <a:cubicBezTo>
                  <a:pt x="826" y="1629"/>
                  <a:pt x="826" y="1629"/>
                  <a:pt x="826" y="1629"/>
                </a:cubicBezTo>
                <a:cubicBezTo>
                  <a:pt x="824" y="1626"/>
                  <a:pt x="824" y="1626"/>
                  <a:pt x="824" y="1626"/>
                </a:cubicBezTo>
                <a:lnTo>
                  <a:pt x="821" y="1625"/>
                </a:lnTo>
                <a:close/>
                <a:moveTo>
                  <a:pt x="819" y="1616"/>
                </a:moveTo>
                <a:cubicBezTo>
                  <a:pt x="817" y="1616"/>
                  <a:pt x="817" y="1616"/>
                  <a:pt x="817" y="1616"/>
                </a:cubicBezTo>
                <a:cubicBezTo>
                  <a:pt x="816" y="1616"/>
                  <a:pt x="816" y="1616"/>
                  <a:pt x="816" y="1616"/>
                </a:cubicBezTo>
                <a:cubicBezTo>
                  <a:pt x="815" y="1616"/>
                  <a:pt x="815" y="1616"/>
                  <a:pt x="815" y="1616"/>
                </a:cubicBezTo>
                <a:cubicBezTo>
                  <a:pt x="815" y="1617"/>
                  <a:pt x="815" y="1617"/>
                  <a:pt x="815" y="1617"/>
                </a:cubicBezTo>
                <a:cubicBezTo>
                  <a:pt x="815" y="1618"/>
                  <a:pt x="815" y="1618"/>
                  <a:pt x="815" y="1618"/>
                </a:cubicBezTo>
                <a:cubicBezTo>
                  <a:pt x="816" y="1619"/>
                  <a:pt x="816" y="1619"/>
                  <a:pt x="816" y="1619"/>
                </a:cubicBezTo>
                <a:cubicBezTo>
                  <a:pt x="816" y="1621"/>
                  <a:pt x="816" y="1621"/>
                  <a:pt x="816" y="1621"/>
                </a:cubicBezTo>
                <a:cubicBezTo>
                  <a:pt x="817" y="1621"/>
                  <a:pt x="817" y="1621"/>
                  <a:pt x="817" y="1621"/>
                </a:cubicBezTo>
                <a:cubicBezTo>
                  <a:pt x="818" y="1620"/>
                  <a:pt x="818" y="1620"/>
                  <a:pt x="818" y="1620"/>
                </a:cubicBezTo>
                <a:cubicBezTo>
                  <a:pt x="818" y="1618"/>
                  <a:pt x="818" y="1618"/>
                  <a:pt x="818" y="1618"/>
                </a:cubicBezTo>
                <a:lnTo>
                  <a:pt x="819" y="1616"/>
                </a:lnTo>
                <a:close/>
                <a:moveTo>
                  <a:pt x="815" y="1624"/>
                </a:moveTo>
                <a:cubicBezTo>
                  <a:pt x="816" y="1623"/>
                  <a:pt x="816" y="1623"/>
                  <a:pt x="816" y="1623"/>
                </a:cubicBezTo>
                <a:cubicBezTo>
                  <a:pt x="817" y="1622"/>
                  <a:pt x="817" y="1622"/>
                  <a:pt x="817" y="1622"/>
                </a:cubicBezTo>
                <a:cubicBezTo>
                  <a:pt x="815" y="1622"/>
                  <a:pt x="815" y="1622"/>
                  <a:pt x="815" y="1622"/>
                </a:cubicBezTo>
                <a:lnTo>
                  <a:pt x="815" y="1624"/>
                </a:lnTo>
                <a:close/>
                <a:moveTo>
                  <a:pt x="831" y="1643"/>
                </a:moveTo>
                <a:cubicBezTo>
                  <a:pt x="831" y="1642"/>
                  <a:pt x="831" y="1642"/>
                  <a:pt x="831" y="1642"/>
                </a:cubicBezTo>
                <a:cubicBezTo>
                  <a:pt x="829" y="1641"/>
                  <a:pt x="829" y="1641"/>
                  <a:pt x="829" y="1641"/>
                </a:cubicBezTo>
                <a:cubicBezTo>
                  <a:pt x="829" y="1642"/>
                  <a:pt x="829" y="1642"/>
                  <a:pt x="829" y="1642"/>
                </a:cubicBezTo>
                <a:cubicBezTo>
                  <a:pt x="831" y="1643"/>
                  <a:pt x="831" y="1643"/>
                  <a:pt x="831" y="1643"/>
                </a:cubicBezTo>
                <a:close/>
                <a:moveTo>
                  <a:pt x="832" y="1639"/>
                </a:moveTo>
                <a:cubicBezTo>
                  <a:pt x="831" y="1637"/>
                  <a:pt x="831" y="1637"/>
                  <a:pt x="831" y="1637"/>
                </a:cubicBezTo>
                <a:cubicBezTo>
                  <a:pt x="830" y="1637"/>
                  <a:pt x="830" y="1637"/>
                  <a:pt x="830" y="1637"/>
                </a:cubicBezTo>
                <a:cubicBezTo>
                  <a:pt x="830" y="1640"/>
                  <a:pt x="830" y="1640"/>
                  <a:pt x="830" y="1640"/>
                </a:cubicBezTo>
                <a:cubicBezTo>
                  <a:pt x="831" y="1641"/>
                  <a:pt x="831" y="1641"/>
                  <a:pt x="831" y="1641"/>
                </a:cubicBezTo>
                <a:cubicBezTo>
                  <a:pt x="834" y="1643"/>
                  <a:pt x="834" y="1643"/>
                  <a:pt x="834" y="1643"/>
                </a:cubicBezTo>
                <a:cubicBezTo>
                  <a:pt x="834" y="1642"/>
                  <a:pt x="834" y="1642"/>
                  <a:pt x="834" y="1642"/>
                </a:cubicBezTo>
                <a:cubicBezTo>
                  <a:pt x="834" y="1641"/>
                  <a:pt x="834" y="1641"/>
                  <a:pt x="834" y="1641"/>
                </a:cubicBezTo>
                <a:lnTo>
                  <a:pt x="832" y="1639"/>
                </a:lnTo>
                <a:close/>
                <a:moveTo>
                  <a:pt x="849" y="1674"/>
                </a:moveTo>
                <a:cubicBezTo>
                  <a:pt x="850" y="1674"/>
                  <a:pt x="850" y="1674"/>
                  <a:pt x="850" y="1674"/>
                </a:cubicBezTo>
                <a:cubicBezTo>
                  <a:pt x="851" y="1675"/>
                  <a:pt x="851" y="1675"/>
                  <a:pt x="851" y="1675"/>
                </a:cubicBezTo>
                <a:cubicBezTo>
                  <a:pt x="852" y="1674"/>
                  <a:pt x="852" y="1674"/>
                  <a:pt x="852" y="1674"/>
                </a:cubicBezTo>
                <a:cubicBezTo>
                  <a:pt x="851" y="1673"/>
                  <a:pt x="851" y="1673"/>
                  <a:pt x="851" y="1673"/>
                </a:cubicBezTo>
                <a:lnTo>
                  <a:pt x="849" y="1674"/>
                </a:lnTo>
                <a:close/>
                <a:moveTo>
                  <a:pt x="844" y="1665"/>
                </a:moveTo>
                <a:cubicBezTo>
                  <a:pt x="846" y="1665"/>
                  <a:pt x="846" y="1665"/>
                  <a:pt x="846" y="1665"/>
                </a:cubicBezTo>
                <a:cubicBezTo>
                  <a:pt x="847" y="1664"/>
                  <a:pt x="847" y="1664"/>
                  <a:pt x="847" y="1664"/>
                </a:cubicBezTo>
                <a:cubicBezTo>
                  <a:pt x="846" y="1664"/>
                  <a:pt x="846" y="1664"/>
                  <a:pt x="846" y="1664"/>
                </a:cubicBezTo>
                <a:cubicBezTo>
                  <a:pt x="845" y="1664"/>
                  <a:pt x="845" y="1664"/>
                  <a:pt x="845" y="1664"/>
                </a:cubicBezTo>
                <a:cubicBezTo>
                  <a:pt x="843" y="1662"/>
                  <a:pt x="843" y="1662"/>
                  <a:pt x="843" y="1662"/>
                </a:cubicBezTo>
                <a:cubicBezTo>
                  <a:pt x="842" y="1661"/>
                  <a:pt x="842" y="1661"/>
                  <a:pt x="842" y="1661"/>
                </a:cubicBezTo>
                <a:cubicBezTo>
                  <a:pt x="840" y="1661"/>
                  <a:pt x="840" y="1661"/>
                  <a:pt x="840" y="1661"/>
                </a:cubicBezTo>
                <a:cubicBezTo>
                  <a:pt x="839" y="1660"/>
                  <a:pt x="839" y="1660"/>
                  <a:pt x="839" y="1660"/>
                </a:cubicBezTo>
                <a:cubicBezTo>
                  <a:pt x="837" y="1660"/>
                  <a:pt x="837" y="1660"/>
                  <a:pt x="837" y="1660"/>
                </a:cubicBezTo>
                <a:cubicBezTo>
                  <a:pt x="835" y="1660"/>
                  <a:pt x="835" y="1660"/>
                  <a:pt x="835" y="1660"/>
                </a:cubicBezTo>
                <a:cubicBezTo>
                  <a:pt x="834" y="1659"/>
                  <a:pt x="834" y="1659"/>
                  <a:pt x="834" y="1659"/>
                </a:cubicBezTo>
                <a:cubicBezTo>
                  <a:pt x="832" y="1656"/>
                  <a:pt x="832" y="1656"/>
                  <a:pt x="832" y="1656"/>
                </a:cubicBezTo>
                <a:cubicBezTo>
                  <a:pt x="830" y="1655"/>
                  <a:pt x="830" y="1655"/>
                  <a:pt x="830" y="1655"/>
                </a:cubicBezTo>
                <a:cubicBezTo>
                  <a:pt x="830" y="1656"/>
                  <a:pt x="830" y="1656"/>
                  <a:pt x="830" y="1656"/>
                </a:cubicBezTo>
                <a:cubicBezTo>
                  <a:pt x="830" y="1658"/>
                  <a:pt x="830" y="1658"/>
                  <a:pt x="830" y="1658"/>
                </a:cubicBezTo>
                <a:cubicBezTo>
                  <a:pt x="832" y="1661"/>
                  <a:pt x="832" y="1661"/>
                  <a:pt x="832" y="1661"/>
                </a:cubicBezTo>
                <a:cubicBezTo>
                  <a:pt x="834" y="1661"/>
                  <a:pt x="834" y="1661"/>
                  <a:pt x="834" y="1661"/>
                </a:cubicBezTo>
                <a:cubicBezTo>
                  <a:pt x="837" y="1662"/>
                  <a:pt x="837" y="1662"/>
                  <a:pt x="837" y="1662"/>
                </a:cubicBezTo>
                <a:cubicBezTo>
                  <a:pt x="838" y="1664"/>
                  <a:pt x="838" y="1664"/>
                  <a:pt x="838" y="1664"/>
                </a:cubicBezTo>
                <a:cubicBezTo>
                  <a:pt x="839" y="1664"/>
                  <a:pt x="839" y="1664"/>
                  <a:pt x="839" y="1664"/>
                </a:cubicBezTo>
                <a:cubicBezTo>
                  <a:pt x="840" y="1663"/>
                  <a:pt x="840" y="1663"/>
                  <a:pt x="840" y="1663"/>
                </a:cubicBezTo>
                <a:cubicBezTo>
                  <a:pt x="843" y="1664"/>
                  <a:pt x="843" y="1664"/>
                  <a:pt x="843" y="1664"/>
                </a:cubicBezTo>
                <a:lnTo>
                  <a:pt x="844" y="1665"/>
                </a:lnTo>
                <a:close/>
                <a:moveTo>
                  <a:pt x="831" y="1646"/>
                </a:moveTo>
                <a:cubicBezTo>
                  <a:pt x="832" y="1647"/>
                  <a:pt x="832" y="1647"/>
                  <a:pt x="832" y="1647"/>
                </a:cubicBezTo>
                <a:cubicBezTo>
                  <a:pt x="834" y="1649"/>
                  <a:pt x="834" y="1649"/>
                  <a:pt x="834" y="1649"/>
                </a:cubicBezTo>
                <a:cubicBezTo>
                  <a:pt x="835" y="1649"/>
                  <a:pt x="835" y="1649"/>
                  <a:pt x="835" y="1649"/>
                </a:cubicBezTo>
                <a:cubicBezTo>
                  <a:pt x="835" y="1648"/>
                  <a:pt x="835" y="1648"/>
                  <a:pt x="835" y="1648"/>
                </a:cubicBezTo>
                <a:cubicBezTo>
                  <a:pt x="832" y="1645"/>
                  <a:pt x="832" y="1645"/>
                  <a:pt x="832" y="1645"/>
                </a:cubicBezTo>
                <a:lnTo>
                  <a:pt x="831" y="1646"/>
                </a:lnTo>
                <a:close/>
                <a:moveTo>
                  <a:pt x="834" y="1645"/>
                </a:moveTo>
                <a:cubicBezTo>
                  <a:pt x="834" y="1644"/>
                  <a:pt x="834" y="1644"/>
                  <a:pt x="834" y="1644"/>
                </a:cubicBezTo>
                <a:cubicBezTo>
                  <a:pt x="832" y="1644"/>
                  <a:pt x="832" y="1644"/>
                  <a:pt x="832" y="1644"/>
                </a:cubicBezTo>
                <a:cubicBezTo>
                  <a:pt x="832" y="1644"/>
                  <a:pt x="832" y="1644"/>
                  <a:pt x="832" y="1644"/>
                </a:cubicBezTo>
                <a:cubicBezTo>
                  <a:pt x="833" y="1646"/>
                  <a:pt x="833" y="1646"/>
                  <a:pt x="833" y="1646"/>
                </a:cubicBezTo>
                <a:lnTo>
                  <a:pt x="834" y="1645"/>
                </a:lnTo>
                <a:close/>
                <a:moveTo>
                  <a:pt x="826" y="1625"/>
                </a:moveTo>
                <a:cubicBezTo>
                  <a:pt x="824" y="1622"/>
                  <a:pt x="824" y="1622"/>
                  <a:pt x="824" y="1622"/>
                </a:cubicBezTo>
                <a:cubicBezTo>
                  <a:pt x="823" y="1622"/>
                  <a:pt x="823" y="1622"/>
                  <a:pt x="823" y="1622"/>
                </a:cubicBezTo>
                <a:cubicBezTo>
                  <a:pt x="821" y="1621"/>
                  <a:pt x="821" y="1621"/>
                  <a:pt x="821" y="1621"/>
                </a:cubicBezTo>
                <a:cubicBezTo>
                  <a:pt x="821" y="1621"/>
                  <a:pt x="821" y="1621"/>
                  <a:pt x="821" y="1621"/>
                </a:cubicBezTo>
                <a:cubicBezTo>
                  <a:pt x="821" y="1622"/>
                  <a:pt x="821" y="1622"/>
                  <a:pt x="821" y="1622"/>
                </a:cubicBezTo>
                <a:cubicBezTo>
                  <a:pt x="822" y="1624"/>
                  <a:pt x="822" y="1624"/>
                  <a:pt x="822" y="1624"/>
                </a:cubicBezTo>
                <a:cubicBezTo>
                  <a:pt x="824" y="1625"/>
                  <a:pt x="824" y="1625"/>
                  <a:pt x="824" y="1625"/>
                </a:cubicBezTo>
                <a:cubicBezTo>
                  <a:pt x="827" y="1627"/>
                  <a:pt x="827" y="1627"/>
                  <a:pt x="827" y="1627"/>
                </a:cubicBezTo>
                <a:lnTo>
                  <a:pt x="826" y="1625"/>
                </a:lnTo>
                <a:close/>
                <a:moveTo>
                  <a:pt x="833" y="1651"/>
                </a:moveTo>
                <a:cubicBezTo>
                  <a:pt x="832" y="1651"/>
                  <a:pt x="832" y="1651"/>
                  <a:pt x="832" y="1651"/>
                </a:cubicBezTo>
                <a:cubicBezTo>
                  <a:pt x="832" y="1652"/>
                  <a:pt x="832" y="1652"/>
                  <a:pt x="832" y="1652"/>
                </a:cubicBezTo>
                <a:cubicBezTo>
                  <a:pt x="834" y="1652"/>
                  <a:pt x="834" y="1652"/>
                  <a:pt x="834" y="1652"/>
                </a:cubicBezTo>
                <a:cubicBezTo>
                  <a:pt x="835" y="1653"/>
                  <a:pt x="835" y="1653"/>
                  <a:pt x="835" y="1653"/>
                </a:cubicBezTo>
                <a:cubicBezTo>
                  <a:pt x="836" y="1654"/>
                  <a:pt x="836" y="1654"/>
                  <a:pt x="836" y="1654"/>
                </a:cubicBezTo>
                <a:cubicBezTo>
                  <a:pt x="837" y="1654"/>
                  <a:pt x="837" y="1654"/>
                  <a:pt x="837" y="1654"/>
                </a:cubicBezTo>
                <a:cubicBezTo>
                  <a:pt x="838" y="1652"/>
                  <a:pt x="838" y="1652"/>
                  <a:pt x="838" y="1652"/>
                </a:cubicBezTo>
                <a:cubicBezTo>
                  <a:pt x="837" y="1651"/>
                  <a:pt x="837" y="1651"/>
                  <a:pt x="837" y="1651"/>
                </a:cubicBezTo>
                <a:cubicBezTo>
                  <a:pt x="835" y="1651"/>
                  <a:pt x="835" y="1651"/>
                  <a:pt x="835" y="1651"/>
                </a:cubicBezTo>
                <a:lnTo>
                  <a:pt x="833" y="1651"/>
                </a:lnTo>
                <a:close/>
                <a:moveTo>
                  <a:pt x="836" y="1665"/>
                </a:moveTo>
                <a:cubicBezTo>
                  <a:pt x="835" y="1666"/>
                  <a:pt x="835" y="1666"/>
                  <a:pt x="835" y="1666"/>
                </a:cubicBezTo>
                <a:cubicBezTo>
                  <a:pt x="837" y="1666"/>
                  <a:pt x="837" y="1666"/>
                  <a:pt x="837" y="1666"/>
                </a:cubicBezTo>
                <a:cubicBezTo>
                  <a:pt x="837" y="1666"/>
                  <a:pt x="836" y="1665"/>
                  <a:pt x="836" y="1665"/>
                </a:cubicBezTo>
                <a:close/>
                <a:moveTo>
                  <a:pt x="305" y="284"/>
                </a:moveTo>
                <a:cubicBezTo>
                  <a:pt x="304" y="283"/>
                  <a:pt x="304" y="283"/>
                  <a:pt x="304" y="283"/>
                </a:cubicBezTo>
                <a:cubicBezTo>
                  <a:pt x="303" y="284"/>
                  <a:pt x="303" y="284"/>
                  <a:pt x="303" y="284"/>
                </a:cubicBezTo>
                <a:cubicBezTo>
                  <a:pt x="303" y="283"/>
                  <a:pt x="303" y="283"/>
                  <a:pt x="303" y="283"/>
                </a:cubicBezTo>
                <a:cubicBezTo>
                  <a:pt x="304" y="281"/>
                  <a:pt x="304" y="281"/>
                  <a:pt x="304" y="281"/>
                </a:cubicBezTo>
                <a:cubicBezTo>
                  <a:pt x="302" y="279"/>
                  <a:pt x="302" y="279"/>
                  <a:pt x="302" y="279"/>
                </a:cubicBezTo>
                <a:cubicBezTo>
                  <a:pt x="301" y="279"/>
                  <a:pt x="301" y="279"/>
                  <a:pt x="301" y="279"/>
                </a:cubicBezTo>
                <a:cubicBezTo>
                  <a:pt x="301" y="281"/>
                  <a:pt x="301" y="281"/>
                  <a:pt x="301" y="281"/>
                </a:cubicBezTo>
                <a:cubicBezTo>
                  <a:pt x="299" y="280"/>
                  <a:pt x="299" y="280"/>
                  <a:pt x="299" y="280"/>
                </a:cubicBezTo>
                <a:cubicBezTo>
                  <a:pt x="298" y="281"/>
                  <a:pt x="298" y="281"/>
                  <a:pt x="298" y="281"/>
                </a:cubicBezTo>
                <a:cubicBezTo>
                  <a:pt x="298" y="283"/>
                  <a:pt x="298" y="283"/>
                  <a:pt x="298" y="283"/>
                </a:cubicBezTo>
                <a:cubicBezTo>
                  <a:pt x="299" y="284"/>
                  <a:pt x="299" y="284"/>
                  <a:pt x="299" y="284"/>
                </a:cubicBezTo>
                <a:cubicBezTo>
                  <a:pt x="298" y="286"/>
                  <a:pt x="298" y="286"/>
                  <a:pt x="298" y="286"/>
                </a:cubicBezTo>
                <a:cubicBezTo>
                  <a:pt x="299" y="287"/>
                  <a:pt x="299" y="287"/>
                  <a:pt x="299" y="287"/>
                </a:cubicBezTo>
                <a:cubicBezTo>
                  <a:pt x="299" y="289"/>
                  <a:pt x="299" y="289"/>
                  <a:pt x="299" y="289"/>
                </a:cubicBezTo>
                <a:cubicBezTo>
                  <a:pt x="298" y="290"/>
                  <a:pt x="298" y="290"/>
                  <a:pt x="298" y="290"/>
                </a:cubicBezTo>
                <a:cubicBezTo>
                  <a:pt x="297" y="289"/>
                  <a:pt x="297" y="289"/>
                  <a:pt x="297" y="289"/>
                </a:cubicBezTo>
                <a:cubicBezTo>
                  <a:pt x="296" y="290"/>
                  <a:pt x="296" y="290"/>
                  <a:pt x="296" y="290"/>
                </a:cubicBezTo>
                <a:cubicBezTo>
                  <a:pt x="296" y="291"/>
                  <a:pt x="296" y="291"/>
                  <a:pt x="296" y="291"/>
                </a:cubicBezTo>
                <a:cubicBezTo>
                  <a:pt x="296" y="293"/>
                  <a:pt x="296" y="293"/>
                  <a:pt x="296" y="293"/>
                </a:cubicBezTo>
                <a:cubicBezTo>
                  <a:pt x="295" y="294"/>
                  <a:pt x="295" y="294"/>
                  <a:pt x="295" y="294"/>
                </a:cubicBezTo>
                <a:cubicBezTo>
                  <a:pt x="296" y="295"/>
                  <a:pt x="296" y="295"/>
                  <a:pt x="296" y="295"/>
                </a:cubicBezTo>
                <a:cubicBezTo>
                  <a:pt x="297" y="292"/>
                  <a:pt x="297" y="292"/>
                  <a:pt x="297" y="292"/>
                </a:cubicBezTo>
                <a:cubicBezTo>
                  <a:pt x="298" y="293"/>
                  <a:pt x="298" y="293"/>
                  <a:pt x="298" y="293"/>
                </a:cubicBezTo>
                <a:cubicBezTo>
                  <a:pt x="297" y="295"/>
                  <a:pt x="297" y="295"/>
                  <a:pt x="297" y="295"/>
                </a:cubicBezTo>
                <a:cubicBezTo>
                  <a:pt x="299" y="294"/>
                  <a:pt x="299" y="294"/>
                  <a:pt x="299" y="294"/>
                </a:cubicBezTo>
                <a:cubicBezTo>
                  <a:pt x="300" y="293"/>
                  <a:pt x="300" y="293"/>
                  <a:pt x="300" y="293"/>
                </a:cubicBezTo>
                <a:cubicBezTo>
                  <a:pt x="300" y="291"/>
                  <a:pt x="300" y="291"/>
                  <a:pt x="300" y="291"/>
                </a:cubicBezTo>
                <a:cubicBezTo>
                  <a:pt x="303" y="288"/>
                  <a:pt x="303" y="288"/>
                  <a:pt x="303" y="288"/>
                </a:cubicBezTo>
                <a:lnTo>
                  <a:pt x="305" y="284"/>
                </a:lnTo>
                <a:close/>
                <a:moveTo>
                  <a:pt x="299" y="270"/>
                </a:moveTo>
                <a:cubicBezTo>
                  <a:pt x="298" y="270"/>
                  <a:pt x="298" y="270"/>
                  <a:pt x="298" y="270"/>
                </a:cubicBezTo>
                <a:cubicBezTo>
                  <a:pt x="299" y="271"/>
                  <a:pt x="299" y="271"/>
                  <a:pt x="299" y="271"/>
                </a:cubicBezTo>
                <a:lnTo>
                  <a:pt x="299" y="270"/>
                </a:lnTo>
                <a:close/>
                <a:moveTo>
                  <a:pt x="302" y="297"/>
                </a:moveTo>
                <a:cubicBezTo>
                  <a:pt x="304" y="296"/>
                  <a:pt x="304" y="296"/>
                  <a:pt x="304" y="296"/>
                </a:cubicBezTo>
                <a:cubicBezTo>
                  <a:pt x="302" y="295"/>
                  <a:pt x="302" y="295"/>
                  <a:pt x="302" y="295"/>
                </a:cubicBezTo>
                <a:cubicBezTo>
                  <a:pt x="301" y="295"/>
                  <a:pt x="301" y="295"/>
                  <a:pt x="301" y="295"/>
                </a:cubicBezTo>
                <a:cubicBezTo>
                  <a:pt x="299" y="298"/>
                  <a:pt x="299" y="298"/>
                  <a:pt x="299" y="298"/>
                </a:cubicBezTo>
                <a:cubicBezTo>
                  <a:pt x="300" y="298"/>
                  <a:pt x="300" y="298"/>
                  <a:pt x="300" y="298"/>
                </a:cubicBezTo>
                <a:cubicBezTo>
                  <a:pt x="301" y="297"/>
                  <a:pt x="301" y="297"/>
                  <a:pt x="301" y="297"/>
                </a:cubicBezTo>
                <a:lnTo>
                  <a:pt x="302" y="297"/>
                </a:lnTo>
                <a:close/>
                <a:moveTo>
                  <a:pt x="297" y="321"/>
                </a:moveTo>
                <a:cubicBezTo>
                  <a:pt x="298" y="322"/>
                  <a:pt x="298" y="322"/>
                  <a:pt x="298" y="322"/>
                </a:cubicBezTo>
                <a:cubicBezTo>
                  <a:pt x="300" y="320"/>
                  <a:pt x="300" y="320"/>
                  <a:pt x="300" y="320"/>
                </a:cubicBezTo>
                <a:cubicBezTo>
                  <a:pt x="298" y="317"/>
                  <a:pt x="298" y="317"/>
                  <a:pt x="298" y="317"/>
                </a:cubicBezTo>
                <a:cubicBezTo>
                  <a:pt x="299" y="316"/>
                  <a:pt x="299" y="316"/>
                  <a:pt x="299" y="316"/>
                </a:cubicBezTo>
                <a:cubicBezTo>
                  <a:pt x="297" y="315"/>
                  <a:pt x="297" y="315"/>
                  <a:pt x="297" y="315"/>
                </a:cubicBezTo>
                <a:cubicBezTo>
                  <a:pt x="296" y="316"/>
                  <a:pt x="296" y="316"/>
                  <a:pt x="296" y="316"/>
                </a:cubicBezTo>
                <a:cubicBezTo>
                  <a:pt x="296" y="317"/>
                  <a:pt x="296" y="317"/>
                  <a:pt x="296" y="317"/>
                </a:cubicBezTo>
                <a:cubicBezTo>
                  <a:pt x="297" y="319"/>
                  <a:pt x="297" y="319"/>
                  <a:pt x="297" y="319"/>
                </a:cubicBezTo>
                <a:lnTo>
                  <a:pt x="297" y="321"/>
                </a:lnTo>
                <a:close/>
                <a:moveTo>
                  <a:pt x="300" y="301"/>
                </a:moveTo>
                <a:cubicBezTo>
                  <a:pt x="300" y="300"/>
                  <a:pt x="300" y="300"/>
                  <a:pt x="300" y="300"/>
                </a:cubicBezTo>
                <a:cubicBezTo>
                  <a:pt x="299" y="301"/>
                  <a:pt x="299" y="301"/>
                  <a:pt x="299" y="301"/>
                </a:cubicBezTo>
                <a:cubicBezTo>
                  <a:pt x="299" y="302"/>
                  <a:pt x="299" y="302"/>
                  <a:pt x="299" y="302"/>
                </a:cubicBezTo>
                <a:lnTo>
                  <a:pt x="300" y="301"/>
                </a:lnTo>
                <a:close/>
                <a:moveTo>
                  <a:pt x="301" y="334"/>
                </a:moveTo>
                <a:cubicBezTo>
                  <a:pt x="299" y="337"/>
                  <a:pt x="299" y="337"/>
                  <a:pt x="299" y="337"/>
                </a:cubicBezTo>
                <a:cubicBezTo>
                  <a:pt x="297" y="341"/>
                  <a:pt x="297" y="341"/>
                  <a:pt x="297" y="341"/>
                </a:cubicBezTo>
                <a:cubicBezTo>
                  <a:pt x="295" y="341"/>
                  <a:pt x="295" y="341"/>
                  <a:pt x="295" y="341"/>
                </a:cubicBezTo>
                <a:cubicBezTo>
                  <a:pt x="295" y="340"/>
                  <a:pt x="295" y="340"/>
                  <a:pt x="295" y="340"/>
                </a:cubicBezTo>
                <a:cubicBezTo>
                  <a:pt x="294" y="339"/>
                  <a:pt x="294" y="339"/>
                  <a:pt x="294" y="339"/>
                </a:cubicBezTo>
                <a:cubicBezTo>
                  <a:pt x="297" y="338"/>
                  <a:pt x="297" y="338"/>
                  <a:pt x="297" y="338"/>
                </a:cubicBezTo>
                <a:cubicBezTo>
                  <a:pt x="299" y="336"/>
                  <a:pt x="299" y="336"/>
                  <a:pt x="299" y="336"/>
                </a:cubicBezTo>
                <a:cubicBezTo>
                  <a:pt x="299" y="334"/>
                  <a:pt x="299" y="334"/>
                  <a:pt x="299" y="334"/>
                </a:cubicBezTo>
                <a:cubicBezTo>
                  <a:pt x="299" y="332"/>
                  <a:pt x="299" y="332"/>
                  <a:pt x="299" y="332"/>
                </a:cubicBezTo>
                <a:cubicBezTo>
                  <a:pt x="298" y="332"/>
                  <a:pt x="298" y="332"/>
                  <a:pt x="298" y="332"/>
                </a:cubicBezTo>
                <a:cubicBezTo>
                  <a:pt x="297" y="333"/>
                  <a:pt x="297" y="333"/>
                  <a:pt x="297" y="333"/>
                </a:cubicBezTo>
                <a:cubicBezTo>
                  <a:pt x="295" y="333"/>
                  <a:pt x="295" y="333"/>
                  <a:pt x="295" y="333"/>
                </a:cubicBezTo>
                <a:cubicBezTo>
                  <a:pt x="296" y="331"/>
                  <a:pt x="296" y="331"/>
                  <a:pt x="296" y="331"/>
                </a:cubicBezTo>
                <a:cubicBezTo>
                  <a:pt x="293" y="330"/>
                  <a:pt x="293" y="330"/>
                  <a:pt x="293" y="330"/>
                </a:cubicBezTo>
                <a:cubicBezTo>
                  <a:pt x="290" y="335"/>
                  <a:pt x="290" y="335"/>
                  <a:pt x="290" y="335"/>
                </a:cubicBezTo>
                <a:cubicBezTo>
                  <a:pt x="290" y="339"/>
                  <a:pt x="290" y="339"/>
                  <a:pt x="290" y="339"/>
                </a:cubicBezTo>
                <a:cubicBezTo>
                  <a:pt x="289" y="341"/>
                  <a:pt x="289" y="341"/>
                  <a:pt x="289" y="341"/>
                </a:cubicBezTo>
                <a:cubicBezTo>
                  <a:pt x="289" y="342"/>
                  <a:pt x="289" y="342"/>
                  <a:pt x="289" y="342"/>
                </a:cubicBezTo>
                <a:cubicBezTo>
                  <a:pt x="291" y="343"/>
                  <a:pt x="291" y="343"/>
                  <a:pt x="291" y="343"/>
                </a:cubicBezTo>
                <a:cubicBezTo>
                  <a:pt x="292" y="344"/>
                  <a:pt x="292" y="344"/>
                  <a:pt x="292" y="344"/>
                </a:cubicBezTo>
                <a:cubicBezTo>
                  <a:pt x="292" y="346"/>
                  <a:pt x="292" y="346"/>
                  <a:pt x="292" y="346"/>
                </a:cubicBezTo>
                <a:cubicBezTo>
                  <a:pt x="291" y="346"/>
                  <a:pt x="291" y="346"/>
                  <a:pt x="291" y="346"/>
                </a:cubicBezTo>
                <a:cubicBezTo>
                  <a:pt x="289" y="345"/>
                  <a:pt x="289" y="345"/>
                  <a:pt x="289" y="345"/>
                </a:cubicBezTo>
                <a:cubicBezTo>
                  <a:pt x="289" y="347"/>
                  <a:pt x="289" y="347"/>
                  <a:pt x="289" y="347"/>
                </a:cubicBezTo>
                <a:cubicBezTo>
                  <a:pt x="291" y="348"/>
                  <a:pt x="291" y="348"/>
                  <a:pt x="291" y="348"/>
                </a:cubicBezTo>
                <a:cubicBezTo>
                  <a:pt x="290" y="350"/>
                  <a:pt x="290" y="350"/>
                  <a:pt x="290" y="350"/>
                </a:cubicBezTo>
                <a:cubicBezTo>
                  <a:pt x="291" y="351"/>
                  <a:pt x="291" y="351"/>
                  <a:pt x="291" y="351"/>
                </a:cubicBezTo>
                <a:cubicBezTo>
                  <a:pt x="293" y="353"/>
                  <a:pt x="293" y="353"/>
                  <a:pt x="293" y="353"/>
                </a:cubicBezTo>
                <a:cubicBezTo>
                  <a:pt x="290" y="353"/>
                  <a:pt x="290" y="353"/>
                  <a:pt x="290" y="353"/>
                </a:cubicBezTo>
                <a:cubicBezTo>
                  <a:pt x="289" y="354"/>
                  <a:pt x="289" y="354"/>
                  <a:pt x="289" y="354"/>
                </a:cubicBezTo>
                <a:cubicBezTo>
                  <a:pt x="290" y="356"/>
                  <a:pt x="290" y="356"/>
                  <a:pt x="290" y="356"/>
                </a:cubicBezTo>
                <a:cubicBezTo>
                  <a:pt x="292" y="356"/>
                  <a:pt x="292" y="356"/>
                  <a:pt x="292" y="356"/>
                </a:cubicBezTo>
                <a:cubicBezTo>
                  <a:pt x="292" y="358"/>
                  <a:pt x="292" y="358"/>
                  <a:pt x="292" y="358"/>
                </a:cubicBezTo>
                <a:cubicBezTo>
                  <a:pt x="292" y="360"/>
                  <a:pt x="292" y="360"/>
                  <a:pt x="292" y="360"/>
                </a:cubicBezTo>
                <a:cubicBezTo>
                  <a:pt x="295" y="367"/>
                  <a:pt x="295" y="367"/>
                  <a:pt x="295" y="367"/>
                </a:cubicBezTo>
                <a:cubicBezTo>
                  <a:pt x="298" y="368"/>
                  <a:pt x="298" y="368"/>
                  <a:pt x="298" y="368"/>
                </a:cubicBezTo>
                <a:cubicBezTo>
                  <a:pt x="299" y="366"/>
                  <a:pt x="299" y="366"/>
                  <a:pt x="299" y="366"/>
                </a:cubicBezTo>
                <a:cubicBezTo>
                  <a:pt x="298" y="365"/>
                  <a:pt x="298" y="365"/>
                  <a:pt x="298" y="365"/>
                </a:cubicBezTo>
                <a:cubicBezTo>
                  <a:pt x="297" y="365"/>
                  <a:pt x="297" y="365"/>
                  <a:pt x="297" y="365"/>
                </a:cubicBezTo>
                <a:cubicBezTo>
                  <a:pt x="296" y="362"/>
                  <a:pt x="296" y="362"/>
                  <a:pt x="296" y="362"/>
                </a:cubicBezTo>
                <a:cubicBezTo>
                  <a:pt x="295" y="359"/>
                  <a:pt x="295" y="359"/>
                  <a:pt x="295" y="359"/>
                </a:cubicBezTo>
                <a:cubicBezTo>
                  <a:pt x="295" y="356"/>
                  <a:pt x="295" y="356"/>
                  <a:pt x="295" y="356"/>
                </a:cubicBezTo>
                <a:cubicBezTo>
                  <a:pt x="295" y="354"/>
                  <a:pt x="295" y="354"/>
                  <a:pt x="295" y="354"/>
                </a:cubicBezTo>
                <a:cubicBezTo>
                  <a:pt x="296" y="351"/>
                  <a:pt x="296" y="351"/>
                  <a:pt x="296" y="351"/>
                </a:cubicBezTo>
                <a:cubicBezTo>
                  <a:pt x="298" y="351"/>
                  <a:pt x="298" y="351"/>
                  <a:pt x="298" y="351"/>
                </a:cubicBezTo>
                <a:cubicBezTo>
                  <a:pt x="298" y="349"/>
                  <a:pt x="298" y="349"/>
                  <a:pt x="298" y="349"/>
                </a:cubicBezTo>
                <a:cubicBezTo>
                  <a:pt x="296" y="349"/>
                  <a:pt x="296" y="349"/>
                  <a:pt x="296" y="349"/>
                </a:cubicBezTo>
                <a:cubicBezTo>
                  <a:pt x="295" y="349"/>
                  <a:pt x="295" y="349"/>
                  <a:pt x="295" y="349"/>
                </a:cubicBezTo>
                <a:cubicBezTo>
                  <a:pt x="293" y="349"/>
                  <a:pt x="293" y="349"/>
                  <a:pt x="293" y="349"/>
                </a:cubicBezTo>
                <a:cubicBezTo>
                  <a:pt x="295" y="348"/>
                  <a:pt x="295" y="348"/>
                  <a:pt x="295" y="348"/>
                </a:cubicBezTo>
                <a:cubicBezTo>
                  <a:pt x="296" y="348"/>
                  <a:pt x="296" y="348"/>
                  <a:pt x="296" y="348"/>
                </a:cubicBezTo>
                <a:cubicBezTo>
                  <a:pt x="299" y="346"/>
                  <a:pt x="299" y="346"/>
                  <a:pt x="299" y="346"/>
                </a:cubicBezTo>
                <a:cubicBezTo>
                  <a:pt x="299" y="343"/>
                  <a:pt x="299" y="343"/>
                  <a:pt x="299" y="343"/>
                </a:cubicBezTo>
                <a:cubicBezTo>
                  <a:pt x="301" y="340"/>
                  <a:pt x="301" y="340"/>
                  <a:pt x="301" y="340"/>
                </a:cubicBezTo>
                <a:cubicBezTo>
                  <a:pt x="301" y="337"/>
                  <a:pt x="301" y="337"/>
                  <a:pt x="301" y="337"/>
                </a:cubicBezTo>
                <a:cubicBezTo>
                  <a:pt x="305" y="333"/>
                  <a:pt x="305" y="333"/>
                  <a:pt x="305" y="333"/>
                </a:cubicBezTo>
                <a:cubicBezTo>
                  <a:pt x="304" y="333"/>
                  <a:pt x="304" y="333"/>
                  <a:pt x="304" y="333"/>
                </a:cubicBezTo>
                <a:lnTo>
                  <a:pt x="301" y="334"/>
                </a:lnTo>
                <a:close/>
                <a:moveTo>
                  <a:pt x="298" y="312"/>
                </a:moveTo>
                <a:cubicBezTo>
                  <a:pt x="297" y="313"/>
                  <a:pt x="297" y="313"/>
                  <a:pt x="297" y="313"/>
                </a:cubicBezTo>
                <a:cubicBezTo>
                  <a:pt x="297" y="315"/>
                  <a:pt x="297" y="315"/>
                  <a:pt x="297" y="315"/>
                </a:cubicBezTo>
                <a:cubicBezTo>
                  <a:pt x="299" y="314"/>
                  <a:pt x="299" y="314"/>
                  <a:pt x="299" y="314"/>
                </a:cubicBezTo>
                <a:cubicBezTo>
                  <a:pt x="298" y="313"/>
                  <a:pt x="298" y="313"/>
                  <a:pt x="298" y="313"/>
                </a:cubicBezTo>
                <a:lnTo>
                  <a:pt x="298" y="312"/>
                </a:lnTo>
                <a:close/>
                <a:moveTo>
                  <a:pt x="814" y="1594"/>
                </a:moveTo>
                <a:cubicBezTo>
                  <a:pt x="816" y="1594"/>
                  <a:pt x="816" y="1594"/>
                  <a:pt x="816" y="1594"/>
                </a:cubicBezTo>
                <a:cubicBezTo>
                  <a:pt x="818" y="1594"/>
                  <a:pt x="818" y="1594"/>
                  <a:pt x="818" y="1594"/>
                </a:cubicBezTo>
                <a:cubicBezTo>
                  <a:pt x="817" y="1591"/>
                  <a:pt x="817" y="1591"/>
                  <a:pt x="817" y="1591"/>
                </a:cubicBezTo>
                <a:cubicBezTo>
                  <a:pt x="815" y="1590"/>
                  <a:pt x="815" y="1590"/>
                  <a:pt x="815" y="1590"/>
                </a:cubicBezTo>
                <a:cubicBezTo>
                  <a:pt x="815" y="1587"/>
                  <a:pt x="815" y="1587"/>
                  <a:pt x="815" y="1587"/>
                </a:cubicBezTo>
                <a:cubicBezTo>
                  <a:pt x="813" y="1587"/>
                  <a:pt x="813" y="1587"/>
                  <a:pt x="813" y="1587"/>
                </a:cubicBezTo>
                <a:cubicBezTo>
                  <a:pt x="813" y="1583"/>
                  <a:pt x="813" y="1583"/>
                  <a:pt x="813" y="1583"/>
                </a:cubicBezTo>
                <a:cubicBezTo>
                  <a:pt x="812" y="1584"/>
                  <a:pt x="812" y="1584"/>
                  <a:pt x="812" y="1584"/>
                </a:cubicBezTo>
                <a:cubicBezTo>
                  <a:pt x="810" y="1585"/>
                  <a:pt x="810" y="1585"/>
                  <a:pt x="810" y="1585"/>
                </a:cubicBezTo>
                <a:cubicBezTo>
                  <a:pt x="809" y="1586"/>
                  <a:pt x="809" y="1586"/>
                  <a:pt x="809" y="1586"/>
                </a:cubicBezTo>
                <a:cubicBezTo>
                  <a:pt x="811" y="1587"/>
                  <a:pt x="811" y="1587"/>
                  <a:pt x="811" y="1587"/>
                </a:cubicBezTo>
                <a:cubicBezTo>
                  <a:pt x="813" y="1591"/>
                  <a:pt x="813" y="1591"/>
                  <a:pt x="813" y="1591"/>
                </a:cubicBezTo>
                <a:cubicBezTo>
                  <a:pt x="814" y="1590"/>
                  <a:pt x="814" y="1590"/>
                  <a:pt x="814" y="1590"/>
                </a:cubicBezTo>
                <a:cubicBezTo>
                  <a:pt x="815" y="1591"/>
                  <a:pt x="815" y="1591"/>
                  <a:pt x="815" y="1591"/>
                </a:cubicBezTo>
                <a:cubicBezTo>
                  <a:pt x="813" y="1592"/>
                  <a:pt x="813" y="1592"/>
                  <a:pt x="813" y="1592"/>
                </a:cubicBezTo>
                <a:lnTo>
                  <a:pt x="814" y="1594"/>
                </a:lnTo>
                <a:close/>
                <a:moveTo>
                  <a:pt x="810" y="1604"/>
                </a:moveTo>
                <a:cubicBezTo>
                  <a:pt x="812" y="1601"/>
                  <a:pt x="812" y="1601"/>
                  <a:pt x="812" y="1601"/>
                </a:cubicBezTo>
                <a:cubicBezTo>
                  <a:pt x="813" y="1600"/>
                  <a:pt x="813" y="1600"/>
                  <a:pt x="813" y="1600"/>
                </a:cubicBezTo>
                <a:cubicBezTo>
                  <a:pt x="812" y="1599"/>
                  <a:pt x="812" y="1599"/>
                  <a:pt x="812" y="1599"/>
                </a:cubicBezTo>
                <a:cubicBezTo>
                  <a:pt x="810" y="1598"/>
                  <a:pt x="810" y="1598"/>
                  <a:pt x="810" y="1598"/>
                </a:cubicBezTo>
                <a:cubicBezTo>
                  <a:pt x="809" y="1597"/>
                  <a:pt x="809" y="1597"/>
                  <a:pt x="809" y="1597"/>
                </a:cubicBezTo>
                <a:cubicBezTo>
                  <a:pt x="808" y="1598"/>
                  <a:pt x="808" y="1598"/>
                  <a:pt x="808" y="1598"/>
                </a:cubicBezTo>
                <a:cubicBezTo>
                  <a:pt x="809" y="1602"/>
                  <a:pt x="809" y="1602"/>
                  <a:pt x="809" y="1602"/>
                </a:cubicBezTo>
                <a:cubicBezTo>
                  <a:pt x="809" y="1603"/>
                  <a:pt x="809" y="1603"/>
                  <a:pt x="809" y="1603"/>
                </a:cubicBezTo>
                <a:lnTo>
                  <a:pt x="810" y="1604"/>
                </a:lnTo>
                <a:close/>
                <a:moveTo>
                  <a:pt x="302" y="315"/>
                </a:moveTo>
                <a:cubicBezTo>
                  <a:pt x="301" y="314"/>
                  <a:pt x="301" y="314"/>
                  <a:pt x="301" y="314"/>
                </a:cubicBezTo>
                <a:cubicBezTo>
                  <a:pt x="300" y="315"/>
                  <a:pt x="300" y="315"/>
                  <a:pt x="300" y="315"/>
                </a:cubicBezTo>
                <a:cubicBezTo>
                  <a:pt x="301" y="316"/>
                  <a:pt x="301" y="316"/>
                  <a:pt x="301" y="316"/>
                </a:cubicBezTo>
                <a:lnTo>
                  <a:pt x="302" y="315"/>
                </a:lnTo>
                <a:close/>
                <a:moveTo>
                  <a:pt x="810" y="1609"/>
                </a:moveTo>
                <a:cubicBezTo>
                  <a:pt x="811" y="1610"/>
                  <a:pt x="811" y="1610"/>
                  <a:pt x="811" y="1610"/>
                </a:cubicBezTo>
                <a:cubicBezTo>
                  <a:pt x="810" y="1611"/>
                  <a:pt x="810" y="1611"/>
                  <a:pt x="810" y="1611"/>
                </a:cubicBezTo>
                <a:cubicBezTo>
                  <a:pt x="811" y="1612"/>
                  <a:pt x="811" y="1612"/>
                  <a:pt x="811" y="1612"/>
                </a:cubicBezTo>
                <a:cubicBezTo>
                  <a:pt x="813" y="1611"/>
                  <a:pt x="813" y="1611"/>
                  <a:pt x="813" y="1611"/>
                </a:cubicBezTo>
                <a:cubicBezTo>
                  <a:pt x="813" y="1610"/>
                  <a:pt x="813" y="1610"/>
                  <a:pt x="813" y="1610"/>
                </a:cubicBezTo>
                <a:cubicBezTo>
                  <a:pt x="812" y="1608"/>
                  <a:pt x="812" y="1608"/>
                  <a:pt x="812" y="1608"/>
                </a:cubicBezTo>
                <a:lnTo>
                  <a:pt x="810" y="1609"/>
                </a:lnTo>
                <a:close/>
                <a:moveTo>
                  <a:pt x="809" y="1594"/>
                </a:moveTo>
                <a:cubicBezTo>
                  <a:pt x="808" y="1592"/>
                  <a:pt x="808" y="1592"/>
                  <a:pt x="808" y="1592"/>
                </a:cubicBezTo>
                <a:cubicBezTo>
                  <a:pt x="807" y="1592"/>
                  <a:pt x="807" y="1592"/>
                  <a:pt x="807" y="1592"/>
                </a:cubicBezTo>
                <a:cubicBezTo>
                  <a:pt x="806" y="1592"/>
                  <a:pt x="806" y="1592"/>
                  <a:pt x="806" y="1592"/>
                </a:cubicBezTo>
                <a:cubicBezTo>
                  <a:pt x="806" y="1594"/>
                  <a:pt x="806" y="1594"/>
                  <a:pt x="806" y="1594"/>
                </a:cubicBezTo>
                <a:cubicBezTo>
                  <a:pt x="807" y="1595"/>
                  <a:pt x="807" y="1595"/>
                  <a:pt x="807" y="1595"/>
                </a:cubicBezTo>
                <a:cubicBezTo>
                  <a:pt x="808" y="1596"/>
                  <a:pt x="808" y="1596"/>
                  <a:pt x="808" y="1596"/>
                </a:cubicBezTo>
                <a:cubicBezTo>
                  <a:pt x="809" y="1596"/>
                  <a:pt x="809" y="1596"/>
                  <a:pt x="809" y="1596"/>
                </a:cubicBezTo>
                <a:lnTo>
                  <a:pt x="809" y="1594"/>
                </a:lnTo>
                <a:close/>
                <a:moveTo>
                  <a:pt x="307" y="320"/>
                </a:moveTo>
                <a:cubicBezTo>
                  <a:pt x="308" y="319"/>
                  <a:pt x="308" y="319"/>
                  <a:pt x="308" y="319"/>
                </a:cubicBezTo>
                <a:cubicBezTo>
                  <a:pt x="307" y="318"/>
                  <a:pt x="307" y="318"/>
                  <a:pt x="307" y="318"/>
                </a:cubicBezTo>
                <a:cubicBezTo>
                  <a:pt x="306" y="318"/>
                  <a:pt x="306" y="318"/>
                  <a:pt x="306" y="318"/>
                </a:cubicBezTo>
                <a:cubicBezTo>
                  <a:pt x="307" y="316"/>
                  <a:pt x="307" y="316"/>
                  <a:pt x="307" y="316"/>
                </a:cubicBezTo>
                <a:cubicBezTo>
                  <a:pt x="308" y="316"/>
                  <a:pt x="308" y="316"/>
                  <a:pt x="308" y="316"/>
                </a:cubicBezTo>
                <a:cubicBezTo>
                  <a:pt x="310" y="314"/>
                  <a:pt x="310" y="314"/>
                  <a:pt x="310" y="314"/>
                </a:cubicBezTo>
                <a:cubicBezTo>
                  <a:pt x="310" y="313"/>
                  <a:pt x="310" y="313"/>
                  <a:pt x="310" y="313"/>
                </a:cubicBezTo>
                <a:cubicBezTo>
                  <a:pt x="309" y="313"/>
                  <a:pt x="309" y="313"/>
                  <a:pt x="309" y="313"/>
                </a:cubicBezTo>
                <a:cubicBezTo>
                  <a:pt x="308" y="313"/>
                  <a:pt x="308" y="313"/>
                  <a:pt x="308" y="313"/>
                </a:cubicBezTo>
                <a:cubicBezTo>
                  <a:pt x="308" y="312"/>
                  <a:pt x="308" y="312"/>
                  <a:pt x="308" y="312"/>
                </a:cubicBezTo>
                <a:cubicBezTo>
                  <a:pt x="310" y="311"/>
                  <a:pt x="310" y="311"/>
                  <a:pt x="310" y="311"/>
                </a:cubicBezTo>
                <a:cubicBezTo>
                  <a:pt x="309" y="309"/>
                  <a:pt x="309" y="309"/>
                  <a:pt x="309" y="309"/>
                </a:cubicBezTo>
                <a:cubicBezTo>
                  <a:pt x="307" y="307"/>
                  <a:pt x="307" y="307"/>
                  <a:pt x="307" y="307"/>
                </a:cubicBezTo>
                <a:cubicBezTo>
                  <a:pt x="307" y="306"/>
                  <a:pt x="307" y="306"/>
                  <a:pt x="307" y="306"/>
                </a:cubicBezTo>
                <a:cubicBezTo>
                  <a:pt x="308" y="306"/>
                  <a:pt x="308" y="306"/>
                  <a:pt x="308" y="306"/>
                </a:cubicBezTo>
                <a:cubicBezTo>
                  <a:pt x="309" y="306"/>
                  <a:pt x="309" y="306"/>
                  <a:pt x="309" y="306"/>
                </a:cubicBezTo>
                <a:cubicBezTo>
                  <a:pt x="309" y="304"/>
                  <a:pt x="309" y="304"/>
                  <a:pt x="309" y="304"/>
                </a:cubicBezTo>
                <a:cubicBezTo>
                  <a:pt x="308" y="303"/>
                  <a:pt x="308" y="303"/>
                  <a:pt x="308" y="303"/>
                </a:cubicBezTo>
                <a:cubicBezTo>
                  <a:pt x="309" y="303"/>
                  <a:pt x="309" y="303"/>
                  <a:pt x="309" y="303"/>
                </a:cubicBezTo>
                <a:cubicBezTo>
                  <a:pt x="309" y="300"/>
                  <a:pt x="309" y="300"/>
                  <a:pt x="309" y="300"/>
                </a:cubicBezTo>
                <a:cubicBezTo>
                  <a:pt x="307" y="298"/>
                  <a:pt x="307" y="298"/>
                  <a:pt x="307" y="298"/>
                </a:cubicBezTo>
                <a:cubicBezTo>
                  <a:pt x="306" y="299"/>
                  <a:pt x="306" y="299"/>
                  <a:pt x="306" y="299"/>
                </a:cubicBezTo>
                <a:cubicBezTo>
                  <a:pt x="305" y="297"/>
                  <a:pt x="305" y="297"/>
                  <a:pt x="305" y="297"/>
                </a:cubicBezTo>
                <a:cubicBezTo>
                  <a:pt x="305" y="296"/>
                  <a:pt x="305" y="296"/>
                  <a:pt x="305" y="296"/>
                </a:cubicBezTo>
                <a:cubicBezTo>
                  <a:pt x="307" y="294"/>
                  <a:pt x="307" y="294"/>
                  <a:pt x="307" y="294"/>
                </a:cubicBezTo>
                <a:cubicBezTo>
                  <a:pt x="305" y="292"/>
                  <a:pt x="305" y="292"/>
                  <a:pt x="305" y="292"/>
                </a:cubicBezTo>
                <a:cubicBezTo>
                  <a:pt x="304" y="292"/>
                  <a:pt x="304" y="292"/>
                  <a:pt x="304" y="292"/>
                </a:cubicBezTo>
                <a:cubicBezTo>
                  <a:pt x="303" y="293"/>
                  <a:pt x="303" y="293"/>
                  <a:pt x="303" y="293"/>
                </a:cubicBezTo>
                <a:cubicBezTo>
                  <a:pt x="304" y="294"/>
                  <a:pt x="304" y="294"/>
                  <a:pt x="304" y="294"/>
                </a:cubicBezTo>
                <a:cubicBezTo>
                  <a:pt x="305" y="296"/>
                  <a:pt x="305" y="296"/>
                  <a:pt x="305" y="296"/>
                </a:cubicBezTo>
                <a:cubicBezTo>
                  <a:pt x="304" y="299"/>
                  <a:pt x="304" y="299"/>
                  <a:pt x="304" y="299"/>
                </a:cubicBezTo>
                <a:cubicBezTo>
                  <a:pt x="304" y="301"/>
                  <a:pt x="304" y="301"/>
                  <a:pt x="304" y="301"/>
                </a:cubicBezTo>
                <a:cubicBezTo>
                  <a:pt x="303" y="303"/>
                  <a:pt x="303" y="303"/>
                  <a:pt x="303" y="303"/>
                </a:cubicBezTo>
                <a:cubicBezTo>
                  <a:pt x="301" y="303"/>
                  <a:pt x="301" y="303"/>
                  <a:pt x="301" y="303"/>
                </a:cubicBezTo>
                <a:cubicBezTo>
                  <a:pt x="301" y="304"/>
                  <a:pt x="301" y="304"/>
                  <a:pt x="301" y="304"/>
                </a:cubicBezTo>
                <a:cubicBezTo>
                  <a:pt x="301" y="305"/>
                  <a:pt x="301" y="305"/>
                  <a:pt x="301" y="305"/>
                </a:cubicBezTo>
                <a:cubicBezTo>
                  <a:pt x="302" y="304"/>
                  <a:pt x="302" y="304"/>
                  <a:pt x="302" y="304"/>
                </a:cubicBezTo>
                <a:cubicBezTo>
                  <a:pt x="304" y="305"/>
                  <a:pt x="304" y="305"/>
                  <a:pt x="304" y="305"/>
                </a:cubicBezTo>
                <a:cubicBezTo>
                  <a:pt x="304" y="306"/>
                  <a:pt x="304" y="306"/>
                  <a:pt x="304" y="306"/>
                </a:cubicBezTo>
                <a:cubicBezTo>
                  <a:pt x="302" y="307"/>
                  <a:pt x="302" y="307"/>
                  <a:pt x="302" y="307"/>
                </a:cubicBezTo>
                <a:cubicBezTo>
                  <a:pt x="302" y="308"/>
                  <a:pt x="302" y="308"/>
                  <a:pt x="302" y="308"/>
                </a:cubicBezTo>
                <a:cubicBezTo>
                  <a:pt x="301" y="309"/>
                  <a:pt x="301" y="309"/>
                  <a:pt x="301" y="309"/>
                </a:cubicBezTo>
                <a:cubicBezTo>
                  <a:pt x="300" y="309"/>
                  <a:pt x="300" y="309"/>
                  <a:pt x="300" y="309"/>
                </a:cubicBezTo>
                <a:cubicBezTo>
                  <a:pt x="299" y="310"/>
                  <a:pt x="299" y="310"/>
                  <a:pt x="299" y="310"/>
                </a:cubicBezTo>
                <a:cubicBezTo>
                  <a:pt x="300" y="311"/>
                  <a:pt x="300" y="311"/>
                  <a:pt x="300" y="311"/>
                </a:cubicBezTo>
                <a:cubicBezTo>
                  <a:pt x="301" y="311"/>
                  <a:pt x="301" y="311"/>
                  <a:pt x="301" y="311"/>
                </a:cubicBezTo>
                <a:cubicBezTo>
                  <a:pt x="302" y="312"/>
                  <a:pt x="302" y="312"/>
                  <a:pt x="302" y="312"/>
                </a:cubicBezTo>
                <a:cubicBezTo>
                  <a:pt x="303" y="311"/>
                  <a:pt x="303" y="311"/>
                  <a:pt x="303" y="311"/>
                </a:cubicBezTo>
                <a:cubicBezTo>
                  <a:pt x="304" y="311"/>
                  <a:pt x="304" y="311"/>
                  <a:pt x="304" y="311"/>
                </a:cubicBezTo>
                <a:cubicBezTo>
                  <a:pt x="305" y="312"/>
                  <a:pt x="305" y="312"/>
                  <a:pt x="305" y="312"/>
                </a:cubicBezTo>
                <a:cubicBezTo>
                  <a:pt x="303" y="313"/>
                  <a:pt x="303" y="313"/>
                  <a:pt x="303" y="313"/>
                </a:cubicBezTo>
                <a:cubicBezTo>
                  <a:pt x="303" y="314"/>
                  <a:pt x="303" y="314"/>
                  <a:pt x="303" y="314"/>
                </a:cubicBezTo>
                <a:cubicBezTo>
                  <a:pt x="304" y="315"/>
                  <a:pt x="304" y="315"/>
                  <a:pt x="304" y="315"/>
                </a:cubicBezTo>
                <a:cubicBezTo>
                  <a:pt x="303" y="316"/>
                  <a:pt x="303" y="316"/>
                  <a:pt x="303" y="316"/>
                </a:cubicBezTo>
                <a:cubicBezTo>
                  <a:pt x="302" y="318"/>
                  <a:pt x="302" y="318"/>
                  <a:pt x="302" y="318"/>
                </a:cubicBezTo>
                <a:cubicBezTo>
                  <a:pt x="304" y="320"/>
                  <a:pt x="304" y="320"/>
                  <a:pt x="304" y="320"/>
                </a:cubicBezTo>
                <a:cubicBezTo>
                  <a:pt x="304" y="321"/>
                  <a:pt x="304" y="321"/>
                  <a:pt x="304" y="321"/>
                </a:cubicBezTo>
                <a:cubicBezTo>
                  <a:pt x="305" y="322"/>
                  <a:pt x="305" y="322"/>
                  <a:pt x="305" y="322"/>
                </a:cubicBezTo>
                <a:cubicBezTo>
                  <a:pt x="306" y="322"/>
                  <a:pt x="306" y="322"/>
                  <a:pt x="306" y="322"/>
                </a:cubicBezTo>
                <a:cubicBezTo>
                  <a:pt x="307" y="321"/>
                  <a:pt x="307" y="321"/>
                  <a:pt x="307" y="321"/>
                </a:cubicBezTo>
                <a:lnTo>
                  <a:pt x="307" y="320"/>
                </a:lnTo>
                <a:close/>
                <a:moveTo>
                  <a:pt x="807" y="1586"/>
                </a:moveTo>
                <a:cubicBezTo>
                  <a:pt x="806" y="1587"/>
                  <a:pt x="806" y="1587"/>
                  <a:pt x="806" y="1587"/>
                </a:cubicBezTo>
                <a:cubicBezTo>
                  <a:pt x="806" y="1588"/>
                  <a:pt x="806" y="1588"/>
                  <a:pt x="806" y="1588"/>
                </a:cubicBezTo>
                <a:cubicBezTo>
                  <a:pt x="806" y="1591"/>
                  <a:pt x="806" y="1591"/>
                  <a:pt x="806" y="1591"/>
                </a:cubicBezTo>
                <a:cubicBezTo>
                  <a:pt x="808" y="1591"/>
                  <a:pt x="808" y="1591"/>
                  <a:pt x="808" y="1591"/>
                </a:cubicBezTo>
                <a:cubicBezTo>
                  <a:pt x="810" y="1592"/>
                  <a:pt x="810" y="1592"/>
                  <a:pt x="810" y="1592"/>
                </a:cubicBezTo>
                <a:cubicBezTo>
                  <a:pt x="810" y="1593"/>
                  <a:pt x="810" y="1593"/>
                  <a:pt x="810" y="1593"/>
                </a:cubicBezTo>
                <a:cubicBezTo>
                  <a:pt x="810" y="1596"/>
                  <a:pt x="810" y="1596"/>
                  <a:pt x="810" y="1596"/>
                </a:cubicBezTo>
                <a:cubicBezTo>
                  <a:pt x="812" y="1597"/>
                  <a:pt x="812" y="1597"/>
                  <a:pt x="812" y="1597"/>
                </a:cubicBezTo>
                <a:cubicBezTo>
                  <a:pt x="813" y="1596"/>
                  <a:pt x="813" y="1596"/>
                  <a:pt x="813" y="1596"/>
                </a:cubicBezTo>
                <a:cubicBezTo>
                  <a:pt x="813" y="1594"/>
                  <a:pt x="813" y="1594"/>
                  <a:pt x="813" y="1594"/>
                </a:cubicBezTo>
                <a:cubicBezTo>
                  <a:pt x="811" y="1591"/>
                  <a:pt x="811" y="1591"/>
                  <a:pt x="811" y="1591"/>
                </a:cubicBezTo>
                <a:cubicBezTo>
                  <a:pt x="808" y="1587"/>
                  <a:pt x="808" y="1587"/>
                  <a:pt x="808" y="1587"/>
                </a:cubicBezTo>
                <a:lnTo>
                  <a:pt x="807" y="1586"/>
                </a:lnTo>
                <a:close/>
                <a:moveTo>
                  <a:pt x="816" y="1613"/>
                </a:moveTo>
                <a:cubicBezTo>
                  <a:pt x="817" y="1612"/>
                  <a:pt x="817" y="1612"/>
                  <a:pt x="817" y="1612"/>
                </a:cubicBezTo>
                <a:cubicBezTo>
                  <a:pt x="818" y="1610"/>
                  <a:pt x="818" y="1610"/>
                  <a:pt x="818" y="1610"/>
                </a:cubicBezTo>
                <a:cubicBezTo>
                  <a:pt x="818" y="1612"/>
                  <a:pt x="818" y="1612"/>
                  <a:pt x="818" y="1612"/>
                </a:cubicBezTo>
                <a:cubicBezTo>
                  <a:pt x="819" y="1614"/>
                  <a:pt x="819" y="1614"/>
                  <a:pt x="819" y="1614"/>
                </a:cubicBezTo>
                <a:cubicBezTo>
                  <a:pt x="820" y="1615"/>
                  <a:pt x="820" y="1615"/>
                  <a:pt x="820" y="1615"/>
                </a:cubicBezTo>
                <a:cubicBezTo>
                  <a:pt x="821" y="1614"/>
                  <a:pt x="821" y="1614"/>
                  <a:pt x="821" y="1614"/>
                </a:cubicBezTo>
                <a:cubicBezTo>
                  <a:pt x="821" y="1611"/>
                  <a:pt x="821" y="1611"/>
                  <a:pt x="821" y="1611"/>
                </a:cubicBezTo>
                <a:cubicBezTo>
                  <a:pt x="820" y="1608"/>
                  <a:pt x="820" y="1608"/>
                  <a:pt x="820" y="1608"/>
                </a:cubicBezTo>
                <a:cubicBezTo>
                  <a:pt x="821" y="1607"/>
                  <a:pt x="821" y="1607"/>
                  <a:pt x="821" y="1607"/>
                </a:cubicBezTo>
                <a:cubicBezTo>
                  <a:pt x="820" y="1604"/>
                  <a:pt x="820" y="1604"/>
                  <a:pt x="820" y="1604"/>
                </a:cubicBezTo>
                <a:cubicBezTo>
                  <a:pt x="819" y="1601"/>
                  <a:pt x="819" y="1601"/>
                  <a:pt x="819" y="1601"/>
                </a:cubicBezTo>
                <a:cubicBezTo>
                  <a:pt x="818" y="1597"/>
                  <a:pt x="818" y="1597"/>
                  <a:pt x="818" y="1597"/>
                </a:cubicBezTo>
                <a:cubicBezTo>
                  <a:pt x="817" y="1596"/>
                  <a:pt x="817" y="1596"/>
                  <a:pt x="817" y="1596"/>
                </a:cubicBezTo>
                <a:cubicBezTo>
                  <a:pt x="814" y="1596"/>
                  <a:pt x="814" y="1596"/>
                  <a:pt x="814" y="1596"/>
                </a:cubicBezTo>
                <a:cubicBezTo>
                  <a:pt x="813" y="1597"/>
                  <a:pt x="813" y="1597"/>
                  <a:pt x="813" y="1597"/>
                </a:cubicBezTo>
                <a:cubicBezTo>
                  <a:pt x="813" y="1599"/>
                  <a:pt x="813" y="1599"/>
                  <a:pt x="813" y="1599"/>
                </a:cubicBezTo>
                <a:cubicBezTo>
                  <a:pt x="814" y="1600"/>
                  <a:pt x="814" y="1600"/>
                  <a:pt x="814" y="1600"/>
                </a:cubicBezTo>
                <a:cubicBezTo>
                  <a:pt x="814" y="1602"/>
                  <a:pt x="814" y="1602"/>
                  <a:pt x="814" y="1602"/>
                </a:cubicBezTo>
                <a:cubicBezTo>
                  <a:pt x="814" y="1603"/>
                  <a:pt x="814" y="1603"/>
                  <a:pt x="814" y="1603"/>
                </a:cubicBezTo>
                <a:cubicBezTo>
                  <a:pt x="815" y="1603"/>
                  <a:pt x="815" y="1603"/>
                  <a:pt x="815" y="1603"/>
                </a:cubicBezTo>
                <a:cubicBezTo>
                  <a:pt x="816" y="1602"/>
                  <a:pt x="816" y="1602"/>
                  <a:pt x="816" y="1602"/>
                </a:cubicBezTo>
                <a:cubicBezTo>
                  <a:pt x="815" y="1603"/>
                  <a:pt x="815" y="1603"/>
                  <a:pt x="815" y="1603"/>
                </a:cubicBezTo>
                <a:cubicBezTo>
                  <a:pt x="814" y="1605"/>
                  <a:pt x="814" y="1605"/>
                  <a:pt x="814" y="1605"/>
                </a:cubicBezTo>
                <a:cubicBezTo>
                  <a:pt x="812" y="1605"/>
                  <a:pt x="812" y="1605"/>
                  <a:pt x="812" y="1605"/>
                </a:cubicBezTo>
                <a:cubicBezTo>
                  <a:pt x="814" y="1609"/>
                  <a:pt x="814" y="1609"/>
                  <a:pt x="814" y="1609"/>
                </a:cubicBezTo>
                <a:cubicBezTo>
                  <a:pt x="815" y="1611"/>
                  <a:pt x="815" y="1611"/>
                  <a:pt x="815" y="1611"/>
                </a:cubicBezTo>
                <a:lnTo>
                  <a:pt x="816" y="1613"/>
                </a:lnTo>
                <a:close/>
                <a:moveTo>
                  <a:pt x="1997" y="1171"/>
                </a:moveTo>
                <a:cubicBezTo>
                  <a:pt x="1998" y="1170"/>
                  <a:pt x="1998" y="1170"/>
                  <a:pt x="1998" y="1170"/>
                </a:cubicBezTo>
                <a:cubicBezTo>
                  <a:pt x="1997" y="1169"/>
                  <a:pt x="1997" y="1169"/>
                  <a:pt x="1997" y="1169"/>
                </a:cubicBezTo>
                <a:cubicBezTo>
                  <a:pt x="1997" y="1170"/>
                  <a:pt x="1997" y="1170"/>
                  <a:pt x="1997" y="1170"/>
                </a:cubicBezTo>
                <a:lnTo>
                  <a:pt x="1997" y="1171"/>
                </a:lnTo>
                <a:close/>
                <a:moveTo>
                  <a:pt x="1349" y="58"/>
                </a:moveTo>
                <a:cubicBezTo>
                  <a:pt x="1347" y="58"/>
                  <a:pt x="1347" y="58"/>
                  <a:pt x="1347" y="58"/>
                </a:cubicBezTo>
                <a:cubicBezTo>
                  <a:pt x="1345" y="61"/>
                  <a:pt x="1345" y="61"/>
                  <a:pt x="1345" y="61"/>
                </a:cubicBezTo>
                <a:cubicBezTo>
                  <a:pt x="1345" y="63"/>
                  <a:pt x="1345" y="63"/>
                  <a:pt x="1345" y="63"/>
                </a:cubicBezTo>
                <a:cubicBezTo>
                  <a:pt x="1347" y="64"/>
                  <a:pt x="1347" y="64"/>
                  <a:pt x="1347" y="64"/>
                </a:cubicBezTo>
                <a:cubicBezTo>
                  <a:pt x="1348" y="64"/>
                  <a:pt x="1348" y="64"/>
                  <a:pt x="1348" y="64"/>
                </a:cubicBezTo>
                <a:cubicBezTo>
                  <a:pt x="1350" y="66"/>
                  <a:pt x="1350" y="66"/>
                  <a:pt x="1350" y="66"/>
                </a:cubicBezTo>
                <a:cubicBezTo>
                  <a:pt x="1351" y="66"/>
                  <a:pt x="1351" y="66"/>
                  <a:pt x="1351" y="66"/>
                </a:cubicBezTo>
                <a:cubicBezTo>
                  <a:pt x="1354" y="66"/>
                  <a:pt x="1354" y="66"/>
                  <a:pt x="1354" y="66"/>
                </a:cubicBezTo>
                <a:cubicBezTo>
                  <a:pt x="1355" y="65"/>
                  <a:pt x="1355" y="65"/>
                  <a:pt x="1355" y="65"/>
                </a:cubicBezTo>
                <a:cubicBezTo>
                  <a:pt x="1356" y="63"/>
                  <a:pt x="1356" y="63"/>
                  <a:pt x="1356" y="63"/>
                </a:cubicBezTo>
                <a:cubicBezTo>
                  <a:pt x="1356" y="62"/>
                  <a:pt x="1356" y="62"/>
                  <a:pt x="1356" y="62"/>
                </a:cubicBezTo>
                <a:cubicBezTo>
                  <a:pt x="1356" y="60"/>
                  <a:pt x="1356" y="60"/>
                  <a:pt x="1356" y="60"/>
                </a:cubicBezTo>
                <a:cubicBezTo>
                  <a:pt x="1352" y="57"/>
                  <a:pt x="1352" y="57"/>
                  <a:pt x="1352" y="57"/>
                </a:cubicBezTo>
                <a:lnTo>
                  <a:pt x="1349" y="58"/>
                </a:lnTo>
                <a:close/>
                <a:moveTo>
                  <a:pt x="1336" y="276"/>
                </a:moveTo>
                <a:cubicBezTo>
                  <a:pt x="1335" y="277"/>
                  <a:pt x="1335" y="277"/>
                  <a:pt x="1335" y="277"/>
                </a:cubicBezTo>
                <a:cubicBezTo>
                  <a:pt x="1336" y="278"/>
                  <a:pt x="1336" y="278"/>
                  <a:pt x="1336" y="278"/>
                </a:cubicBezTo>
                <a:cubicBezTo>
                  <a:pt x="1337" y="278"/>
                  <a:pt x="1337" y="278"/>
                  <a:pt x="1337" y="278"/>
                </a:cubicBezTo>
                <a:cubicBezTo>
                  <a:pt x="1337" y="275"/>
                  <a:pt x="1337" y="275"/>
                  <a:pt x="1337" y="275"/>
                </a:cubicBezTo>
                <a:lnTo>
                  <a:pt x="1336" y="276"/>
                </a:lnTo>
                <a:close/>
                <a:moveTo>
                  <a:pt x="1366" y="57"/>
                </a:moveTo>
                <a:cubicBezTo>
                  <a:pt x="1367" y="57"/>
                  <a:pt x="1367" y="57"/>
                  <a:pt x="1367" y="57"/>
                </a:cubicBezTo>
                <a:cubicBezTo>
                  <a:pt x="1368" y="55"/>
                  <a:pt x="1368" y="55"/>
                  <a:pt x="1368" y="55"/>
                </a:cubicBezTo>
                <a:cubicBezTo>
                  <a:pt x="1368" y="54"/>
                  <a:pt x="1368" y="54"/>
                  <a:pt x="1368" y="54"/>
                </a:cubicBezTo>
                <a:cubicBezTo>
                  <a:pt x="1367" y="54"/>
                  <a:pt x="1367" y="54"/>
                  <a:pt x="1367" y="54"/>
                </a:cubicBezTo>
                <a:cubicBezTo>
                  <a:pt x="1366" y="55"/>
                  <a:pt x="1366" y="55"/>
                  <a:pt x="1366" y="55"/>
                </a:cubicBezTo>
                <a:lnTo>
                  <a:pt x="1366" y="57"/>
                </a:lnTo>
                <a:close/>
                <a:moveTo>
                  <a:pt x="1378" y="44"/>
                </a:moveTo>
                <a:cubicBezTo>
                  <a:pt x="1377" y="44"/>
                  <a:pt x="1377" y="44"/>
                  <a:pt x="1377" y="44"/>
                </a:cubicBezTo>
                <a:cubicBezTo>
                  <a:pt x="1376" y="42"/>
                  <a:pt x="1376" y="42"/>
                  <a:pt x="1376" y="42"/>
                </a:cubicBezTo>
                <a:cubicBezTo>
                  <a:pt x="1376" y="40"/>
                  <a:pt x="1376" y="40"/>
                  <a:pt x="1376" y="40"/>
                </a:cubicBezTo>
                <a:cubicBezTo>
                  <a:pt x="1375" y="39"/>
                  <a:pt x="1375" y="39"/>
                  <a:pt x="1375" y="39"/>
                </a:cubicBezTo>
                <a:cubicBezTo>
                  <a:pt x="1375" y="38"/>
                  <a:pt x="1375" y="38"/>
                  <a:pt x="1375" y="38"/>
                </a:cubicBezTo>
                <a:cubicBezTo>
                  <a:pt x="1376" y="38"/>
                  <a:pt x="1376" y="38"/>
                  <a:pt x="1376" y="38"/>
                </a:cubicBezTo>
                <a:cubicBezTo>
                  <a:pt x="1377" y="36"/>
                  <a:pt x="1377" y="36"/>
                  <a:pt x="1377" y="36"/>
                </a:cubicBezTo>
                <a:cubicBezTo>
                  <a:pt x="1375" y="35"/>
                  <a:pt x="1375" y="35"/>
                  <a:pt x="1375" y="35"/>
                </a:cubicBezTo>
                <a:cubicBezTo>
                  <a:pt x="1374" y="37"/>
                  <a:pt x="1374" y="37"/>
                  <a:pt x="1374" y="37"/>
                </a:cubicBezTo>
                <a:cubicBezTo>
                  <a:pt x="1372" y="37"/>
                  <a:pt x="1372" y="37"/>
                  <a:pt x="1372" y="37"/>
                </a:cubicBezTo>
                <a:cubicBezTo>
                  <a:pt x="1371" y="37"/>
                  <a:pt x="1371" y="37"/>
                  <a:pt x="1371" y="37"/>
                </a:cubicBezTo>
                <a:cubicBezTo>
                  <a:pt x="1370" y="37"/>
                  <a:pt x="1370" y="37"/>
                  <a:pt x="1370" y="37"/>
                </a:cubicBezTo>
                <a:cubicBezTo>
                  <a:pt x="1370" y="42"/>
                  <a:pt x="1370" y="42"/>
                  <a:pt x="1370" y="42"/>
                </a:cubicBezTo>
                <a:cubicBezTo>
                  <a:pt x="1369" y="44"/>
                  <a:pt x="1369" y="44"/>
                  <a:pt x="1369" y="44"/>
                </a:cubicBezTo>
                <a:cubicBezTo>
                  <a:pt x="1370" y="46"/>
                  <a:pt x="1370" y="46"/>
                  <a:pt x="1370" y="46"/>
                </a:cubicBezTo>
                <a:cubicBezTo>
                  <a:pt x="1371" y="47"/>
                  <a:pt x="1371" y="47"/>
                  <a:pt x="1371" y="47"/>
                </a:cubicBezTo>
                <a:cubicBezTo>
                  <a:pt x="1373" y="47"/>
                  <a:pt x="1373" y="47"/>
                  <a:pt x="1373" y="47"/>
                </a:cubicBezTo>
                <a:cubicBezTo>
                  <a:pt x="1376" y="47"/>
                  <a:pt x="1376" y="47"/>
                  <a:pt x="1376" y="47"/>
                </a:cubicBezTo>
                <a:cubicBezTo>
                  <a:pt x="1376" y="46"/>
                  <a:pt x="1376" y="46"/>
                  <a:pt x="1376" y="46"/>
                </a:cubicBezTo>
                <a:cubicBezTo>
                  <a:pt x="1377" y="47"/>
                  <a:pt x="1377" y="47"/>
                  <a:pt x="1377" y="47"/>
                </a:cubicBezTo>
                <a:cubicBezTo>
                  <a:pt x="1378" y="48"/>
                  <a:pt x="1378" y="48"/>
                  <a:pt x="1378" y="48"/>
                </a:cubicBezTo>
                <a:cubicBezTo>
                  <a:pt x="1379" y="46"/>
                  <a:pt x="1379" y="46"/>
                  <a:pt x="1379" y="46"/>
                </a:cubicBezTo>
                <a:cubicBezTo>
                  <a:pt x="1380" y="45"/>
                  <a:pt x="1380" y="45"/>
                  <a:pt x="1380" y="45"/>
                </a:cubicBezTo>
                <a:cubicBezTo>
                  <a:pt x="1380" y="42"/>
                  <a:pt x="1380" y="42"/>
                  <a:pt x="1380" y="42"/>
                </a:cubicBezTo>
                <a:cubicBezTo>
                  <a:pt x="1379" y="42"/>
                  <a:pt x="1379" y="42"/>
                  <a:pt x="1379" y="42"/>
                </a:cubicBezTo>
                <a:cubicBezTo>
                  <a:pt x="1378" y="43"/>
                  <a:pt x="1378" y="43"/>
                  <a:pt x="1378" y="43"/>
                </a:cubicBezTo>
                <a:lnTo>
                  <a:pt x="1378" y="44"/>
                </a:lnTo>
                <a:close/>
                <a:moveTo>
                  <a:pt x="1373" y="6"/>
                </a:moveTo>
                <a:cubicBezTo>
                  <a:pt x="1372" y="5"/>
                  <a:pt x="1372" y="5"/>
                  <a:pt x="1372" y="5"/>
                </a:cubicBezTo>
                <a:cubicBezTo>
                  <a:pt x="1371" y="7"/>
                  <a:pt x="1371" y="7"/>
                  <a:pt x="1371" y="7"/>
                </a:cubicBezTo>
                <a:cubicBezTo>
                  <a:pt x="1371" y="7"/>
                  <a:pt x="1371" y="7"/>
                  <a:pt x="1371" y="7"/>
                </a:cubicBezTo>
                <a:cubicBezTo>
                  <a:pt x="1372" y="8"/>
                  <a:pt x="1372" y="8"/>
                  <a:pt x="1372" y="8"/>
                </a:cubicBezTo>
                <a:cubicBezTo>
                  <a:pt x="1372" y="9"/>
                  <a:pt x="1372" y="9"/>
                  <a:pt x="1372" y="9"/>
                </a:cubicBezTo>
                <a:cubicBezTo>
                  <a:pt x="1371" y="10"/>
                  <a:pt x="1371" y="10"/>
                  <a:pt x="1371" y="10"/>
                </a:cubicBezTo>
                <a:cubicBezTo>
                  <a:pt x="1371" y="13"/>
                  <a:pt x="1371" y="13"/>
                  <a:pt x="1371" y="13"/>
                </a:cubicBezTo>
                <a:cubicBezTo>
                  <a:pt x="1373" y="15"/>
                  <a:pt x="1373" y="15"/>
                  <a:pt x="1373" y="15"/>
                </a:cubicBezTo>
                <a:cubicBezTo>
                  <a:pt x="1373" y="19"/>
                  <a:pt x="1373" y="19"/>
                  <a:pt x="1373" y="19"/>
                </a:cubicBezTo>
                <a:cubicBezTo>
                  <a:pt x="1372" y="21"/>
                  <a:pt x="1372" y="21"/>
                  <a:pt x="1372" y="21"/>
                </a:cubicBezTo>
                <a:cubicBezTo>
                  <a:pt x="1372" y="23"/>
                  <a:pt x="1372" y="23"/>
                  <a:pt x="1372" y="23"/>
                </a:cubicBezTo>
                <a:cubicBezTo>
                  <a:pt x="1373" y="24"/>
                  <a:pt x="1373" y="24"/>
                  <a:pt x="1373" y="24"/>
                </a:cubicBezTo>
                <a:cubicBezTo>
                  <a:pt x="1374" y="23"/>
                  <a:pt x="1374" y="23"/>
                  <a:pt x="1374" y="23"/>
                </a:cubicBezTo>
                <a:cubicBezTo>
                  <a:pt x="1374" y="20"/>
                  <a:pt x="1374" y="20"/>
                  <a:pt x="1374" y="20"/>
                </a:cubicBezTo>
                <a:cubicBezTo>
                  <a:pt x="1375" y="19"/>
                  <a:pt x="1375" y="19"/>
                  <a:pt x="1375" y="19"/>
                </a:cubicBezTo>
                <a:cubicBezTo>
                  <a:pt x="1375" y="16"/>
                  <a:pt x="1375" y="16"/>
                  <a:pt x="1375" y="16"/>
                </a:cubicBezTo>
                <a:cubicBezTo>
                  <a:pt x="1373" y="14"/>
                  <a:pt x="1373" y="14"/>
                  <a:pt x="1373" y="14"/>
                </a:cubicBezTo>
                <a:cubicBezTo>
                  <a:pt x="1373" y="10"/>
                  <a:pt x="1373" y="10"/>
                  <a:pt x="1373" y="10"/>
                </a:cubicBezTo>
                <a:cubicBezTo>
                  <a:pt x="1374" y="8"/>
                  <a:pt x="1374" y="8"/>
                  <a:pt x="1374" y="8"/>
                </a:cubicBezTo>
                <a:lnTo>
                  <a:pt x="1373" y="6"/>
                </a:lnTo>
                <a:close/>
                <a:moveTo>
                  <a:pt x="1323" y="82"/>
                </a:moveTo>
                <a:cubicBezTo>
                  <a:pt x="1326" y="85"/>
                  <a:pt x="1326" y="85"/>
                  <a:pt x="1326" y="85"/>
                </a:cubicBezTo>
                <a:cubicBezTo>
                  <a:pt x="1330" y="85"/>
                  <a:pt x="1330" y="85"/>
                  <a:pt x="1330" y="85"/>
                </a:cubicBezTo>
                <a:cubicBezTo>
                  <a:pt x="1331" y="85"/>
                  <a:pt x="1331" y="85"/>
                  <a:pt x="1331" y="85"/>
                </a:cubicBezTo>
                <a:cubicBezTo>
                  <a:pt x="1330" y="84"/>
                  <a:pt x="1330" y="84"/>
                  <a:pt x="1330" y="84"/>
                </a:cubicBezTo>
                <a:cubicBezTo>
                  <a:pt x="1325" y="81"/>
                  <a:pt x="1325" y="81"/>
                  <a:pt x="1325" y="81"/>
                </a:cubicBezTo>
                <a:cubicBezTo>
                  <a:pt x="1319" y="80"/>
                  <a:pt x="1319" y="80"/>
                  <a:pt x="1319" y="80"/>
                </a:cubicBezTo>
                <a:cubicBezTo>
                  <a:pt x="1318" y="80"/>
                  <a:pt x="1318" y="80"/>
                  <a:pt x="1318" y="80"/>
                </a:cubicBezTo>
                <a:cubicBezTo>
                  <a:pt x="1318" y="82"/>
                  <a:pt x="1318" y="82"/>
                  <a:pt x="1318" y="82"/>
                </a:cubicBezTo>
                <a:cubicBezTo>
                  <a:pt x="1315" y="82"/>
                  <a:pt x="1315" y="82"/>
                  <a:pt x="1315" y="82"/>
                </a:cubicBezTo>
                <a:cubicBezTo>
                  <a:pt x="1314" y="83"/>
                  <a:pt x="1314" y="83"/>
                  <a:pt x="1314" y="83"/>
                </a:cubicBezTo>
                <a:cubicBezTo>
                  <a:pt x="1315" y="85"/>
                  <a:pt x="1315" y="85"/>
                  <a:pt x="1315" y="85"/>
                </a:cubicBezTo>
                <a:cubicBezTo>
                  <a:pt x="1318" y="85"/>
                  <a:pt x="1318" y="85"/>
                  <a:pt x="1318" y="85"/>
                </a:cubicBezTo>
                <a:cubicBezTo>
                  <a:pt x="1320" y="88"/>
                  <a:pt x="1320" y="88"/>
                  <a:pt x="1320" y="88"/>
                </a:cubicBezTo>
                <a:cubicBezTo>
                  <a:pt x="1323" y="89"/>
                  <a:pt x="1323" y="89"/>
                  <a:pt x="1323" y="89"/>
                </a:cubicBezTo>
                <a:cubicBezTo>
                  <a:pt x="1327" y="88"/>
                  <a:pt x="1327" y="88"/>
                  <a:pt x="1327" y="88"/>
                </a:cubicBezTo>
                <a:cubicBezTo>
                  <a:pt x="1333" y="89"/>
                  <a:pt x="1333" y="89"/>
                  <a:pt x="1333" y="89"/>
                </a:cubicBezTo>
                <a:cubicBezTo>
                  <a:pt x="1335" y="88"/>
                  <a:pt x="1335" y="88"/>
                  <a:pt x="1335" y="88"/>
                </a:cubicBezTo>
                <a:cubicBezTo>
                  <a:pt x="1335" y="87"/>
                  <a:pt x="1335" y="87"/>
                  <a:pt x="1335" y="87"/>
                </a:cubicBezTo>
                <a:cubicBezTo>
                  <a:pt x="1333" y="87"/>
                  <a:pt x="1333" y="87"/>
                  <a:pt x="1333" y="87"/>
                </a:cubicBezTo>
                <a:cubicBezTo>
                  <a:pt x="1328" y="87"/>
                  <a:pt x="1328" y="87"/>
                  <a:pt x="1328" y="87"/>
                </a:cubicBezTo>
                <a:cubicBezTo>
                  <a:pt x="1326" y="86"/>
                  <a:pt x="1326" y="86"/>
                  <a:pt x="1326" y="86"/>
                </a:cubicBezTo>
                <a:cubicBezTo>
                  <a:pt x="1323" y="85"/>
                  <a:pt x="1323" y="85"/>
                  <a:pt x="1323" y="85"/>
                </a:cubicBezTo>
                <a:cubicBezTo>
                  <a:pt x="1321" y="84"/>
                  <a:pt x="1321" y="84"/>
                  <a:pt x="1321" y="84"/>
                </a:cubicBezTo>
                <a:cubicBezTo>
                  <a:pt x="1320" y="83"/>
                  <a:pt x="1320" y="83"/>
                  <a:pt x="1320" y="83"/>
                </a:cubicBezTo>
                <a:cubicBezTo>
                  <a:pt x="1321" y="82"/>
                  <a:pt x="1321" y="82"/>
                  <a:pt x="1321" y="82"/>
                </a:cubicBezTo>
                <a:lnTo>
                  <a:pt x="1323" y="82"/>
                </a:lnTo>
                <a:close/>
                <a:moveTo>
                  <a:pt x="1345" y="88"/>
                </a:moveTo>
                <a:cubicBezTo>
                  <a:pt x="1346" y="89"/>
                  <a:pt x="1346" y="89"/>
                  <a:pt x="1346" y="89"/>
                </a:cubicBezTo>
                <a:cubicBezTo>
                  <a:pt x="1347" y="88"/>
                  <a:pt x="1347" y="88"/>
                  <a:pt x="1347" y="88"/>
                </a:cubicBezTo>
                <a:cubicBezTo>
                  <a:pt x="1347" y="87"/>
                  <a:pt x="1347" y="87"/>
                  <a:pt x="1347" y="87"/>
                </a:cubicBezTo>
                <a:cubicBezTo>
                  <a:pt x="1345" y="88"/>
                  <a:pt x="1345" y="88"/>
                  <a:pt x="1345" y="88"/>
                </a:cubicBezTo>
                <a:close/>
                <a:moveTo>
                  <a:pt x="1342" y="93"/>
                </a:moveTo>
                <a:cubicBezTo>
                  <a:pt x="1339" y="91"/>
                  <a:pt x="1339" y="91"/>
                  <a:pt x="1339" y="91"/>
                </a:cubicBezTo>
                <a:cubicBezTo>
                  <a:pt x="1338" y="91"/>
                  <a:pt x="1338" y="91"/>
                  <a:pt x="1338" y="91"/>
                </a:cubicBezTo>
                <a:cubicBezTo>
                  <a:pt x="1335" y="89"/>
                  <a:pt x="1335" y="89"/>
                  <a:pt x="1335" y="89"/>
                </a:cubicBezTo>
                <a:cubicBezTo>
                  <a:pt x="1333" y="89"/>
                  <a:pt x="1333" y="89"/>
                  <a:pt x="1333" y="89"/>
                </a:cubicBezTo>
                <a:cubicBezTo>
                  <a:pt x="1329" y="90"/>
                  <a:pt x="1329" y="90"/>
                  <a:pt x="1329" y="90"/>
                </a:cubicBezTo>
                <a:cubicBezTo>
                  <a:pt x="1327" y="89"/>
                  <a:pt x="1327" y="89"/>
                  <a:pt x="1327" y="89"/>
                </a:cubicBezTo>
                <a:cubicBezTo>
                  <a:pt x="1324" y="90"/>
                  <a:pt x="1324" y="90"/>
                  <a:pt x="1324" y="90"/>
                </a:cubicBezTo>
                <a:cubicBezTo>
                  <a:pt x="1323" y="89"/>
                  <a:pt x="1323" y="89"/>
                  <a:pt x="1323" y="89"/>
                </a:cubicBezTo>
                <a:cubicBezTo>
                  <a:pt x="1323" y="89"/>
                  <a:pt x="1322" y="90"/>
                  <a:pt x="1322" y="90"/>
                </a:cubicBezTo>
                <a:cubicBezTo>
                  <a:pt x="1323" y="91"/>
                  <a:pt x="1323" y="91"/>
                  <a:pt x="1323" y="91"/>
                </a:cubicBezTo>
                <a:cubicBezTo>
                  <a:pt x="1326" y="91"/>
                  <a:pt x="1326" y="91"/>
                  <a:pt x="1326" y="91"/>
                </a:cubicBezTo>
                <a:cubicBezTo>
                  <a:pt x="1328" y="93"/>
                  <a:pt x="1328" y="93"/>
                  <a:pt x="1328" y="93"/>
                </a:cubicBezTo>
                <a:cubicBezTo>
                  <a:pt x="1331" y="93"/>
                  <a:pt x="1331" y="93"/>
                  <a:pt x="1331" y="93"/>
                </a:cubicBezTo>
                <a:cubicBezTo>
                  <a:pt x="1333" y="94"/>
                  <a:pt x="1333" y="94"/>
                  <a:pt x="1333" y="94"/>
                </a:cubicBezTo>
                <a:cubicBezTo>
                  <a:pt x="1335" y="94"/>
                  <a:pt x="1335" y="94"/>
                  <a:pt x="1335" y="94"/>
                </a:cubicBezTo>
                <a:cubicBezTo>
                  <a:pt x="1335" y="94"/>
                  <a:pt x="1335" y="94"/>
                  <a:pt x="1335" y="94"/>
                </a:cubicBezTo>
                <a:cubicBezTo>
                  <a:pt x="1335" y="96"/>
                  <a:pt x="1335" y="96"/>
                  <a:pt x="1335" y="96"/>
                </a:cubicBezTo>
                <a:cubicBezTo>
                  <a:pt x="1337" y="97"/>
                  <a:pt x="1337" y="97"/>
                  <a:pt x="1337" y="97"/>
                </a:cubicBezTo>
                <a:cubicBezTo>
                  <a:pt x="1339" y="96"/>
                  <a:pt x="1339" y="96"/>
                  <a:pt x="1339" y="96"/>
                </a:cubicBezTo>
                <a:cubicBezTo>
                  <a:pt x="1340" y="97"/>
                  <a:pt x="1340" y="97"/>
                  <a:pt x="1340" y="97"/>
                </a:cubicBezTo>
                <a:cubicBezTo>
                  <a:pt x="1341" y="96"/>
                  <a:pt x="1341" y="96"/>
                  <a:pt x="1341" y="96"/>
                </a:cubicBezTo>
                <a:cubicBezTo>
                  <a:pt x="1341" y="95"/>
                  <a:pt x="1341" y="95"/>
                  <a:pt x="1341" y="95"/>
                </a:cubicBezTo>
                <a:cubicBezTo>
                  <a:pt x="1341" y="94"/>
                  <a:pt x="1341" y="94"/>
                  <a:pt x="1341" y="94"/>
                </a:cubicBezTo>
                <a:cubicBezTo>
                  <a:pt x="1341" y="93"/>
                  <a:pt x="1341" y="93"/>
                  <a:pt x="1341" y="93"/>
                </a:cubicBezTo>
                <a:lnTo>
                  <a:pt x="1342" y="93"/>
                </a:lnTo>
                <a:close/>
                <a:moveTo>
                  <a:pt x="2008" y="1206"/>
                </a:moveTo>
                <a:cubicBezTo>
                  <a:pt x="2008" y="1207"/>
                  <a:pt x="2008" y="1207"/>
                  <a:pt x="2008" y="1207"/>
                </a:cubicBezTo>
                <a:cubicBezTo>
                  <a:pt x="2008" y="1209"/>
                  <a:pt x="2008" y="1209"/>
                  <a:pt x="2008" y="1209"/>
                </a:cubicBezTo>
                <a:cubicBezTo>
                  <a:pt x="2008" y="1210"/>
                  <a:pt x="2008" y="1210"/>
                  <a:pt x="2008" y="1210"/>
                </a:cubicBezTo>
                <a:cubicBezTo>
                  <a:pt x="2009" y="1208"/>
                  <a:pt x="2009" y="1208"/>
                  <a:pt x="2009" y="1208"/>
                </a:cubicBezTo>
                <a:cubicBezTo>
                  <a:pt x="2009" y="1207"/>
                  <a:pt x="2009" y="1207"/>
                  <a:pt x="2009" y="1207"/>
                </a:cubicBezTo>
                <a:cubicBezTo>
                  <a:pt x="2010" y="1205"/>
                  <a:pt x="2010" y="1205"/>
                  <a:pt x="2010" y="1205"/>
                </a:cubicBezTo>
                <a:cubicBezTo>
                  <a:pt x="2009" y="1206"/>
                  <a:pt x="2009" y="1206"/>
                  <a:pt x="2009" y="1206"/>
                </a:cubicBezTo>
                <a:lnTo>
                  <a:pt x="2008" y="1206"/>
                </a:lnTo>
                <a:close/>
                <a:moveTo>
                  <a:pt x="297" y="309"/>
                </a:moveTo>
                <a:cubicBezTo>
                  <a:pt x="296" y="311"/>
                  <a:pt x="296" y="311"/>
                  <a:pt x="296" y="311"/>
                </a:cubicBezTo>
                <a:cubicBezTo>
                  <a:pt x="297" y="311"/>
                  <a:pt x="297" y="311"/>
                  <a:pt x="297" y="311"/>
                </a:cubicBezTo>
                <a:lnTo>
                  <a:pt x="297" y="309"/>
                </a:lnTo>
                <a:close/>
                <a:moveTo>
                  <a:pt x="1995" y="1172"/>
                </a:moveTo>
                <a:cubicBezTo>
                  <a:pt x="1996" y="1170"/>
                  <a:pt x="1996" y="1170"/>
                  <a:pt x="1996" y="1170"/>
                </a:cubicBezTo>
                <a:cubicBezTo>
                  <a:pt x="1995" y="1170"/>
                  <a:pt x="1995" y="1170"/>
                  <a:pt x="1995" y="1170"/>
                </a:cubicBezTo>
                <a:cubicBezTo>
                  <a:pt x="1994" y="1169"/>
                  <a:pt x="1994" y="1169"/>
                  <a:pt x="1994" y="1169"/>
                </a:cubicBezTo>
                <a:cubicBezTo>
                  <a:pt x="1994" y="1169"/>
                  <a:pt x="1994" y="1169"/>
                  <a:pt x="1994" y="1169"/>
                </a:cubicBezTo>
                <a:cubicBezTo>
                  <a:pt x="1993" y="1171"/>
                  <a:pt x="1993" y="1171"/>
                  <a:pt x="1993" y="1171"/>
                </a:cubicBezTo>
                <a:cubicBezTo>
                  <a:pt x="1994" y="1171"/>
                  <a:pt x="1994" y="1171"/>
                  <a:pt x="1994" y="1171"/>
                </a:cubicBezTo>
                <a:lnTo>
                  <a:pt x="1995" y="1172"/>
                </a:lnTo>
                <a:close/>
                <a:moveTo>
                  <a:pt x="1384" y="956"/>
                </a:moveTo>
                <a:cubicBezTo>
                  <a:pt x="1383" y="956"/>
                  <a:pt x="1383" y="956"/>
                  <a:pt x="1383" y="956"/>
                </a:cubicBezTo>
                <a:cubicBezTo>
                  <a:pt x="1383" y="957"/>
                  <a:pt x="1383" y="957"/>
                  <a:pt x="1383" y="957"/>
                </a:cubicBezTo>
                <a:cubicBezTo>
                  <a:pt x="1383" y="958"/>
                  <a:pt x="1383" y="958"/>
                  <a:pt x="1383" y="958"/>
                </a:cubicBezTo>
                <a:cubicBezTo>
                  <a:pt x="1384" y="959"/>
                  <a:pt x="1384" y="959"/>
                  <a:pt x="1384" y="959"/>
                </a:cubicBezTo>
                <a:cubicBezTo>
                  <a:pt x="1385" y="959"/>
                  <a:pt x="1385" y="959"/>
                  <a:pt x="1385" y="959"/>
                </a:cubicBezTo>
                <a:cubicBezTo>
                  <a:pt x="1385" y="957"/>
                  <a:pt x="1385" y="957"/>
                  <a:pt x="1385" y="957"/>
                </a:cubicBezTo>
                <a:lnTo>
                  <a:pt x="1384" y="956"/>
                </a:lnTo>
                <a:close/>
                <a:moveTo>
                  <a:pt x="1999" y="1165"/>
                </a:moveTo>
                <a:cubicBezTo>
                  <a:pt x="1999" y="1164"/>
                  <a:pt x="1999" y="1164"/>
                  <a:pt x="1999" y="1164"/>
                </a:cubicBezTo>
                <a:cubicBezTo>
                  <a:pt x="1997" y="1166"/>
                  <a:pt x="1997" y="1166"/>
                  <a:pt x="1997" y="1166"/>
                </a:cubicBezTo>
                <a:cubicBezTo>
                  <a:pt x="1998" y="1167"/>
                  <a:pt x="1998" y="1167"/>
                  <a:pt x="1998" y="1167"/>
                </a:cubicBezTo>
                <a:lnTo>
                  <a:pt x="1999" y="1165"/>
                </a:lnTo>
                <a:close/>
                <a:moveTo>
                  <a:pt x="2012" y="1187"/>
                </a:moveTo>
                <a:cubicBezTo>
                  <a:pt x="2012" y="1185"/>
                  <a:pt x="2012" y="1185"/>
                  <a:pt x="2012" y="1185"/>
                </a:cubicBezTo>
                <a:cubicBezTo>
                  <a:pt x="2013" y="1185"/>
                  <a:pt x="2013" y="1185"/>
                  <a:pt x="2013" y="1185"/>
                </a:cubicBezTo>
                <a:cubicBezTo>
                  <a:pt x="2013" y="1182"/>
                  <a:pt x="2013" y="1182"/>
                  <a:pt x="2013" y="1182"/>
                </a:cubicBezTo>
                <a:cubicBezTo>
                  <a:pt x="2012" y="1180"/>
                  <a:pt x="2012" y="1180"/>
                  <a:pt x="2012" y="1180"/>
                </a:cubicBezTo>
                <a:cubicBezTo>
                  <a:pt x="2012" y="1179"/>
                  <a:pt x="2012" y="1179"/>
                  <a:pt x="2012" y="1179"/>
                </a:cubicBezTo>
                <a:cubicBezTo>
                  <a:pt x="2013" y="1173"/>
                  <a:pt x="2013" y="1173"/>
                  <a:pt x="2013" y="1173"/>
                </a:cubicBezTo>
                <a:cubicBezTo>
                  <a:pt x="2011" y="1171"/>
                  <a:pt x="2011" y="1171"/>
                  <a:pt x="2011" y="1171"/>
                </a:cubicBezTo>
                <a:cubicBezTo>
                  <a:pt x="2011" y="1167"/>
                  <a:pt x="2011" y="1167"/>
                  <a:pt x="2011" y="1167"/>
                </a:cubicBezTo>
                <a:cubicBezTo>
                  <a:pt x="2010" y="1165"/>
                  <a:pt x="2010" y="1165"/>
                  <a:pt x="2010" y="1165"/>
                </a:cubicBezTo>
                <a:cubicBezTo>
                  <a:pt x="2009" y="1166"/>
                  <a:pt x="2009" y="1166"/>
                  <a:pt x="2009" y="1166"/>
                </a:cubicBezTo>
                <a:cubicBezTo>
                  <a:pt x="2008" y="1163"/>
                  <a:pt x="2008" y="1163"/>
                  <a:pt x="2008" y="1163"/>
                </a:cubicBezTo>
                <a:cubicBezTo>
                  <a:pt x="2007" y="1161"/>
                  <a:pt x="2007" y="1161"/>
                  <a:pt x="2007" y="1161"/>
                </a:cubicBezTo>
                <a:cubicBezTo>
                  <a:pt x="2006" y="1161"/>
                  <a:pt x="2006" y="1161"/>
                  <a:pt x="2006" y="1161"/>
                </a:cubicBezTo>
                <a:cubicBezTo>
                  <a:pt x="2007" y="1159"/>
                  <a:pt x="2007" y="1159"/>
                  <a:pt x="2007" y="1159"/>
                </a:cubicBezTo>
                <a:cubicBezTo>
                  <a:pt x="2006" y="1156"/>
                  <a:pt x="2006" y="1156"/>
                  <a:pt x="2006" y="1156"/>
                </a:cubicBezTo>
                <a:cubicBezTo>
                  <a:pt x="2003" y="1159"/>
                  <a:pt x="2003" y="1159"/>
                  <a:pt x="2003" y="1159"/>
                </a:cubicBezTo>
                <a:cubicBezTo>
                  <a:pt x="2004" y="1160"/>
                  <a:pt x="2004" y="1160"/>
                  <a:pt x="2004" y="1160"/>
                </a:cubicBezTo>
                <a:cubicBezTo>
                  <a:pt x="2002" y="1161"/>
                  <a:pt x="2002" y="1161"/>
                  <a:pt x="2002" y="1161"/>
                </a:cubicBezTo>
                <a:cubicBezTo>
                  <a:pt x="2000" y="1160"/>
                  <a:pt x="2000" y="1160"/>
                  <a:pt x="2000" y="1160"/>
                </a:cubicBezTo>
                <a:cubicBezTo>
                  <a:pt x="1999" y="1160"/>
                  <a:pt x="1999" y="1160"/>
                  <a:pt x="1999" y="1160"/>
                </a:cubicBezTo>
                <a:cubicBezTo>
                  <a:pt x="2001" y="1163"/>
                  <a:pt x="2001" y="1163"/>
                  <a:pt x="2001" y="1163"/>
                </a:cubicBezTo>
                <a:cubicBezTo>
                  <a:pt x="2001" y="1164"/>
                  <a:pt x="2001" y="1164"/>
                  <a:pt x="2001" y="1164"/>
                </a:cubicBezTo>
                <a:cubicBezTo>
                  <a:pt x="2002" y="1165"/>
                  <a:pt x="2002" y="1165"/>
                  <a:pt x="2002" y="1165"/>
                </a:cubicBezTo>
                <a:cubicBezTo>
                  <a:pt x="2002" y="1166"/>
                  <a:pt x="2002" y="1166"/>
                  <a:pt x="2002" y="1166"/>
                </a:cubicBezTo>
                <a:cubicBezTo>
                  <a:pt x="2000" y="1168"/>
                  <a:pt x="2000" y="1168"/>
                  <a:pt x="2000" y="1168"/>
                </a:cubicBezTo>
                <a:cubicBezTo>
                  <a:pt x="2000" y="1171"/>
                  <a:pt x="2000" y="1171"/>
                  <a:pt x="2000" y="1171"/>
                </a:cubicBezTo>
                <a:cubicBezTo>
                  <a:pt x="1999" y="1173"/>
                  <a:pt x="1999" y="1173"/>
                  <a:pt x="1999" y="1173"/>
                </a:cubicBezTo>
                <a:cubicBezTo>
                  <a:pt x="1998" y="1172"/>
                  <a:pt x="1998" y="1172"/>
                  <a:pt x="1998" y="1172"/>
                </a:cubicBezTo>
                <a:cubicBezTo>
                  <a:pt x="1996" y="1174"/>
                  <a:pt x="1996" y="1174"/>
                  <a:pt x="1996" y="1174"/>
                </a:cubicBezTo>
                <a:cubicBezTo>
                  <a:pt x="1996" y="1176"/>
                  <a:pt x="1996" y="1176"/>
                  <a:pt x="1996" y="1176"/>
                </a:cubicBezTo>
                <a:cubicBezTo>
                  <a:pt x="1994" y="1177"/>
                  <a:pt x="1994" y="1177"/>
                  <a:pt x="1994" y="1177"/>
                </a:cubicBezTo>
                <a:cubicBezTo>
                  <a:pt x="1993" y="1176"/>
                  <a:pt x="1993" y="1176"/>
                  <a:pt x="1993" y="1176"/>
                </a:cubicBezTo>
                <a:cubicBezTo>
                  <a:pt x="1993" y="1174"/>
                  <a:pt x="1993" y="1174"/>
                  <a:pt x="1993" y="1174"/>
                </a:cubicBezTo>
                <a:cubicBezTo>
                  <a:pt x="1992" y="1173"/>
                  <a:pt x="1992" y="1173"/>
                  <a:pt x="1992" y="1173"/>
                </a:cubicBezTo>
                <a:cubicBezTo>
                  <a:pt x="1991" y="1175"/>
                  <a:pt x="1991" y="1175"/>
                  <a:pt x="1991" y="1175"/>
                </a:cubicBezTo>
                <a:cubicBezTo>
                  <a:pt x="1991" y="1177"/>
                  <a:pt x="1991" y="1177"/>
                  <a:pt x="1991" y="1177"/>
                </a:cubicBezTo>
                <a:cubicBezTo>
                  <a:pt x="1993" y="1179"/>
                  <a:pt x="1993" y="1179"/>
                  <a:pt x="1993" y="1179"/>
                </a:cubicBezTo>
                <a:cubicBezTo>
                  <a:pt x="1993" y="1180"/>
                  <a:pt x="1993" y="1180"/>
                  <a:pt x="1993" y="1180"/>
                </a:cubicBezTo>
                <a:cubicBezTo>
                  <a:pt x="1992" y="1181"/>
                  <a:pt x="1992" y="1181"/>
                  <a:pt x="1992" y="1181"/>
                </a:cubicBezTo>
                <a:cubicBezTo>
                  <a:pt x="1991" y="1180"/>
                  <a:pt x="1991" y="1180"/>
                  <a:pt x="1991" y="1180"/>
                </a:cubicBezTo>
                <a:cubicBezTo>
                  <a:pt x="1989" y="1181"/>
                  <a:pt x="1989" y="1181"/>
                  <a:pt x="1989" y="1181"/>
                </a:cubicBezTo>
                <a:cubicBezTo>
                  <a:pt x="1990" y="1183"/>
                  <a:pt x="1990" y="1183"/>
                  <a:pt x="1990" y="1183"/>
                </a:cubicBezTo>
                <a:cubicBezTo>
                  <a:pt x="1992" y="1183"/>
                  <a:pt x="1992" y="1183"/>
                  <a:pt x="1992" y="1183"/>
                </a:cubicBezTo>
                <a:cubicBezTo>
                  <a:pt x="1992" y="1184"/>
                  <a:pt x="1992" y="1184"/>
                  <a:pt x="1992" y="1184"/>
                </a:cubicBezTo>
                <a:cubicBezTo>
                  <a:pt x="1991" y="1186"/>
                  <a:pt x="1991" y="1186"/>
                  <a:pt x="1991" y="1186"/>
                </a:cubicBezTo>
                <a:cubicBezTo>
                  <a:pt x="1990" y="1184"/>
                  <a:pt x="1990" y="1184"/>
                  <a:pt x="1990" y="1184"/>
                </a:cubicBezTo>
                <a:cubicBezTo>
                  <a:pt x="1989" y="1185"/>
                  <a:pt x="1989" y="1185"/>
                  <a:pt x="1989" y="1185"/>
                </a:cubicBezTo>
                <a:cubicBezTo>
                  <a:pt x="1988" y="1186"/>
                  <a:pt x="1988" y="1186"/>
                  <a:pt x="1988" y="1186"/>
                </a:cubicBezTo>
                <a:cubicBezTo>
                  <a:pt x="1985" y="1189"/>
                  <a:pt x="1985" y="1189"/>
                  <a:pt x="1985" y="1189"/>
                </a:cubicBezTo>
                <a:cubicBezTo>
                  <a:pt x="1985" y="1186"/>
                  <a:pt x="1985" y="1186"/>
                  <a:pt x="1985" y="1186"/>
                </a:cubicBezTo>
                <a:cubicBezTo>
                  <a:pt x="1986" y="1186"/>
                  <a:pt x="1986" y="1186"/>
                  <a:pt x="1986" y="1186"/>
                </a:cubicBezTo>
                <a:cubicBezTo>
                  <a:pt x="1985" y="1184"/>
                  <a:pt x="1985" y="1184"/>
                  <a:pt x="1985" y="1184"/>
                </a:cubicBezTo>
                <a:cubicBezTo>
                  <a:pt x="1983" y="1186"/>
                  <a:pt x="1983" y="1186"/>
                  <a:pt x="1983" y="1186"/>
                </a:cubicBezTo>
                <a:cubicBezTo>
                  <a:pt x="1984" y="1187"/>
                  <a:pt x="1984" y="1187"/>
                  <a:pt x="1984" y="1187"/>
                </a:cubicBezTo>
                <a:cubicBezTo>
                  <a:pt x="1984" y="1188"/>
                  <a:pt x="1984" y="1188"/>
                  <a:pt x="1984" y="1188"/>
                </a:cubicBezTo>
                <a:cubicBezTo>
                  <a:pt x="1982" y="1189"/>
                  <a:pt x="1982" y="1189"/>
                  <a:pt x="1982" y="1189"/>
                </a:cubicBezTo>
                <a:cubicBezTo>
                  <a:pt x="1983" y="1191"/>
                  <a:pt x="1983" y="1191"/>
                  <a:pt x="1983" y="1191"/>
                </a:cubicBezTo>
                <a:cubicBezTo>
                  <a:pt x="1984" y="1192"/>
                  <a:pt x="1984" y="1192"/>
                  <a:pt x="1984" y="1192"/>
                </a:cubicBezTo>
                <a:cubicBezTo>
                  <a:pt x="1984" y="1193"/>
                  <a:pt x="1984" y="1193"/>
                  <a:pt x="1984" y="1193"/>
                </a:cubicBezTo>
                <a:cubicBezTo>
                  <a:pt x="1983" y="1193"/>
                  <a:pt x="1983" y="1193"/>
                  <a:pt x="1983" y="1193"/>
                </a:cubicBezTo>
                <a:cubicBezTo>
                  <a:pt x="1981" y="1194"/>
                  <a:pt x="1981" y="1194"/>
                  <a:pt x="1981" y="1194"/>
                </a:cubicBezTo>
                <a:cubicBezTo>
                  <a:pt x="1981" y="1193"/>
                  <a:pt x="1981" y="1193"/>
                  <a:pt x="1981" y="1193"/>
                </a:cubicBezTo>
                <a:cubicBezTo>
                  <a:pt x="1980" y="1192"/>
                  <a:pt x="1980" y="1192"/>
                  <a:pt x="1980" y="1192"/>
                </a:cubicBezTo>
                <a:cubicBezTo>
                  <a:pt x="1981" y="1191"/>
                  <a:pt x="1981" y="1191"/>
                  <a:pt x="1981" y="1191"/>
                </a:cubicBezTo>
                <a:cubicBezTo>
                  <a:pt x="1980" y="1190"/>
                  <a:pt x="1980" y="1190"/>
                  <a:pt x="1980" y="1190"/>
                </a:cubicBezTo>
                <a:cubicBezTo>
                  <a:pt x="1976" y="1193"/>
                  <a:pt x="1976" y="1193"/>
                  <a:pt x="1976" y="1193"/>
                </a:cubicBezTo>
                <a:cubicBezTo>
                  <a:pt x="1976" y="1196"/>
                  <a:pt x="1976" y="1196"/>
                  <a:pt x="1976" y="1196"/>
                </a:cubicBezTo>
                <a:cubicBezTo>
                  <a:pt x="1976" y="1197"/>
                  <a:pt x="1976" y="1197"/>
                  <a:pt x="1976" y="1197"/>
                </a:cubicBezTo>
                <a:cubicBezTo>
                  <a:pt x="1975" y="1199"/>
                  <a:pt x="1975" y="1199"/>
                  <a:pt x="1975" y="1199"/>
                </a:cubicBezTo>
                <a:cubicBezTo>
                  <a:pt x="1974" y="1198"/>
                  <a:pt x="1974" y="1198"/>
                  <a:pt x="1974" y="1198"/>
                </a:cubicBezTo>
                <a:cubicBezTo>
                  <a:pt x="1973" y="1198"/>
                  <a:pt x="1973" y="1198"/>
                  <a:pt x="1973" y="1198"/>
                </a:cubicBezTo>
                <a:cubicBezTo>
                  <a:pt x="1973" y="1195"/>
                  <a:pt x="1973" y="1195"/>
                  <a:pt x="1973" y="1195"/>
                </a:cubicBezTo>
                <a:cubicBezTo>
                  <a:pt x="1972" y="1195"/>
                  <a:pt x="1972" y="1195"/>
                  <a:pt x="1972" y="1195"/>
                </a:cubicBezTo>
                <a:cubicBezTo>
                  <a:pt x="1970" y="1197"/>
                  <a:pt x="1970" y="1197"/>
                  <a:pt x="1970" y="1197"/>
                </a:cubicBezTo>
                <a:cubicBezTo>
                  <a:pt x="1967" y="1195"/>
                  <a:pt x="1967" y="1195"/>
                  <a:pt x="1967" y="1195"/>
                </a:cubicBezTo>
                <a:cubicBezTo>
                  <a:pt x="1967" y="1196"/>
                  <a:pt x="1967" y="1196"/>
                  <a:pt x="1967" y="1196"/>
                </a:cubicBezTo>
                <a:cubicBezTo>
                  <a:pt x="1966" y="1196"/>
                  <a:pt x="1966" y="1196"/>
                  <a:pt x="1966" y="1196"/>
                </a:cubicBezTo>
                <a:cubicBezTo>
                  <a:pt x="1966" y="1199"/>
                  <a:pt x="1966" y="1199"/>
                  <a:pt x="1966" y="1199"/>
                </a:cubicBezTo>
                <a:cubicBezTo>
                  <a:pt x="1966" y="1199"/>
                  <a:pt x="1966" y="1199"/>
                  <a:pt x="1966" y="1199"/>
                </a:cubicBezTo>
                <a:cubicBezTo>
                  <a:pt x="1965" y="1199"/>
                  <a:pt x="1965" y="1199"/>
                  <a:pt x="1965" y="1199"/>
                </a:cubicBezTo>
                <a:cubicBezTo>
                  <a:pt x="1965" y="1198"/>
                  <a:pt x="1965" y="1198"/>
                  <a:pt x="1965" y="1198"/>
                </a:cubicBezTo>
                <a:cubicBezTo>
                  <a:pt x="1964" y="1197"/>
                  <a:pt x="1964" y="1197"/>
                  <a:pt x="1964" y="1197"/>
                </a:cubicBezTo>
                <a:cubicBezTo>
                  <a:pt x="1963" y="1199"/>
                  <a:pt x="1963" y="1199"/>
                  <a:pt x="1963" y="1199"/>
                </a:cubicBezTo>
                <a:cubicBezTo>
                  <a:pt x="1962" y="1197"/>
                  <a:pt x="1962" y="1197"/>
                  <a:pt x="1962" y="1197"/>
                </a:cubicBezTo>
                <a:cubicBezTo>
                  <a:pt x="1958" y="1201"/>
                  <a:pt x="1958" y="1201"/>
                  <a:pt x="1958" y="1201"/>
                </a:cubicBezTo>
                <a:cubicBezTo>
                  <a:pt x="1957" y="1201"/>
                  <a:pt x="1957" y="1201"/>
                  <a:pt x="1957" y="1201"/>
                </a:cubicBezTo>
                <a:cubicBezTo>
                  <a:pt x="1956" y="1200"/>
                  <a:pt x="1956" y="1200"/>
                  <a:pt x="1956" y="1200"/>
                </a:cubicBezTo>
                <a:cubicBezTo>
                  <a:pt x="1954" y="1200"/>
                  <a:pt x="1954" y="1200"/>
                  <a:pt x="1954" y="1200"/>
                </a:cubicBezTo>
                <a:cubicBezTo>
                  <a:pt x="1953" y="1202"/>
                  <a:pt x="1953" y="1202"/>
                  <a:pt x="1953" y="1202"/>
                </a:cubicBezTo>
                <a:cubicBezTo>
                  <a:pt x="1953" y="1205"/>
                  <a:pt x="1953" y="1205"/>
                  <a:pt x="1953" y="1205"/>
                </a:cubicBezTo>
                <a:cubicBezTo>
                  <a:pt x="1950" y="1209"/>
                  <a:pt x="1950" y="1209"/>
                  <a:pt x="1950" y="1209"/>
                </a:cubicBezTo>
                <a:cubicBezTo>
                  <a:pt x="1950" y="1210"/>
                  <a:pt x="1950" y="1210"/>
                  <a:pt x="1950" y="1210"/>
                </a:cubicBezTo>
                <a:cubicBezTo>
                  <a:pt x="1947" y="1213"/>
                  <a:pt x="1947" y="1213"/>
                  <a:pt x="1947" y="1213"/>
                </a:cubicBezTo>
                <a:cubicBezTo>
                  <a:pt x="1947" y="1215"/>
                  <a:pt x="1947" y="1215"/>
                  <a:pt x="1947" y="1215"/>
                </a:cubicBezTo>
                <a:cubicBezTo>
                  <a:pt x="1949" y="1216"/>
                  <a:pt x="1949" y="1216"/>
                  <a:pt x="1949" y="1216"/>
                </a:cubicBezTo>
                <a:cubicBezTo>
                  <a:pt x="1948" y="1218"/>
                  <a:pt x="1948" y="1218"/>
                  <a:pt x="1948" y="1218"/>
                </a:cubicBezTo>
                <a:cubicBezTo>
                  <a:pt x="1949" y="1221"/>
                  <a:pt x="1949" y="1221"/>
                  <a:pt x="1949" y="1221"/>
                </a:cubicBezTo>
                <a:cubicBezTo>
                  <a:pt x="1949" y="1223"/>
                  <a:pt x="1949" y="1223"/>
                  <a:pt x="1949" y="1223"/>
                </a:cubicBezTo>
                <a:cubicBezTo>
                  <a:pt x="1951" y="1229"/>
                  <a:pt x="1951" y="1229"/>
                  <a:pt x="1951" y="1229"/>
                </a:cubicBezTo>
                <a:cubicBezTo>
                  <a:pt x="1951" y="1230"/>
                  <a:pt x="1951" y="1230"/>
                  <a:pt x="1951" y="1230"/>
                </a:cubicBezTo>
                <a:cubicBezTo>
                  <a:pt x="1953" y="1232"/>
                  <a:pt x="1953" y="1232"/>
                  <a:pt x="1953" y="1232"/>
                </a:cubicBezTo>
                <a:cubicBezTo>
                  <a:pt x="1953" y="1233"/>
                  <a:pt x="1953" y="1233"/>
                  <a:pt x="1953" y="1233"/>
                </a:cubicBezTo>
                <a:cubicBezTo>
                  <a:pt x="1952" y="1235"/>
                  <a:pt x="1952" y="1235"/>
                  <a:pt x="1952" y="1235"/>
                </a:cubicBezTo>
                <a:cubicBezTo>
                  <a:pt x="1952" y="1236"/>
                  <a:pt x="1952" y="1236"/>
                  <a:pt x="1952" y="1236"/>
                </a:cubicBezTo>
                <a:cubicBezTo>
                  <a:pt x="1951" y="1241"/>
                  <a:pt x="1951" y="1241"/>
                  <a:pt x="1951" y="1241"/>
                </a:cubicBezTo>
                <a:cubicBezTo>
                  <a:pt x="1949" y="1242"/>
                  <a:pt x="1949" y="1242"/>
                  <a:pt x="1949" y="1242"/>
                </a:cubicBezTo>
                <a:cubicBezTo>
                  <a:pt x="1948" y="1244"/>
                  <a:pt x="1948" y="1244"/>
                  <a:pt x="1948" y="1244"/>
                </a:cubicBezTo>
                <a:cubicBezTo>
                  <a:pt x="1947" y="1245"/>
                  <a:pt x="1947" y="1245"/>
                  <a:pt x="1947" y="1245"/>
                </a:cubicBezTo>
                <a:cubicBezTo>
                  <a:pt x="1947" y="1246"/>
                  <a:pt x="1947" y="1246"/>
                  <a:pt x="1947" y="1246"/>
                </a:cubicBezTo>
                <a:cubicBezTo>
                  <a:pt x="1945" y="1248"/>
                  <a:pt x="1945" y="1248"/>
                  <a:pt x="1945" y="1248"/>
                </a:cubicBezTo>
                <a:cubicBezTo>
                  <a:pt x="1945" y="1252"/>
                  <a:pt x="1945" y="1252"/>
                  <a:pt x="1945" y="1252"/>
                </a:cubicBezTo>
                <a:cubicBezTo>
                  <a:pt x="1943" y="1253"/>
                  <a:pt x="1943" y="1253"/>
                  <a:pt x="1943" y="1253"/>
                </a:cubicBezTo>
                <a:cubicBezTo>
                  <a:pt x="1940" y="1254"/>
                  <a:pt x="1940" y="1254"/>
                  <a:pt x="1940" y="1254"/>
                </a:cubicBezTo>
                <a:cubicBezTo>
                  <a:pt x="1940" y="1255"/>
                  <a:pt x="1940" y="1255"/>
                  <a:pt x="1940" y="1255"/>
                </a:cubicBezTo>
                <a:cubicBezTo>
                  <a:pt x="1940" y="1258"/>
                  <a:pt x="1940" y="1258"/>
                  <a:pt x="1940" y="1258"/>
                </a:cubicBezTo>
                <a:cubicBezTo>
                  <a:pt x="1938" y="1260"/>
                  <a:pt x="1938" y="1260"/>
                  <a:pt x="1938" y="1260"/>
                </a:cubicBezTo>
                <a:cubicBezTo>
                  <a:pt x="1938" y="1263"/>
                  <a:pt x="1938" y="1263"/>
                  <a:pt x="1938" y="1263"/>
                </a:cubicBezTo>
                <a:cubicBezTo>
                  <a:pt x="1937" y="1265"/>
                  <a:pt x="1937" y="1265"/>
                  <a:pt x="1937" y="1265"/>
                </a:cubicBezTo>
                <a:cubicBezTo>
                  <a:pt x="1938" y="1266"/>
                  <a:pt x="1938" y="1266"/>
                  <a:pt x="1938" y="1266"/>
                </a:cubicBezTo>
                <a:cubicBezTo>
                  <a:pt x="1938" y="1269"/>
                  <a:pt x="1938" y="1269"/>
                  <a:pt x="1938" y="1269"/>
                </a:cubicBezTo>
                <a:cubicBezTo>
                  <a:pt x="1941" y="1272"/>
                  <a:pt x="1941" y="1272"/>
                  <a:pt x="1941" y="1272"/>
                </a:cubicBezTo>
                <a:cubicBezTo>
                  <a:pt x="1940" y="1274"/>
                  <a:pt x="1940" y="1274"/>
                  <a:pt x="1940" y="1274"/>
                </a:cubicBezTo>
                <a:cubicBezTo>
                  <a:pt x="1941" y="1276"/>
                  <a:pt x="1941" y="1276"/>
                  <a:pt x="1941" y="1276"/>
                </a:cubicBezTo>
                <a:cubicBezTo>
                  <a:pt x="1942" y="1277"/>
                  <a:pt x="1942" y="1277"/>
                  <a:pt x="1942" y="1277"/>
                </a:cubicBezTo>
                <a:cubicBezTo>
                  <a:pt x="1943" y="1277"/>
                  <a:pt x="1943" y="1277"/>
                  <a:pt x="1943" y="1277"/>
                </a:cubicBezTo>
                <a:cubicBezTo>
                  <a:pt x="1942" y="1277"/>
                  <a:pt x="1942" y="1277"/>
                  <a:pt x="1942" y="1277"/>
                </a:cubicBezTo>
                <a:cubicBezTo>
                  <a:pt x="1940" y="1278"/>
                  <a:pt x="1940" y="1278"/>
                  <a:pt x="1940" y="1278"/>
                </a:cubicBezTo>
                <a:cubicBezTo>
                  <a:pt x="1940" y="1280"/>
                  <a:pt x="1940" y="1280"/>
                  <a:pt x="1940" y="1280"/>
                </a:cubicBezTo>
                <a:cubicBezTo>
                  <a:pt x="1940" y="1283"/>
                  <a:pt x="1940" y="1283"/>
                  <a:pt x="1940" y="1283"/>
                </a:cubicBezTo>
                <a:cubicBezTo>
                  <a:pt x="1940" y="1287"/>
                  <a:pt x="1940" y="1287"/>
                  <a:pt x="1940" y="1287"/>
                </a:cubicBezTo>
                <a:cubicBezTo>
                  <a:pt x="1941" y="1288"/>
                  <a:pt x="1941" y="1288"/>
                  <a:pt x="1941" y="1288"/>
                </a:cubicBezTo>
                <a:cubicBezTo>
                  <a:pt x="1941" y="1290"/>
                  <a:pt x="1941" y="1290"/>
                  <a:pt x="1941" y="1290"/>
                </a:cubicBezTo>
                <a:cubicBezTo>
                  <a:pt x="1942" y="1290"/>
                  <a:pt x="1942" y="1290"/>
                  <a:pt x="1942" y="1290"/>
                </a:cubicBezTo>
                <a:cubicBezTo>
                  <a:pt x="1943" y="1292"/>
                  <a:pt x="1943" y="1292"/>
                  <a:pt x="1943" y="1292"/>
                </a:cubicBezTo>
                <a:cubicBezTo>
                  <a:pt x="1944" y="1293"/>
                  <a:pt x="1944" y="1293"/>
                  <a:pt x="1944" y="1293"/>
                </a:cubicBezTo>
                <a:cubicBezTo>
                  <a:pt x="1945" y="1294"/>
                  <a:pt x="1945" y="1294"/>
                  <a:pt x="1945" y="1294"/>
                </a:cubicBezTo>
                <a:cubicBezTo>
                  <a:pt x="1947" y="1296"/>
                  <a:pt x="1947" y="1296"/>
                  <a:pt x="1947" y="1296"/>
                </a:cubicBezTo>
                <a:cubicBezTo>
                  <a:pt x="1948" y="1295"/>
                  <a:pt x="1948" y="1295"/>
                  <a:pt x="1948" y="1295"/>
                </a:cubicBezTo>
                <a:cubicBezTo>
                  <a:pt x="1949" y="1296"/>
                  <a:pt x="1949" y="1296"/>
                  <a:pt x="1949" y="1296"/>
                </a:cubicBezTo>
                <a:cubicBezTo>
                  <a:pt x="1950" y="1296"/>
                  <a:pt x="1950" y="1296"/>
                  <a:pt x="1950" y="1296"/>
                </a:cubicBezTo>
                <a:cubicBezTo>
                  <a:pt x="1952" y="1299"/>
                  <a:pt x="1952" y="1299"/>
                  <a:pt x="1952" y="1299"/>
                </a:cubicBezTo>
                <a:cubicBezTo>
                  <a:pt x="1953" y="1299"/>
                  <a:pt x="1953" y="1299"/>
                  <a:pt x="1953" y="1299"/>
                </a:cubicBezTo>
                <a:cubicBezTo>
                  <a:pt x="1953" y="1300"/>
                  <a:pt x="1953" y="1300"/>
                  <a:pt x="1953" y="1300"/>
                </a:cubicBezTo>
                <a:cubicBezTo>
                  <a:pt x="1954" y="1300"/>
                  <a:pt x="1954" y="1300"/>
                  <a:pt x="1954" y="1300"/>
                </a:cubicBezTo>
                <a:cubicBezTo>
                  <a:pt x="1955" y="1299"/>
                  <a:pt x="1955" y="1299"/>
                  <a:pt x="1955" y="1299"/>
                </a:cubicBezTo>
                <a:cubicBezTo>
                  <a:pt x="1957" y="1300"/>
                  <a:pt x="1957" y="1300"/>
                  <a:pt x="1957" y="1300"/>
                </a:cubicBezTo>
                <a:cubicBezTo>
                  <a:pt x="1960" y="1298"/>
                  <a:pt x="1960" y="1298"/>
                  <a:pt x="1960" y="1298"/>
                </a:cubicBezTo>
                <a:cubicBezTo>
                  <a:pt x="1962" y="1296"/>
                  <a:pt x="1962" y="1296"/>
                  <a:pt x="1962" y="1296"/>
                </a:cubicBezTo>
                <a:cubicBezTo>
                  <a:pt x="1968" y="1295"/>
                  <a:pt x="1968" y="1295"/>
                  <a:pt x="1968" y="1295"/>
                </a:cubicBezTo>
                <a:cubicBezTo>
                  <a:pt x="1970" y="1296"/>
                  <a:pt x="1970" y="1296"/>
                  <a:pt x="1970" y="1296"/>
                </a:cubicBezTo>
                <a:cubicBezTo>
                  <a:pt x="1973" y="1294"/>
                  <a:pt x="1973" y="1294"/>
                  <a:pt x="1973" y="1294"/>
                </a:cubicBezTo>
                <a:cubicBezTo>
                  <a:pt x="1974" y="1293"/>
                  <a:pt x="1974" y="1293"/>
                  <a:pt x="1974" y="1293"/>
                </a:cubicBezTo>
                <a:cubicBezTo>
                  <a:pt x="1976" y="1292"/>
                  <a:pt x="1976" y="1292"/>
                  <a:pt x="1976" y="1292"/>
                </a:cubicBezTo>
                <a:cubicBezTo>
                  <a:pt x="1977" y="1289"/>
                  <a:pt x="1977" y="1289"/>
                  <a:pt x="1977" y="1289"/>
                </a:cubicBezTo>
                <a:cubicBezTo>
                  <a:pt x="1978" y="1287"/>
                  <a:pt x="1978" y="1287"/>
                  <a:pt x="1978" y="1287"/>
                </a:cubicBezTo>
                <a:cubicBezTo>
                  <a:pt x="1978" y="1285"/>
                  <a:pt x="1978" y="1285"/>
                  <a:pt x="1978" y="1285"/>
                </a:cubicBezTo>
                <a:cubicBezTo>
                  <a:pt x="1980" y="1284"/>
                  <a:pt x="1980" y="1284"/>
                  <a:pt x="1980" y="1284"/>
                </a:cubicBezTo>
                <a:cubicBezTo>
                  <a:pt x="1980" y="1281"/>
                  <a:pt x="1980" y="1281"/>
                  <a:pt x="1980" y="1281"/>
                </a:cubicBezTo>
                <a:cubicBezTo>
                  <a:pt x="1980" y="1280"/>
                  <a:pt x="1980" y="1280"/>
                  <a:pt x="1980" y="1280"/>
                </a:cubicBezTo>
                <a:cubicBezTo>
                  <a:pt x="1981" y="1279"/>
                  <a:pt x="1981" y="1279"/>
                  <a:pt x="1981" y="1279"/>
                </a:cubicBezTo>
                <a:cubicBezTo>
                  <a:pt x="1982" y="1276"/>
                  <a:pt x="1982" y="1276"/>
                  <a:pt x="1982" y="1276"/>
                </a:cubicBezTo>
                <a:cubicBezTo>
                  <a:pt x="1982" y="1275"/>
                  <a:pt x="1982" y="1275"/>
                  <a:pt x="1982" y="1275"/>
                </a:cubicBezTo>
                <a:cubicBezTo>
                  <a:pt x="1983" y="1275"/>
                  <a:pt x="1983" y="1275"/>
                  <a:pt x="1983" y="1275"/>
                </a:cubicBezTo>
                <a:cubicBezTo>
                  <a:pt x="1984" y="1272"/>
                  <a:pt x="1984" y="1272"/>
                  <a:pt x="1984" y="1272"/>
                </a:cubicBezTo>
                <a:cubicBezTo>
                  <a:pt x="1986" y="1265"/>
                  <a:pt x="1986" y="1265"/>
                  <a:pt x="1986" y="1265"/>
                </a:cubicBezTo>
                <a:cubicBezTo>
                  <a:pt x="1987" y="1262"/>
                  <a:pt x="1987" y="1262"/>
                  <a:pt x="1987" y="1262"/>
                </a:cubicBezTo>
                <a:cubicBezTo>
                  <a:pt x="1988" y="1260"/>
                  <a:pt x="1988" y="1260"/>
                  <a:pt x="1988" y="1260"/>
                </a:cubicBezTo>
                <a:cubicBezTo>
                  <a:pt x="1989" y="1256"/>
                  <a:pt x="1989" y="1256"/>
                  <a:pt x="1989" y="1256"/>
                </a:cubicBezTo>
                <a:cubicBezTo>
                  <a:pt x="1992" y="1251"/>
                  <a:pt x="1992" y="1251"/>
                  <a:pt x="1992" y="1251"/>
                </a:cubicBezTo>
                <a:cubicBezTo>
                  <a:pt x="1995" y="1243"/>
                  <a:pt x="1995" y="1243"/>
                  <a:pt x="1995" y="1243"/>
                </a:cubicBezTo>
                <a:cubicBezTo>
                  <a:pt x="1997" y="1240"/>
                  <a:pt x="1997" y="1240"/>
                  <a:pt x="1997" y="1240"/>
                </a:cubicBezTo>
                <a:cubicBezTo>
                  <a:pt x="1997" y="1236"/>
                  <a:pt x="1997" y="1236"/>
                  <a:pt x="1997" y="1236"/>
                </a:cubicBezTo>
                <a:cubicBezTo>
                  <a:pt x="1999" y="1233"/>
                  <a:pt x="1999" y="1233"/>
                  <a:pt x="1999" y="1233"/>
                </a:cubicBezTo>
                <a:cubicBezTo>
                  <a:pt x="1999" y="1231"/>
                  <a:pt x="1999" y="1231"/>
                  <a:pt x="1999" y="1231"/>
                </a:cubicBezTo>
                <a:cubicBezTo>
                  <a:pt x="2001" y="1228"/>
                  <a:pt x="2001" y="1228"/>
                  <a:pt x="2001" y="1228"/>
                </a:cubicBezTo>
                <a:cubicBezTo>
                  <a:pt x="2002" y="1222"/>
                  <a:pt x="2002" y="1222"/>
                  <a:pt x="2002" y="1222"/>
                </a:cubicBezTo>
                <a:cubicBezTo>
                  <a:pt x="2003" y="1218"/>
                  <a:pt x="2003" y="1218"/>
                  <a:pt x="2003" y="1218"/>
                </a:cubicBezTo>
                <a:cubicBezTo>
                  <a:pt x="2004" y="1217"/>
                  <a:pt x="2004" y="1217"/>
                  <a:pt x="2004" y="1217"/>
                </a:cubicBezTo>
                <a:cubicBezTo>
                  <a:pt x="2005" y="1214"/>
                  <a:pt x="2005" y="1214"/>
                  <a:pt x="2005" y="1214"/>
                </a:cubicBezTo>
                <a:cubicBezTo>
                  <a:pt x="2004" y="1212"/>
                  <a:pt x="2004" y="1212"/>
                  <a:pt x="2004" y="1212"/>
                </a:cubicBezTo>
                <a:cubicBezTo>
                  <a:pt x="2004" y="1210"/>
                  <a:pt x="2004" y="1210"/>
                  <a:pt x="2004" y="1210"/>
                </a:cubicBezTo>
                <a:cubicBezTo>
                  <a:pt x="2007" y="1207"/>
                  <a:pt x="2007" y="1207"/>
                  <a:pt x="2007" y="1207"/>
                </a:cubicBezTo>
                <a:cubicBezTo>
                  <a:pt x="2006" y="1206"/>
                  <a:pt x="2006" y="1206"/>
                  <a:pt x="2006" y="1206"/>
                </a:cubicBezTo>
                <a:cubicBezTo>
                  <a:pt x="2008" y="1204"/>
                  <a:pt x="2008" y="1204"/>
                  <a:pt x="2008" y="1204"/>
                </a:cubicBezTo>
                <a:cubicBezTo>
                  <a:pt x="2007" y="1201"/>
                  <a:pt x="2007" y="1201"/>
                  <a:pt x="2007" y="1201"/>
                </a:cubicBezTo>
                <a:cubicBezTo>
                  <a:pt x="2007" y="1201"/>
                  <a:pt x="2007" y="1201"/>
                  <a:pt x="2007" y="1201"/>
                </a:cubicBezTo>
                <a:cubicBezTo>
                  <a:pt x="2007" y="1199"/>
                  <a:pt x="2007" y="1199"/>
                  <a:pt x="2007" y="1199"/>
                </a:cubicBezTo>
                <a:cubicBezTo>
                  <a:pt x="2007" y="1196"/>
                  <a:pt x="2007" y="1196"/>
                  <a:pt x="2007" y="1196"/>
                </a:cubicBezTo>
                <a:cubicBezTo>
                  <a:pt x="2007" y="1196"/>
                  <a:pt x="2007" y="1196"/>
                  <a:pt x="2007" y="1196"/>
                </a:cubicBezTo>
                <a:cubicBezTo>
                  <a:pt x="2007" y="1193"/>
                  <a:pt x="2007" y="1193"/>
                  <a:pt x="2007" y="1193"/>
                </a:cubicBezTo>
                <a:cubicBezTo>
                  <a:pt x="2008" y="1193"/>
                  <a:pt x="2008" y="1193"/>
                  <a:pt x="2008" y="1193"/>
                </a:cubicBezTo>
                <a:cubicBezTo>
                  <a:pt x="2009" y="1194"/>
                  <a:pt x="2009" y="1194"/>
                  <a:pt x="2009" y="1194"/>
                </a:cubicBezTo>
                <a:cubicBezTo>
                  <a:pt x="2009" y="1196"/>
                  <a:pt x="2009" y="1196"/>
                  <a:pt x="2009" y="1196"/>
                </a:cubicBezTo>
                <a:cubicBezTo>
                  <a:pt x="2011" y="1198"/>
                  <a:pt x="2011" y="1198"/>
                  <a:pt x="2011" y="1198"/>
                </a:cubicBezTo>
                <a:cubicBezTo>
                  <a:pt x="2012" y="1198"/>
                  <a:pt x="2012" y="1198"/>
                  <a:pt x="2012" y="1198"/>
                </a:cubicBezTo>
                <a:cubicBezTo>
                  <a:pt x="2013" y="1197"/>
                  <a:pt x="2013" y="1197"/>
                  <a:pt x="2013" y="1197"/>
                </a:cubicBezTo>
                <a:cubicBezTo>
                  <a:pt x="2013" y="1195"/>
                  <a:pt x="2013" y="1195"/>
                  <a:pt x="2013" y="1195"/>
                </a:cubicBezTo>
                <a:cubicBezTo>
                  <a:pt x="2014" y="1195"/>
                  <a:pt x="2014" y="1195"/>
                  <a:pt x="2014" y="1195"/>
                </a:cubicBezTo>
                <a:cubicBezTo>
                  <a:pt x="2014" y="1193"/>
                  <a:pt x="2014" y="1193"/>
                  <a:pt x="2014" y="1193"/>
                </a:cubicBezTo>
                <a:cubicBezTo>
                  <a:pt x="2015" y="1192"/>
                  <a:pt x="2015" y="1192"/>
                  <a:pt x="2015" y="1192"/>
                </a:cubicBezTo>
                <a:cubicBezTo>
                  <a:pt x="2014" y="1190"/>
                  <a:pt x="2014" y="1190"/>
                  <a:pt x="2014" y="1190"/>
                </a:cubicBezTo>
                <a:lnTo>
                  <a:pt x="2012" y="1187"/>
                </a:lnTo>
                <a:close/>
                <a:moveTo>
                  <a:pt x="1597" y="998"/>
                </a:moveTo>
                <a:cubicBezTo>
                  <a:pt x="1597" y="995"/>
                  <a:pt x="1597" y="995"/>
                  <a:pt x="1597" y="995"/>
                </a:cubicBezTo>
                <a:cubicBezTo>
                  <a:pt x="1596" y="994"/>
                  <a:pt x="1596" y="994"/>
                  <a:pt x="1596" y="994"/>
                </a:cubicBezTo>
                <a:cubicBezTo>
                  <a:pt x="1594" y="996"/>
                  <a:pt x="1594" y="996"/>
                  <a:pt x="1594" y="996"/>
                </a:cubicBezTo>
                <a:cubicBezTo>
                  <a:pt x="1594" y="999"/>
                  <a:pt x="1594" y="999"/>
                  <a:pt x="1594" y="999"/>
                </a:cubicBezTo>
                <a:cubicBezTo>
                  <a:pt x="1592" y="999"/>
                  <a:pt x="1592" y="999"/>
                  <a:pt x="1592" y="999"/>
                </a:cubicBezTo>
                <a:cubicBezTo>
                  <a:pt x="1592" y="1000"/>
                  <a:pt x="1592" y="1000"/>
                  <a:pt x="1592" y="1000"/>
                </a:cubicBezTo>
                <a:cubicBezTo>
                  <a:pt x="1594" y="1001"/>
                  <a:pt x="1594" y="1001"/>
                  <a:pt x="1594" y="1001"/>
                </a:cubicBezTo>
                <a:cubicBezTo>
                  <a:pt x="1596" y="1002"/>
                  <a:pt x="1596" y="1002"/>
                  <a:pt x="1596" y="1002"/>
                </a:cubicBezTo>
                <a:lnTo>
                  <a:pt x="1597" y="998"/>
                </a:lnTo>
                <a:close/>
                <a:moveTo>
                  <a:pt x="1317" y="92"/>
                </a:moveTo>
                <a:cubicBezTo>
                  <a:pt x="1317" y="93"/>
                  <a:pt x="1317" y="93"/>
                  <a:pt x="1317" y="93"/>
                </a:cubicBezTo>
                <a:cubicBezTo>
                  <a:pt x="1318" y="94"/>
                  <a:pt x="1318" y="94"/>
                  <a:pt x="1318" y="94"/>
                </a:cubicBezTo>
                <a:cubicBezTo>
                  <a:pt x="1319" y="93"/>
                  <a:pt x="1319" y="93"/>
                  <a:pt x="1319" y="93"/>
                </a:cubicBezTo>
                <a:cubicBezTo>
                  <a:pt x="1318" y="92"/>
                  <a:pt x="1318" y="92"/>
                  <a:pt x="1318" y="92"/>
                </a:cubicBezTo>
                <a:cubicBezTo>
                  <a:pt x="1319" y="91"/>
                  <a:pt x="1319" y="91"/>
                  <a:pt x="1319" y="91"/>
                </a:cubicBezTo>
                <a:lnTo>
                  <a:pt x="1317" y="92"/>
                </a:lnTo>
                <a:close/>
                <a:moveTo>
                  <a:pt x="869" y="1684"/>
                </a:moveTo>
                <a:cubicBezTo>
                  <a:pt x="868" y="1683"/>
                  <a:pt x="868" y="1683"/>
                  <a:pt x="868" y="1683"/>
                </a:cubicBezTo>
                <a:cubicBezTo>
                  <a:pt x="867" y="1685"/>
                  <a:pt x="867" y="1685"/>
                  <a:pt x="867" y="1685"/>
                </a:cubicBezTo>
                <a:cubicBezTo>
                  <a:pt x="868" y="1685"/>
                  <a:pt x="868" y="1685"/>
                  <a:pt x="868" y="1685"/>
                </a:cubicBezTo>
                <a:cubicBezTo>
                  <a:pt x="869" y="1685"/>
                  <a:pt x="869" y="1685"/>
                  <a:pt x="869" y="1685"/>
                </a:cubicBezTo>
                <a:lnTo>
                  <a:pt x="869" y="1684"/>
                </a:lnTo>
                <a:close/>
                <a:moveTo>
                  <a:pt x="907" y="1684"/>
                </a:moveTo>
                <a:cubicBezTo>
                  <a:pt x="905" y="1683"/>
                  <a:pt x="905" y="1683"/>
                  <a:pt x="905" y="1683"/>
                </a:cubicBezTo>
                <a:cubicBezTo>
                  <a:pt x="902" y="1683"/>
                  <a:pt x="902" y="1683"/>
                  <a:pt x="902" y="1683"/>
                </a:cubicBezTo>
                <a:cubicBezTo>
                  <a:pt x="899" y="1683"/>
                  <a:pt x="899" y="1683"/>
                  <a:pt x="899" y="1683"/>
                </a:cubicBezTo>
                <a:cubicBezTo>
                  <a:pt x="896" y="1683"/>
                  <a:pt x="896" y="1683"/>
                  <a:pt x="896" y="1683"/>
                </a:cubicBezTo>
                <a:cubicBezTo>
                  <a:pt x="893" y="1684"/>
                  <a:pt x="893" y="1684"/>
                  <a:pt x="893" y="1684"/>
                </a:cubicBezTo>
                <a:cubicBezTo>
                  <a:pt x="889" y="1685"/>
                  <a:pt x="889" y="1685"/>
                  <a:pt x="889" y="1685"/>
                </a:cubicBezTo>
                <a:cubicBezTo>
                  <a:pt x="886" y="1685"/>
                  <a:pt x="886" y="1685"/>
                  <a:pt x="886" y="1685"/>
                </a:cubicBezTo>
                <a:cubicBezTo>
                  <a:pt x="885" y="1685"/>
                  <a:pt x="885" y="1685"/>
                  <a:pt x="885" y="1685"/>
                </a:cubicBezTo>
                <a:cubicBezTo>
                  <a:pt x="884" y="1685"/>
                  <a:pt x="884" y="1685"/>
                  <a:pt x="884" y="1685"/>
                </a:cubicBezTo>
                <a:cubicBezTo>
                  <a:pt x="882" y="1686"/>
                  <a:pt x="882" y="1686"/>
                  <a:pt x="882" y="1686"/>
                </a:cubicBezTo>
                <a:cubicBezTo>
                  <a:pt x="883" y="1687"/>
                  <a:pt x="883" y="1687"/>
                  <a:pt x="883" y="1687"/>
                </a:cubicBezTo>
                <a:cubicBezTo>
                  <a:pt x="884" y="1686"/>
                  <a:pt x="884" y="1686"/>
                  <a:pt x="884" y="1686"/>
                </a:cubicBezTo>
                <a:cubicBezTo>
                  <a:pt x="886" y="1687"/>
                  <a:pt x="886" y="1687"/>
                  <a:pt x="886" y="1687"/>
                </a:cubicBezTo>
                <a:cubicBezTo>
                  <a:pt x="883" y="1688"/>
                  <a:pt x="883" y="1688"/>
                  <a:pt x="883" y="1688"/>
                </a:cubicBezTo>
                <a:cubicBezTo>
                  <a:pt x="882" y="1689"/>
                  <a:pt x="882" y="1689"/>
                  <a:pt x="882" y="1689"/>
                </a:cubicBezTo>
                <a:cubicBezTo>
                  <a:pt x="881" y="1690"/>
                  <a:pt x="881" y="1690"/>
                  <a:pt x="881" y="1690"/>
                </a:cubicBezTo>
                <a:cubicBezTo>
                  <a:pt x="883" y="1691"/>
                  <a:pt x="883" y="1691"/>
                  <a:pt x="883" y="1691"/>
                </a:cubicBezTo>
                <a:cubicBezTo>
                  <a:pt x="885" y="1690"/>
                  <a:pt x="885" y="1690"/>
                  <a:pt x="885" y="1690"/>
                </a:cubicBezTo>
                <a:cubicBezTo>
                  <a:pt x="884" y="1691"/>
                  <a:pt x="884" y="1691"/>
                  <a:pt x="884" y="1691"/>
                </a:cubicBezTo>
                <a:cubicBezTo>
                  <a:pt x="885" y="1692"/>
                  <a:pt x="885" y="1692"/>
                  <a:pt x="885" y="1692"/>
                </a:cubicBezTo>
                <a:cubicBezTo>
                  <a:pt x="886" y="1693"/>
                  <a:pt x="886" y="1693"/>
                  <a:pt x="886" y="1693"/>
                </a:cubicBezTo>
                <a:cubicBezTo>
                  <a:pt x="887" y="1692"/>
                  <a:pt x="887" y="1692"/>
                  <a:pt x="887" y="1692"/>
                </a:cubicBezTo>
                <a:cubicBezTo>
                  <a:pt x="889" y="1693"/>
                  <a:pt x="889" y="1693"/>
                  <a:pt x="889" y="1693"/>
                </a:cubicBezTo>
                <a:cubicBezTo>
                  <a:pt x="890" y="1693"/>
                  <a:pt x="890" y="1693"/>
                  <a:pt x="890" y="1693"/>
                </a:cubicBezTo>
                <a:cubicBezTo>
                  <a:pt x="891" y="1692"/>
                  <a:pt x="891" y="1692"/>
                  <a:pt x="891" y="1692"/>
                </a:cubicBezTo>
                <a:cubicBezTo>
                  <a:pt x="889" y="1691"/>
                  <a:pt x="889" y="1691"/>
                  <a:pt x="889" y="1691"/>
                </a:cubicBezTo>
                <a:cubicBezTo>
                  <a:pt x="889" y="1690"/>
                  <a:pt x="889" y="1690"/>
                  <a:pt x="889" y="1690"/>
                </a:cubicBezTo>
                <a:cubicBezTo>
                  <a:pt x="891" y="1690"/>
                  <a:pt x="891" y="1690"/>
                  <a:pt x="891" y="1690"/>
                </a:cubicBezTo>
                <a:cubicBezTo>
                  <a:pt x="892" y="1692"/>
                  <a:pt x="892" y="1692"/>
                  <a:pt x="892" y="1692"/>
                </a:cubicBezTo>
                <a:cubicBezTo>
                  <a:pt x="893" y="1693"/>
                  <a:pt x="893" y="1693"/>
                  <a:pt x="893" y="1693"/>
                </a:cubicBezTo>
                <a:cubicBezTo>
                  <a:pt x="895" y="1692"/>
                  <a:pt x="895" y="1692"/>
                  <a:pt x="895" y="1692"/>
                </a:cubicBezTo>
                <a:cubicBezTo>
                  <a:pt x="896" y="1692"/>
                  <a:pt x="896" y="1692"/>
                  <a:pt x="896" y="1692"/>
                </a:cubicBezTo>
                <a:cubicBezTo>
                  <a:pt x="899" y="1694"/>
                  <a:pt x="899" y="1694"/>
                  <a:pt x="899" y="1694"/>
                </a:cubicBezTo>
                <a:cubicBezTo>
                  <a:pt x="900" y="1694"/>
                  <a:pt x="900" y="1694"/>
                  <a:pt x="900" y="1694"/>
                </a:cubicBezTo>
                <a:cubicBezTo>
                  <a:pt x="900" y="1693"/>
                  <a:pt x="900" y="1693"/>
                  <a:pt x="900" y="1693"/>
                </a:cubicBezTo>
                <a:cubicBezTo>
                  <a:pt x="897" y="1691"/>
                  <a:pt x="897" y="1691"/>
                  <a:pt x="897" y="1691"/>
                </a:cubicBezTo>
                <a:cubicBezTo>
                  <a:pt x="896" y="1690"/>
                  <a:pt x="896" y="1690"/>
                  <a:pt x="896" y="1690"/>
                </a:cubicBezTo>
                <a:cubicBezTo>
                  <a:pt x="896" y="1689"/>
                  <a:pt x="896" y="1689"/>
                  <a:pt x="896" y="1689"/>
                </a:cubicBezTo>
                <a:cubicBezTo>
                  <a:pt x="895" y="1689"/>
                  <a:pt x="895" y="1689"/>
                  <a:pt x="895" y="1689"/>
                </a:cubicBezTo>
                <a:cubicBezTo>
                  <a:pt x="893" y="1688"/>
                  <a:pt x="893" y="1688"/>
                  <a:pt x="893" y="1688"/>
                </a:cubicBezTo>
                <a:cubicBezTo>
                  <a:pt x="893" y="1688"/>
                  <a:pt x="893" y="1688"/>
                  <a:pt x="893" y="1688"/>
                </a:cubicBezTo>
                <a:cubicBezTo>
                  <a:pt x="891" y="1687"/>
                  <a:pt x="891" y="1687"/>
                  <a:pt x="891" y="1687"/>
                </a:cubicBezTo>
                <a:cubicBezTo>
                  <a:pt x="893" y="1686"/>
                  <a:pt x="893" y="1686"/>
                  <a:pt x="893" y="1686"/>
                </a:cubicBezTo>
                <a:cubicBezTo>
                  <a:pt x="894" y="1686"/>
                  <a:pt x="894" y="1686"/>
                  <a:pt x="894" y="1686"/>
                </a:cubicBezTo>
                <a:cubicBezTo>
                  <a:pt x="896" y="1685"/>
                  <a:pt x="896" y="1685"/>
                  <a:pt x="896" y="1685"/>
                </a:cubicBezTo>
                <a:cubicBezTo>
                  <a:pt x="897" y="1685"/>
                  <a:pt x="897" y="1685"/>
                  <a:pt x="897" y="1685"/>
                </a:cubicBezTo>
                <a:cubicBezTo>
                  <a:pt x="898" y="1687"/>
                  <a:pt x="898" y="1687"/>
                  <a:pt x="898" y="1687"/>
                </a:cubicBezTo>
                <a:cubicBezTo>
                  <a:pt x="899" y="1688"/>
                  <a:pt x="899" y="1688"/>
                  <a:pt x="899" y="1688"/>
                </a:cubicBezTo>
                <a:cubicBezTo>
                  <a:pt x="901" y="1688"/>
                  <a:pt x="901" y="1688"/>
                  <a:pt x="901" y="1688"/>
                </a:cubicBezTo>
                <a:cubicBezTo>
                  <a:pt x="903" y="1687"/>
                  <a:pt x="903" y="1687"/>
                  <a:pt x="903" y="1687"/>
                </a:cubicBezTo>
                <a:cubicBezTo>
                  <a:pt x="904" y="1687"/>
                  <a:pt x="904" y="1687"/>
                  <a:pt x="904" y="1687"/>
                </a:cubicBezTo>
                <a:cubicBezTo>
                  <a:pt x="905" y="1688"/>
                  <a:pt x="905" y="1688"/>
                  <a:pt x="905" y="1688"/>
                </a:cubicBezTo>
                <a:cubicBezTo>
                  <a:pt x="907" y="1687"/>
                  <a:pt x="907" y="1687"/>
                  <a:pt x="907" y="1687"/>
                </a:cubicBezTo>
                <a:cubicBezTo>
                  <a:pt x="908" y="1686"/>
                  <a:pt x="908" y="1686"/>
                  <a:pt x="908" y="1686"/>
                </a:cubicBezTo>
                <a:cubicBezTo>
                  <a:pt x="907" y="1685"/>
                  <a:pt x="907" y="1685"/>
                  <a:pt x="907" y="1685"/>
                </a:cubicBezTo>
                <a:lnTo>
                  <a:pt x="907" y="1684"/>
                </a:lnTo>
                <a:close/>
                <a:moveTo>
                  <a:pt x="858" y="1671"/>
                </a:moveTo>
                <a:cubicBezTo>
                  <a:pt x="857" y="1669"/>
                  <a:pt x="857" y="1669"/>
                  <a:pt x="857" y="1669"/>
                </a:cubicBezTo>
                <a:cubicBezTo>
                  <a:pt x="856" y="1669"/>
                  <a:pt x="856" y="1669"/>
                  <a:pt x="856" y="1669"/>
                </a:cubicBezTo>
                <a:cubicBezTo>
                  <a:pt x="853" y="1669"/>
                  <a:pt x="853" y="1669"/>
                  <a:pt x="853" y="1669"/>
                </a:cubicBezTo>
                <a:cubicBezTo>
                  <a:pt x="853" y="1668"/>
                  <a:pt x="853" y="1668"/>
                  <a:pt x="853" y="1668"/>
                </a:cubicBezTo>
                <a:cubicBezTo>
                  <a:pt x="852" y="1668"/>
                  <a:pt x="852" y="1668"/>
                  <a:pt x="852" y="1668"/>
                </a:cubicBezTo>
                <a:cubicBezTo>
                  <a:pt x="849" y="1666"/>
                  <a:pt x="849" y="1666"/>
                  <a:pt x="849" y="1666"/>
                </a:cubicBezTo>
                <a:cubicBezTo>
                  <a:pt x="847" y="1666"/>
                  <a:pt x="847" y="1666"/>
                  <a:pt x="847" y="1666"/>
                </a:cubicBezTo>
                <a:cubicBezTo>
                  <a:pt x="845" y="1666"/>
                  <a:pt x="845" y="1666"/>
                  <a:pt x="845" y="1666"/>
                </a:cubicBezTo>
                <a:cubicBezTo>
                  <a:pt x="844" y="1666"/>
                  <a:pt x="844" y="1666"/>
                  <a:pt x="844" y="1666"/>
                </a:cubicBezTo>
                <a:cubicBezTo>
                  <a:pt x="843" y="1665"/>
                  <a:pt x="843" y="1665"/>
                  <a:pt x="843" y="1665"/>
                </a:cubicBezTo>
                <a:cubicBezTo>
                  <a:pt x="841" y="1665"/>
                  <a:pt x="841" y="1665"/>
                  <a:pt x="841" y="1665"/>
                </a:cubicBezTo>
                <a:cubicBezTo>
                  <a:pt x="841" y="1666"/>
                  <a:pt x="841" y="1666"/>
                  <a:pt x="841" y="1666"/>
                </a:cubicBezTo>
                <a:cubicBezTo>
                  <a:pt x="841" y="1667"/>
                  <a:pt x="841" y="1667"/>
                  <a:pt x="841" y="1667"/>
                </a:cubicBezTo>
                <a:cubicBezTo>
                  <a:pt x="843" y="1668"/>
                  <a:pt x="843" y="1668"/>
                  <a:pt x="843" y="1668"/>
                </a:cubicBezTo>
                <a:cubicBezTo>
                  <a:pt x="844" y="1670"/>
                  <a:pt x="844" y="1670"/>
                  <a:pt x="844" y="1670"/>
                </a:cubicBezTo>
                <a:cubicBezTo>
                  <a:pt x="845" y="1670"/>
                  <a:pt x="845" y="1670"/>
                  <a:pt x="845" y="1670"/>
                </a:cubicBezTo>
                <a:cubicBezTo>
                  <a:pt x="847" y="1673"/>
                  <a:pt x="847" y="1673"/>
                  <a:pt x="847" y="1673"/>
                </a:cubicBezTo>
                <a:cubicBezTo>
                  <a:pt x="849" y="1673"/>
                  <a:pt x="849" y="1673"/>
                  <a:pt x="849" y="1673"/>
                </a:cubicBezTo>
                <a:cubicBezTo>
                  <a:pt x="851" y="1672"/>
                  <a:pt x="851" y="1672"/>
                  <a:pt x="851" y="1672"/>
                </a:cubicBezTo>
                <a:cubicBezTo>
                  <a:pt x="852" y="1673"/>
                  <a:pt x="852" y="1673"/>
                  <a:pt x="852" y="1673"/>
                </a:cubicBezTo>
                <a:cubicBezTo>
                  <a:pt x="852" y="1674"/>
                  <a:pt x="852" y="1674"/>
                  <a:pt x="852" y="1674"/>
                </a:cubicBezTo>
                <a:cubicBezTo>
                  <a:pt x="854" y="1676"/>
                  <a:pt x="854" y="1676"/>
                  <a:pt x="854" y="1676"/>
                </a:cubicBezTo>
                <a:cubicBezTo>
                  <a:pt x="855" y="1675"/>
                  <a:pt x="855" y="1675"/>
                  <a:pt x="855" y="1675"/>
                </a:cubicBezTo>
                <a:cubicBezTo>
                  <a:pt x="855" y="1674"/>
                  <a:pt x="855" y="1674"/>
                  <a:pt x="855" y="1674"/>
                </a:cubicBezTo>
                <a:cubicBezTo>
                  <a:pt x="856" y="1673"/>
                  <a:pt x="856" y="1673"/>
                  <a:pt x="856" y="1673"/>
                </a:cubicBezTo>
                <a:cubicBezTo>
                  <a:pt x="856" y="1672"/>
                  <a:pt x="856" y="1672"/>
                  <a:pt x="856" y="1672"/>
                </a:cubicBezTo>
                <a:cubicBezTo>
                  <a:pt x="855" y="1671"/>
                  <a:pt x="855" y="1671"/>
                  <a:pt x="855" y="1671"/>
                </a:cubicBezTo>
                <a:cubicBezTo>
                  <a:pt x="856" y="1671"/>
                  <a:pt x="856" y="1671"/>
                  <a:pt x="856" y="1671"/>
                </a:cubicBezTo>
                <a:lnTo>
                  <a:pt x="858" y="1671"/>
                </a:lnTo>
                <a:close/>
                <a:moveTo>
                  <a:pt x="921" y="1676"/>
                </a:moveTo>
                <a:cubicBezTo>
                  <a:pt x="917" y="1677"/>
                  <a:pt x="917" y="1677"/>
                  <a:pt x="917" y="1677"/>
                </a:cubicBezTo>
                <a:cubicBezTo>
                  <a:pt x="915" y="1677"/>
                  <a:pt x="915" y="1677"/>
                  <a:pt x="915" y="1677"/>
                </a:cubicBezTo>
                <a:cubicBezTo>
                  <a:pt x="913" y="1674"/>
                  <a:pt x="913" y="1674"/>
                  <a:pt x="913" y="1674"/>
                </a:cubicBezTo>
                <a:cubicBezTo>
                  <a:pt x="910" y="1674"/>
                  <a:pt x="910" y="1674"/>
                  <a:pt x="910" y="1674"/>
                </a:cubicBezTo>
                <a:cubicBezTo>
                  <a:pt x="909" y="1672"/>
                  <a:pt x="909" y="1672"/>
                  <a:pt x="909" y="1672"/>
                </a:cubicBezTo>
                <a:cubicBezTo>
                  <a:pt x="901" y="1670"/>
                  <a:pt x="901" y="1670"/>
                  <a:pt x="901" y="1670"/>
                </a:cubicBezTo>
                <a:cubicBezTo>
                  <a:pt x="899" y="1669"/>
                  <a:pt x="899" y="1669"/>
                  <a:pt x="899" y="1669"/>
                </a:cubicBezTo>
                <a:cubicBezTo>
                  <a:pt x="899" y="1667"/>
                  <a:pt x="899" y="1667"/>
                  <a:pt x="899" y="1667"/>
                </a:cubicBezTo>
                <a:cubicBezTo>
                  <a:pt x="896" y="1665"/>
                  <a:pt x="896" y="1665"/>
                  <a:pt x="896" y="1665"/>
                </a:cubicBezTo>
                <a:cubicBezTo>
                  <a:pt x="894" y="1664"/>
                  <a:pt x="894" y="1664"/>
                  <a:pt x="894" y="1664"/>
                </a:cubicBezTo>
                <a:cubicBezTo>
                  <a:pt x="892" y="1661"/>
                  <a:pt x="892" y="1661"/>
                  <a:pt x="892" y="1661"/>
                </a:cubicBezTo>
                <a:cubicBezTo>
                  <a:pt x="891" y="1659"/>
                  <a:pt x="891" y="1659"/>
                  <a:pt x="891" y="1659"/>
                </a:cubicBezTo>
                <a:cubicBezTo>
                  <a:pt x="889" y="1659"/>
                  <a:pt x="889" y="1659"/>
                  <a:pt x="889" y="1659"/>
                </a:cubicBezTo>
                <a:cubicBezTo>
                  <a:pt x="887" y="1659"/>
                  <a:pt x="887" y="1659"/>
                  <a:pt x="887" y="1659"/>
                </a:cubicBezTo>
                <a:cubicBezTo>
                  <a:pt x="886" y="1659"/>
                  <a:pt x="886" y="1659"/>
                  <a:pt x="886" y="1659"/>
                </a:cubicBezTo>
                <a:cubicBezTo>
                  <a:pt x="887" y="1658"/>
                  <a:pt x="887" y="1658"/>
                  <a:pt x="887" y="1658"/>
                </a:cubicBezTo>
                <a:cubicBezTo>
                  <a:pt x="887" y="1657"/>
                  <a:pt x="887" y="1657"/>
                  <a:pt x="887" y="1657"/>
                </a:cubicBezTo>
                <a:cubicBezTo>
                  <a:pt x="889" y="1656"/>
                  <a:pt x="889" y="1656"/>
                  <a:pt x="889" y="1656"/>
                </a:cubicBezTo>
                <a:cubicBezTo>
                  <a:pt x="890" y="1657"/>
                  <a:pt x="890" y="1657"/>
                  <a:pt x="890" y="1657"/>
                </a:cubicBezTo>
                <a:cubicBezTo>
                  <a:pt x="889" y="1652"/>
                  <a:pt x="889" y="1652"/>
                  <a:pt x="889" y="1652"/>
                </a:cubicBezTo>
                <a:cubicBezTo>
                  <a:pt x="886" y="1649"/>
                  <a:pt x="886" y="1649"/>
                  <a:pt x="886" y="1649"/>
                </a:cubicBezTo>
                <a:cubicBezTo>
                  <a:pt x="884" y="1647"/>
                  <a:pt x="884" y="1647"/>
                  <a:pt x="884" y="1647"/>
                </a:cubicBezTo>
                <a:cubicBezTo>
                  <a:pt x="884" y="1647"/>
                  <a:pt x="884" y="1647"/>
                  <a:pt x="884" y="1647"/>
                </a:cubicBezTo>
                <a:cubicBezTo>
                  <a:pt x="881" y="1648"/>
                  <a:pt x="881" y="1648"/>
                  <a:pt x="881" y="1648"/>
                </a:cubicBezTo>
                <a:cubicBezTo>
                  <a:pt x="880" y="1649"/>
                  <a:pt x="880" y="1649"/>
                  <a:pt x="880" y="1649"/>
                </a:cubicBezTo>
                <a:cubicBezTo>
                  <a:pt x="879" y="1647"/>
                  <a:pt x="879" y="1647"/>
                  <a:pt x="879" y="1647"/>
                </a:cubicBezTo>
                <a:cubicBezTo>
                  <a:pt x="877" y="1647"/>
                  <a:pt x="877" y="1647"/>
                  <a:pt x="877" y="1647"/>
                </a:cubicBezTo>
                <a:cubicBezTo>
                  <a:pt x="876" y="1648"/>
                  <a:pt x="876" y="1648"/>
                  <a:pt x="876" y="1648"/>
                </a:cubicBezTo>
                <a:cubicBezTo>
                  <a:pt x="877" y="1650"/>
                  <a:pt x="877" y="1650"/>
                  <a:pt x="877" y="1650"/>
                </a:cubicBezTo>
                <a:cubicBezTo>
                  <a:pt x="876" y="1651"/>
                  <a:pt x="876" y="1651"/>
                  <a:pt x="876" y="1651"/>
                </a:cubicBezTo>
                <a:cubicBezTo>
                  <a:pt x="875" y="1653"/>
                  <a:pt x="875" y="1653"/>
                  <a:pt x="875" y="1653"/>
                </a:cubicBezTo>
                <a:cubicBezTo>
                  <a:pt x="874" y="1654"/>
                  <a:pt x="874" y="1654"/>
                  <a:pt x="874" y="1654"/>
                </a:cubicBezTo>
                <a:cubicBezTo>
                  <a:pt x="872" y="1653"/>
                  <a:pt x="872" y="1653"/>
                  <a:pt x="872" y="1653"/>
                </a:cubicBezTo>
                <a:cubicBezTo>
                  <a:pt x="871" y="1652"/>
                  <a:pt x="871" y="1652"/>
                  <a:pt x="871" y="1652"/>
                </a:cubicBezTo>
                <a:cubicBezTo>
                  <a:pt x="870" y="1654"/>
                  <a:pt x="870" y="1654"/>
                  <a:pt x="870" y="1654"/>
                </a:cubicBezTo>
                <a:cubicBezTo>
                  <a:pt x="871" y="1655"/>
                  <a:pt x="871" y="1655"/>
                  <a:pt x="871" y="1655"/>
                </a:cubicBezTo>
                <a:cubicBezTo>
                  <a:pt x="872" y="1655"/>
                  <a:pt x="872" y="1655"/>
                  <a:pt x="872" y="1655"/>
                </a:cubicBezTo>
                <a:cubicBezTo>
                  <a:pt x="872" y="1656"/>
                  <a:pt x="872" y="1656"/>
                  <a:pt x="872" y="1656"/>
                </a:cubicBezTo>
                <a:cubicBezTo>
                  <a:pt x="870" y="1658"/>
                  <a:pt x="870" y="1658"/>
                  <a:pt x="870" y="1658"/>
                </a:cubicBezTo>
                <a:cubicBezTo>
                  <a:pt x="871" y="1659"/>
                  <a:pt x="871" y="1659"/>
                  <a:pt x="871" y="1659"/>
                </a:cubicBezTo>
                <a:cubicBezTo>
                  <a:pt x="871" y="1661"/>
                  <a:pt x="871" y="1661"/>
                  <a:pt x="871" y="1661"/>
                </a:cubicBezTo>
                <a:cubicBezTo>
                  <a:pt x="873" y="1664"/>
                  <a:pt x="873" y="1664"/>
                  <a:pt x="873" y="1664"/>
                </a:cubicBezTo>
                <a:cubicBezTo>
                  <a:pt x="875" y="1664"/>
                  <a:pt x="875" y="1664"/>
                  <a:pt x="875" y="1664"/>
                </a:cubicBezTo>
                <a:cubicBezTo>
                  <a:pt x="876" y="1662"/>
                  <a:pt x="876" y="1662"/>
                  <a:pt x="876" y="1662"/>
                </a:cubicBezTo>
                <a:cubicBezTo>
                  <a:pt x="879" y="1661"/>
                  <a:pt x="879" y="1661"/>
                  <a:pt x="879" y="1661"/>
                </a:cubicBezTo>
                <a:cubicBezTo>
                  <a:pt x="881" y="1661"/>
                  <a:pt x="881" y="1661"/>
                  <a:pt x="881" y="1661"/>
                </a:cubicBezTo>
                <a:cubicBezTo>
                  <a:pt x="882" y="1662"/>
                  <a:pt x="882" y="1662"/>
                  <a:pt x="882" y="1662"/>
                </a:cubicBezTo>
                <a:cubicBezTo>
                  <a:pt x="880" y="1665"/>
                  <a:pt x="880" y="1665"/>
                  <a:pt x="880" y="1665"/>
                </a:cubicBezTo>
                <a:cubicBezTo>
                  <a:pt x="878" y="1665"/>
                  <a:pt x="878" y="1665"/>
                  <a:pt x="878" y="1665"/>
                </a:cubicBezTo>
                <a:cubicBezTo>
                  <a:pt x="878" y="1666"/>
                  <a:pt x="878" y="1666"/>
                  <a:pt x="878" y="1666"/>
                </a:cubicBezTo>
                <a:cubicBezTo>
                  <a:pt x="875" y="1668"/>
                  <a:pt x="875" y="1668"/>
                  <a:pt x="875" y="1668"/>
                </a:cubicBezTo>
                <a:cubicBezTo>
                  <a:pt x="875" y="1669"/>
                  <a:pt x="875" y="1669"/>
                  <a:pt x="875" y="1669"/>
                </a:cubicBezTo>
                <a:cubicBezTo>
                  <a:pt x="875" y="1670"/>
                  <a:pt x="875" y="1670"/>
                  <a:pt x="875" y="1670"/>
                </a:cubicBezTo>
                <a:cubicBezTo>
                  <a:pt x="877" y="1671"/>
                  <a:pt x="877" y="1671"/>
                  <a:pt x="877" y="1671"/>
                </a:cubicBezTo>
                <a:cubicBezTo>
                  <a:pt x="879" y="1673"/>
                  <a:pt x="879" y="1673"/>
                  <a:pt x="879" y="1673"/>
                </a:cubicBezTo>
                <a:cubicBezTo>
                  <a:pt x="881" y="1672"/>
                  <a:pt x="881" y="1672"/>
                  <a:pt x="881" y="1672"/>
                </a:cubicBezTo>
                <a:cubicBezTo>
                  <a:pt x="884" y="1674"/>
                  <a:pt x="884" y="1674"/>
                  <a:pt x="884" y="1674"/>
                </a:cubicBezTo>
                <a:cubicBezTo>
                  <a:pt x="889" y="1677"/>
                  <a:pt x="889" y="1677"/>
                  <a:pt x="889" y="1677"/>
                </a:cubicBezTo>
                <a:cubicBezTo>
                  <a:pt x="891" y="1678"/>
                  <a:pt x="891" y="1678"/>
                  <a:pt x="891" y="1678"/>
                </a:cubicBezTo>
                <a:cubicBezTo>
                  <a:pt x="892" y="1678"/>
                  <a:pt x="892" y="1678"/>
                  <a:pt x="892" y="1678"/>
                </a:cubicBezTo>
                <a:cubicBezTo>
                  <a:pt x="896" y="1677"/>
                  <a:pt x="896" y="1677"/>
                  <a:pt x="896" y="1677"/>
                </a:cubicBezTo>
                <a:cubicBezTo>
                  <a:pt x="898" y="1677"/>
                  <a:pt x="898" y="1677"/>
                  <a:pt x="898" y="1677"/>
                </a:cubicBezTo>
                <a:cubicBezTo>
                  <a:pt x="901" y="1676"/>
                  <a:pt x="901" y="1676"/>
                  <a:pt x="901" y="1676"/>
                </a:cubicBezTo>
                <a:cubicBezTo>
                  <a:pt x="901" y="1677"/>
                  <a:pt x="901" y="1677"/>
                  <a:pt x="901" y="1677"/>
                </a:cubicBezTo>
                <a:cubicBezTo>
                  <a:pt x="899" y="1677"/>
                  <a:pt x="899" y="1677"/>
                  <a:pt x="899" y="1677"/>
                </a:cubicBezTo>
                <a:cubicBezTo>
                  <a:pt x="897" y="1678"/>
                  <a:pt x="897" y="1678"/>
                  <a:pt x="897" y="1678"/>
                </a:cubicBezTo>
                <a:cubicBezTo>
                  <a:pt x="892" y="1679"/>
                  <a:pt x="892" y="1679"/>
                  <a:pt x="892" y="1679"/>
                </a:cubicBezTo>
                <a:cubicBezTo>
                  <a:pt x="891" y="1679"/>
                  <a:pt x="891" y="1679"/>
                  <a:pt x="891" y="1679"/>
                </a:cubicBezTo>
                <a:cubicBezTo>
                  <a:pt x="889" y="1677"/>
                  <a:pt x="889" y="1677"/>
                  <a:pt x="889" y="1677"/>
                </a:cubicBezTo>
                <a:cubicBezTo>
                  <a:pt x="885" y="1676"/>
                  <a:pt x="885" y="1676"/>
                  <a:pt x="885" y="1676"/>
                </a:cubicBezTo>
                <a:cubicBezTo>
                  <a:pt x="880" y="1675"/>
                  <a:pt x="880" y="1675"/>
                  <a:pt x="880" y="1675"/>
                </a:cubicBezTo>
                <a:cubicBezTo>
                  <a:pt x="878" y="1674"/>
                  <a:pt x="878" y="1674"/>
                  <a:pt x="878" y="1674"/>
                </a:cubicBezTo>
                <a:cubicBezTo>
                  <a:pt x="878" y="1675"/>
                  <a:pt x="878" y="1675"/>
                  <a:pt x="878" y="1675"/>
                </a:cubicBezTo>
                <a:cubicBezTo>
                  <a:pt x="878" y="1675"/>
                  <a:pt x="878" y="1675"/>
                  <a:pt x="878" y="1675"/>
                </a:cubicBezTo>
                <a:cubicBezTo>
                  <a:pt x="877" y="1676"/>
                  <a:pt x="877" y="1676"/>
                  <a:pt x="877" y="1676"/>
                </a:cubicBezTo>
                <a:cubicBezTo>
                  <a:pt x="877" y="1676"/>
                  <a:pt x="877" y="1676"/>
                  <a:pt x="877" y="1676"/>
                </a:cubicBezTo>
                <a:cubicBezTo>
                  <a:pt x="873" y="1674"/>
                  <a:pt x="873" y="1674"/>
                  <a:pt x="873" y="1674"/>
                </a:cubicBezTo>
                <a:cubicBezTo>
                  <a:pt x="871" y="1673"/>
                  <a:pt x="871" y="1673"/>
                  <a:pt x="871" y="1673"/>
                </a:cubicBezTo>
                <a:cubicBezTo>
                  <a:pt x="871" y="1674"/>
                  <a:pt x="871" y="1674"/>
                  <a:pt x="871" y="1674"/>
                </a:cubicBezTo>
                <a:cubicBezTo>
                  <a:pt x="872" y="1675"/>
                  <a:pt x="872" y="1675"/>
                  <a:pt x="872" y="1675"/>
                </a:cubicBezTo>
                <a:cubicBezTo>
                  <a:pt x="876" y="1677"/>
                  <a:pt x="876" y="1677"/>
                  <a:pt x="876" y="1677"/>
                </a:cubicBezTo>
                <a:cubicBezTo>
                  <a:pt x="876" y="1678"/>
                  <a:pt x="876" y="1678"/>
                  <a:pt x="876" y="1678"/>
                </a:cubicBezTo>
                <a:cubicBezTo>
                  <a:pt x="875" y="1678"/>
                  <a:pt x="875" y="1678"/>
                  <a:pt x="875" y="1678"/>
                </a:cubicBezTo>
                <a:cubicBezTo>
                  <a:pt x="875" y="1678"/>
                  <a:pt x="875" y="1678"/>
                  <a:pt x="875" y="1678"/>
                </a:cubicBezTo>
                <a:cubicBezTo>
                  <a:pt x="874" y="1679"/>
                  <a:pt x="874" y="1679"/>
                  <a:pt x="874" y="1679"/>
                </a:cubicBezTo>
                <a:cubicBezTo>
                  <a:pt x="874" y="1679"/>
                  <a:pt x="874" y="1679"/>
                  <a:pt x="874" y="1679"/>
                </a:cubicBezTo>
                <a:cubicBezTo>
                  <a:pt x="873" y="1678"/>
                  <a:pt x="873" y="1678"/>
                  <a:pt x="873" y="1678"/>
                </a:cubicBezTo>
                <a:cubicBezTo>
                  <a:pt x="871" y="1676"/>
                  <a:pt x="871" y="1676"/>
                  <a:pt x="871" y="1676"/>
                </a:cubicBezTo>
                <a:cubicBezTo>
                  <a:pt x="870" y="1677"/>
                  <a:pt x="870" y="1677"/>
                  <a:pt x="870" y="1677"/>
                </a:cubicBezTo>
                <a:cubicBezTo>
                  <a:pt x="871" y="1678"/>
                  <a:pt x="871" y="1678"/>
                  <a:pt x="871" y="1678"/>
                </a:cubicBezTo>
                <a:cubicBezTo>
                  <a:pt x="869" y="1678"/>
                  <a:pt x="869" y="1678"/>
                  <a:pt x="869" y="1678"/>
                </a:cubicBezTo>
                <a:cubicBezTo>
                  <a:pt x="866" y="1679"/>
                  <a:pt x="866" y="1679"/>
                  <a:pt x="866" y="1679"/>
                </a:cubicBezTo>
                <a:cubicBezTo>
                  <a:pt x="865" y="1679"/>
                  <a:pt x="865" y="1679"/>
                  <a:pt x="865" y="1679"/>
                </a:cubicBezTo>
                <a:cubicBezTo>
                  <a:pt x="866" y="1680"/>
                  <a:pt x="866" y="1680"/>
                  <a:pt x="866" y="1680"/>
                </a:cubicBezTo>
                <a:cubicBezTo>
                  <a:pt x="866" y="1680"/>
                  <a:pt x="866" y="1680"/>
                  <a:pt x="866" y="1680"/>
                </a:cubicBezTo>
                <a:cubicBezTo>
                  <a:pt x="864" y="1680"/>
                  <a:pt x="864" y="1680"/>
                  <a:pt x="864" y="1680"/>
                </a:cubicBezTo>
                <a:cubicBezTo>
                  <a:pt x="862" y="1681"/>
                  <a:pt x="862" y="1681"/>
                  <a:pt x="862" y="1681"/>
                </a:cubicBezTo>
                <a:cubicBezTo>
                  <a:pt x="862" y="1682"/>
                  <a:pt x="862" y="1682"/>
                  <a:pt x="862" y="1682"/>
                </a:cubicBezTo>
                <a:cubicBezTo>
                  <a:pt x="865" y="1682"/>
                  <a:pt x="865" y="1682"/>
                  <a:pt x="865" y="1682"/>
                </a:cubicBezTo>
                <a:cubicBezTo>
                  <a:pt x="866" y="1682"/>
                  <a:pt x="866" y="1682"/>
                  <a:pt x="866" y="1682"/>
                </a:cubicBezTo>
                <a:cubicBezTo>
                  <a:pt x="867" y="1681"/>
                  <a:pt x="867" y="1681"/>
                  <a:pt x="867" y="1681"/>
                </a:cubicBezTo>
                <a:cubicBezTo>
                  <a:pt x="868" y="1681"/>
                  <a:pt x="868" y="1681"/>
                  <a:pt x="868" y="1681"/>
                </a:cubicBezTo>
                <a:cubicBezTo>
                  <a:pt x="869" y="1681"/>
                  <a:pt x="869" y="1681"/>
                  <a:pt x="869" y="1681"/>
                </a:cubicBezTo>
                <a:cubicBezTo>
                  <a:pt x="871" y="1683"/>
                  <a:pt x="871" y="1683"/>
                  <a:pt x="871" y="1683"/>
                </a:cubicBezTo>
                <a:cubicBezTo>
                  <a:pt x="872" y="1682"/>
                  <a:pt x="872" y="1682"/>
                  <a:pt x="872" y="1682"/>
                </a:cubicBezTo>
                <a:cubicBezTo>
                  <a:pt x="872" y="1683"/>
                  <a:pt x="872" y="1683"/>
                  <a:pt x="872" y="1683"/>
                </a:cubicBezTo>
                <a:cubicBezTo>
                  <a:pt x="872" y="1684"/>
                  <a:pt x="872" y="1684"/>
                  <a:pt x="872" y="1684"/>
                </a:cubicBezTo>
                <a:cubicBezTo>
                  <a:pt x="874" y="1685"/>
                  <a:pt x="874" y="1685"/>
                  <a:pt x="874" y="1685"/>
                </a:cubicBezTo>
                <a:cubicBezTo>
                  <a:pt x="872" y="1685"/>
                  <a:pt x="872" y="1685"/>
                  <a:pt x="872" y="1685"/>
                </a:cubicBezTo>
                <a:cubicBezTo>
                  <a:pt x="871" y="1687"/>
                  <a:pt x="871" y="1687"/>
                  <a:pt x="871" y="1687"/>
                </a:cubicBezTo>
                <a:cubicBezTo>
                  <a:pt x="872" y="1689"/>
                  <a:pt x="872" y="1689"/>
                  <a:pt x="872" y="1689"/>
                </a:cubicBezTo>
                <a:cubicBezTo>
                  <a:pt x="874" y="1689"/>
                  <a:pt x="874" y="1689"/>
                  <a:pt x="874" y="1689"/>
                </a:cubicBezTo>
                <a:cubicBezTo>
                  <a:pt x="875" y="1689"/>
                  <a:pt x="875" y="1689"/>
                  <a:pt x="875" y="1689"/>
                </a:cubicBezTo>
                <a:cubicBezTo>
                  <a:pt x="876" y="1691"/>
                  <a:pt x="876" y="1691"/>
                  <a:pt x="876" y="1691"/>
                </a:cubicBezTo>
                <a:cubicBezTo>
                  <a:pt x="878" y="1691"/>
                  <a:pt x="878" y="1691"/>
                  <a:pt x="878" y="1691"/>
                </a:cubicBezTo>
                <a:cubicBezTo>
                  <a:pt x="878" y="1690"/>
                  <a:pt x="878" y="1690"/>
                  <a:pt x="878" y="1690"/>
                </a:cubicBezTo>
                <a:cubicBezTo>
                  <a:pt x="877" y="1689"/>
                  <a:pt x="877" y="1689"/>
                  <a:pt x="877" y="1689"/>
                </a:cubicBezTo>
                <a:cubicBezTo>
                  <a:pt x="875" y="1688"/>
                  <a:pt x="875" y="1688"/>
                  <a:pt x="875" y="1688"/>
                </a:cubicBezTo>
                <a:cubicBezTo>
                  <a:pt x="874" y="1687"/>
                  <a:pt x="874" y="1687"/>
                  <a:pt x="874" y="1687"/>
                </a:cubicBezTo>
                <a:cubicBezTo>
                  <a:pt x="875" y="1687"/>
                  <a:pt x="875" y="1687"/>
                  <a:pt x="875" y="1687"/>
                </a:cubicBezTo>
                <a:cubicBezTo>
                  <a:pt x="876" y="1687"/>
                  <a:pt x="876" y="1687"/>
                  <a:pt x="876" y="1687"/>
                </a:cubicBezTo>
                <a:cubicBezTo>
                  <a:pt x="878" y="1687"/>
                  <a:pt x="878" y="1687"/>
                  <a:pt x="878" y="1687"/>
                </a:cubicBezTo>
                <a:cubicBezTo>
                  <a:pt x="878" y="1686"/>
                  <a:pt x="878" y="1686"/>
                  <a:pt x="878" y="1686"/>
                </a:cubicBezTo>
                <a:cubicBezTo>
                  <a:pt x="877" y="1685"/>
                  <a:pt x="877" y="1685"/>
                  <a:pt x="877" y="1685"/>
                </a:cubicBezTo>
                <a:cubicBezTo>
                  <a:pt x="875" y="1685"/>
                  <a:pt x="875" y="1685"/>
                  <a:pt x="875" y="1685"/>
                </a:cubicBezTo>
                <a:cubicBezTo>
                  <a:pt x="880" y="1683"/>
                  <a:pt x="880" y="1683"/>
                  <a:pt x="880" y="1683"/>
                </a:cubicBezTo>
                <a:cubicBezTo>
                  <a:pt x="881" y="1682"/>
                  <a:pt x="881" y="1682"/>
                  <a:pt x="881" y="1682"/>
                </a:cubicBezTo>
                <a:cubicBezTo>
                  <a:pt x="890" y="1684"/>
                  <a:pt x="890" y="1684"/>
                  <a:pt x="890" y="1684"/>
                </a:cubicBezTo>
                <a:cubicBezTo>
                  <a:pt x="891" y="1684"/>
                  <a:pt x="891" y="1684"/>
                  <a:pt x="891" y="1684"/>
                </a:cubicBezTo>
                <a:cubicBezTo>
                  <a:pt x="890" y="1682"/>
                  <a:pt x="890" y="1682"/>
                  <a:pt x="890" y="1682"/>
                </a:cubicBezTo>
                <a:cubicBezTo>
                  <a:pt x="894" y="1682"/>
                  <a:pt x="894" y="1682"/>
                  <a:pt x="894" y="1682"/>
                </a:cubicBezTo>
                <a:cubicBezTo>
                  <a:pt x="897" y="1681"/>
                  <a:pt x="897" y="1681"/>
                  <a:pt x="897" y="1681"/>
                </a:cubicBezTo>
                <a:cubicBezTo>
                  <a:pt x="901" y="1682"/>
                  <a:pt x="901" y="1682"/>
                  <a:pt x="901" y="1682"/>
                </a:cubicBezTo>
                <a:cubicBezTo>
                  <a:pt x="904" y="1681"/>
                  <a:pt x="904" y="1681"/>
                  <a:pt x="904" y="1681"/>
                </a:cubicBezTo>
                <a:cubicBezTo>
                  <a:pt x="908" y="1682"/>
                  <a:pt x="908" y="1682"/>
                  <a:pt x="908" y="1682"/>
                </a:cubicBezTo>
                <a:cubicBezTo>
                  <a:pt x="911" y="1683"/>
                  <a:pt x="911" y="1683"/>
                  <a:pt x="911" y="1683"/>
                </a:cubicBezTo>
                <a:cubicBezTo>
                  <a:pt x="913" y="1684"/>
                  <a:pt x="913" y="1684"/>
                  <a:pt x="913" y="1684"/>
                </a:cubicBezTo>
                <a:cubicBezTo>
                  <a:pt x="915" y="1683"/>
                  <a:pt x="915" y="1683"/>
                  <a:pt x="915" y="1683"/>
                </a:cubicBezTo>
                <a:cubicBezTo>
                  <a:pt x="917" y="1682"/>
                  <a:pt x="917" y="1682"/>
                  <a:pt x="917" y="1682"/>
                </a:cubicBezTo>
                <a:cubicBezTo>
                  <a:pt x="918" y="1680"/>
                  <a:pt x="918" y="1680"/>
                  <a:pt x="918" y="1680"/>
                </a:cubicBezTo>
                <a:cubicBezTo>
                  <a:pt x="920" y="1679"/>
                  <a:pt x="920" y="1679"/>
                  <a:pt x="920" y="1679"/>
                </a:cubicBezTo>
                <a:cubicBezTo>
                  <a:pt x="921" y="1680"/>
                  <a:pt x="921" y="1680"/>
                  <a:pt x="921" y="1680"/>
                </a:cubicBezTo>
                <a:cubicBezTo>
                  <a:pt x="923" y="1678"/>
                  <a:pt x="923" y="1678"/>
                  <a:pt x="923" y="1678"/>
                </a:cubicBezTo>
                <a:cubicBezTo>
                  <a:pt x="923" y="1677"/>
                  <a:pt x="923" y="1677"/>
                  <a:pt x="923" y="1677"/>
                </a:cubicBezTo>
                <a:lnTo>
                  <a:pt x="921" y="1676"/>
                </a:lnTo>
                <a:close/>
                <a:moveTo>
                  <a:pt x="872" y="1665"/>
                </a:moveTo>
                <a:cubicBezTo>
                  <a:pt x="871" y="1663"/>
                  <a:pt x="871" y="1663"/>
                  <a:pt x="871" y="1663"/>
                </a:cubicBezTo>
                <a:cubicBezTo>
                  <a:pt x="870" y="1663"/>
                  <a:pt x="870" y="1663"/>
                  <a:pt x="870" y="1663"/>
                </a:cubicBezTo>
                <a:cubicBezTo>
                  <a:pt x="870" y="1665"/>
                  <a:pt x="870" y="1665"/>
                  <a:pt x="870" y="1665"/>
                </a:cubicBezTo>
                <a:cubicBezTo>
                  <a:pt x="869" y="1666"/>
                  <a:pt x="869" y="1666"/>
                  <a:pt x="869" y="1666"/>
                </a:cubicBezTo>
                <a:cubicBezTo>
                  <a:pt x="870" y="1668"/>
                  <a:pt x="870" y="1668"/>
                  <a:pt x="870" y="1668"/>
                </a:cubicBezTo>
                <a:cubicBezTo>
                  <a:pt x="869" y="1669"/>
                  <a:pt x="869" y="1669"/>
                  <a:pt x="869" y="1669"/>
                </a:cubicBezTo>
                <a:cubicBezTo>
                  <a:pt x="869" y="1671"/>
                  <a:pt x="869" y="1671"/>
                  <a:pt x="869" y="1671"/>
                </a:cubicBezTo>
                <a:cubicBezTo>
                  <a:pt x="871" y="1672"/>
                  <a:pt x="871" y="1672"/>
                  <a:pt x="871" y="1672"/>
                </a:cubicBezTo>
                <a:cubicBezTo>
                  <a:pt x="873" y="1672"/>
                  <a:pt x="873" y="1672"/>
                  <a:pt x="873" y="1672"/>
                </a:cubicBezTo>
                <a:cubicBezTo>
                  <a:pt x="874" y="1673"/>
                  <a:pt x="874" y="1673"/>
                  <a:pt x="874" y="1673"/>
                </a:cubicBezTo>
                <a:cubicBezTo>
                  <a:pt x="875" y="1672"/>
                  <a:pt x="875" y="1672"/>
                  <a:pt x="875" y="1672"/>
                </a:cubicBezTo>
                <a:cubicBezTo>
                  <a:pt x="872" y="1671"/>
                  <a:pt x="872" y="1671"/>
                  <a:pt x="872" y="1671"/>
                </a:cubicBezTo>
                <a:cubicBezTo>
                  <a:pt x="874" y="1669"/>
                  <a:pt x="874" y="1669"/>
                  <a:pt x="874" y="1669"/>
                </a:cubicBezTo>
                <a:cubicBezTo>
                  <a:pt x="873" y="1668"/>
                  <a:pt x="873" y="1668"/>
                  <a:pt x="873" y="1668"/>
                </a:cubicBezTo>
                <a:cubicBezTo>
                  <a:pt x="873" y="1667"/>
                  <a:pt x="873" y="1667"/>
                  <a:pt x="873" y="1667"/>
                </a:cubicBezTo>
                <a:lnTo>
                  <a:pt x="872" y="1665"/>
                </a:lnTo>
                <a:close/>
                <a:moveTo>
                  <a:pt x="867" y="1687"/>
                </a:moveTo>
                <a:cubicBezTo>
                  <a:pt x="868" y="1688"/>
                  <a:pt x="868" y="1688"/>
                  <a:pt x="868" y="1688"/>
                </a:cubicBezTo>
                <a:cubicBezTo>
                  <a:pt x="869" y="1687"/>
                  <a:pt x="869" y="1687"/>
                  <a:pt x="869" y="1687"/>
                </a:cubicBezTo>
                <a:cubicBezTo>
                  <a:pt x="869" y="1686"/>
                  <a:pt x="869" y="1686"/>
                  <a:pt x="869" y="1686"/>
                </a:cubicBezTo>
                <a:lnTo>
                  <a:pt x="867" y="1687"/>
                </a:lnTo>
                <a:close/>
                <a:moveTo>
                  <a:pt x="858" y="1675"/>
                </a:moveTo>
                <a:cubicBezTo>
                  <a:pt x="856" y="1676"/>
                  <a:pt x="856" y="1676"/>
                  <a:pt x="856" y="1676"/>
                </a:cubicBezTo>
                <a:cubicBezTo>
                  <a:pt x="856" y="1677"/>
                  <a:pt x="856" y="1677"/>
                  <a:pt x="856" y="1677"/>
                </a:cubicBezTo>
                <a:cubicBezTo>
                  <a:pt x="858" y="1677"/>
                  <a:pt x="858" y="1677"/>
                  <a:pt x="858" y="1677"/>
                </a:cubicBezTo>
                <a:cubicBezTo>
                  <a:pt x="859" y="1675"/>
                  <a:pt x="859" y="1675"/>
                  <a:pt x="859" y="1675"/>
                </a:cubicBezTo>
                <a:cubicBezTo>
                  <a:pt x="859" y="1675"/>
                  <a:pt x="859" y="1675"/>
                  <a:pt x="859" y="1675"/>
                </a:cubicBezTo>
                <a:cubicBezTo>
                  <a:pt x="858" y="1674"/>
                  <a:pt x="858" y="1674"/>
                  <a:pt x="858" y="1674"/>
                </a:cubicBezTo>
                <a:lnTo>
                  <a:pt x="858" y="1675"/>
                </a:lnTo>
                <a:close/>
                <a:moveTo>
                  <a:pt x="864" y="1676"/>
                </a:moveTo>
                <a:cubicBezTo>
                  <a:pt x="865" y="1675"/>
                  <a:pt x="865" y="1675"/>
                  <a:pt x="865" y="1675"/>
                </a:cubicBezTo>
                <a:cubicBezTo>
                  <a:pt x="866" y="1676"/>
                  <a:pt x="866" y="1676"/>
                  <a:pt x="866" y="1676"/>
                </a:cubicBezTo>
                <a:cubicBezTo>
                  <a:pt x="867" y="1676"/>
                  <a:pt x="867" y="1676"/>
                  <a:pt x="867" y="1676"/>
                </a:cubicBezTo>
                <a:cubicBezTo>
                  <a:pt x="869" y="1676"/>
                  <a:pt x="869" y="1676"/>
                  <a:pt x="869" y="1676"/>
                </a:cubicBezTo>
                <a:cubicBezTo>
                  <a:pt x="868" y="1674"/>
                  <a:pt x="868" y="1674"/>
                  <a:pt x="868" y="1674"/>
                </a:cubicBezTo>
                <a:cubicBezTo>
                  <a:pt x="869" y="1673"/>
                  <a:pt x="869" y="1673"/>
                  <a:pt x="869" y="1673"/>
                </a:cubicBezTo>
                <a:cubicBezTo>
                  <a:pt x="868" y="1672"/>
                  <a:pt x="868" y="1672"/>
                  <a:pt x="868" y="1672"/>
                </a:cubicBezTo>
                <a:cubicBezTo>
                  <a:pt x="867" y="1672"/>
                  <a:pt x="867" y="1672"/>
                  <a:pt x="867" y="1672"/>
                </a:cubicBezTo>
                <a:cubicBezTo>
                  <a:pt x="866" y="1673"/>
                  <a:pt x="866" y="1673"/>
                  <a:pt x="866" y="1673"/>
                </a:cubicBezTo>
                <a:cubicBezTo>
                  <a:pt x="865" y="1672"/>
                  <a:pt x="865" y="1672"/>
                  <a:pt x="865" y="1672"/>
                </a:cubicBezTo>
                <a:cubicBezTo>
                  <a:pt x="862" y="1671"/>
                  <a:pt x="862" y="1671"/>
                  <a:pt x="862" y="1671"/>
                </a:cubicBezTo>
                <a:cubicBezTo>
                  <a:pt x="861" y="1672"/>
                  <a:pt x="861" y="1672"/>
                  <a:pt x="861" y="1672"/>
                </a:cubicBezTo>
                <a:cubicBezTo>
                  <a:pt x="858" y="1672"/>
                  <a:pt x="858" y="1672"/>
                  <a:pt x="858" y="1672"/>
                </a:cubicBezTo>
                <a:cubicBezTo>
                  <a:pt x="858" y="1673"/>
                  <a:pt x="858" y="1673"/>
                  <a:pt x="858" y="1673"/>
                </a:cubicBezTo>
                <a:cubicBezTo>
                  <a:pt x="860" y="1674"/>
                  <a:pt x="860" y="1674"/>
                  <a:pt x="860" y="1674"/>
                </a:cubicBezTo>
                <a:cubicBezTo>
                  <a:pt x="860" y="1675"/>
                  <a:pt x="860" y="1675"/>
                  <a:pt x="860" y="1675"/>
                </a:cubicBezTo>
                <a:cubicBezTo>
                  <a:pt x="861" y="1674"/>
                  <a:pt x="861" y="1674"/>
                  <a:pt x="861" y="1674"/>
                </a:cubicBezTo>
                <a:cubicBezTo>
                  <a:pt x="863" y="1675"/>
                  <a:pt x="863" y="1675"/>
                  <a:pt x="863" y="1675"/>
                </a:cubicBezTo>
                <a:lnTo>
                  <a:pt x="864" y="1676"/>
                </a:lnTo>
                <a:close/>
                <a:moveTo>
                  <a:pt x="1177" y="234"/>
                </a:moveTo>
                <a:cubicBezTo>
                  <a:pt x="1177" y="235"/>
                  <a:pt x="1177" y="235"/>
                  <a:pt x="1177" y="235"/>
                </a:cubicBezTo>
                <a:cubicBezTo>
                  <a:pt x="1178" y="235"/>
                  <a:pt x="1178" y="235"/>
                  <a:pt x="1178" y="235"/>
                </a:cubicBezTo>
                <a:cubicBezTo>
                  <a:pt x="1178" y="234"/>
                  <a:pt x="1178" y="234"/>
                  <a:pt x="1178" y="234"/>
                </a:cubicBezTo>
                <a:cubicBezTo>
                  <a:pt x="1178" y="234"/>
                  <a:pt x="1178" y="234"/>
                  <a:pt x="1178" y="234"/>
                </a:cubicBezTo>
                <a:lnTo>
                  <a:pt x="1177" y="234"/>
                </a:lnTo>
                <a:close/>
                <a:moveTo>
                  <a:pt x="1335" y="273"/>
                </a:moveTo>
                <a:cubicBezTo>
                  <a:pt x="1337" y="274"/>
                  <a:pt x="1337" y="274"/>
                  <a:pt x="1337" y="274"/>
                </a:cubicBezTo>
                <a:cubicBezTo>
                  <a:pt x="1339" y="273"/>
                  <a:pt x="1339" y="273"/>
                  <a:pt x="1339" y="273"/>
                </a:cubicBezTo>
                <a:cubicBezTo>
                  <a:pt x="1340" y="273"/>
                  <a:pt x="1340" y="273"/>
                  <a:pt x="1340" y="273"/>
                </a:cubicBezTo>
                <a:cubicBezTo>
                  <a:pt x="1344" y="276"/>
                  <a:pt x="1344" y="276"/>
                  <a:pt x="1344" y="276"/>
                </a:cubicBezTo>
                <a:cubicBezTo>
                  <a:pt x="1348" y="276"/>
                  <a:pt x="1348" y="276"/>
                  <a:pt x="1348" y="276"/>
                </a:cubicBezTo>
                <a:cubicBezTo>
                  <a:pt x="1350" y="277"/>
                  <a:pt x="1350" y="277"/>
                  <a:pt x="1350" y="277"/>
                </a:cubicBezTo>
                <a:cubicBezTo>
                  <a:pt x="1352" y="276"/>
                  <a:pt x="1352" y="276"/>
                  <a:pt x="1352" y="276"/>
                </a:cubicBezTo>
                <a:cubicBezTo>
                  <a:pt x="1352" y="273"/>
                  <a:pt x="1352" y="273"/>
                  <a:pt x="1352" y="273"/>
                </a:cubicBezTo>
                <a:cubicBezTo>
                  <a:pt x="1353" y="272"/>
                  <a:pt x="1353" y="272"/>
                  <a:pt x="1353" y="272"/>
                </a:cubicBezTo>
                <a:cubicBezTo>
                  <a:pt x="1353" y="274"/>
                  <a:pt x="1353" y="274"/>
                  <a:pt x="1353" y="274"/>
                </a:cubicBezTo>
                <a:cubicBezTo>
                  <a:pt x="1355" y="274"/>
                  <a:pt x="1355" y="274"/>
                  <a:pt x="1355" y="274"/>
                </a:cubicBezTo>
                <a:cubicBezTo>
                  <a:pt x="1358" y="272"/>
                  <a:pt x="1358" y="272"/>
                  <a:pt x="1358" y="272"/>
                </a:cubicBezTo>
                <a:cubicBezTo>
                  <a:pt x="1358" y="270"/>
                  <a:pt x="1358" y="270"/>
                  <a:pt x="1358" y="270"/>
                </a:cubicBezTo>
                <a:cubicBezTo>
                  <a:pt x="1360" y="269"/>
                  <a:pt x="1360" y="269"/>
                  <a:pt x="1360" y="269"/>
                </a:cubicBezTo>
                <a:cubicBezTo>
                  <a:pt x="1359" y="271"/>
                  <a:pt x="1359" y="271"/>
                  <a:pt x="1359" y="271"/>
                </a:cubicBezTo>
                <a:cubicBezTo>
                  <a:pt x="1360" y="272"/>
                  <a:pt x="1360" y="272"/>
                  <a:pt x="1360" y="272"/>
                </a:cubicBezTo>
                <a:cubicBezTo>
                  <a:pt x="1361" y="271"/>
                  <a:pt x="1361" y="271"/>
                  <a:pt x="1361" y="271"/>
                </a:cubicBezTo>
                <a:cubicBezTo>
                  <a:pt x="1362" y="270"/>
                  <a:pt x="1362" y="270"/>
                  <a:pt x="1362" y="270"/>
                </a:cubicBezTo>
                <a:cubicBezTo>
                  <a:pt x="1364" y="268"/>
                  <a:pt x="1364" y="268"/>
                  <a:pt x="1364" y="268"/>
                </a:cubicBezTo>
                <a:cubicBezTo>
                  <a:pt x="1365" y="269"/>
                  <a:pt x="1365" y="269"/>
                  <a:pt x="1365" y="269"/>
                </a:cubicBezTo>
                <a:cubicBezTo>
                  <a:pt x="1366" y="268"/>
                  <a:pt x="1366" y="268"/>
                  <a:pt x="1366" y="268"/>
                </a:cubicBezTo>
                <a:cubicBezTo>
                  <a:pt x="1368" y="268"/>
                  <a:pt x="1368" y="268"/>
                  <a:pt x="1368" y="268"/>
                </a:cubicBezTo>
                <a:cubicBezTo>
                  <a:pt x="1368" y="269"/>
                  <a:pt x="1368" y="269"/>
                  <a:pt x="1368" y="269"/>
                </a:cubicBezTo>
                <a:cubicBezTo>
                  <a:pt x="1368" y="268"/>
                  <a:pt x="1368" y="268"/>
                  <a:pt x="1368" y="268"/>
                </a:cubicBezTo>
                <a:cubicBezTo>
                  <a:pt x="1373" y="265"/>
                  <a:pt x="1373" y="265"/>
                  <a:pt x="1373" y="265"/>
                </a:cubicBezTo>
                <a:cubicBezTo>
                  <a:pt x="1374" y="263"/>
                  <a:pt x="1374" y="263"/>
                  <a:pt x="1374" y="263"/>
                </a:cubicBezTo>
                <a:cubicBezTo>
                  <a:pt x="1379" y="262"/>
                  <a:pt x="1379" y="262"/>
                  <a:pt x="1379" y="262"/>
                </a:cubicBezTo>
                <a:cubicBezTo>
                  <a:pt x="1380" y="260"/>
                  <a:pt x="1380" y="260"/>
                  <a:pt x="1380" y="260"/>
                </a:cubicBezTo>
                <a:cubicBezTo>
                  <a:pt x="1380" y="259"/>
                  <a:pt x="1380" y="259"/>
                  <a:pt x="1380" y="259"/>
                </a:cubicBezTo>
                <a:cubicBezTo>
                  <a:pt x="1380" y="258"/>
                  <a:pt x="1380" y="258"/>
                  <a:pt x="1380" y="258"/>
                </a:cubicBezTo>
                <a:cubicBezTo>
                  <a:pt x="1381" y="258"/>
                  <a:pt x="1381" y="258"/>
                  <a:pt x="1381" y="258"/>
                </a:cubicBezTo>
                <a:cubicBezTo>
                  <a:pt x="1381" y="260"/>
                  <a:pt x="1381" y="260"/>
                  <a:pt x="1381" y="260"/>
                </a:cubicBezTo>
                <a:cubicBezTo>
                  <a:pt x="1384" y="261"/>
                  <a:pt x="1384" y="261"/>
                  <a:pt x="1384" y="261"/>
                </a:cubicBezTo>
                <a:cubicBezTo>
                  <a:pt x="1385" y="259"/>
                  <a:pt x="1385" y="259"/>
                  <a:pt x="1385" y="259"/>
                </a:cubicBezTo>
                <a:cubicBezTo>
                  <a:pt x="1386" y="258"/>
                  <a:pt x="1386" y="258"/>
                  <a:pt x="1386" y="258"/>
                </a:cubicBezTo>
                <a:cubicBezTo>
                  <a:pt x="1385" y="257"/>
                  <a:pt x="1385" y="257"/>
                  <a:pt x="1385" y="257"/>
                </a:cubicBezTo>
                <a:cubicBezTo>
                  <a:pt x="1385" y="256"/>
                  <a:pt x="1385" y="256"/>
                  <a:pt x="1385" y="256"/>
                </a:cubicBezTo>
                <a:cubicBezTo>
                  <a:pt x="1386" y="255"/>
                  <a:pt x="1386" y="255"/>
                  <a:pt x="1386" y="255"/>
                </a:cubicBezTo>
                <a:cubicBezTo>
                  <a:pt x="1386" y="253"/>
                  <a:pt x="1386" y="253"/>
                  <a:pt x="1386" y="253"/>
                </a:cubicBezTo>
                <a:cubicBezTo>
                  <a:pt x="1386" y="252"/>
                  <a:pt x="1386" y="252"/>
                  <a:pt x="1386" y="252"/>
                </a:cubicBezTo>
                <a:cubicBezTo>
                  <a:pt x="1388" y="253"/>
                  <a:pt x="1388" y="253"/>
                  <a:pt x="1388" y="253"/>
                </a:cubicBezTo>
                <a:cubicBezTo>
                  <a:pt x="1388" y="255"/>
                  <a:pt x="1388" y="255"/>
                  <a:pt x="1388" y="255"/>
                </a:cubicBezTo>
                <a:cubicBezTo>
                  <a:pt x="1390" y="254"/>
                  <a:pt x="1390" y="254"/>
                  <a:pt x="1390" y="254"/>
                </a:cubicBezTo>
                <a:cubicBezTo>
                  <a:pt x="1391" y="252"/>
                  <a:pt x="1391" y="252"/>
                  <a:pt x="1391" y="252"/>
                </a:cubicBezTo>
                <a:cubicBezTo>
                  <a:pt x="1391" y="250"/>
                  <a:pt x="1391" y="250"/>
                  <a:pt x="1391" y="250"/>
                </a:cubicBezTo>
                <a:cubicBezTo>
                  <a:pt x="1389" y="249"/>
                  <a:pt x="1389" y="249"/>
                  <a:pt x="1389" y="249"/>
                </a:cubicBezTo>
                <a:cubicBezTo>
                  <a:pt x="1389" y="247"/>
                  <a:pt x="1389" y="247"/>
                  <a:pt x="1389" y="247"/>
                </a:cubicBezTo>
                <a:cubicBezTo>
                  <a:pt x="1390" y="246"/>
                  <a:pt x="1390" y="246"/>
                  <a:pt x="1390" y="246"/>
                </a:cubicBezTo>
                <a:cubicBezTo>
                  <a:pt x="1390" y="244"/>
                  <a:pt x="1390" y="244"/>
                  <a:pt x="1390" y="244"/>
                </a:cubicBezTo>
                <a:cubicBezTo>
                  <a:pt x="1391" y="243"/>
                  <a:pt x="1391" y="243"/>
                  <a:pt x="1391" y="243"/>
                </a:cubicBezTo>
                <a:cubicBezTo>
                  <a:pt x="1393" y="243"/>
                  <a:pt x="1393" y="243"/>
                  <a:pt x="1393" y="243"/>
                </a:cubicBezTo>
                <a:cubicBezTo>
                  <a:pt x="1394" y="241"/>
                  <a:pt x="1394" y="241"/>
                  <a:pt x="1394" y="241"/>
                </a:cubicBezTo>
                <a:cubicBezTo>
                  <a:pt x="1392" y="240"/>
                  <a:pt x="1392" y="240"/>
                  <a:pt x="1392" y="240"/>
                </a:cubicBezTo>
                <a:cubicBezTo>
                  <a:pt x="1388" y="239"/>
                  <a:pt x="1388" y="239"/>
                  <a:pt x="1388" y="239"/>
                </a:cubicBezTo>
                <a:cubicBezTo>
                  <a:pt x="1387" y="240"/>
                  <a:pt x="1387" y="240"/>
                  <a:pt x="1387" y="240"/>
                </a:cubicBezTo>
                <a:cubicBezTo>
                  <a:pt x="1388" y="239"/>
                  <a:pt x="1388" y="239"/>
                  <a:pt x="1388" y="239"/>
                </a:cubicBezTo>
                <a:cubicBezTo>
                  <a:pt x="1388" y="237"/>
                  <a:pt x="1388" y="237"/>
                  <a:pt x="1388" y="237"/>
                </a:cubicBezTo>
                <a:cubicBezTo>
                  <a:pt x="1386" y="237"/>
                  <a:pt x="1386" y="237"/>
                  <a:pt x="1386" y="237"/>
                </a:cubicBezTo>
                <a:cubicBezTo>
                  <a:pt x="1385" y="237"/>
                  <a:pt x="1385" y="237"/>
                  <a:pt x="1385" y="237"/>
                </a:cubicBezTo>
                <a:cubicBezTo>
                  <a:pt x="1384" y="236"/>
                  <a:pt x="1384" y="236"/>
                  <a:pt x="1384" y="236"/>
                </a:cubicBezTo>
                <a:cubicBezTo>
                  <a:pt x="1386" y="234"/>
                  <a:pt x="1386" y="234"/>
                  <a:pt x="1386" y="234"/>
                </a:cubicBezTo>
                <a:cubicBezTo>
                  <a:pt x="1387" y="233"/>
                  <a:pt x="1387" y="233"/>
                  <a:pt x="1387" y="233"/>
                </a:cubicBezTo>
                <a:cubicBezTo>
                  <a:pt x="1387" y="231"/>
                  <a:pt x="1387" y="231"/>
                  <a:pt x="1387" y="231"/>
                </a:cubicBezTo>
                <a:cubicBezTo>
                  <a:pt x="1386" y="230"/>
                  <a:pt x="1386" y="230"/>
                  <a:pt x="1386" y="230"/>
                </a:cubicBezTo>
                <a:cubicBezTo>
                  <a:pt x="1384" y="231"/>
                  <a:pt x="1384" y="231"/>
                  <a:pt x="1384" y="231"/>
                </a:cubicBezTo>
                <a:cubicBezTo>
                  <a:pt x="1383" y="230"/>
                  <a:pt x="1383" y="230"/>
                  <a:pt x="1383" y="230"/>
                </a:cubicBezTo>
                <a:cubicBezTo>
                  <a:pt x="1382" y="229"/>
                  <a:pt x="1382" y="229"/>
                  <a:pt x="1382" y="229"/>
                </a:cubicBezTo>
                <a:cubicBezTo>
                  <a:pt x="1384" y="228"/>
                  <a:pt x="1384" y="228"/>
                  <a:pt x="1384" y="228"/>
                </a:cubicBezTo>
                <a:cubicBezTo>
                  <a:pt x="1384" y="226"/>
                  <a:pt x="1384" y="226"/>
                  <a:pt x="1384" y="226"/>
                </a:cubicBezTo>
                <a:cubicBezTo>
                  <a:pt x="1385" y="226"/>
                  <a:pt x="1385" y="226"/>
                  <a:pt x="1385" y="226"/>
                </a:cubicBezTo>
                <a:cubicBezTo>
                  <a:pt x="1387" y="225"/>
                  <a:pt x="1387" y="225"/>
                  <a:pt x="1387" y="225"/>
                </a:cubicBezTo>
                <a:cubicBezTo>
                  <a:pt x="1385" y="224"/>
                  <a:pt x="1385" y="224"/>
                  <a:pt x="1385" y="224"/>
                </a:cubicBezTo>
                <a:cubicBezTo>
                  <a:pt x="1383" y="225"/>
                  <a:pt x="1383" y="225"/>
                  <a:pt x="1383" y="225"/>
                </a:cubicBezTo>
                <a:cubicBezTo>
                  <a:pt x="1380" y="228"/>
                  <a:pt x="1380" y="228"/>
                  <a:pt x="1380" y="228"/>
                </a:cubicBezTo>
                <a:cubicBezTo>
                  <a:pt x="1379" y="229"/>
                  <a:pt x="1379" y="229"/>
                  <a:pt x="1379" y="229"/>
                </a:cubicBezTo>
                <a:cubicBezTo>
                  <a:pt x="1378" y="229"/>
                  <a:pt x="1378" y="229"/>
                  <a:pt x="1378" y="229"/>
                </a:cubicBezTo>
                <a:cubicBezTo>
                  <a:pt x="1377" y="228"/>
                  <a:pt x="1377" y="228"/>
                  <a:pt x="1377" y="228"/>
                </a:cubicBezTo>
                <a:cubicBezTo>
                  <a:pt x="1378" y="226"/>
                  <a:pt x="1378" y="226"/>
                  <a:pt x="1378" y="226"/>
                </a:cubicBezTo>
                <a:cubicBezTo>
                  <a:pt x="1377" y="225"/>
                  <a:pt x="1377" y="225"/>
                  <a:pt x="1377" y="225"/>
                </a:cubicBezTo>
                <a:cubicBezTo>
                  <a:pt x="1376" y="224"/>
                  <a:pt x="1376" y="224"/>
                  <a:pt x="1376" y="224"/>
                </a:cubicBezTo>
                <a:cubicBezTo>
                  <a:pt x="1375" y="223"/>
                  <a:pt x="1375" y="223"/>
                  <a:pt x="1375" y="223"/>
                </a:cubicBezTo>
                <a:cubicBezTo>
                  <a:pt x="1373" y="224"/>
                  <a:pt x="1373" y="224"/>
                  <a:pt x="1373" y="224"/>
                </a:cubicBezTo>
                <a:cubicBezTo>
                  <a:pt x="1372" y="223"/>
                  <a:pt x="1372" y="223"/>
                  <a:pt x="1372" y="223"/>
                </a:cubicBezTo>
                <a:cubicBezTo>
                  <a:pt x="1371" y="225"/>
                  <a:pt x="1371" y="225"/>
                  <a:pt x="1371" y="225"/>
                </a:cubicBezTo>
                <a:cubicBezTo>
                  <a:pt x="1372" y="227"/>
                  <a:pt x="1372" y="227"/>
                  <a:pt x="1372" y="227"/>
                </a:cubicBezTo>
                <a:cubicBezTo>
                  <a:pt x="1371" y="228"/>
                  <a:pt x="1371" y="228"/>
                  <a:pt x="1371" y="228"/>
                </a:cubicBezTo>
                <a:cubicBezTo>
                  <a:pt x="1369" y="229"/>
                  <a:pt x="1369" y="229"/>
                  <a:pt x="1369" y="229"/>
                </a:cubicBezTo>
                <a:cubicBezTo>
                  <a:pt x="1367" y="230"/>
                  <a:pt x="1367" y="230"/>
                  <a:pt x="1367" y="230"/>
                </a:cubicBezTo>
                <a:cubicBezTo>
                  <a:pt x="1367" y="228"/>
                  <a:pt x="1367" y="228"/>
                  <a:pt x="1367" y="228"/>
                </a:cubicBezTo>
                <a:cubicBezTo>
                  <a:pt x="1366" y="227"/>
                  <a:pt x="1366" y="227"/>
                  <a:pt x="1366" y="227"/>
                </a:cubicBezTo>
                <a:cubicBezTo>
                  <a:pt x="1365" y="229"/>
                  <a:pt x="1365" y="229"/>
                  <a:pt x="1365" y="229"/>
                </a:cubicBezTo>
                <a:cubicBezTo>
                  <a:pt x="1364" y="231"/>
                  <a:pt x="1364" y="231"/>
                  <a:pt x="1364" y="231"/>
                </a:cubicBezTo>
                <a:cubicBezTo>
                  <a:pt x="1362" y="231"/>
                  <a:pt x="1362" y="231"/>
                  <a:pt x="1362" y="231"/>
                </a:cubicBezTo>
                <a:cubicBezTo>
                  <a:pt x="1360" y="228"/>
                  <a:pt x="1360" y="228"/>
                  <a:pt x="1360" y="228"/>
                </a:cubicBezTo>
                <a:cubicBezTo>
                  <a:pt x="1358" y="228"/>
                  <a:pt x="1358" y="228"/>
                  <a:pt x="1358" y="228"/>
                </a:cubicBezTo>
                <a:cubicBezTo>
                  <a:pt x="1358" y="228"/>
                  <a:pt x="1358" y="228"/>
                  <a:pt x="1358" y="228"/>
                </a:cubicBezTo>
                <a:cubicBezTo>
                  <a:pt x="1356" y="228"/>
                  <a:pt x="1356" y="228"/>
                  <a:pt x="1356" y="228"/>
                </a:cubicBezTo>
                <a:cubicBezTo>
                  <a:pt x="1355" y="231"/>
                  <a:pt x="1355" y="231"/>
                  <a:pt x="1355" y="231"/>
                </a:cubicBezTo>
                <a:cubicBezTo>
                  <a:pt x="1357" y="235"/>
                  <a:pt x="1357" y="235"/>
                  <a:pt x="1357" y="235"/>
                </a:cubicBezTo>
                <a:cubicBezTo>
                  <a:pt x="1355" y="240"/>
                  <a:pt x="1355" y="240"/>
                  <a:pt x="1355" y="240"/>
                </a:cubicBezTo>
                <a:cubicBezTo>
                  <a:pt x="1356" y="236"/>
                  <a:pt x="1356" y="236"/>
                  <a:pt x="1356" y="236"/>
                </a:cubicBezTo>
                <a:cubicBezTo>
                  <a:pt x="1354" y="233"/>
                  <a:pt x="1354" y="233"/>
                  <a:pt x="1354" y="233"/>
                </a:cubicBezTo>
                <a:cubicBezTo>
                  <a:pt x="1354" y="231"/>
                  <a:pt x="1354" y="231"/>
                  <a:pt x="1354" y="231"/>
                </a:cubicBezTo>
                <a:cubicBezTo>
                  <a:pt x="1353" y="230"/>
                  <a:pt x="1353" y="230"/>
                  <a:pt x="1353" y="230"/>
                </a:cubicBezTo>
                <a:cubicBezTo>
                  <a:pt x="1353" y="228"/>
                  <a:pt x="1353" y="228"/>
                  <a:pt x="1353" y="228"/>
                </a:cubicBezTo>
                <a:cubicBezTo>
                  <a:pt x="1351" y="227"/>
                  <a:pt x="1351" y="227"/>
                  <a:pt x="1351" y="227"/>
                </a:cubicBezTo>
                <a:cubicBezTo>
                  <a:pt x="1347" y="230"/>
                  <a:pt x="1347" y="230"/>
                  <a:pt x="1347" y="230"/>
                </a:cubicBezTo>
                <a:cubicBezTo>
                  <a:pt x="1347" y="232"/>
                  <a:pt x="1347" y="232"/>
                  <a:pt x="1347" y="232"/>
                </a:cubicBezTo>
                <a:cubicBezTo>
                  <a:pt x="1347" y="233"/>
                  <a:pt x="1347" y="233"/>
                  <a:pt x="1347" y="233"/>
                </a:cubicBezTo>
                <a:cubicBezTo>
                  <a:pt x="1346" y="236"/>
                  <a:pt x="1346" y="236"/>
                  <a:pt x="1346" y="236"/>
                </a:cubicBezTo>
                <a:cubicBezTo>
                  <a:pt x="1344" y="236"/>
                  <a:pt x="1344" y="236"/>
                  <a:pt x="1344" y="236"/>
                </a:cubicBezTo>
                <a:cubicBezTo>
                  <a:pt x="1344" y="233"/>
                  <a:pt x="1344" y="233"/>
                  <a:pt x="1344" y="233"/>
                </a:cubicBezTo>
                <a:cubicBezTo>
                  <a:pt x="1343" y="233"/>
                  <a:pt x="1343" y="233"/>
                  <a:pt x="1343" y="233"/>
                </a:cubicBezTo>
                <a:cubicBezTo>
                  <a:pt x="1342" y="228"/>
                  <a:pt x="1342" y="228"/>
                  <a:pt x="1342" y="228"/>
                </a:cubicBezTo>
                <a:cubicBezTo>
                  <a:pt x="1341" y="227"/>
                  <a:pt x="1341" y="227"/>
                  <a:pt x="1341" y="227"/>
                </a:cubicBezTo>
                <a:cubicBezTo>
                  <a:pt x="1338" y="229"/>
                  <a:pt x="1338" y="229"/>
                  <a:pt x="1338" y="229"/>
                </a:cubicBezTo>
                <a:cubicBezTo>
                  <a:pt x="1339" y="234"/>
                  <a:pt x="1339" y="234"/>
                  <a:pt x="1339" y="234"/>
                </a:cubicBezTo>
                <a:cubicBezTo>
                  <a:pt x="1340" y="235"/>
                  <a:pt x="1340" y="235"/>
                  <a:pt x="1340" y="235"/>
                </a:cubicBezTo>
                <a:cubicBezTo>
                  <a:pt x="1340" y="239"/>
                  <a:pt x="1340" y="239"/>
                  <a:pt x="1340" y="239"/>
                </a:cubicBezTo>
                <a:cubicBezTo>
                  <a:pt x="1338" y="240"/>
                  <a:pt x="1338" y="240"/>
                  <a:pt x="1338" y="240"/>
                </a:cubicBezTo>
                <a:cubicBezTo>
                  <a:pt x="1337" y="240"/>
                  <a:pt x="1337" y="240"/>
                  <a:pt x="1337" y="240"/>
                </a:cubicBezTo>
                <a:cubicBezTo>
                  <a:pt x="1337" y="238"/>
                  <a:pt x="1337" y="238"/>
                  <a:pt x="1337" y="238"/>
                </a:cubicBezTo>
                <a:cubicBezTo>
                  <a:pt x="1335" y="239"/>
                  <a:pt x="1335" y="239"/>
                  <a:pt x="1335" y="239"/>
                </a:cubicBezTo>
                <a:cubicBezTo>
                  <a:pt x="1334" y="241"/>
                  <a:pt x="1334" y="241"/>
                  <a:pt x="1334" y="241"/>
                </a:cubicBezTo>
                <a:cubicBezTo>
                  <a:pt x="1333" y="242"/>
                  <a:pt x="1333" y="242"/>
                  <a:pt x="1333" y="242"/>
                </a:cubicBezTo>
                <a:cubicBezTo>
                  <a:pt x="1332" y="245"/>
                  <a:pt x="1332" y="245"/>
                  <a:pt x="1332" y="245"/>
                </a:cubicBezTo>
                <a:cubicBezTo>
                  <a:pt x="1331" y="242"/>
                  <a:pt x="1331" y="242"/>
                  <a:pt x="1331" y="242"/>
                </a:cubicBezTo>
                <a:cubicBezTo>
                  <a:pt x="1330" y="242"/>
                  <a:pt x="1330" y="242"/>
                  <a:pt x="1330" y="242"/>
                </a:cubicBezTo>
                <a:cubicBezTo>
                  <a:pt x="1330" y="240"/>
                  <a:pt x="1330" y="240"/>
                  <a:pt x="1330" y="240"/>
                </a:cubicBezTo>
                <a:cubicBezTo>
                  <a:pt x="1331" y="239"/>
                  <a:pt x="1331" y="239"/>
                  <a:pt x="1331" y="239"/>
                </a:cubicBezTo>
                <a:cubicBezTo>
                  <a:pt x="1331" y="237"/>
                  <a:pt x="1331" y="237"/>
                  <a:pt x="1331" y="237"/>
                </a:cubicBezTo>
                <a:cubicBezTo>
                  <a:pt x="1329" y="237"/>
                  <a:pt x="1329" y="237"/>
                  <a:pt x="1329" y="237"/>
                </a:cubicBezTo>
                <a:cubicBezTo>
                  <a:pt x="1330" y="236"/>
                  <a:pt x="1330" y="236"/>
                  <a:pt x="1330" y="236"/>
                </a:cubicBezTo>
                <a:cubicBezTo>
                  <a:pt x="1329" y="233"/>
                  <a:pt x="1329" y="233"/>
                  <a:pt x="1329" y="233"/>
                </a:cubicBezTo>
                <a:cubicBezTo>
                  <a:pt x="1330" y="234"/>
                  <a:pt x="1330" y="234"/>
                  <a:pt x="1330" y="234"/>
                </a:cubicBezTo>
                <a:cubicBezTo>
                  <a:pt x="1332" y="233"/>
                  <a:pt x="1332" y="233"/>
                  <a:pt x="1332" y="233"/>
                </a:cubicBezTo>
                <a:cubicBezTo>
                  <a:pt x="1332" y="232"/>
                  <a:pt x="1332" y="232"/>
                  <a:pt x="1332" y="232"/>
                </a:cubicBezTo>
                <a:cubicBezTo>
                  <a:pt x="1330" y="231"/>
                  <a:pt x="1330" y="231"/>
                  <a:pt x="1330" y="231"/>
                </a:cubicBezTo>
                <a:cubicBezTo>
                  <a:pt x="1331" y="229"/>
                  <a:pt x="1331" y="229"/>
                  <a:pt x="1331" y="229"/>
                </a:cubicBezTo>
                <a:cubicBezTo>
                  <a:pt x="1330" y="228"/>
                  <a:pt x="1330" y="228"/>
                  <a:pt x="1330" y="228"/>
                </a:cubicBezTo>
                <a:cubicBezTo>
                  <a:pt x="1329" y="229"/>
                  <a:pt x="1329" y="229"/>
                  <a:pt x="1329" y="229"/>
                </a:cubicBezTo>
                <a:cubicBezTo>
                  <a:pt x="1328" y="227"/>
                  <a:pt x="1328" y="227"/>
                  <a:pt x="1328" y="227"/>
                </a:cubicBezTo>
                <a:cubicBezTo>
                  <a:pt x="1325" y="226"/>
                  <a:pt x="1325" y="226"/>
                  <a:pt x="1325" y="226"/>
                </a:cubicBezTo>
                <a:cubicBezTo>
                  <a:pt x="1325" y="224"/>
                  <a:pt x="1325" y="224"/>
                  <a:pt x="1325" y="224"/>
                </a:cubicBezTo>
                <a:cubicBezTo>
                  <a:pt x="1324" y="222"/>
                  <a:pt x="1324" y="222"/>
                  <a:pt x="1324" y="222"/>
                </a:cubicBezTo>
                <a:cubicBezTo>
                  <a:pt x="1322" y="223"/>
                  <a:pt x="1322" y="223"/>
                  <a:pt x="1322" y="223"/>
                </a:cubicBezTo>
                <a:cubicBezTo>
                  <a:pt x="1320" y="222"/>
                  <a:pt x="1320" y="222"/>
                  <a:pt x="1320" y="222"/>
                </a:cubicBezTo>
                <a:cubicBezTo>
                  <a:pt x="1317" y="222"/>
                  <a:pt x="1317" y="222"/>
                  <a:pt x="1317" y="222"/>
                </a:cubicBezTo>
                <a:cubicBezTo>
                  <a:pt x="1317" y="223"/>
                  <a:pt x="1317" y="223"/>
                  <a:pt x="1317" y="223"/>
                </a:cubicBezTo>
                <a:cubicBezTo>
                  <a:pt x="1318" y="224"/>
                  <a:pt x="1318" y="224"/>
                  <a:pt x="1318" y="224"/>
                </a:cubicBezTo>
                <a:cubicBezTo>
                  <a:pt x="1319" y="224"/>
                  <a:pt x="1319" y="224"/>
                  <a:pt x="1319" y="224"/>
                </a:cubicBezTo>
                <a:cubicBezTo>
                  <a:pt x="1319" y="223"/>
                  <a:pt x="1319" y="223"/>
                  <a:pt x="1319" y="223"/>
                </a:cubicBezTo>
                <a:cubicBezTo>
                  <a:pt x="1321" y="223"/>
                  <a:pt x="1321" y="223"/>
                  <a:pt x="1321" y="223"/>
                </a:cubicBezTo>
                <a:cubicBezTo>
                  <a:pt x="1322" y="224"/>
                  <a:pt x="1322" y="224"/>
                  <a:pt x="1322" y="224"/>
                </a:cubicBezTo>
                <a:cubicBezTo>
                  <a:pt x="1323" y="225"/>
                  <a:pt x="1323" y="225"/>
                  <a:pt x="1323" y="225"/>
                </a:cubicBezTo>
                <a:cubicBezTo>
                  <a:pt x="1323" y="226"/>
                  <a:pt x="1323" y="226"/>
                  <a:pt x="1323" y="226"/>
                </a:cubicBezTo>
                <a:cubicBezTo>
                  <a:pt x="1321" y="225"/>
                  <a:pt x="1321" y="225"/>
                  <a:pt x="1321" y="225"/>
                </a:cubicBezTo>
                <a:cubicBezTo>
                  <a:pt x="1319" y="225"/>
                  <a:pt x="1319" y="225"/>
                  <a:pt x="1319" y="225"/>
                </a:cubicBezTo>
                <a:cubicBezTo>
                  <a:pt x="1319" y="226"/>
                  <a:pt x="1319" y="226"/>
                  <a:pt x="1319" y="226"/>
                </a:cubicBezTo>
                <a:cubicBezTo>
                  <a:pt x="1322" y="228"/>
                  <a:pt x="1322" y="228"/>
                  <a:pt x="1322" y="228"/>
                </a:cubicBezTo>
                <a:cubicBezTo>
                  <a:pt x="1324" y="230"/>
                  <a:pt x="1324" y="230"/>
                  <a:pt x="1324" y="230"/>
                </a:cubicBezTo>
                <a:cubicBezTo>
                  <a:pt x="1323" y="231"/>
                  <a:pt x="1323" y="231"/>
                  <a:pt x="1323" y="231"/>
                </a:cubicBezTo>
                <a:cubicBezTo>
                  <a:pt x="1323" y="231"/>
                  <a:pt x="1323" y="231"/>
                  <a:pt x="1323" y="231"/>
                </a:cubicBezTo>
                <a:cubicBezTo>
                  <a:pt x="1323" y="230"/>
                  <a:pt x="1323" y="230"/>
                  <a:pt x="1323" y="230"/>
                </a:cubicBezTo>
                <a:cubicBezTo>
                  <a:pt x="1320" y="229"/>
                  <a:pt x="1320" y="229"/>
                  <a:pt x="1320" y="229"/>
                </a:cubicBezTo>
                <a:cubicBezTo>
                  <a:pt x="1319" y="230"/>
                  <a:pt x="1319" y="230"/>
                  <a:pt x="1319" y="230"/>
                </a:cubicBezTo>
                <a:cubicBezTo>
                  <a:pt x="1318" y="230"/>
                  <a:pt x="1318" y="230"/>
                  <a:pt x="1318" y="230"/>
                </a:cubicBezTo>
                <a:cubicBezTo>
                  <a:pt x="1318" y="228"/>
                  <a:pt x="1318" y="228"/>
                  <a:pt x="1318" y="228"/>
                </a:cubicBezTo>
                <a:cubicBezTo>
                  <a:pt x="1317" y="226"/>
                  <a:pt x="1317" y="226"/>
                  <a:pt x="1317" y="226"/>
                </a:cubicBezTo>
                <a:cubicBezTo>
                  <a:pt x="1315" y="225"/>
                  <a:pt x="1315" y="225"/>
                  <a:pt x="1315" y="225"/>
                </a:cubicBezTo>
                <a:cubicBezTo>
                  <a:pt x="1313" y="226"/>
                  <a:pt x="1313" y="226"/>
                  <a:pt x="1313" y="226"/>
                </a:cubicBezTo>
                <a:cubicBezTo>
                  <a:pt x="1315" y="228"/>
                  <a:pt x="1315" y="228"/>
                  <a:pt x="1315" y="228"/>
                </a:cubicBezTo>
                <a:cubicBezTo>
                  <a:pt x="1314" y="229"/>
                  <a:pt x="1314" y="229"/>
                  <a:pt x="1314" y="229"/>
                </a:cubicBezTo>
                <a:cubicBezTo>
                  <a:pt x="1313" y="227"/>
                  <a:pt x="1313" y="227"/>
                  <a:pt x="1313" y="227"/>
                </a:cubicBezTo>
                <a:cubicBezTo>
                  <a:pt x="1312" y="227"/>
                  <a:pt x="1312" y="227"/>
                  <a:pt x="1312" y="227"/>
                </a:cubicBezTo>
                <a:cubicBezTo>
                  <a:pt x="1311" y="228"/>
                  <a:pt x="1311" y="228"/>
                  <a:pt x="1311" y="228"/>
                </a:cubicBezTo>
                <a:cubicBezTo>
                  <a:pt x="1312" y="230"/>
                  <a:pt x="1312" y="230"/>
                  <a:pt x="1312" y="230"/>
                </a:cubicBezTo>
                <a:cubicBezTo>
                  <a:pt x="1313" y="230"/>
                  <a:pt x="1313" y="230"/>
                  <a:pt x="1313" y="230"/>
                </a:cubicBezTo>
                <a:cubicBezTo>
                  <a:pt x="1314" y="231"/>
                  <a:pt x="1314" y="231"/>
                  <a:pt x="1314" y="231"/>
                </a:cubicBezTo>
                <a:cubicBezTo>
                  <a:pt x="1312" y="231"/>
                  <a:pt x="1312" y="231"/>
                  <a:pt x="1312" y="231"/>
                </a:cubicBezTo>
                <a:cubicBezTo>
                  <a:pt x="1311" y="231"/>
                  <a:pt x="1311" y="231"/>
                  <a:pt x="1311" y="231"/>
                </a:cubicBezTo>
                <a:cubicBezTo>
                  <a:pt x="1312" y="233"/>
                  <a:pt x="1312" y="233"/>
                  <a:pt x="1312" y="233"/>
                </a:cubicBezTo>
                <a:cubicBezTo>
                  <a:pt x="1314" y="234"/>
                  <a:pt x="1314" y="234"/>
                  <a:pt x="1314" y="234"/>
                </a:cubicBezTo>
                <a:cubicBezTo>
                  <a:pt x="1313" y="234"/>
                  <a:pt x="1313" y="234"/>
                  <a:pt x="1313" y="234"/>
                </a:cubicBezTo>
                <a:cubicBezTo>
                  <a:pt x="1312" y="234"/>
                  <a:pt x="1312" y="234"/>
                  <a:pt x="1312" y="234"/>
                </a:cubicBezTo>
                <a:cubicBezTo>
                  <a:pt x="1313" y="236"/>
                  <a:pt x="1313" y="236"/>
                  <a:pt x="1313" y="236"/>
                </a:cubicBezTo>
                <a:cubicBezTo>
                  <a:pt x="1312" y="236"/>
                  <a:pt x="1312" y="236"/>
                  <a:pt x="1312" y="236"/>
                </a:cubicBezTo>
                <a:cubicBezTo>
                  <a:pt x="1309" y="233"/>
                  <a:pt x="1309" y="233"/>
                  <a:pt x="1309" y="233"/>
                </a:cubicBezTo>
                <a:cubicBezTo>
                  <a:pt x="1309" y="233"/>
                  <a:pt x="1309" y="233"/>
                  <a:pt x="1309" y="233"/>
                </a:cubicBezTo>
                <a:cubicBezTo>
                  <a:pt x="1308" y="234"/>
                  <a:pt x="1308" y="234"/>
                  <a:pt x="1308" y="234"/>
                </a:cubicBezTo>
                <a:cubicBezTo>
                  <a:pt x="1309" y="236"/>
                  <a:pt x="1309" y="236"/>
                  <a:pt x="1309" y="236"/>
                </a:cubicBezTo>
                <a:cubicBezTo>
                  <a:pt x="1310" y="238"/>
                  <a:pt x="1310" y="238"/>
                  <a:pt x="1310" y="238"/>
                </a:cubicBezTo>
                <a:cubicBezTo>
                  <a:pt x="1309" y="238"/>
                  <a:pt x="1309" y="238"/>
                  <a:pt x="1309" y="238"/>
                </a:cubicBezTo>
                <a:cubicBezTo>
                  <a:pt x="1307" y="236"/>
                  <a:pt x="1307" y="236"/>
                  <a:pt x="1307" y="236"/>
                </a:cubicBezTo>
                <a:cubicBezTo>
                  <a:pt x="1305" y="235"/>
                  <a:pt x="1305" y="235"/>
                  <a:pt x="1305" y="235"/>
                </a:cubicBezTo>
                <a:cubicBezTo>
                  <a:pt x="1304" y="237"/>
                  <a:pt x="1304" y="237"/>
                  <a:pt x="1304" y="237"/>
                </a:cubicBezTo>
                <a:cubicBezTo>
                  <a:pt x="1307" y="238"/>
                  <a:pt x="1307" y="238"/>
                  <a:pt x="1307" y="238"/>
                </a:cubicBezTo>
                <a:cubicBezTo>
                  <a:pt x="1308" y="240"/>
                  <a:pt x="1308" y="240"/>
                  <a:pt x="1308" y="240"/>
                </a:cubicBezTo>
                <a:cubicBezTo>
                  <a:pt x="1311" y="240"/>
                  <a:pt x="1311" y="240"/>
                  <a:pt x="1311" y="240"/>
                </a:cubicBezTo>
                <a:cubicBezTo>
                  <a:pt x="1312" y="238"/>
                  <a:pt x="1312" y="238"/>
                  <a:pt x="1312" y="238"/>
                </a:cubicBezTo>
                <a:cubicBezTo>
                  <a:pt x="1314" y="238"/>
                  <a:pt x="1314" y="238"/>
                  <a:pt x="1314" y="238"/>
                </a:cubicBezTo>
                <a:cubicBezTo>
                  <a:pt x="1315" y="236"/>
                  <a:pt x="1315" y="236"/>
                  <a:pt x="1315" y="236"/>
                </a:cubicBezTo>
                <a:cubicBezTo>
                  <a:pt x="1316" y="237"/>
                  <a:pt x="1316" y="237"/>
                  <a:pt x="1316" y="237"/>
                </a:cubicBezTo>
                <a:cubicBezTo>
                  <a:pt x="1316" y="238"/>
                  <a:pt x="1316" y="238"/>
                  <a:pt x="1316" y="238"/>
                </a:cubicBezTo>
                <a:cubicBezTo>
                  <a:pt x="1317" y="238"/>
                  <a:pt x="1317" y="238"/>
                  <a:pt x="1317" y="238"/>
                </a:cubicBezTo>
                <a:cubicBezTo>
                  <a:pt x="1318" y="237"/>
                  <a:pt x="1318" y="237"/>
                  <a:pt x="1318" y="237"/>
                </a:cubicBezTo>
                <a:cubicBezTo>
                  <a:pt x="1319" y="239"/>
                  <a:pt x="1319" y="239"/>
                  <a:pt x="1319" y="239"/>
                </a:cubicBezTo>
                <a:cubicBezTo>
                  <a:pt x="1319" y="239"/>
                  <a:pt x="1319" y="239"/>
                  <a:pt x="1319" y="239"/>
                </a:cubicBezTo>
                <a:cubicBezTo>
                  <a:pt x="1321" y="238"/>
                  <a:pt x="1321" y="238"/>
                  <a:pt x="1321" y="238"/>
                </a:cubicBezTo>
                <a:cubicBezTo>
                  <a:pt x="1321" y="237"/>
                  <a:pt x="1321" y="237"/>
                  <a:pt x="1321" y="237"/>
                </a:cubicBezTo>
                <a:cubicBezTo>
                  <a:pt x="1322" y="239"/>
                  <a:pt x="1322" y="239"/>
                  <a:pt x="1322" y="239"/>
                </a:cubicBezTo>
                <a:cubicBezTo>
                  <a:pt x="1322" y="239"/>
                  <a:pt x="1322" y="239"/>
                  <a:pt x="1322" y="239"/>
                </a:cubicBezTo>
                <a:cubicBezTo>
                  <a:pt x="1324" y="237"/>
                  <a:pt x="1324" y="237"/>
                  <a:pt x="1324" y="237"/>
                </a:cubicBezTo>
                <a:cubicBezTo>
                  <a:pt x="1324" y="238"/>
                  <a:pt x="1324" y="238"/>
                  <a:pt x="1324" y="238"/>
                </a:cubicBezTo>
                <a:cubicBezTo>
                  <a:pt x="1324" y="240"/>
                  <a:pt x="1324" y="240"/>
                  <a:pt x="1324" y="240"/>
                </a:cubicBezTo>
                <a:cubicBezTo>
                  <a:pt x="1324" y="240"/>
                  <a:pt x="1324" y="240"/>
                  <a:pt x="1324" y="240"/>
                </a:cubicBezTo>
                <a:cubicBezTo>
                  <a:pt x="1326" y="239"/>
                  <a:pt x="1326" y="239"/>
                  <a:pt x="1326" y="239"/>
                </a:cubicBezTo>
                <a:cubicBezTo>
                  <a:pt x="1328" y="240"/>
                  <a:pt x="1328" y="240"/>
                  <a:pt x="1328" y="240"/>
                </a:cubicBezTo>
                <a:cubicBezTo>
                  <a:pt x="1327" y="241"/>
                  <a:pt x="1327" y="241"/>
                  <a:pt x="1327" y="241"/>
                </a:cubicBezTo>
                <a:cubicBezTo>
                  <a:pt x="1326" y="241"/>
                  <a:pt x="1326" y="241"/>
                  <a:pt x="1326" y="241"/>
                </a:cubicBezTo>
                <a:cubicBezTo>
                  <a:pt x="1324" y="242"/>
                  <a:pt x="1324" y="242"/>
                  <a:pt x="1324" y="242"/>
                </a:cubicBezTo>
                <a:cubicBezTo>
                  <a:pt x="1323" y="242"/>
                  <a:pt x="1323" y="242"/>
                  <a:pt x="1323" y="242"/>
                </a:cubicBezTo>
                <a:cubicBezTo>
                  <a:pt x="1320" y="243"/>
                  <a:pt x="1320" y="243"/>
                  <a:pt x="1320" y="243"/>
                </a:cubicBezTo>
                <a:cubicBezTo>
                  <a:pt x="1320" y="244"/>
                  <a:pt x="1320" y="244"/>
                  <a:pt x="1320" y="244"/>
                </a:cubicBezTo>
                <a:cubicBezTo>
                  <a:pt x="1323" y="245"/>
                  <a:pt x="1323" y="245"/>
                  <a:pt x="1323" y="245"/>
                </a:cubicBezTo>
                <a:cubicBezTo>
                  <a:pt x="1325" y="245"/>
                  <a:pt x="1325" y="245"/>
                  <a:pt x="1325" y="245"/>
                </a:cubicBezTo>
                <a:cubicBezTo>
                  <a:pt x="1326" y="243"/>
                  <a:pt x="1326" y="243"/>
                  <a:pt x="1326" y="243"/>
                </a:cubicBezTo>
                <a:cubicBezTo>
                  <a:pt x="1327" y="243"/>
                  <a:pt x="1327" y="243"/>
                  <a:pt x="1327" y="243"/>
                </a:cubicBezTo>
                <a:cubicBezTo>
                  <a:pt x="1327" y="245"/>
                  <a:pt x="1327" y="245"/>
                  <a:pt x="1327" y="245"/>
                </a:cubicBezTo>
                <a:cubicBezTo>
                  <a:pt x="1326" y="246"/>
                  <a:pt x="1326" y="246"/>
                  <a:pt x="1326" y="246"/>
                </a:cubicBezTo>
                <a:cubicBezTo>
                  <a:pt x="1322" y="247"/>
                  <a:pt x="1322" y="247"/>
                  <a:pt x="1322" y="247"/>
                </a:cubicBezTo>
                <a:cubicBezTo>
                  <a:pt x="1321" y="246"/>
                  <a:pt x="1321" y="246"/>
                  <a:pt x="1321" y="246"/>
                </a:cubicBezTo>
                <a:cubicBezTo>
                  <a:pt x="1319" y="248"/>
                  <a:pt x="1319" y="248"/>
                  <a:pt x="1319" y="248"/>
                </a:cubicBezTo>
                <a:cubicBezTo>
                  <a:pt x="1318" y="247"/>
                  <a:pt x="1318" y="247"/>
                  <a:pt x="1318" y="247"/>
                </a:cubicBezTo>
                <a:cubicBezTo>
                  <a:pt x="1318" y="246"/>
                  <a:pt x="1318" y="246"/>
                  <a:pt x="1318" y="246"/>
                </a:cubicBezTo>
                <a:cubicBezTo>
                  <a:pt x="1318" y="245"/>
                  <a:pt x="1318" y="245"/>
                  <a:pt x="1318" y="245"/>
                </a:cubicBezTo>
                <a:cubicBezTo>
                  <a:pt x="1317" y="245"/>
                  <a:pt x="1317" y="245"/>
                  <a:pt x="1317" y="245"/>
                </a:cubicBezTo>
                <a:cubicBezTo>
                  <a:pt x="1317" y="245"/>
                  <a:pt x="1317" y="245"/>
                  <a:pt x="1317" y="245"/>
                </a:cubicBezTo>
                <a:cubicBezTo>
                  <a:pt x="1317" y="246"/>
                  <a:pt x="1317" y="246"/>
                  <a:pt x="1317" y="246"/>
                </a:cubicBezTo>
                <a:cubicBezTo>
                  <a:pt x="1315" y="247"/>
                  <a:pt x="1315" y="247"/>
                  <a:pt x="1315" y="247"/>
                </a:cubicBezTo>
                <a:cubicBezTo>
                  <a:pt x="1314" y="247"/>
                  <a:pt x="1314" y="247"/>
                  <a:pt x="1314" y="247"/>
                </a:cubicBezTo>
                <a:cubicBezTo>
                  <a:pt x="1312" y="247"/>
                  <a:pt x="1312" y="247"/>
                  <a:pt x="1312" y="247"/>
                </a:cubicBezTo>
                <a:cubicBezTo>
                  <a:pt x="1311" y="248"/>
                  <a:pt x="1311" y="248"/>
                  <a:pt x="1311" y="248"/>
                </a:cubicBezTo>
                <a:cubicBezTo>
                  <a:pt x="1309" y="247"/>
                  <a:pt x="1309" y="247"/>
                  <a:pt x="1309" y="247"/>
                </a:cubicBezTo>
                <a:cubicBezTo>
                  <a:pt x="1307" y="248"/>
                  <a:pt x="1307" y="248"/>
                  <a:pt x="1307" y="248"/>
                </a:cubicBezTo>
                <a:cubicBezTo>
                  <a:pt x="1306" y="247"/>
                  <a:pt x="1306" y="247"/>
                  <a:pt x="1306" y="247"/>
                </a:cubicBezTo>
                <a:cubicBezTo>
                  <a:pt x="1308" y="250"/>
                  <a:pt x="1308" y="250"/>
                  <a:pt x="1308" y="250"/>
                </a:cubicBezTo>
                <a:cubicBezTo>
                  <a:pt x="1308" y="251"/>
                  <a:pt x="1308" y="251"/>
                  <a:pt x="1308" y="251"/>
                </a:cubicBezTo>
                <a:cubicBezTo>
                  <a:pt x="1311" y="252"/>
                  <a:pt x="1311" y="252"/>
                  <a:pt x="1311" y="252"/>
                </a:cubicBezTo>
                <a:cubicBezTo>
                  <a:pt x="1311" y="251"/>
                  <a:pt x="1311" y="251"/>
                  <a:pt x="1311" y="251"/>
                </a:cubicBezTo>
                <a:cubicBezTo>
                  <a:pt x="1314" y="252"/>
                  <a:pt x="1314" y="252"/>
                  <a:pt x="1314" y="252"/>
                </a:cubicBezTo>
                <a:cubicBezTo>
                  <a:pt x="1318" y="252"/>
                  <a:pt x="1318" y="252"/>
                  <a:pt x="1318" y="252"/>
                </a:cubicBezTo>
                <a:cubicBezTo>
                  <a:pt x="1320" y="252"/>
                  <a:pt x="1320" y="252"/>
                  <a:pt x="1320" y="252"/>
                </a:cubicBezTo>
                <a:cubicBezTo>
                  <a:pt x="1320" y="253"/>
                  <a:pt x="1320" y="253"/>
                  <a:pt x="1320" y="253"/>
                </a:cubicBezTo>
                <a:cubicBezTo>
                  <a:pt x="1319" y="253"/>
                  <a:pt x="1319" y="253"/>
                  <a:pt x="1319" y="253"/>
                </a:cubicBezTo>
                <a:cubicBezTo>
                  <a:pt x="1319" y="255"/>
                  <a:pt x="1319" y="255"/>
                  <a:pt x="1319" y="255"/>
                </a:cubicBezTo>
                <a:cubicBezTo>
                  <a:pt x="1321" y="256"/>
                  <a:pt x="1321" y="256"/>
                  <a:pt x="1321" y="256"/>
                </a:cubicBezTo>
                <a:cubicBezTo>
                  <a:pt x="1321" y="257"/>
                  <a:pt x="1321" y="257"/>
                  <a:pt x="1321" y="257"/>
                </a:cubicBezTo>
                <a:cubicBezTo>
                  <a:pt x="1322" y="257"/>
                  <a:pt x="1322" y="257"/>
                  <a:pt x="1322" y="257"/>
                </a:cubicBezTo>
                <a:cubicBezTo>
                  <a:pt x="1325" y="255"/>
                  <a:pt x="1325" y="255"/>
                  <a:pt x="1325" y="255"/>
                </a:cubicBezTo>
                <a:cubicBezTo>
                  <a:pt x="1324" y="256"/>
                  <a:pt x="1324" y="256"/>
                  <a:pt x="1324" y="256"/>
                </a:cubicBezTo>
                <a:cubicBezTo>
                  <a:pt x="1323" y="258"/>
                  <a:pt x="1323" y="258"/>
                  <a:pt x="1323" y="258"/>
                </a:cubicBezTo>
                <a:cubicBezTo>
                  <a:pt x="1322" y="259"/>
                  <a:pt x="1322" y="259"/>
                  <a:pt x="1322" y="259"/>
                </a:cubicBezTo>
                <a:cubicBezTo>
                  <a:pt x="1323" y="260"/>
                  <a:pt x="1323" y="260"/>
                  <a:pt x="1323" y="260"/>
                </a:cubicBezTo>
                <a:cubicBezTo>
                  <a:pt x="1326" y="258"/>
                  <a:pt x="1326" y="258"/>
                  <a:pt x="1326" y="258"/>
                </a:cubicBezTo>
                <a:cubicBezTo>
                  <a:pt x="1328" y="259"/>
                  <a:pt x="1328" y="259"/>
                  <a:pt x="1328" y="259"/>
                </a:cubicBezTo>
                <a:cubicBezTo>
                  <a:pt x="1329" y="260"/>
                  <a:pt x="1329" y="260"/>
                  <a:pt x="1329" y="260"/>
                </a:cubicBezTo>
                <a:cubicBezTo>
                  <a:pt x="1327" y="259"/>
                  <a:pt x="1327" y="259"/>
                  <a:pt x="1327" y="259"/>
                </a:cubicBezTo>
                <a:cubicBezTo>
                  <a:pt x="1325" y="260"/>
                  <a:pt x="1325" y="260"/>
                  <a:pt x="1325" y="260"/>
                </a:cubicBezTo>
                <a:cubicBezTo>
                  <a:pt x="1324" y="261"/>
                  <a:pt x="1324" y="261"/>
                  <a:pt x="1324" y="261"/>
                </a:cubicBezTo>
                <a:cubicBezTo>
                  <a:pt x="1322" y="261"/>
                  <a:pt x="1322" y="261"/>
                  <a:pt x="1322" y="261"/>
                </a:cubicBezTo>
                <a:cubicBezTo>
                  <a:pt x="1322" y="263"/>
                  <a:pt x="1322" y="263"/>
                  <a:pt x="1322" y="263"/>
                </a:cubicBezTo>
                <a:cubicBezTo>
                  <a:pt x="1321" y="264"/>
                  <a:pt x="1321" y="264"/>
                  <a:pt x="1321" y="264"/>
                </a:cubicBezTo>
                <a:cubicBezTo>
                  <a:pt x="1320" y="263"/>
                  <a:pt x="1320" y="263"/>
                  <a:pt x="1320" y="263"/>
                </a:cubicBezTo>
                <a:cubicBezTo>
                  <a:pt x="1318" y="264"/>
                  <a:pt x="1318" y="264"/>
                  <a:pt x="1318" y="264"/>
                </a:cubicBezTo>
                <a:cubicBezTo>
                  <a:pt x="1318" y="263"/>
                  <a:pt x="1318" y="263"/>
                  <a:pt x="1318" y="263"/>
                </a:cubicBezTo>
                <a:cubicBezTo>
                  <a:pt x="1316" y="262"/>
                  <a:pt x="1316" y="262"/>
                  <a:pt x="1316" y="262"/>
                </a:cubicBezTo>
                <a:cubicBezTo>
                  <a:pt x="1316" y="263"/>
                  <a:pt x="1316" y="263"/>
                  <a:pt x="1316" y="263"/>
                </a:cubicBezTo>
                <a:cubicBezTo>
                  <a:pt x="1315" y="263"/>
                  <a:pt x="1315" y="263"/>
                  <a:pt x="1315" y="263"/>
                </a:cubicBezTo>
                <a:cubicBezTo>
                  <a:pt x="1316" y="265"/>
                  <a:pt x="1316" y="265"/>
                  <a:pt x="1316" y="265"/>
                </a:cubicBezTo>
                <a:cubicBezTo>
                  <a:pt x="1317" y="265"/>
                  <a:pt x="1317" y="265"/>
                  <a:pt x="1317" y="265"/>
                </a:cubicBezTo>
                <a:cubicBezTo>
                  <a:pt x="1316" y="266"/>
                  <a:pt x="1316" y="266"/>
                  <a:pt x="1316" y="266"/>
                </a:cubicBezTo>
                <a:cubicBezTo>
                  <a:pt x="1316" y="269"/>
                  <a:pt x="1316" y="269"/>
                  <a:pt x="1316" y="269"/>
                </a:cubicBezTo>
                <a:cubicBezTo>
                  <a:pt x="1318" y="269"/>
                  <a:pt x="1318" y="269"/>
                  <a:pt x="1318" y="269"/>
                </a:cubicBezTo>
                <a:cubicBezTo>
                  <a:pt x="1319" y="269"/>
                  <a:pt x="1319" y="269"/>
                  <a:pt x="1319" y="269"/>
                </a:cubicBezTo>
                <a:cubicBezTo>
                  <a:pt x="1320" y="269"/>
                  <a:pt x="1320" y="269"/>
                  <a:pt x="1320" y="269"/>
                </a:cubicBezTo>
                <a:cubicBezTo>
                  <a:pt x="1324" y="270"/>
                  <a:pt x="1324" y="270"/>
                  <a:pt x="1324" y="270"/>
                </a:cubicBezTo>
                <a:cubicBezTo>
                  <a:pt x="1326" y="268"/>
                  <a:pt x="1326" y="268"/>
                  <a:pt x="1326" y="268"/>
                </a:cubicBezTo>
                <a:cubicBezTo>
                  <a:pt x="1328" y="269"/>
                  <a:pt x="1328" y="269"/>
                  <a:pt x="1328" y="269"/>
                </a:cubicBezTo>
                <a:cubicBezTo>
                  <a:pt x="1330" y="268"/>
                  <a:pt x="1330" y="268"/>
                  <a:pt x="1330" y="268"/>
                </a:cubicBezTo>
                <a:cubicBezTo>
                  <a:pt x="1330" y="269"/>
                  <a:pt x="1330" y="269"/>
                  <a:pt x="1330" y="269"/>
                </a:cubicBezTo>
                <a:cubicBezTo>
                  <a:pt x="1331" y="270"/>
                  <a:pt x="1331" y="270"/>
                  <a:pt x="1331" y="270"/>
                </a:cubicBezTo>
                <a:cubicBezTo>
                  <a:pt x="1333" y="269"/>
                  <a:pt x="1333" y="269"/>
                  <a:pt x="1333" y="269"/>
                </a:cubicBezTo>
                <a:cubicBezTo>
                  <a:pt x="1333" y="271"/>
                  <a:pt x="1333" y="271"/>
                  <a:pt x="1333" y="271"/>
                </a:cubicBezTo>
                <a:lnTo>
                  <a:pt x="1335" y="273"/>
                </a:lnTo>
                <a:close/>
                <a:moveTo>
                  <a:pt x="1322" y="162"/>
                </a:moveTo>
                <a:cubicBezTo>
                  <a:pt x="1323" y="162"/>
                  <a:pt x="1323" y="162"/>
                  <a:pt x="1323" y="162"/>
                </a:cubicBezTo>
                <a:cubicBezTo>
                  <a:pt x="1324" y="162"/>
                  <a:pt x="1324" y="162"/>
                  <a:pt x="1324" y="162"/>
                </a:cubicBezTo>
                <a:cubicBezTo>
                  <a:pt x="1323" y="161"/>
                  <a:pt x="1323" y="161"/>
                  <a:pt x="1323" y="161"/>
                </a:cubicBezTo>
                <a:cubicBezTo>
                  <a:pt x="1322" y="161"/>
                  <a:pt x="1322" y="161"/>
                  <a:pt x="1322" y="161"/>
                </a:cubicBezTo>
                <a:lnTo>
                  <a:pt x="1322" y="162"/>
                </a:lnTo>
                <a:close/>
                <a:moveTo>
                  <a:pt x="1202" y="227"/>
                </a:moveTo>
                <a:cubicBezTo>
                  <a:pt x="1201" y="228"/>
                  <a:pt x="1201" y="228"/>
                  <a:pt x="1201" y="228"/>
                </a:cubicBezTo>
                <a:cubicBezTo>
                  <a:pt x="1201" y="229"/>
                  <a:pt x="1201" y="229"/>
                  <a:pt x="1201" y="229"/>
                </a:cubicBezTo>
                <a:cubicBezTo>
                  <a:pt x="1202" y="229"/>
                  <a:pt x="1202" y="229"/>
                  <a:pt x="1202" y="229"/>
                </a:cubicBezTo>
                <a:cubicBezTo>
                  <a:pt x="1202" y="229"/>
                  <a:pt x="1202" y="229"/>
                  <a:pt x="1202" y="229"/>
                </a:cubicBezTo>
                <a:cubicBezTo>
                  <a:pt x="1202" y="228"/>
                  <a:pt x="1202" y="228"/>
                  <a:pt x="1202" y="228"/>
                </a:cubicBezTo>
                <a:lnTo>
                  <a:pt x="1202" y="227"/>
                </a:lnTo>
                <a:close/>
                <a:moveTo>
                  <a:pt x="1180" y="231"/>
                </a:moveTo>
                <a:cubicBezTo>
                  <a:pt x="1180" y="232"/>
                  <a:pt x="1180" y="232"/>
                  <a:pt x="1180" y="232"/>
                </a:cubicBezTo>
                <a:cubicBezTo>
                  <a:pt x="1181" y="231"/>
                  <a:pt x="1181" y="231"/>
                  <a:pt x="1181" y="231"/>
                </a:cubicBezTo>
                <a:cubicBezTo>
                  <a:pt x="1180" y="231"/>
                  <a:pt x="1180" y="231"/>
                  <a:pt x="1180" y="231"/>
                </a:cubicBezTo>
                <a:close/>
                <a:moveTo>
                  <a:pt x="1334" y="100"/>
                </a:moveTo>
                <a:cubicBezTo>
                  <a:pt x="1335" y="101"/>
                  <a:pt x="1335" y="101"/>
                  <a:pt x="1335" y="101"/>
                </a:cubicBezTo>
                <a:cubicBezTo>
                  <a:pt x="1337" y="102"/>
                  <a:pt x="1337" y="102"/>
                  <a:pt x="1337" y="102"/>
                </a:cubicBezTo>
                <a:cubicBezTo>
                  <a:pt x="1339" y="102"/>
                  <a:pt x="1339" y="102"/>
                  <a:pt x="1339" y="102"/>
                </a:cubicBezTo>
                <a:cubicBezTo>
                  <a:pt x="1340" y="103"/>
                  <a:pt x="1340" y="103"/>
                  <a:pt x="1340" y="103"/>
                </a:cubicBezTo>
                <a:cubicBezTo>
                  <a:pt x="1340" y="102"/>
                  <a:pt x="1340" y="102"/>
                  <a:pt x="1340" y="102"/>
                </a:cubicBezTo>
                <a:cubicBezTo>
                  <a:pt x="1339" y="100"/>
                  <a:pt x="1339" y="100"/>
                  <a:pt x="1339" y="100"/>
                </a:cubicBezTo>
                <a:cubicBezTo>
                  <a:pt x="1334" y="98"/>
                  <a:pt x="1334" y="98"/>
                  <a:pt x="1334" y="98"/>
                </a:cubicBezTo>
                <a:cubicBezTo>
                  <a:pt x="1333" y="95"/>
                  <a:pt x="1333" y="95"/>
                  <a:pt x="1333" y="95"/>
                </a:cubicBezTo>
                <a:cubicBezTo>
                  <a:pt x="1332" y="95"/>
                  <a:pt x="1332" y="95"/>
                  <a:pt x="1332" y="95"/>
                </a:cubicBezTo>
                <a:cubicBezTo>
                  <a:pt x="1330" y="95"/>
                  <a:pt x="1330" y="95"/>
                  <a:pt x="1330" y="95"/>
                </a:cubicBezTo>
                <a:cubicBezTo>
                  <a:pt x="1328" y="93"/>
                  <a:pt x="1328" y="93"/>
                  <a:pt x="1328" y="93"/>
                </a:cubicBezTo>
                <a:cubicBezTo>
                  <a:pt x="1326" y="93"/>
                  <a:pt x="1326" y="93"/>
                  <a:pt x="1326" y="93"/>
                </a:cubicBezTo>
                <a:cubicBezTo>
                  <a:pt x="1325" y="93"/>
                  <a:pt x="1325" y="93"/>
                  <a:pt x="1325" y="93"/>
                </a:cubicBezTo>
                <a:cubicBezTo>
                  <a:pt x="1323" y="92"/>
                  <a:pt x="1323" y="92"/>
                  <a:pt x="1323" y="92"/>
                </a:cubicBezTo>
                <a:cubicBezTo>
                  <a:pt x="1322" y="93"/>
                  <a:pt x="1322" y="93"/>
                  <a:pt x="1322" y="93"/>
                </a:cubicBezTo>
                <a:cubicBezTo>
                  <a:pt x="1322" y="94"/>
                  <a:pt x="1322" y="94"/>
                  <a:pt x="1322" y="94"/>
                </a:cubicBezTo>
                <a:cubicBezTo>
                  <a:pt x="1323" y="95"/>
                  <a:pt x="1323" y="95"/>
                  <a:pt x="1323" y="95"/>
                </a:cubicBezTo>
                <a:cubicBezTo>
                  <a:pt x="1322" y="97"/>
                  <a:pt x="1322" y="97"/>
                  <a:pt x="1322" y="97"/>
                </a:cubicBezTo>
                <a:cubicBezTo>
                  <a:pt x="1324" y="99"/>
                  <a:pt x="1324" y="99"/>
                  <a:pt x="1324" y="99"/>
                </a:cubicBezTo>
                <a:cubicBezTo>
                  <a:pt x="1325" y="101"/>
                  <a:pt x="1325" y="101"/>
                  <a:pt x="1325" y="101"/>
                </a:cubicBezTo>
                <a:cubicBezTo>
                  <a:pt x="1327" y="102"/>
                  <a:pt x="1327" y="102"/>
                  <a:pt x="1327" y="102"/>
                </a:cubicBezTo>
                <a:cubicBezTo>
                  <a:pt x="1330" y="104"/>
                  <a:pt x="1330" y="104"/>
                  <a:pt x="1330" y="104"/>
                </a:cubicBezTo>
                <a:cubicBezTo>
                  <a:pt x="1331" y="106"/>
                  <a:pt x="1331" y="106"/>
                  <a:pt x="1331" y="106"/>
                </a:cubicBezTo>
                <a:cubicBezTo>
                  <a:pt x="1333" y="107"/>
                  <a:pt x="1333" y="107"/>
                  <a:pt x="1333" y="107"/>
                </a:cubicBezTo>
                <a:cubicBezTo>
                  <a:pt x="1334" y="107"/>
                  <a:pt x="1334" y="107"/>
                  <a:pt x="1334" y="107"/>
                </a:cubicBezTo>
                <a:cubicBezTo>
                  <a:pt x="1335" y="108"/>
                  <a:pt x="1335" y="108"/>
                  <a:pt x="1335" y="108"/>
                </a:cubicBezTo>
                <a:cubicBezTo>
                  <a:pt x="1337" y="109"/>
                  <a:pt x="1337" y="109"/>
                  <a:pt x="1337" y="109"/>
                </a:cubicBezTo>
                <a:cubicBezTo>
                  <a:pt x="1337" y="108"/>
                  <a:pt x="1337" y="108"/>
                  <a:pt x="1337" y="108"/>
                </a:cubicBezTo>
                <a:cubicBezTo>
                  <a:pt x="1337" y="107"/>
                  <a:pt x="1337" y="107"/>
                  <a:pt x="1337" y="107"/>
                </a:cubicBezTo>
                <a:cubicBezTo>
                  <a:pt x="1338" y="106"/>
                  <a:pt x="1338" y="106"/>
                  <a:pt x="1338" y="106"/>
                </a:cubicBezTo>
                <a:cubicBezTo>
                  <a:pt x="1337" y="104"/>
                  <a:pt x="1337" y="104"/>
                  <a:pt x="1337" y="104"/>
                </a:cubicBezTo>
                <a:cubicBezTo>
                  <a:pt x="1335" y="103"/>
                  <a:pt x="1335" y="103"/>
                  <a:pt x="1335" y="103"/>
                </a:cubicBezTo>
                <a:cubicBezTo>
                  <a:pt x="1334" y="103"/>
                  <a:pt x="1334" y="103"/>
                  <a:pt x="1334" y="103"/>
                </a:cubicBezTo>
                <a:cubicBezTo>
                  <a:pt x="1333" y="102"/>
                  <a:pt x="1333" y="102"/>
                  <a:pt x="1333" y="102"/>
                </a:cubicBezTo>
                <a:cubicBezTo>
                  <a:pt x="1333" y="101"/>
                  <a:pt x="1333" y="101"/>
                  <a:pt x="1333" y="101"/>
                </a:cubicBezTo>
                <a:lnTo>
                  <a:pt x="1334" y="100"/>
                </a:lnTo>
                <a:close/>
                <a:moveTo>
                  <a:pt x="1197" y="225"/>
                </a:moveTo>
                <a:cubicBezTo>
                  <a:pt x="1196" y="224"/>
                  <a:pt x="1196" y="224"/>
                  <a:pt x="1196" y="224"/>
                </a:cubicBezTo>
                <a:cubicBezTo>
                  <a:pt x="1195" y="224"/>
                  <a:pt x="1195" y="224"/>
                  <a:pt x="1195" y="224"/>
                </a:cubicBezTo>
                <a:cubicBezTo>
                  <a:pt x="1194" y="226"/>
                  <a:pt x="1194" y="226"/>
                  <a:pt x="1194" y="226"/>
                </a:cubicBezTo>
                <a:cubicBezTo>
                  <a:pt x="1194" y="227"/>
                  <a:pt x="1194" y="227"/>
                  <a:pt x="1194" y="227"/>
                </a:cubicBezTo>
                <a:cubicBezTo>
                  <a:pt x="1193" y="228"/>
                  <a:pt x="1193" y="228"/>
                  <a:pt x="1193" y="228"/>
                </a:cubicBezTo>
                <a:cubicBezTo>
                  <a:pt x="1195" y="229"/>
                  <a:pt x="1195" y="229"/>
                  <a:pt x="1195" y="229"/>
                </a:cubicBezTo>
                <a:cubicBezTo>
                  <a:pt x="1195" y="230"/>
                  <a:pt x="1195" y="230"/>
                  <a:pt x="1195" y="230"/>
                </a:cubicBezTo>
                <a:cubicBezTo>
                  <a:pt x="1196" y="230"/>
                  <a:pt x="1196" y="230"/>
                  <a:pt x="1196" y="230"/>
                </a:cubicBezTo>
                <a:cubicBezTo>
                  <a:pt x="1197" y="229"/>
                  <a:pt x="1197" y="229"/>
                  <a:pt x="1197" y="229"/>
                </a:cubicBezTo>
                <a:cubicBezTo>
                  <a:pt x="1199" y="229"/>
                  <a:pt x="1199" y="229"/>
                  <a:pt x="1199" y="229"/>
                </a:cubicBezTo>
                <a:cubicBezTo>
                  <a:pt x="1199" y="228"/>
                  <a:pt x="1199" y="228"/>
                  <a:pt x="1199" y="228"/>
                </a:cubicBezTo>
                <a:cubicBezTo>
                  <a:pt x="1198" y="226"/>
                  <a:pt x="1198" y="226"/>
                  <a:pt x="1198" y="226"/>
                </a:cubicBezTo>
                <a:lnTo>
                  <a:pt x="1197" y="225"/>
                </a:lnTo>
                <a:close/>
                <a:moveTo>
                  <a:pt x="1170" y="243"/>
                </a:moveTo>
                <a:cubicBezTo>
                  <a:pt x="1169" y="242"/>
                  <a:pt x="1169" y="242"/>
                  <a:pt x="1169" y="242"/>
                </a:cubicBezTo>
                <a:cubicBezTo>
                  <a:pt x="1169" y="240"/>
                  <a:pt x="1169" y="240"/>
                  <a:pt x="1169" y="240"/>
                </a:cubicBezTo>
                <a:cubicBezTo>
                  <a:pt x="1168" y="239"/>
                  <a:pt x="1168" y="239"/>
                  <a:pt x="1168" y="239"/>
                </a:cubicBezTo>
                <a:cubicBezTo>
                  <a:pt x="1167" y="240"/>
                  <a:pt x="1167" y="240"/>
                  <a:pt x="1167" y="240"/>
                </a:cubicBezTo>
                <a:cubicBezTo>
                  <a:pt x="1168" y="241"/>
                  <a:pt x="1168" y="241"/>
                  <a:pt x="1168" y="241"/>
                </a:cubicBezTo>
                <a:cubicBezTo>
                  <a:pt x="1169" y="243"/>
                  <a:pt x="1169" y="243"/>
                  <a:pt x="1169" y="243"/>
                </a:cubicBezTo>
                <a:cubicBezTo>
                  <a:pt x="1168" y="245"/>
                  <a:pt x="1168" y="245"/>
                  <a:pt x="1168" y="245"/>
                </a:cubicBezTo>
                <a:cubicBezTo>
                  <a:pt x="1169" y="247"/>
                  <a:pt x="1169" y="247"/>
                  <a:pt x="1169" y="247"/>
                </a:cubicBezTo>
                <a:cubicBezTo>
                  <a:pt x="1170" y="247"/>
                  <a:pt x="1170" y="247"/>
                  <a:pt x="1170" y="247"/>
                </a:cubicBezTo>
                <a:cubicBezTo>
                  <a:pt x="1170" y="245"/>
                  <a:pt x="1170" y="245"/>
                  <a:pt x="1170" y="245"/>
                </a:cubicBezTo>
                <a:lnTo>
                  <a:pt x="1170" y="243"/>
                </a:lnTo>
                <a:close/>
                <a:moveTo>
                  <a:pt x="335" y="399"/>
                </a:moveTo>
                <a:cubicBezTo>
                  <a:pt x="333" y="398"/>
                  <a:pt x="333" y="398"/>
                  <a:pt x="333" y="398"/>
                </a:cubicBezTo>
                <a:cubicBezTo>
                  <a:pt x="333" y="398"/>
                  <a:pt x="333" y="398"/>
                  <a:pt x="333" y="398"/>
                </a:cubicBezTo>
                <a:cubicBezTo>
                  <a:pt x="332" y="399"/>
                  <a:pt x="332" y="399"/>
                  <a:pt x="332" y="399"/>
                </a:cubicBezTo>
                <a:cubicBezTo>
                  <a:pt x="331" y="400"/>
                  <a:pt x="331" y="400"/>
                  <a:pt x="331" y="400"/>
                </a:cubicBezTo>
                <a:cubicBezTo>
                  <a:pt x="333" y="400"/>
                  <a:pt x="333" y="400"/>
                  <a:pt x="333" y="400"/>
                </a:cubicBezTo>
                <a:lnTo>
                  <a:pt x="335" y="399"/>
                </a:lnTo>
                <a:close/>
                <a:moveTo>
                  <a:pt x="151" y="217"/>
                </a:moveTo>
                <a:cubicBezTo>
                  <a:pt x="151" y="216"/>
                  <a:pt x="151" y="216"/>
                  <a:pt x="151" y="216"/>
                </a:cubicBezTo>
                <a:cubicBezTo>
                  <a:pt x="152" y="215"/>
                  <a:pt x="152" y="215"/>
                  <a:pt x="152" y="215"/>
                </a:cubicBezTo>
                <a:cubicBezTo>
                  <a:pt x="152" y="213"/>
                  <a:pt x="152" y="213"/>
                  <a:pt x="152" y="213"/>
                </a:cubicBezTo>
                <a:cubicBezTo>
                  <a:pt x="150" y="214"/>
                  <a:pt x="150" y="214"/>
                  <a:pt x="150" y="214"/>
                </a:cubicBezTo>
                <a:cubicBezTo>
                  <a:pt x="150" y="215"/>
                  <a:pt x="150" y="215"/>
                  <a:pt x="150" y="215"/>
                </a:cubicBezTo>
                <a:cubicBezTo>
                  <a:pt x="149" y="215"/>
                  <a:pt x="149" y="215"/>
                  <a:pt x="149" y="215"/>
                </a:cubicBezTo>
                <a:cubicBezTo>
                  <a:pt x="149" y="213"/>
                  <a:pt x="149" y="213"/>
                  <a:pt x="149" y="213"/>
                </a:cubicBezTo>
                <a:cubicBezTo>
                  <a:pt x="148" y="212"/>
                  <a:pt x="148" y="212"/>
                  <a:pt x="148" y="212"/>
                </a:cubicBezTo>
                <a:cubicBezTo>
                  <a:pt x="146" y="213"/>
                  <a:pt x="146" y="213"/>
                  <a:pt x="146" y="213"/>
                </a:cubicBezTo>
                <a:cubicBezTo>
                  <a:pt x="146" y="214"/>
                  <a:pt x="146" y="214"/>
                  <a:pt x="146" y="214"/>
                </a:cubicBezTo>
                <a:cubicBezTo>
                  <a:pt x="146" y="215"/>
                  <a:pt x="146" y="215"/>
                  <a:pt x="146" y="215"/>
                </a:cubicBezTo>
                <a:cubicBezTo>
                  <a:pt x="145" y="217"/>
                  <a:pt x="145" y="217"/>
                  <a:pt x="145" y="217"/>
                </a:cubicBezTo>
                <a:cubicBezTo>
                  <a:pt x="144" y="216"/>
                  <a:pt x="144" y="216"/>
                  <a:pt x="144" y="216"/>
                </a:cubicBezTo>
                <a:cubicBezTo>
                  <a:pt x="143" y="217"/>
                  <a:pt x="143" y="217"/>
                  <a:pt x="143" y="217"/>
                </a:cubicBezTo>
                <a:cubicBezTo>
                  <a:pt x="142" y="217"/>
                  <a:pt x="142" y="217"/>
                  <a:pt x="142" y="217"/>
                </a:cubicBezTo>
                <a:cubicBezTo>
                  <a:pt x="141" y="218"/>
                  <a:pt x="141" y="218"/>
                  <a:pt x="141" y="218"/>
                </a:cubicBezTo>
                <a:cubicBezTo>
                  <a:pt x="141" y="218"/>
                  <a:pt x="141" y="218"/>
                  <a:pt x="141" y="218"/>
                </a:cubicBezTo>
                <a:cubicBezTo>
                  <a:pt x="144" y="221"/>
                  <a:pt x="144" y="221"/>
                  <a:pt x="144" y="221"/>
                </a:cubicBezTo>
                <a:cubicBezTo>
                  <a:pt x="145" y="221"/>
                  <a:pt x="145" y="221"/>
                  <a:pt x="145" y="221"/>
                </a:cubicBezTo>
                <a:cubicBezTo>
                  <a:pt x="147" y="219"/>
                  <a:pt x="147" y="219"/>
                  <a:pt x="147" y="219"/>
                </a:cubicBezTo>
                <a:cubicBezTo>
                  <a:pt x="147" y="220"/>
                  <a:pt x="147" y="220"/>
                  <a:pt x="147" y="220"/>
                </a:cubicBezTo>
                <a:cubicBezTo>
                  <a:pt x="148" y="220"/>
                  <a:pt x="148" y="220"/>
                  <a:pt x="148" y="220"/>
                </a:cubicBezTo>
                <a:cubicBezTo>
                  <a:pt x="150" y="219"/>
                  <a:pt x="150" y="219"/>
                  <a:pt x="150" y="219"/>
                </a:cubicBezTo>
                <a:cubicBezTo>
                  <a:pt x="151" y="219"/>
                  <a:pt x="151" y="219"/>
                  <a:pt x="151" y="219"/>
                </a:cubicBezTo>
                <a:cubicBezTo>
                  <a:pt x="153" y="219"/>
                  <a:pt x="153" y="219"/>
                  <a:pt x="153" y="219"/>
                </a:cubicBezTo>
                <a:cubicBezTo>
                  <a:pt x="152" y="218"/>
                  <a:pt x="152" y="218"/>
                  <a:pt x="152" y="218"/>
                </a:cubicBezTo>
                <a:lnTo>
                  <a:pt x="151" y="217"/>
                </a:lnTo>
                <a:close/>
                <a:moveTo>
                  <a:pt x="212" y="174"/>
                </a:moveTo>
                <a:cubicBezTo>
                  <a:pt x="211" y="176"/>
                  <a:pt x="211" y="176"/>
                  <a:pt x="211" y="176"/>
                </a:cubicBezTo>
                <a:cubicBezTo>
                  <a:pt x="213" y="178"/>
                  <a:pt x="213" y="178"/>
                  <a:pt x="213" y="178"/>
                </a:cubicBezTo>
                <a:cubicBezTo>
                  <a:pt x="214" y="177"/>
                  <a:pt x="214" y="177"/>
                  <a:pt x="214" y="177"/>
                </a:cubicBezTo>
                <a:cubicBezTo>
                  <a:pt x="213" y="176"/>
                  <a:pt x="213" y="176"/>
                  <a:pt x="213" y="176"/>
                </a:cubicBezTo>
                <a:cubicBezTo>
                  <a:pt x="214" y="175"/>
                  <a:pt x="214" y="175"/>
                  <a:pt x="214" y="175"/>
                </a:cubicBezTo>
                <a:lnTo>
                  <a:pt x="212" y="174"/>
                </a:lnTo>
                <a:close/>
                <a:moveTo>
                  <a:pt x="206" y="193"/>
                </a:moveTo>
                <a:cubicBezTo>
                  <a:pt x="206" y="191"/>
                  <a:pt x="206" y="191"/>
                  <a:pt x="206" y="191"/>
                </a:cubicBezTo>
                <a:cubicBezTo>
                  <a:pt x="203" y="194"/>
                  <a:pt x="203" y="194"/>
                  <a:pt x="203" y="194"/>
                </a:cubicBezTo>
                <a:cubicBezTo>
                  <a:pt x="203" y="194"/>
                  <a:pt x="204" y="194"/>
                  <a:pt x="204" y="194"/>
                </a:cubicBezTo>
                <a:lnTo>
                  <a:pt x="206" y="193"/>
                </a:lnTo>
                <a:close/>
                <a:moveTo>
                  <a:pt x="208" y="189"/>
                </a:moveTo>
                <a:cubicBezTo>
                  <a:pt x="209" y="190"/>
                  <a:pt x="209" y="190"/>
                  <a:pt x="209" y="190"/>
                </a:cubicBezTo>
                <a:cubicBezTo>
                  <a:pt x="210" y="190"/>
                  <a:pt x="210" y="190"/>
                  <a:pt x="210" y="190"/>
                </a:cubicBezTo>
                <a:cubicBezTo>
                  <a:pt x="210" y="189"/>
                  <a:pt x="210" y="189"/>
                  <a:pt x="210" y="189"/>
                </a:cubicBezTo>
                <a:cubicBezTo>
                  <a:pt x="212" y="187"/>
                  <a:pt x="212" y="187"/>
                  <a:pt x="212" y="187"/>
                </a:cubicBezTo>
                <a:cubicBezTo>
                  <a:pt x="213" y="186"/>
                  <a:pt x="213" y="186"/>
                  <a:pt x="213" y="186"/>
                </a:cubicBezTo>
                <a:cubicBezTo>
                  <a:pt x="214" y="184"/>
                  <a:pt x="214" y="184"/>
                  <a:pt x="214" y="184"/>
                </a:cubicBezTo>
                <a:cubicBezTo>
                  <a:pt x="214" y="183"/>
                  <a:pt x="214" y="183"/>
                  <a:pt x="214" y="183"/>
                </a:cubicBezTo>
                <a:cubicBezTo>
                  <a:pt x="212" y="183"/>
                  <a:pt x="212" y="183"/>
                  <a:pt x="212" y="183"/>
                </a:cubicBezTo>
                <a:cubicBezTo>
                  <a:pt x="211" y="185"/>
                  <a:pt x="211" y="185"/>
                  <a:pt x="211" y="185"/>
                </a:cubicBezTo>
                <a:cubicBezTo>
                  <a:pt x="211" y="186"/>
                  <a:pt x="211" y="186"/>
                  <a:pt x="211" y="186"/>
                </a:cubicBezTo>
                <a:lnTo>
                  <a:pt x="208" y="189"/>
                </a:lnTo>
                <a:close/>
                <a:moveTo>
                  <a:pt x="211" y="207"/>
                </a:moveTo>
                <a:cubicBezTo>
                  <a:pt x="214" y="207"/>
                  <a:pt x="214" y="207"/>
                  <a:pt x="214" y="207"/>
                </a:cubicBezTo>
                <a:cubicBezTo>
                  <a:pt x="213" y="206"/>
                  <a:pt x="213" y="206"/>
                  <a:pt x="213" y="206"/>
                </a:cubicBezTo>
                <a:lnTo>
                  <a:pt x="211" y="207"/>
                </a:lnTo>
                <a:close/>
                <a:moveTo>
                  <a:pt x="152" y="210"/>
                </a:moveTo>
                <a:cubicBezTo>
                  <a:pt x="152" y="209"/>
                  <a:pt x="152" y="209"/>
                  <a:pt x="152" y="209"/>
                </a:cubicBezTo>
                <a:cubicBezTo>
                  <a:pt x="150" y="208"/>
                  <a:pt x="150" y="208"/>
                  <a:pt x="150" y="208"/>
                </a:cubicBezTo>
                <a:cubicBezTo>
                  <a:pt x="150" y="209"/>
                  <a:pt x="150" y="209"/>
                  <a:pt x="150" y="209"/>
                </a:cubicBezTo>
                <a:cubicBezTo>
                  <a:pt x="149" y="210"/>
                  <a:pt x="149" y="210"/>
                  <a:pt x="149" y="210"/>
                </a:cubicBezTo>
                <a:cubicBezTo>
                  <a:pt x="150" y="211"/>
                  <a:pt x="150" y="211"/>
                  <a:pt x="150" y="211"/>
                </a:cubicBezTo>
                <a:lnTo>
                  <a:pt x="152" y="210"/>
                </a:lnTo>
                <a:close/>
                <a:moveTo>
                  <a:pt x="217" y="180"/>
                </a:moveTo>
                <a:cubicBezTo>
                  <a:pt x="217" y="181"/>
                  <a:pt x="217" y="181"/>
                  <a:pt x="217" y="181"/>
                </a:cubicBezTo>
                <a:cubicBezTo>
                  <a:pt x="219" y="181"/>
                  <a:pt x="219" y="181"/>
                  <a:pt x="219" y="181"/>
                </a:cubicBezTo>
                <a:cubicBezTo>
                  <a:pt x="219" y="180"/>
                  <a:pt x="219" y="180"/>
                  <a:pt x="219" y="180"/>
                </a:cubicBezTo>
                <a:lnTo>
                  <a:pt x="217" y="180"/>
                </a:lnTo>
                <a:close/>
                <a:moveTo>
                  <a:pt x="150" y="191"/>
                </a:moveTo>
                <a:cubicBezTo>
                  <a:pt x="151" y="192"/>
                  <a:pt x="151" y="192"/>
                  <a:pt x="151" y="192"/>
                </a:cubicBezTo>
                <a:cubicBezTo>
                  <a:pt x="153" y="192"/>
                  <a:pt x="153" y="192"/>
                  <a:pt x="153" y="192"/>
                </a:cubicBezTo>
                <a:cubicBezTo>
                  <a:pt x="151" y="191"/>
                  <a:pt x="151" y="191"/>
                  <a:pt x="151" y="191"/>
                </a:cubicBezTo>
                <a:lnTo>
                  <a:pt x="150" y="191"/>
                </a:lnTo>
                <a:close/>
                <a:moveTo>
                  <a:pt x="217" y="188"/>
                </a:moveTo>
                <a:cubicBezTo>
                  <a:pt x="216" y="187"/>
                  <a:pt x="216" y="187"/>
                  <a:pt x="216" y="187"/>
                </a:cubicBezTo>
                <a:cubicBezTo>
                  <a:pt x="214" y="189"/>
                  <a:pt x="214" y="189"/>
                  <a:pt x="214" y="189"/>
                </a:cubicBezTo>
                <a:cubicBezTo>
                  <a:pt x="214" y="190"/>
                  <a:pt x="214" y="190"/>
                  <a:pt x="214" y="190"/>
                </a:cubicBezTo>
                <a:cubicBezTo>
                  <a:pt x="212" y="192"/>
                  <a:pt x="212" y="192"/>
                  <a:pt x="212" y="192"/>
                </a:cubicBezTo>
                <a:cubicBezTo>
                  <a:pt x="210" y="192"/>
                  <a:pt x="210" y="192"/>
                  <a:pt x="210" y="192"/>
                </a:cubicBezTo>
                <a:cubicBezTo>
                  <a:pt x="206" y="196"/>
                  <a:pt x="206" y="196"/>
                  <a:pt x="206" y="196"/>
                </a:cubicBezTo>
                <a:cubicBezTo>
                  <a:pt x="206" y="197"/>
                  <a:pt x="206" y="197"/>
                  <a:pt x="206" y="197"/>
                </a:cubicBezTo>
                <a:cubicBezTo>
                  <a:pt x="205" y="197"/>
                  <a:pt x="205" y="197"/>
                  <a:pt x="205" y="197"/>
                </a:cubicBezTo>
                <a:cubicBezTo>
                  <a:pt x="204" y="197"/>
                  <a:pt x="204" y="197"/>
                  <a:pt x="204" y="197"/>
                </a:cubicBezTo>
                <a:cubicBezTo>
                  <a:pt x="203" y="198"/>
                  <a:pt x="203" y="198"/>
                  <a:pt x="203" y="198"/>
                </a:cubicBezTo>
                <a:cubicBezTo>
                  <a:pt x="206" y="198"/>
                  <a:pt x="206" y="198"/>
                  <a:pt x="206" y="198"/>
                </a:cubicBezTo>
                <a:cubicBezTo>
                  <a:pt x="207" y="198"/>
                  <a:pt x="207" y="198"/>
                  <a:pt x="207" y="198"/>
                </a:cubicBezTo>
                <a:cubicBezTo>
                  <a:pt x="209" y="198"/>
                  <a:pt x="209" y="198"/>
                  <a:pt x="209" y="198"/>
                </a:cubicBezTo>
                <a:cubicBezTo>
                  <a:pt x="209" y="197"/>
                  <a:pt x="209" y="197"/>
                  <a:pt x="209" y="197"/>
                </a:cubicBezTo>
                <a:cubicBezTo>
                  <a:pt x="209" y="196"/>
                  <a:pt x="209" y="196"/>
                  <a:pt x="209" y="196"/>
                </a:cubicBezTo>
                <a:cubicBezTo>
                  <a:pt x="211" y="195"/>
                  <a:pt x="211" y="195"/>
                  <a:pt x="211" y="195"/>
                </a:cubicBezTo>
                <a:cubicBezTo>
                  <a:pt x="214" y="192"/>
                  <a:pt x="214" y="192"/>
                  <a:pt x="214" y="192"/>
                </a:cubicBezTo>
                <a:cubicBezTo>
                  <a:pt x="216" y="191"/>
                  <a:pt x="216" y="191"/>
                  <a:pt x="216" y="191"/>
                </a:cubicBezTo>
                <a:cubicBezTo>
                  <a:pt x="217" y="190"/>
                  <a:pt x="217" y="190"/>
                  <a:pt x="217" y="190"/>
                </a:cubicBezTo>
                <a:cubicBezTo>
                  <a:pt x="216" y="189"/>
                  <a:pt x="216" y="189"/>
                  <a:pt x="216" y="189"/>
                </a:cubicBezTo>
                <a:lnTo>
                  <a:pt x="217" y="188"/>
                </a:lnTo>
                <a:close/>
                <a:moveTo>
                  <a:pt x="296" y="249"/>
                </a:moveTo>
                <a:cubicBezTo>
                  <a:pt x="294" y="250"/>
                  <a:pt x="294" y="250"/>
                  <a:pt x="294" y="250"/>
                </a:cubicBezTo>
                <a:cubicBezTo>
                  <a:pt x="296" y="251"/>
                  <a:pt x="296" y="251"/>
                  <a:pt x="296" y="251"/>
                </a:cubicBezTo>
                <a:cubicBezTo>
                  <a:pt x="297" y="250"/>
                  <a:pt x="297" y="250"/>
                  <a:pt x="297" y="250"/>
                </a:cubicBezTo>
                <a:lnTo>
                  <a:pt x="296" y="249"/>
                </a:lnTo>
                <a:close/>
                <a:moveTo>
                  <a:pt x="222" y="188"/>
                </a:moveTo>
                <a:cubicBezTo>
                  <a:pt x="222" y="186"/>
                  <a:pt x="222" y="186"/>
                  <a:pt x="222" y="186"/>
                </a:cubicBezTo>
                <a:cubicBezTo>
                  <a:pt x="221" y="185"/>
                  <a:pt x="221" y="185"/>
                  <a:pt x="221" y="185"/>
                </a:cubicBezTo>
                <a:cubicBezTo>
                  <a:pt x="220" y="186"/>
                  <a:pt x="220" y="186"/>
                  <a:pt x="220" y="186"/>
                </a:cubicBezTo>
                <a:cubicBezTo>
                  <a:pt x="220" y="189"/>
                  <a:pt x="220" y="189"/>
                  <a:pt x="220" y="189"/>
                </a:cubicBezTo>
                <a:cubicBezTo>
                  <a:pt x="223" y="190"/>
                  <a:pt x="223" y="190"/>
                  <a:pt x="223" y="190"/>
                </a:cubicBezTo>
                <a:cubicBezTo>
                  <a:pt x="224" y="189"/>
                  <a:pt x="224" y="189"/>
                  <a:pt x="224" y="189"/>
                </a:cubicBezTo>
                <a:cubicBezTo>
                  <a:pt x="224" y="188"/>
                  <a:pt x="224" y="188"/>
                  <a:pt x="224" y="188"/>
                </a:cubicBezTo>
                <a:lnTo>
                  <a:pt x="222" y="188"/>
                </a:lnTo>
                <a:close/>
                <a:moveTo>
                  <a:pt x="307" y="251"/>
                </a:moveTo>
                <a:cubicBezTo>
                  <a:pt x="305" y="254"/>
                  <a:pt x="305" y="254"/>
                  <a:pt x="305" y="254"/>
                </a:cubicBezTo>
                <a:cubicBezTo>
                  <a:pt x="305" y="260"/>
                  <a:pt x="305" y="260"/>
                  <a:pt x="305" y="260"/>
                </a:cubicBezTo>
                <a:cubicBezTo>
                  <a:pt x="303" y="263"/>
                  <a:pt x="303" y="263"/>
                  <a:pt x="303" y="263"/>
                </a:cubicBezTo>
                <a:cubicBezTo>
                  <a:pt x="302" y="266"/>
                  <a:pt x="302" y="266"/>
                  <a:pt x="302" y="266"/>
                </a:cubicBezTo>
                <a:cubicBezTo>
                  <a:pt x="304" y="267"/>
                  <a:pt x="304" y="267"/>
                  <a:pt x="304" y="267"/>
                </a:cubicBezTo>
                <a:cubicBezTo>
                  <a:pt x="303" y="269"/>
                  <a:pt x="303" y="269"/>
                  <a:pt x="303" y="269"/>
                </a:cubicBezTo>
                <a:cubicBezTo>
                  <a:pt x="304" y="270"/>
                  <a:pt x="304" y="270"/>
                  <a:pt x="304" y="270"/>
                </a:cubicBezTo>
                <a:cubicBezTo>
                  <a:pt x="302" y="270"/>
                  <a:pt x="302" y="270"/>
                  <a:pt x="302" y="270"/>
                </a:cubicBezTo>
                <a:cubicBezTo>
                  <a:pt x="300" y="271"/>
                  <a:pt x="300" y="271"/>
                  <a:pt x="300" y="271"/>
                </a:cubicBezTo>
                <a:cubicBezTo>
                  <a:pt x="300" y="273"/>
                  <a:pt x="300" y="273"/>
                  <a:pt x="300" y="273"/>
                </a:cubicBezTo>
                <a:cubicBezTo>
                  <a:pt x="299" y="275"/>
                  <a:pt x="299" y="275"/>
                  <a:pt x="299" y="275"/>
                </a:cubicBezTo>
                <a:cubicBezTo>
                  <a:pt x="300" y="277"/>
                  <a:pt x="300" y="277"/>
                  <a:pt x="300" y="277"/>
                </a:cubicBezTo>
                <a:cubicBezTo>
                  <a:pt x="302" y="275"/>
                  <a:pt x="302" y="275"/>
                  <a:pt x="302" y="275"/>
                </a:cubicBezTo>
                <a:cubicBezTo>
                  <a:pt x="305" y="274"/>
                  <a:pt x="305" y="274"/>
                  <a:pt x="305" y="274"/>
                </a:cubicBezTo>
                <a:cubicBezTo>
                  <a:pt x="305" y="271"/>
                  <a:pt x="305" y="271"/>
                  <a:pt x="305" y="271"/>
                </a:cubicBezTo>
                <a:cubicBezTo>
                  <a:pt x="307" y="271"/>
                  <a:pt x="307" y="271"/>
                  <a:pt x="307" y="271"/>
                </a:cubicBezTo>
                <a:cubicBezTo>
                  <a:pt x="308" y="270"/>
                  <a:pt x="308" y="270"/>
                  <a:pt x="308" y="270"/>
                </a:cubicBezTo>
                <a:cubicBezTo>
                  <a:pt x="308" y="269"/>
                  <a:pt x="308" y="269"/>
                  <a:pt x="308" y="269"/>
                </a:cubicBezTo>
                <a:cubicBezTo>
                  <a:pt x="308" y="267"/>
                  <a:pt x="308" y="267"/>
                  <a:pt x="308" y="267"/>
                </a:cubicBezTo>
                <a:cubicBezTo>
                  <a:pt x="309" y="260"/>
                  <a:pt x="309" y="260"/>
                  <a:pt x="309" y="260"/>
                </a:cubicBezTo>
                <a:cubicBezTo>
                  <a:pt x="309" y="259"/>
                  <a:pt x="309" y="259"/>
                  <a:pt x="309" y="259"/>
                </a:cubicBezTo>
                <a:cubicBezTo>
                  <a:pt x="310" y="263"/>
                  <a:pt x="310" y="263"/>
                  <a:pt x="310" y="263"/>
                </a:cubicBezTo>
                <a:cubicBezTo>
                  <a:pt x="310" y="267"/>
                  <a:pt x="310" y="267"/>
                  <a:pt x="310" y="267"/>
                </a:cubicBezTo>
                <a:cubicBezTo>
                  <a:pt x="310" y="268"/>
                  <a:pt x="310" y="268"/>
                  <a:pt x="310" y="268"/>
                </a:cubicBezTo>
                <a:cubicBezTo>
                  <a:pt x="312" y="265"/>
                  <a:pt x="312" y="265"/>
                  <a:pt x="312" y="265"/>
                </a:cubicBezTo>
                <a:cubicBezTo>
                  <a:pt x="311" y="258"/>
                  <a:pt x="311" y="258"/>
                  <a:pt x="311" y="258"/>
                </a:cubicBezTo>
                <a:cubicBezTo>
                  <a:pt x="310" y="256"/>
                  <a:pt x="310" y="256"/>
                  <a:pt x="310" y="256"/>
                </a:cubicBezTo>
                <a:cubicBezTo>
                  <a:pt x="307" y="254"/>
                  <a:pt x="307" y="254"/>
                  <a:pt x="307" y="254"/>
                </a:cubicBezTo>
                <a:cubicBezTo>
                  <a:pt x="307" y="252"/>
                  <a:pt x="307" y="252"/>
                  <a:pt x="307" y="252"/>
                </a:cubicBezTo>
                <a:lnTo>
                  <a:pt x="307" y="251"/>
                </a:lnTo>
                <a:close/>
                <a:moveTo>
                  <a:pt x="290" y="257"/>
                </a:moveTo>
                <a:cubicBezTo>
                  <a:pt x="289" y="259"/>
                  <a:pt x="289" y="259"/>
                  <a:pt x="289" y="259"/>
                </a:cubicBezTo>
                <a:cubicBezTo>
                  <a:pt x="291" y="262"/>
                  <a:pt x="291" y="262"/>
                  <a:pt x="291" y="262"/>
                </a:cubicBezTo>
                <a:cubicBezTo>
                  <a:pt x="290" y="264"/>
                  <a:pt x="290" y="264"/>
                  <a:pt x="290" y="264"/>
                </a:cubicBezTo>
                <a:cubicBezTo>
                  <a:pt x="291" y="265"/>
                  <a:pt x="291" y="265"/>
                  <a:pt x="291" y="265"/>
                </a:cubicBezTo>
                <a:cubicBezTo>
                  <a:pt x="290" y="266"/>
                  <a:pt x="290" y="266"/>
                  <a:pt x="290" y="266"/>
                </a:cubicBezTo>
                <a:cubicBezTo>
                  <a:pt x="292" y="268"/>
                  <a:pt x="292" y="268"/>
                  <a:pt x="292" y="268"/>
                </a:cubicBezTo>
                <a:cubicBezTo>
                  <a:pt x="294" y="269"/>
                  <a:pt x="294" y="269"/>
                  <a:pt x="294" y="269"/>
                </a:cubicBezTo>
                <a:cubicBezTo>
                  <a:pt x="295" y="267"/>
                  <a:pt x="295" y="267"/>
                  <a:pt x="295" y="267"/>
                </a:cubicBezTo>
                <a:cubicBezTo>
                  <a:pt x="295" y="265"/>
                  <a:pt x="295" y="265"/>
                  <a:pt x="295" y="265"/>
                </a:cubicBezTo>
                <a:cubicBezTo>
                  <a:pt x="294" y="262"/>
                  <a:pt x="294" y="262"/>
                  <a:pt x="294" y="262"/>
                </a:cubicBezTo>
                <a:cubicBezTo>
                  <a:pt x="294" y="260"/>
                  <a:pt x="294" y="260"/>
                  <a:pt x="294" y="260"/>
                </a:cubicBezTo>
                <a:cubicBezTo>
                  <a:pt x="297" y="264"/>
                  <a:pt x="297" y="264"/>
                  <a:pt x="297" y="264"/>
                </a:cubicBezTo>
                <a:cubicBezTo>
                  <a:pt x="297" y="266"/>
                  <a:pt x="297" y="266"/>
                  <a:pt x="297" y="266"/>
                </a:cubicBezTo>
                <a:cubicBezTo>
                  <a:pt x="299" y="268"/>
                  <a:pt x="299" y="268"/>
                  <a:pt x="299" y="268"/>
                </a:cubicBezTo>
                <a:cubicBezTo>
                  <a:pt x="300" y="268"/>
                  <a:pt x="300" y="268"/>
                  <a:pt x="300" y="268"/>
                </a:cubicBezTo>
                <a:cubicBezTo>
                  <a:pt x="300" y="265"/>
                  <a:pt x="300" y="265"/>
                  <a:pt x="300" y="265"/>
                </a:cubicBezTo>
                <a:cubicBezTo>
                  <a:pt x="301" y="264"/>
                  <a:pt x="301" y="264"/>
                  <a:pt x="301" y="264"/>
                </a:cubicBezTo>
                <a:cubicBezTo>
                  <a:pt x="300" y="263"/>
                  <a:pt x="300" y="263"/>
                  <a:pt x="300" y="263"/>
                </a:cubicBezTo>
                <a:cubicBezTo>
                  <a:pt x="298" y="263"/>
                  <a:pt x="298" y="263"/>
                  <a:pt x="298" y="263"/>
                </a:cubicBezTo>
                <a:cubicBezTo>
                  <a:pt x="298" y="261"/>
                  <a:pt x="298" y="261"/>
                  <a:pt x="298" y="261"/>
                </a:cubicBezTo>
                <a:cubicBezTo>
                  <a:pt x="295" y="257"/>
                  <a:pt x="295" y="257"/>
                  <a:pt x="295" y="257"/>
                </a:cubicBezTo>
                <a:cubicBezTo>
                  <a:pt x="295" y="256"/>
                  <a:pt x="295" y="256"/>
                  <a:pt x="295" y="256"/>
                </a:cubicBezTo>
                <a:cubicBezTo>
                  <a:pt x="298" y="259"/>
                  <a:pt x="298" y="259"/>
                  <a:pt x="298" y="259"/>
                </a:cubicBezTo>
                <a:cubicBezTo>
                  <a:pt x="299" y="261"/>
                  <a:pt x="299" y="261"/>
                  <a:pt x="299" y="261"/>
                </a:cubicBezTo>
                <a:cubicBezTo>
                  <a:pt x="301" y="261"/>
                  <a:pt x="301" y="261"/>
                  <a:pt x="301" y="261"/>
                </a:cubicBezTo>
                <a:cubicBezTo>
                  <a:pt x="302" y="260"/>
                  <a:pt x="302" y="260"/>
                  <a:pt x="302" y="260"/>
                </a:cubicBezTo>
                <a:cubicBezTo>
                  <a:pt x="301" y="259"/>
                  <a:pt x="301" y="259"/>
                  <a:pt x="301" y="259"/>
                </a:cubicBezTo>
                <a:cubicBezTo>
                  <a:pt x="303" y="258"/>
                  <a:pt x="303" y="258"/>
                  <a:pt x="303" y="258"/>
                </a:cubicBezTo>
                <a:cubicBezTo>
                  <a:pt x="303" y="257"/>
                  <a:pt x="303" y="257"/>
                  <a:pt x="303" y="257"/>
                </a:cubicBezTo>
                <a:cubicBezTo>
                  <a:pt x="301" y="255"/>
                  <a:pt x="301" y="255"/>
                  <a:pt x="301" y="255"/>
                </a:cubicBezTo>
                <a:cubicBezTo>
                  <a:pt x="299" y="256"/>
                  <a:pt x="299" y="256"/>
                  <a:pt x="299" y="256"/>
                </a:cubicBezTo>
                <a:cubicBezTo>
                  <a:pt x="298" y="257"/>
                  <a:pt x="298" y="257"/>
                  <a:pt x="298" y="257"/>
                </a:cubicBezTo>
                <a:cubicBezTo>
                  <a:pt x="298" y="256"/>
                  <a:pt x="298" y="256"/>
                  <a:pt x="298" y="256"/>
                </a:cubicBezTo>
                <a:cubicBezTo>
                  <a:pt x="299" y="254"/>
                  <a:pt x="299" y="254"/>
                  <a:pt x="299" y="254"/>
                </a:cubicBezTo>
                <a:cubicBezTo>
                  <a:pt x="299" y="253"/>
                  <a:pt x="299" y="253"/>
                  <a:pt x="299" y="253"/>
                </a:cubicBezTo>
                <a:cubicBezTo>
                  <a:pt x="297" y="252"/>
                  <a:pt x="297" y="252"/>
                  <a:pt x="297" y="252"/>
                </a:cubicBezTo>
                <a:cubicBezTo>
                  <a:pt x="294" y="252"/>
                  <a:pt x="294" y="252"/>
                  <a:pt x="294" y="252"/>
                </a:cubicBezTo>
                <a:cubicBezTo>
                  <a:pt x="294" y="253"/>
                  <a:pt x="294" y="253"/>
                  <a:pt x="294" y="253"/>
                </a:cubicBezTo>
                <a:cubicBezTo>
                  <a:pt x="293" y="254"/>
                  <a:pt x="293" y="254"/>
                  <a:pt x="293" y="254"/>
                </a:cubicBezTo>
                <a:cubicBezTo>
                  <a:pt x="292" y="252"/>
                  <a:pt x="292" y="252"/>
                  <a:pt x="292" y="252"/>
                </a:cubicBezTo>
                <a:cubicBezTo>
                  <a:pt x="291" y="254"/>
                  <a:pt x="291" y="254"/>
                  <a:pt x="291" y="254"/>
                </a:cubicBezTo>
                <a:cubicBezTo>
                  <a:pt x="291" y="256"/>
                  <a:pt x="291" y="256"/>
                  <a:pt x="291" y="256"/>
                </a:cubicBezTo>
                <a:cubicBezTo>
                  <a:pt x="292" y="257"/>
                  <a:pt x="292" y="257"/>
                  <a:pt x="292" y="257"/>
                </a:cubicBezTo>
                <a:cubicBezTo>
                  <a:pt x="291" y="258"/>
                  <a:pt x="291" y="258"/>
                  <a:pt x="291" y="258"/>
                </a:cubicBezTo>
                <a:lnTo>
                  <a:pt x="290" y="257"/>
                </a:lnTo>
                <a:close/>
                <a:moveTo>
                  <a:pt x="289" y="275"/>
                </a:moveTo>
                <a:cubicBezTo>
                  <a:pt x="291" y="275"/>
                  <a:pt x="291" y="275"/>
                  <a:pt x="291" y="275"/>
                </a:cubicBezTo>
                <a:cubicBezTo>
                  <a:pt x="291" y="272"/>
                  <a:pt x="291" y="272"/>
                  <a:pt x="291" y="272"/>
                </a:cubicBezTo>
                <a:cubicBezTo>
                  <a:pt x="291" y="271"/>
                  <a:pt x="291" y="271"/>
                  <a:pt x="291" y="271"/>
                </a:cubicBezTo>
                <a:cubicBezTo>
                  <a:pt x="291" y="270"/>
                  <a:pt x="291" y="270"/>
                  <a:pt x="291" y="270"/>
                </a:cubicBezTo>
                <a:cubicBezTo>
                  <a:pt x="289" y="271"/>
                  <a:pt x="289" y="271"/>
                  <a:pt x="289" y="271"/>
                </a:cubicBezTo>
                <a:cubicBezTo>
                  <a:pt x="289" y="272"/>
                  <a:pt x="289" y="272"/>
                  <a:pt x="289" y="272"/>
                </a:cubicBezTo>
                <a:cubicBezTo>
                  <a:pt x="290" y="273"/>
                  <a:pt x="290" y="273"/>
                  <a:pt x="290" y="273"/>
                </a:cubicBezTo>
                <a:cubicBezTo>
                  <a:pt x="288" y="274"/>
                  <a:pt x="288" y="274"/>
                  <a:pt x="288" y="274"/>
                </a:cubicBezTo>
                <a:lnTo>
                  <a:pt x="289" y="275"/>
                </a:lnTo>
                <a:close/>
                <a:moveTo>
                  <a:pt x="223" y="177"/>
                </a:moveTo>
                <a:cubicBezTo>
                  <a:pt x="222" y="176"/>
                  <a:pt x="222" y="176"/>
                  <a:pt x="222" y="176"/>
                </a:cubicBezTo>
                <a:cubicBezTo>
                  <a:pt x="221" y="177"/>
                  <a:pt x="221" y="177"/>
                  <a:pt x="221" y="177"/>
                </a:cubicBezTo>
                <a:cubicBezTo>
                  <a:pt x="222" y="178"/>
                  <a:pt x="222" y="178"/>
                  <a:pt x="222" y="178"/>
                </a:cubicBezTo>
                <a:lnTo>
                  <a:pt x="223" y="177"/>
                </a:lnTo>
                <a:close/>
                <a:moveTo>
                  <a:pt x="233" y="202"/>
                </a:moveTo>
                <a:cubicBezTo>
                  <a:pt x="233" y="204"/>
                  <a:pt x="233" y="204"/>
                  <a:pt x="233" y="204"/>
                </a:cubicBezTo>
                <a:cubicBezTo>
                  <a:pt x="235" y="203"/>
                  <a:pt x="235" y="203"/>
                  <a:pt x="235" y="203"/>
                </a:cubicBezTo>
                <a:cubicBezTo>
                  <a:pt x="237" y="201"/>
                  <a:pt x="237" y="201"/>
                  <a:pt x="237" y="201"/>
                </a:cubicBezTo>
                <a:cubicBezTo>
                  <a:pt x="236" y="201"/>
                  <a:pt x="236" y="201"/>
                  <a:pt x="236" y="201"/>
                </a:cubicBezTo>
                <a:lnTo>
                  <a:pt x="233" y="202"/>
                </a:lnTo>
                <a:close/>
                <a:moveTo>
                  <a:pt x="89" y="243"/>
                </a:moveTo>
                <a:cubicBezTo>
                  <a:pt x="91" y="245"/>
                  <a:pt x="91" y="245"/>
                  <a:pt x="91" y="245"/>
                </a:cubicBezTo>
                <a:cubicBezTo>
                  <a:pt x="92" y="244"/>
                  <a:pt x="92" y="244"/>
                  <a:pt x="92" y="244"/>
                </a:cubicBezTo>
                <a:cubicBezTo>
                  <a:pt x="91" y="243"/>
                  <a:pt x="91" y="243"/>
                  <a:pt x="91" y="243"/>
                </a:cubicBezTo>
                <a:lnTo>
                  <a:pt x="89" y="243"/>
                </a:lnTo>
                <a:close/>
                <a:moveTo>
                  <a:pt x="34" y="263"/>
                </a:moveTo>
                <a:cubicBezTo>
                  <a:pt x="35" y="265"/>
                  <a:pt x="35" y="265"/>
                  <a:pt x="35" y="265"/>
                </a:cubicBezTo>
                <a:cubicBezTo>
                  <a:pt x="36" y="264"/>
                  <a:pt x="36" y="264"/>
                  <a:pt x="36" y="264"/>
                </a:cubicBezTo>
                <a:cubicBezTo>
                  <a:pt x="35" y="263"/>
                  <a:pt x="35" y="263"/>
                  <a:pt x="35" y="263"/>
                </a:cubicBezTo>
                <a:lnTo>
                  <a:pt x="34" y="263"/>
                </a:lnTo>
                <a:close/>
                <a:moveTo>
                  <a:pt x="44" y="261"/>
                </a:moveTo>
                <a:cubicBezTo>
                  <a:pt x="43" y="263"/>
                  <a:pt x="43" y="263"/>
                  <a:pt x="43" y="263"/>
                </a:cubicBezTo>
                <a:cubicBezTo>
                  <a:pt x="44" y="265"/>
                  <a:pt x="44" y="265"/>
                  <a:pt x="44" y="265"/>
                </a:cubicBezTo>
                <a:cubicBezTo>
                  <a:pt x="45" y="265"/>
                  <a:pt x="45" y="265"/>
                  <a:pt x="45" y="265"/>
                </a:cubicBezTo>
                <a:cubicBezTo>
                  <a:pt x="46" y="263"/>
                  <a:pt x="46" y="263"/>
                  <a:pt x="46" y="263"/>
                </a:cubicBezTo>
                <a:cubicBezTo>
                  <a:pt x="46" y="262"/>
                  <a:pt x="46" y="262"/>
                  <a:pt x="46" y="262"/>
                </a:cubicBezTo>
                <a:cubicBezTo>
                  <a:pt x="45" y="261"/>
                  <a:pt x="45" y="261"/>
                  <a:pt x="45" y="261"/>
                </a:cubicBezTo>
                <a:lnTo>
                  <a:pt x="44" y="261"/>
                </a:lnTo>
                <a:close/>
                <a:moveTo>
                  <a:pt x="50" y="266"/>
                </a:moveTo>
                <a:cubicBezTo>
                  <a:pt x="48" y="268"/>
                  <a:pt x="48" y="268"/>
                  <a:pt x="48" y="268"/>
                </a:cubicBezTo>
                <a:cubicBezTo>
                  <a:pt x="47" y="271"/>
                  <a:pt x="47" y="271"/>
                  <a:pt x="47" y="271"/>
                </a:cubicBezTo>
                <a:cubicBezTo>
                  <a:pt x="48" y="269"/>
                  <a:pt x="48" y="269"/>
                  <a:pt x="48" y="269"/>
                </a:cubicBezTo>
                <a:cubicBezTo>
                  <a:pt x="51" y="268"/>
                  <a:pt x="51" y="268"/>
                  <a:pt x="51" y="268"/>
                </a:cubicBezTo>
                <a:cubicBezTo>
                  <a:pt x="51" y="267"/>
                  <a:pt x="51" y="267"/>
                  <a:pt x="51" y="267"/>
                </a:cubicBezTo>
                <a:cubicBezTo>
                  <a:pt x="53" y="265"/>
                  <a:pt x="53" y="265"/>
                  <a:pt x="53" y="265"/>
                </a:cubicBezTo>
                <a:cubicBezTo>
                  <a:pt x="50" y="265"/>
                  <a:pt x="50" y="265"/>
                  <a:pt x="50" y="265"/>
                </a:cubicBezTo>
                <a:lnTo>
                  <a:pt x="50" y="266"/>
                </a:lnTo>
                <a:close/>
                <a:moveTo>
                  <a:pt x="19" y="274"/>
                </a:moveTo>
                <a:cubicBezTo>
                  <a:pt x="21" y="276"/>
                  <a:pt x="21" y="276"/>
                  <a:pt x="21" y="276"/>
                </a:cubicBezTo>
                <a:cubicBezTo>
                  <a:pt x="22" y="275"/>
                  <a:pt x="22" y="275"/>
                  <a:pt x="22" y="275"/>
                </a:cubicBezTo>
                <a:cubicBezTo>
                  <a:pt x="20" y="273"/>
                  <a:pt x="20" y="273"/>
                  <a:pt x="20" y="273"/>
                </a:cubicBezTo>
                <a:lnTo>
                  <a:pt x="19" y="274"/>
                </a:lnTo>
                <a:close/>
                <a:moveTo>
                  <a:pt x="20" y="268"/>
                </a:moveTo>
                <a:cubicBezTo>
                  <a:pt x="18" y="266"/>
                  <a:pt x="18" y="266"/>
                  <a:pt x="18" y="266"/>
                </a:cubicBezTo>
                <a:cubicBezTo>
                  <a:pt x="18" y="264"/>
                  <a:pt x="18" y="264"/>
                  <a:pt x="18" y="264"/>
                </a:cubicBezTo>
                <a:cubicBezTo>
                  <a:pt x="17" y="262"/>
                  <a:pt x="17" y="262"/>
                  <a:pt x="17" y="262"/>
                </a:cubicBezTo>
                <a:cubicBezTo>
                  <a:pt x="14" y="262"/>
                  <a:pt x="14" y="262"/>
                  <a:pt x="14" y="262"/>
                </a:cubicBezTo>
                <a:cubicBezTo>
                  <a:pt x="14" y="263"/>
                  <a:pt x="14" y="263"/>
                  <a:pt x="14" y="263"/>
                </a:cubicBezTo>
                <a:cubicBezTo>
                  <a:pt x="12" y="263"/>
                  <a:pt x="12" y="263"/>
                  <a:pt x="12" y="263"/>
                </a:cubicBezTo>
                <a:cubicBezTo>
                  <a:pt x="10" y="263"/>
                  <a:pt x="10" y="263"/>
                  <a:pt x="10" y="263"/>
                </a:cubicBezTo>
                <a:cubicBezTo>
                  <a:pt x="9" y="264"/>
                  <a:pt x="9" y="264"/>
                  <a:pt x="9" y="264"/>
                </a:cubicBezTo>
                <a:cubicBezTo>
                  <a:pt x="8" y="262"/>
                  <a:pt x="8" y="262"/>
                  <a:pt x="8" y="262"/>
                </a:cubicBezTo>
                <a:cubicBezTo>
                  <a:pt x="7" y="262"/>
                  <a:pt x="7" y="262"/>
                  <a:pt x="7" y="262"/>
                </a:cubicBezTo>
                <a:cubicBezTo>
                  <a:pt x="5" y="266"/>
                  <a:pt x="5" y="266"/>
                  <a:pt x="5" y="266"/>
                </a:cubicBezTo>
                <a:cubicBezTo>
                  <a:pt x="4" y="266"/>
                  <a:pt x="4" y="266"/>
                  <a:pt x="4" y="266"/>
                </a:cubicBezTo>
                <a:cubicBezTo>
                  <a:pt x="3" y="267"/>
                  <a:pt x="3" y="267"/>
                  <a:pt x="3" y="267"/>
                </a:cubicBezTo>
                <a:cubicBezTo>
                  <a:pt x="2" y="267"/>
                  <a:pt x="2" y="267"/>
                  <a:pt x="2" y="267"/>
                </a:cubicBezTo>
                <a:cubicBezTo>
                  <a:pt x="1" y="268"/>
                  <a:pt x="1" y="268"/>
                  <a:pt x="1" y="268"/>
                </a:cubicBezTo>
                <a:cubicBezTo>
                  <a:pt x="0" y="270"/>
                  <a:pt x="0" y="270"/>
                  <a:pt x="0" y="270"/>
                </a:cubicBezTo>
                <a:cubicBezTo>
                  <a:pt x="1" y="271"/>
                  <a:pt x="1" y="271"/>
                  <a:pt x="1" y="271"/>
                </a:cubicBezTo>
                <a:cubicBezTo>
                  <a:pt x="3" y="273"/>
                  <a:pt x="3" y="273"/>
                  <a:pt x="3" y="273"/>
                </a:cubicBezTo>
                <a:cubicBezTo>
                  <a:pt x="4" y="272"/>
                  <a:pt x="4" y="272"/>
                  <a:pt x="4" y="272"/>
                </a:cubicBezTo>
                <a:cubicBezTo>
                  <a:pt x="5" y="272"/>
                  <a:pt x="5" y="272"/>
                  <a:pt x="5" y="272"/>
                </a:cubicBezTo>
                <a:cubicBezTo>
                  <a:pt x="7" y="270"/>
                  <a:pt x="7" y="270"/>
                  <a:pt x="7" y="270"/>
                </a:cubicBezTo>
                <a:cubicBezTo>
                  <a:pt x="11" y="270"/>
                  <a:pt x="11" y="270"/>
                  <a:pt x="11" y="270"/>
                </a:cubicBezTo>
                <a:cubicBezTo>
                  <a:pt x="13" y="270"/>
                  <a:pt x="13" y="270"/>
                  <a:pt x="13" y="270"/>
                </a:cubicBezTo>
                <a:cubicBezTo>
                  <a:pt x="16" y="270"/>
                  <a:pt x="16" y="270"/>
                  <a:pt x="16" y="270"/>
                </a:cubicBezTo>
                <a:cubicBezTo>
                  <a:pt x="18" y="269"/>
                  <a:pt x="18" y="269"/>
                  <a:pt x="18" y="269"/>
                </a:cubicBezTo>
                <a:cubicBezTo>
                  <a:pt x="20" y="269"/>
                  <a:pt x="20" y="269"/>
                  <a:pt x="20" y="269"/>
                </a:cubicBezTo>
                <a:lnTo>
                  <a:pt x="20" y="268"/>
                </a:lnTo>
                <a:close/>
                <a:moveTo>
                  <a:pt x="49" y="262"/>
                </a:moveTo>
                <a:cubicBezTo>
                  <a:pt x="48" y="261"/>
                  <a:pt x="48" y="261"/>
                  <a:pt x="48" y="261"/>
                </a:cubicBezTo>
                <a:cubicBezTo>
                  <a:pt x="48" y="263"/>
                  <a:pt x="48" y="263"/>
                  <a:pt x="48" y="263"/>
                </a:cubicBezTo>
                <a:lnTo>
                  <a:pt x="49" y="262"/>
                </a:lnTo>
                <a:close/>
                <a:moveTo>
                  <a:pt x="27" y="267"/>
                </a:moveTo>
                <a:cubicBezTo>
                  <a:pt x="28" y="268"/>
                  <a:pt x="28" y="268"/>
                  <a:pt x="28" y="268"/>
                </a:cubicBezTo>
                <a:cubicBezTo>
                  <a:pt x="29" y="267"/>
                  <a:pt x="29" y="267"/>
                  <a:pt x="29" y="267"/>
                </a:cubicBezTo>
                <a:cubicBezTo>
                  <a:pt x="29" y="265"/>
                  <a:pt x="29" y="265"/>
                  <a:pt x="29" y="265"/>
                </a:cubicBezTo>
                <a:lnTo>
                  <a:pt x="27" y="267"/>
                </a:lnTo>
                <a:close/>
                <a:moveTo>
                  <a:pt x="117" y="248"/>
                </a:moveTo>
                <a:cubicBezTo>
                  <a:pt x="118" y="247"/>
                  <a:pt x="118" y="247"/>
                  <a:pt x="118" y="247"/>
                </a:cubicBezTo>
                <a:cubicBezTo>
                  <a:pt x="116" y="247"/>
                  <a:pt x="116" y="247"/>
                  <a:pt x="116" y="247"/>
                </a:cubicBezTo>
                <a:lnTo>
                  <a:pt x="117" y="248"/>
                </a:lnTo>
                <a:close/>
                <a:moveTo>
                  <a:pt x="96" y="261"/>
                </a:moveTo>
                <a:cubicBezTo>
                  <a:pt x="97" y="261"/>
                  <a:pt x="97" y="261"/>
                  <a:pt x="97" y="261"/>
                </a:cubicBezTo>
                <a:cubicBezTo>
                  <a:pt x="98" y="261"/>
                  <a:pt x="98" y="261"/>
                  <a:pt x="98" y="261"/>
                </a:cubicBezTo>
                <a:cubicBezTo>
                  <a:pt x="98" y="259"/>
                  <a:pt x="98" y="259"/>
                  <a:pt x="98" y="259"/>
                </a:cubicBezTo>
                <a:cubicBezTo>
                  <a:pt x="96" y="260"/>
                  <a:pt x="96" y="260"/>
                  <a:pt x="96" y="260"/>
                </a:cubicBezTo>
                <a:lnTo>
                  <a:pt x="96" y="261"/>
                </a:lnTo>
                <a:close/>
                <a:moveTo>
                  <a:pt x="111" y="250"/>
                </a:moveTo>
                <a:cubicBezTo>
                  <a:pt x="112" y="249"/>
                  <a:pt x="112" y="249"/>
                  <a:pt x="112" y="249"/>
                </a:cubicBezTo>
                <a:cubicBezTo>
                  <a:pt x="116" y="246"/>
                  <a:pt x="116" y="246"/>
                  <a:pt x="116" y="246"/>
                </a:cubicBezTo>
                <a:cubicBezTo>
                  <a:pt x="112" y="247"/>
                  <a:pt x="112" y="247"/>
                  <a:pt x="112" y="247"/>
                </a:cubicBezTo>
                <a:lnTo>
                  <a:pt x="111" y="250"/>
                </a:lnTo>
                <a:close/>
                <a:moveTo>
                  <a:pt x="51" y="260"/>
                </a:moveTo>
                <a:cubicBezTo>
                  <a:pt x="51" y="260"/>
                  <a:pt x="50" y="261"/>
                  <a:pt x="50" y="261"/>
                </a:cubicBezTo>
                <a:cubicBezTo>
                  <a:pt x="51" y="261"/>
                  <a:pt x="51" y="261"/>
                  <a:pt x="51" y="261"/>
                </a:cubicBezTo>
                <a:lnTo>
                  <a:pt x="51" y="260"/>
                </a:lnTo>
                <a:close/>
                <a:moveTo>
                  <a:pt x="145" y="223"/>
                </a:moveTo>
                <a:cubicBezTo>
                  <a:pt x="143" y="223"/>
                  <a:pt x="143" y="223"/>
                  <a:pt x="143" y="223"/>
                </a:cubicBezTo>
                <a:cubicBezTo>
                  <a:pt x="141" y="225"/>
                  <a:pt x="141" y="225"/>
                  <a:pt x="141" y="225"/>
                </a:cubicBezTo>
                <a:cubicBezTo>
                  <a:pt x="140" y="225"/>
                  <a:pt x="140" y="225"/>
                  <a:pt x="140" y="225"/>
                </a:cubicBezTo>
                <a:cubicBezTo>
                  <a:pt x="140" y="224"/>
                  <a:pt x="140" y="224"/>
                  <a:pt x="140" y="224"/>
                </a:cubicBezTo>
                <a:cubicBezTo>
                  <a:pt x="141" y="224"/>
                  <a:pt x="141" y="224"/>
                  <a:pt x="141" y="224"/>
                </a:cubicBezTo>
                <a:cubicBezTo>
                  <a:pt x="141" y="222"/>
                  <a:pt x="141" y="222"/>
                  <a:pt x="141" y="222"/>
                </a:cubicBezTo>
                <a:cubicBezTo>
                  <a:pt x="139" y="221"/>
                  <a:pt x="139" y="221"/>
                  <a:pt x="139" y="221"/>
                </a:cubicBezTo>
                <a:cubicBezTo>
                  <a:pt x="138" y="222"/>
                  <a:pt x="138" y="222"/>
                  <a:pt x="138" y="222"/>
                </a:cubicBezTo>
                <a:cubicBezTo>
                  <a:pt x="139" y="223"/>
                  <a:pt x="139" y="223"/>
                  <a:pt x="139" y="223"/>
                </a:cubicBezTo>
                <a:cubicBezTo>
                  <a:pt x="138" y="225"/>
                  <a:pt x="138" y="225"/>
                  <a:pt x="138" y="225"/>
                </a:cubicBezTo>
                <a:cubicBezTo>
                  <a:pt x="137" y="224"/>
                  <a:pt x="137" y="224"/>
                  <a:pt x="137" y="224"/>
                </a:cubicBezTo>
                <a:cubicBezTo>
                  <a:pt x="137" y="225"/>
                  <a:pt x="137" y="225"/>
                  <a:pt x="137" y="225"/>
                </a:cubicBezTo>
                <a:cubicBezTo>
                  <a:pt x="136" y="226"/>
                  <a:pt x="136" y="226"/>
                  <a:pt x="136" y="226"/>
                </a:cubicBezTo>
                <a:cubicBezTo>
                  <a:pt x="135" y="227"/>
                  <a:pt x="135" y="227"/>
                  <a:pt x="135" y="227"/>
                </a:cubicBezTo>
                <a:cubicBezTo>
                  <a:pt x="135" y="225"/>
                  <a:pt x="135" y="225"/>
                  <a:pt x="135" y="225"/>
                </a:cubicBezTo>
                <a:cubicBezTo>
                  <a:pt x="135" y="224"/>
                  <a:pt x="135" y="224"/>
                  <a:pt x="135" y="224"/>
                </a:cubicBezTo>
                <a:cubicBezTo>
                  <a:pt x="135" y="222"/>
                  <a:pt x="135" y="222"/>
                  <a:pt x="135" y="222"/>
                </a:cubicBezTo>
                <a:cubicBezTo>
                  <a:pt x="134" y="221"/>
                  <a:pt x="134" y="221"/>
                  <a:pt x="134" y="221"/>
                </a:cubicBezTo>
                <a:cubicBezTo>
                  <a:pt x="133" y="221"/>
                  <a:pt x="133" y="221"/>
                  <a:pt x="133" y="221"/>
                </a:cubicBezTo>
                <a:cubicBezTo>
                  <a:pt x="131" y="223"/>
                  <a:pt x="131" y="223"/>
                  <a:pt x="131" y="223"/>
                </a:cubicBezTo>
                <a:cubicBezTo>
                  <a:pt x="131" y="224"/>
                  <a:pt x="131" y="224"/>
                  <a:pt x="131" y="224"/>
                </a:cubicBezTo>
                <a:cubicBezTo>
                  <a:pt x="133" y="225"/>
                  <a:pt x="133" y="225"/>
                  <a:pt x="133" y="225"/>
                </a:cubicBezTo>
                <a:cubicBezTo>
                  <a:pt x="132" y="227"/>
                  <a:pt x="132" y="227"/>
                  <a:pt x="132" y="227"/>
                </a:cubicBezTo>
                <a:cubicBezTo>
                  <a:pt x="131" y="226"/>
                  <a:pt x="131" y="226"/>
                  <a:pt x="131" y="226"/>
                </a:cubicBezTo>
                <a:cubicBezTo>
                  <a:pt x="131" y="226"/>
                  <a:pt x="131" y="226"/>
                  <a:pt x="131" y="226"/>
                </a:cubicBezTo>
                <a:cubicBezTo>
                  <a:pt x="131" y="228"/>
                  <a:pt x="131" y="228"/>
                  <a:pt x="131" y="228"/>
                </a:cubicBezTo>
                <a:cubicBezTo>
                  <a:pt x="130" y="230"/>
                  <a:pt x="130" y="230"/>
                  <a:pt x="130" y="230"/>
                </a:cubicBezTo>
                <a:cubicBezTo>
                  <a:pt x="129" y="230"/>
                  <a:pt x="129" y="230"/>
                  <a:pt x="129" y="230"/>
                </a:cubicBezTo>
                <a:cubicBezTo>
                  <a:pt x="129" y="226"/>
                  <a:pt x="129" y="226"/>
                  <a:pt x="129" y="226"/>
                </a:cubicBezTo>
                <a:cubicBezTo>
                  <a:pt x="128" y="226"/>
                  <a:pt x="128" y="226"/>
                  <a:pt x="128" y="226"/>
                </a:cubicBezTo>
                <a:cubicBezTo>
                  <a:pt x="125" y="226"/>
                  <a:pt x="125" y="226"/>
                  <a:pt x="125" y="226"/>
                </a:cubicBezTo>
                <a:cubicBezTo>
                  <a:pt x="121" y="228"/>
                  <a:pt x="121" y="228"/>
                  <a:pt x="121" y="228"/>
                </a:cubicBezTo>
                <a:cubicBezTo>
                  <a:pt x="118" y="230"/>
                  <a:pt x="118" y="230"/>
                  <a:pt x="118" y="230"/>
                </a:cubicBezTo>
                <a:cubicBezTo>
                  <a:pt x="118" y="231"/>
                  <a:pt x="118" y="231"/>
                  <a:pt x="118" y="231"/>
                </a:cubicBezTo>
                <a:cubicBezTo>
                  <a:pt x="118" y="232"/>
                  <a:pt x="118" y="232"/>
                  <a:pt x="118" y="232"/>
                </a:cubicBezTo>
                <a:cubicBezTo>
                  <a:pt x="119" y="235"/>
                  <a:pt x="119" y="235"/>
                  <a:pt x="119" y="235"/>
                </a:cubicBezTo>
                <a:cubicBezTo>
                  <a:pt x="118" y="237"/>
                  <a:pt x="118" y="237"/>
                  <a:pt x="118" y="237"/>
                </a:cubicBezTo>
                <a:cubicBezTo>
                  <a:pt x="117" y="238"/>
                  <a:pt x="117" y="238"/>
                  <a:pt x="117" y="238"/>
                </a:cubicBezTo>
                <a:cubicBezTo>
                  <a:pt x="117" y="240"/>
                  <a:pt x="117" y="240"/>
                  <a:pt x="117" y="240"/>
                </a:cubicBezTo>
                <a:cubicBezTo>
                  <a:pt x="119" y="241"/>
                  <a:pt x="119" y="241"/>
                  <a:pt x="119" y="241"/>
                </a:cubicBezTo>
                <a:cubicBezTo>
                  <a:pt x="120" y="241"/>
                  <a:pt x="120" y="241"/>
                  <a:pt x="120" y="241"/>
                </a:cubicBezTo>
                <a:cubicBezTo>
                  <a:pt x="120" y="239"/>
                  <a:pt x="120" y="239"/>
                  <a:pt x="120" y="239"/>
                </a:cubicBezTo>
                <a:cubicBezTo>
                  <a:pt x="120" y="239"/>
                  <a:pt x="120" y="239"/>
                  <a:pt x="120" y="239"/>
                </a:cubicBezTo>
                <a:cubicBezTo>
                  <a:pt x="119" y="239"/>
                  <a:pt x="119" y="239"/>
                  <a:pt x="119" y="239"/>
                </a:cubicBezTo>
                <a:cubicBezTo>
                  <a:pt x="120" y="237"/>
                  <a:pt x="120" y="237"/>
                  <a:pt x="120" y="237"/>
                </a:cubicBezTo>
                <a:cubicBezTo>
                  <a:pt x="122" y="238"/>
                  <a:pt x="122" y="238"/>
                  <a:pt x="122" y="238"/>
                </a:cubicBezTo>
                <a:cubicBezTo>
                  <a:pt x="121" y="239"/>
                  <a:pt x="121" y="239"/>
                  <a:pt x="121" y="239"/>
                </a:cubicBezTo>
                <a:cubicBezTo>
                  <a:pt x="122" y="239"/>
                  <a:pt x="122" y="239"/>
                  <a:pt x="122" y="239"/>
                </a:cubicBezTo>
                <a:cubicBezTo>
                  <a:pt x="124" y="238"/>
                  <a:pt x="124" y="238"/>
                  <a:pt x="124" y="238"/>
                </a:cubicBezTo>
                <a:cubicBezTo>
                  <a:pt x="125" y="238"/>
                  <a:pt x="125" y="238"/>
                  <a:pt x="125" y="238"/>
                </a:cubicBezTo>
                <a:cubicBezTo>
                  <a:pt x="123" y="240"/>
                  <a:pt x="123" y="240"/>
                  <a:pt x="123" y="240"/>
                </a:cubicBezTo>
                <a:cubicBezTo>
                  <a:pt x="123" y="241"/>
                  <a:pt x="123" y="241"/>
                  <a:pt x="123" y="241"/>
                </a:cubicBezTo>
                <a:cubicBezTo>
                  <a:pt x="120" y="244"/>
                  <a:pt x="120" y="244"/>
                  <a:pt x="120" y="244"/>
                </a:cubicBezTo>
                <a:cubicBezTo>
                  <a:pt x="119" y="245"/>
                  <a:pt x="119" y="245"/>
                  <a:pt x="119" y="245"/>
                </a:cubicBezTo>
                <a:cubicBezTo>
                  <a:pt x="122" y="245"/>
                  <a:pt x="122" y="245"/>
                  <a:pt x="122" y="245"/>
                </a:cubicBezTo>
                <a:cubicBezTo>
                  <a:pt x="122" y="244"/>
                  <a:pt x="122" y="244"/>
                  <a:pt x="122" y="244"/>
                </a:cubicBezTo>
                <a:cubicBezTo>
                  <a:pt x="124" y="243"/>
                  <a:pt x="124" y="243"/>
                  <a:pt x="124" y="243"/>
                </a:cubicBezTo>
                <a:cubicBezTo>
                  <a:pt x="124" y="242"/>
                  <a:pt x="124" y="242"/>
                  <a:pt x="124" y="242"/>
                </a:cubicBezTo>
                <a:cubicBezTo>
                  <a:pt x="126" y="241"/>
                  <a:pt x="126" y="241"/>
                  <a:pt x="126" y="241"/>
                </a:cubicBezTo>
                <a:cubicBezTo>
                  <a:pt x="125" y="240"/>
                  <a:pt x="125" y="240"/>
                  <a:pt x="125" y="240"/>
                </a:cubicBezTo>
                <a:cubicBezTo>
                  <a:pt x="127" y="239"/>
                  <a:pt x="127" y="239"/>
                  <a:pt x="127" y="239"/>
                </a:cubicBezTo>
                <a:cubicBezTo>
                  <a:pt x="127" y="239"/>
                  <a:pt x="127" y="239"/>
                  <a:pt x="127" y="239"/>
                </a:cubicBezTo>
                <a:cubicBezTo>
                  <a:pt x="128" y="236"/>
                  <a:pt x="128" y="236"/>
                  <a:pt x="128" y="236"/>
                </a:cubicBezTo>
                <a:cubicBezTo>
                  <a:pt x="129" y="237"/>
                  <a:pt x="129" y="237"/>
                  <a:pt x="129" y="237"/>
                </a:cubicBezTo>
                <a:cubicBezTo>
                  <a:pt x="131" y="236"/>
                  <a:pt x="131" y="236"/>
                  <a:pt x="131" y="236"/>
                </a:cubicBezTo>
                <a:cubicBezTo>
                  <a:pt x="133" y="237"/>
                  <a:pt x="133" y="237"/>
                  <a:pt x="133" y="237"/>
                </a:cubicBezTo>
                <a:cubicBezTo>
                  <a:pt x="134" y="236"/>
                  <a:pt x="134" y="236"/>
                  <a:pt x="134" y="236"/>
                </a:cubicBezTo>
                <a:cubicBezTo>
                  <a:pt x="133" y="234"/>
                  <a:pt x="133" y="234"/>
                  <a:pt x="133" y="234"/>
                </a:cubicBezTo>
                <a:cubicBezTo>
                  <a:pt x="131" y="234"/>
                  <a:pt x="131" y="234"/>
                  <a:pt x="131" y="234"/>
                </a:cubicBezTo>
                <a:cubicBezTo>
                  <a:pt x="133" y="233"/>
                  <a:pt x="133" y="233"/>
                  <a:pt x="133" y="233"/>
                </a:cubicBezTo>
                <a:cubicBezTo>
                  <a:pt x="135" y="233"/>
                  <a:pt x="135" y="233"/>
                  <a:pt x="135" y="233"/>
                </a:cubicBezTo>
                <a:cubicBezTo>
                  <a:pt x="137" y="235"/>
                  <a:pt x="137" y="235"/>
                  <a:pt x="137" y="235"/>
                </a:cubicBezTo>
                <a:cubicBezTo>
                  <a:pt x="138" y="235"/>
                  <a:pt x="138" y="235"/>
                  <a:pt x="138" y="235"/>
                </a:cubicBezTo>
                <a:cubicBezTo>
                  <a:pt x="139" y="233"/>
                  <a:pt x="139" y="233"/>
                  <a:pt x="139" y="233"/>
                </a:cubicBezTo>
                <a:cubicBezTo>
                  <a:pt x="138" y="231"/>
                  <a:pt x="138" y="231"/>
                  <a:pt x="138" y="231"/>
                </a:cubicBezTo>
                <a:cubicBezTo>
                  <a:pt x="137" y="231"/>
                  <a:pt x="137" y="231"/>
                  <a:pt x="137" y="231"/>
                </a:cubicBezTo>
                <a:cubicBezTo>
                  <a:pt x="137" y="230"/>
                  <a:pt x="137" y="230"/>
                  <a:pt x="137" y="230"/>
                </a:cubicBezTo>
                <a:cubicBezTo>
                  <a:pt x="139" y="230"/>
                  <a:pt x="139" y="230"/>
                  <a:pt x="139" y="230"/>
                </a:cubicBezTo>
                <a:cubicBezTo>
                  <a:pt x="140" y="230"/>
                  <a:pt x="140" y="230"/>
                  <a:pt x="140" y="230"/>
                </a:cubicBezTo>
                <a:cubicBezTo>
                  <a:pt x="142" y="230"/>
                  <a:pt x="142" y="230"/>
                  <a:pt x="142" y="230"/>
                </a:cubicBezTo>
                <a:cubicBezTo>
                  <a:pt x="142" y="231"/>
                  <a:pt x="142" y="231"/>
                  <a:pt x="142" y="231"/>
                </a:cubicBezTo>
                <a:cubicBezTo>
                  <a:pt x="144" y="231"/>
                  <a:pt x="144" y="231"/>
                  <a:pt x="144" y="231"/>
                </a:cubicBezTo>
                <a:cubicBezTo>
                  <a:pt x="145" y="229"/>
                  <a:pt x="145" y="229"/>
                  <a:pt x="145" y="229"/>
                </a:cubicBezTo>
                <a:cubicBezTo>
                  <a:pt x="144" y="228"/>
                  <a:pt x="144" y="228"/>
                  <a:pt x="144" y="228"/>
                </a:cubicBezTo>
                <a:cubicBezTo>
                  <a:pt x="143" y="227"/>
                  <a:pt x="143" y="227"/>
                  <a:pt x="143" y="227"/>
                </a:cubicBezTo>
                <a:cubicBezTo>
                  <a:pt x="143" y="226"/>
                  <a:pt x="143" y="226"/>
                  <a:pt x="143" y="226"/>
                </a:cubicBezTo>
                <a:cubicBezTo>
                  <a:pt x="145" y="226"/>
                  <a:pt x="145" y="226"/>
                  <a:pt x="145" y="226"/>
                </a:cubicBezTo>
                <a:cubicBezTo>
                  <a:pt x="147" y="225"/>
                  <a:pt x="147" y="225"/>
                  <a:pt x="147" y="225"/>
                </a:cubicBezTo>
                <a:cubicBezTo>
                  <a:pt x="146" y="223"/>
                  <a:pt x="146" y="223"/>
                  <a:pt x="146" y="223"/>
                </a:cubicBezTo>
                <a:lnTo>
                  <a:pt x="145" y="223"/>
                </a:lnTo>
                <a:close/>
                <a:moveTo>
                  <a:pt x="313" y="285"/>
                </a:moveTo>
                <a:cubicBezTo>
                  <a:pt x="311" y="287"/>
                  <a:pt x="311" y="287"/>
                  <a:pt x="311" y="287"/>
                </a:cubicBezTo>
                <a:cubicBezTo>
                  <a:pt x="311" y="289"/>
                  <a:pt x="311" y="289"/>
                  <a:pt x="311" y="289"/>
                </a:cubicBezTo>
                <a:cubicBezTo>
                  <a:pt x="312" y="290"/>
                  <a:pt x="312" y="290"/>
                  <a:pt x="312" y="290"/>
                </a:cubicBezTo>
                <a:cubicBezTo>
                  <a:pt x="314" y="289"/>
                  <a:pt x="314" y="289"/>
                  <a:pt x="314" y="289"/>
                </a:cubicBezTo>
                <a:cubicBezTo>
                  <a:pt x="315" y="287"/>
                  <a:pt x="315" y="287"/>
                  <a:pt x="315" y="287"/>
                </a:cubicBezTo>
                <a:cubicBezTo>
                  <a:pt x="314" y="284"/>
                  <a:pt x="314" y="284"/>
                  <a:pt x="314" y="284"/>
                </a:cubicBezTo>
                <a:lnTo>
                  <a:pt x="313" y="285"/>
                </a:lnTo>
                <a:close/>
                <a:moveTo>
                  <a:pt x="294" y="308"/>
                </a:moveTo>
                <a:cubicBezTo>
                  <a:pt x="294" y="310"/>
                  <a:pt x="294" y="310"/>
                  <a:pt x="294" y="310"/>
                </a:cubicBezTo>
                <a:cubicBezTo>
                  <a:pt x="296" y="308"/>
                  <a:pt x="296" y="308"/>
                  <a:pt x="296" y="308"/>
                </a:cubicBezTo>
                <a:lnTo>
                  <a:pt x="294" y="308"/>
                </a:lnTo>
                <a:close/>
                <a:moveTo>
                  <a:pt x="56" y="266"/>
                </a:moveTo>
                <a:cubicBezTo>
                  <a:pt x="55" y="268"/>
                  <a:pt x="55" y="268"/>
                  <a:pt x="55" y="268"/>
                </a:cubicBezTo>
                <a:cubicBezTo>
                  <a:pt x="55" y="268"/>
                  <a:pt x="56" y="268"/>
                  <a:pt x="56" y="268"/>
                </a:cubicBezTo>
                <a:lnTo>
                  <a:pt x="56" y="266"/>
                </a:lnTo>
                <a:close/>
                <a:moveTo>
                  <a:pt x="56" y="270"/>
                </a:moveTo>
                <a:cubicBezTo>
                  <a:pt x="56" y="271"/>
                  <a:pt x="56" y="271"/>
                  <a:pt x="56" y="271"/>
                </a:cubicBezTo>
                <a:cubicBezTo>
                  <a:pt x="57" y="270"/>
                  <a:pt x="57" y="270"/>
                  <a:pt x="57" y="270"/>
                </a:cubicBezTo>
                <a:cubicBezTo>
                  <a:pt x="57" y="269"/>
                  <a:pt x="57" y="269"/>
                  <a:pt x="57" y="269"/>
                </a:cubicBezTo>
                <a:lnTo>
                  <a:pt x="56" y="270"/>
                </a:lnTo>
                <a:close/>
                <a:moveTo>
                  <a:pt x="323" y="362"/>
                </a:moveTo>
                <a:cubicBezTo>
                  <a:pt x="321" y="364"/>
                  <a:pt x="321" y="364"/>
                  <a:pt x="321" y="364"/>
                </a:cubicBezTo>
                <a:cubicBezTo>
                  <a:pt x="323" y="365"/>
                  <a:pt x="323" y="365"/>
                  <a:pt x="323" y="365"/>
                </a:cubicBezTo>
                <a:cubicBezTo>
                  <a:pt x="324" y="364"/>
                  <a:pt x="324" y="364"/>
                  <a:pt x="324" y="364"/>
                </a:cubicBezTo>
                <a:lnTo>
                  <a:pt x="323" y="362"/>
                </a:lnTo>
                <a:close/>
                <a:moveTo>
                  <a:pt x="318" y="358"/>
                </a:moveTo>
                <a:cubicBezTo>
                  <a:pt x="318" y="361"/>
                  <a:pt x="318" y="361"/>
                  <a:pt x="318" y="361"/>
                </a:cubicBezTo>
                <a:cubicBezTo>
                  <a:pt x="319" y="362"/>
                  <a:pt x="319" y="362"/>
                  <a:pt x="319" y="362"/>
                </a:cubicBezTo>
                <a:cubicBezTo>
                  <a:pt x="319" y="364"/>
                  <a:pt x="319" y="364"/>
                  <a:pt x="319" y="364"/>
                </a:cubicBezTo>
                <a:cubicBezTo>
                  <a:pt x="320" y="362"/>
                  <a:pt x="320" y="362"/>
                  <a:pt x="320" y="362"/>
                </a:cubicBezTo>
                <a:cubicBezTo>
                  <a:pt x="319" y="360"/>
                  <a:pt x="319" y="360"/>
                  <a:pt x="319" y="360"/>
                </a:cubicBezTo>
                <a:lnTo>
                  <a:pt x="318" y="358"/>
                </a:lnTo>
                <a:close/>
                <a:moveTo>
                  <a:pt x="316" y="297"/>
                </a:moveTo>
                <a:cubicBezTo>
                  <a:pt x="317" y="296"/>
                  <a:pt x="317" y="296"/>
                  <a:pt x="317" y="296"/>
                </a:cubicBezTo>
                <a:cubicBezTo>
                  <a:pt x="317" y="294"/>
                  <a:pt x="317" y="294"/>
                  <a:pt x="317" y="294"/>
                </a:cubicBezTo>
                <a:cubicBezTo>
                  <a:pt x="316" y="293"/>
                  <a:pt x="316" y="293"/>
                  <a:pt x="316" y="293"/>
                </a:cubicBezTo>
                <a:cubicBezTo>
                  <a:pt x="315" y="295"/>
                  <a:pt x="315" y="295"/>
                  <a:pt x="315" y="295"/>
                </a:cubicBezTo>
                <a:cubicBezTo>
                  <a:pt x="315" y="296"/>
                  <a:pt x="315" y="296"/>
                  <a:pt x="315" y="296"/>
                </a:cubicBezTo>
                <a:lnTo>
                  <a:pt x="316" y="297"/>
                </a:lnTo>
                <a:close/>
                <a:moveTo>
                  <a:pt x="316" y="340"/>
                </a:moveTo>
                <a:cubicBezTo>
                  <a:pt x="315" y="340"/>
                  <a:pt x="315" y="340"/>
                  <a:pt x="315" y="340"/>
                </a:cubicBezTo>
                <a:cubicBezTo>
                  <a:pt x="315" y="340"/>
                  <a:pt x="315" y="340"/>
                  <a:pt x="315" y="340"/>
                </a:cubicBezTo>
                <a:cubicBezTo>
                  <a:pt x="315" y="343"/>
                  <a:pt x="315" y="343"/>
                  <a:pt x="315" y="343"/>
                </a:cubicBezTo>
                <a:cubicBezTo>
                  <a:pt x="317" y="345"/>
                  <a:pt x="317" y="345"/>
                  <a:pt x="317" y="345"/>
                </a:cubicBezTo>
                <a:cubicBezTo>
                  <a:pt x="317" y="348"/>
                  <a:pt x="317" y="348"/>
                  <a:pt x="317" y="348"/>
                </a:cubicBezTo>
                <a:cubicBezTo>
                  <a:pt x="319" y="350"/>
                  <a:pt x="319" y="350"/>
                  <a:pt x="319" y="350"/>
                </a:cubicBezTo>
                <a:cubicBezTo>
                  <a:pt x="319" y="347"/>
                  <a:pt x="319" y="347"/>
                  <a:pt x="319" y="347"/>
                </a:cubicBezTo>
                <a:cubicBezTo>
                  <a:pt x="317" y="343"/>
                  <a:pt x="317" y="343"/>
                  <a:pt x="317" y="343"/>
                </a:cubicBezTo>
                <a:lnTo>
                  <a:pt x="316" y="340"/>
                </a:lnTo>
                <a:close/>
                <a:moveTo>
                  <a:pt x="322" y="381"/>
                </a:moveTo>
                <a:cubicBezTo>
                  <a:pt x="322" y="383"/>
                  <a:pt x="322" y="383"/>
                  <a:pt x="322" y="383"/>
                </a:cubicBezTo>
                <a:cubicBezTo>
                  <a:pt x="323" y="384"/>
                  <a:pt x="323" y="384"/>
                  <a:pt x="323" y="384"/>
                </a:cubicBezTo>
                <a:cubicBezTo>
                  <a:pt x="323" y="381"/>
                  <a:pt x="323" y="381"/>
                  <a:pt x="323" y="381"/>
                </a:cubicBezTo>
                <a:cubicBezTo>
                  <a:pt x="323" y="380"/>
                  <a:pt x="323" y="380"/>
                  <a:pt x="323" y="380"/>
                </a:cubicBezTo>
                <a:lnTo>
                  <a:pt x="322" y="381"/>
                </a:lnTo>
                <a:close/>
                <a:moveTo>
                  <a:pt x="323" y="372"/>
                </a:moveTo>
                <a:cubicBezTo>
                  <a:pt x="323" y="373"/>
                  <a:pt x="323" y="373"/>
                  <a:pt x="323" y="373"/>
                </a:cubicBezTo>
                <a:cubicBezTo>
                  <a:pt x="324" y="373"/>
                  <a:pt x="324" y="373"/>
                  <a:pt x="324" y="373"/>
                </a:cubicBezTo>
                <a:cubicBezTo>
                  <a:pt x="325" y="372"/>
                  <a:pt x="325" y="372"/>
                  <a:pt x="325" y="372"/>
                </a:cubicBezTo>
                <a:cubicBezTo>
                  <a:pt x="324" y="371"/>
                  <a:pt x="324" y="371"/>
                  <a:pt x="324" y="371"/>
                </a:cubicBezTo>
                <a:lnTo>
                  <a:pt x="323" y="372"/>
                </a:lnTo>
                <a:close/>
                <a:moveTo>
                  <a:pt x="326" y="375"/>
                </a:moveTo>
                <a:cubicBezTo>
                  <a:pt x="325" y="374"/>
                  <a:pt x="325" y="374"/>
                  <a:pt x="325" y="374"/>
                </a:cubicBezTo>
                <a:cubicBezTo>
                  <a:pt x="323" y="375"/>
                  <a:pt x="323" y="375"/>
                  <a:pt x="323" y="375"/>
                </a:cubicBezTo>
                <a:cubicBezTo>
                  <a:pt x="322" y="377"/>
                  <a:pt x="322" y="377"/>
                  <a:pt x="322" y="377"/>
                </a:cubicBezTo>
                <a:cubicBezTo>
                  <a:pt x="323" y="377"/>
                  <a:pt x="323" y="377"/>
                  <a:pt x="323" y="377"/>
                </a:cubicBezTo>
                <a:cubicBezTo>
                  <a:pt x="323" y="377"/>
                  <a:pt x="325" y="377"/>
                  <a:pt x="325" y="377"/>
                </a:cubicBezTo>
                <a:lnTo>
                  <a:pt x="326" y="375"/>
                </a:lnTo>
                <a:close/>
                <a:moveTo>
                  <a:pt x="294" y="297"/>
                </a:moveTo>
                <a:cubicBezTo>
                  <a:pt x="293" y="297"/>
                  <a:pt x="293" y="297"/>
                  <a:pt x="293" y="297"/>
                </a:cubicBezTo>
                <a:cubicBezTo>
                  <a:pt x="293" y="298"/>
                  <a:pt x="293" y="298"/>
                  <a:pt x="293" y="298"/>
                </a:cubicBezTo>
                <a:lnTo>
                  <a:pt x="294" y="297"/>
                </a:lnTo>
                <a:close/>
                <a:moveTo>
                  <a:pt x="309" y="279"/>
                </a:moveTo>
                <a:cubicBezTo>
                  <a:pt x="307" y="277"/>
                  <a:pt x="307" y="277"/>
                  <a:pt x="307" y="277"/>
                </a:cubicBezTo>
                <a:cubicBezTo>
                  <a:pt x="305" y="277"/>
                  <a:pt x="305" y="277"/>
                  <a:pt x="305" y="277"/>
                </a:cubicBezTo>
                <a:cubicBezTo>
                  <a:pt x="304" y="278"/>
                  <a:pt x="304" y="278"/>
                  <a:pt x="304" y="278"/>
                </a:cubicBezTo>
                <a:cubicBezTo>
                  <a:pt x="305" y="279"/>
                  <a:pt x="305" y="279"/>
                  <a:pt x="305" y="279"/>
                </a:cubicBezTo>
                <a:cubicBezTo>
                  <a:pt x="305" y="281"/>
                  <a:pt x="305" y="281"/>
                  <a:pt x="305" y="281"/>
                </a:cubicBezTo>
                <a:cubicBezTo>
                  <a:pt x="307" y="282"/>
                  <a:pt x="307" y="282"/>
                  <a:pt x="307" y="282"/>
                </a:cubicBezTo>
                <a:cubicBezTo>
                  <a:pt x="306" y="283"/>
                  <a:pt x="306" y="283"/>
                  <a:pt x="306" y="283"/>
                </a:cubicBezTo>
                <a:cubicBezTo>
                  <a:pt x="304" y="288"/>
                  <a:pt x="304" y="288"/>
                  <a:pt x="304" y="288"/>
                </a:cubicBezTo>
                <a:cubicBezTo>
                  <a:pt x="304" y="290"/>
                  <a:pt x="304" y="290"/>
                  <a:pt x="304" y="290"/>
                </a:cubicBezTo>
                <a:cubicBezTo>
                  <a:pt x="306" y="290"/>
                  <a:pt x="306" y="290"/>
                  <a:pt x="306" y="290"/>
                </a:cubicBezTo>
                <a:cubicBezTo>
                  <a:pt x="307" y="289"/>
                  <a:pt x="307" y="289"/>
                  <a:pt x="307" y="289"/>
                </a:cubicBezTo>
                <a:cubicBezTo>
                  <a:pt x="308" y="290"/>
                  <a:pt x="308" y="290"/>
                  <a:pt x="308" y="290"/>
                </a:cubicBezTo>
                <a:cubicBezTo>
                  <a:pt x="309" y="289"/>
                  <a:pt x="309" y="289"/>
                  <a:pt x="309" y="289"/>
                </a:cubicBezTo>
                <a:cubicBezTo>
                  <a:pt x="308" y="287"/>
                  <a:pt x="308" y="287"/>
                  <a:pt x="308" y="287"/>
                </a:cubicBezTo>
                <a:cubicBezTo>
                  <a:pt x="309" y="286"/>
                  <a:pt x="309" y="286"/>
                  <a:pt x="309" y="286"/>
                </a:cubicBezTo>
                <a:cubicBezTo>
                  <a:pt x="309" y="284"/>
                  <a:pt x="309" y="284"/>
                  <a:pt x="309" y="284"/>
                </a:cubicBezTo>
                <a:cubicBezTo>
                  <a:pt x="310" y="284"/>
                  <a:pt x="310" y="284"/>
                  <a:pt x="310" y="284"/>
                </a:cubicBezTo>
                <a:cubicBezTo>
                  <a:pt x="310" y="286"/>
                  <a:pt x="310" y="286"/>
                  <a:pt x="310" y="286"/>
                </a:cubicBezTo>
                <a:cubicBezTo>
                  <a:pt x="311" y="286"/>
                  <a:pt x="311" y="286"/>
                  <a:pt x="311" y="286"/>
                </a:cubicBezTo>
                <a:cubicBezTo>
                  <a:pt x="313" y="283"/>
                  <a:pt x="313" y="283"/>
                  <a:pt x="313" y="283"/>
                </a:cubicBezTo>
                <a:cubicBezTo>
                  <a:pt x="313" y="281"/>
                  <a:pt x="313" y="281"/>
                  <a:pt x="313" y="281"/>
                </a:cubicBezTo>
                <a:cubicBezTo>
                  <a:pt x="311" y="279"/>
                  <a:pt x="311" y="279"/>
                  <a:pt x="311" y="279"/>
                </a:cubicBezTo>
                <a:lnTo>
                  <a:pt x="309" y="279"/>
                </a:lnTo>
                <a:close/>
                <a:moveTo>
                  <a:pt x="292" y="291"/>
                </a:moveTo>
                <a:cubicBezTo>
                  <a:pt x="293" y="291"/>
                  <a:pt x="293" y="291"/>
                  <a:pt x="293" y="291"/>
                </a:cubicBezTo>
                <a:cubicBezTo>
                  <a:pt x="294" y="289"/>
                  <a:pt x="294" y="289"/>
                  <a:pt x="294" y="289"/>
                </a:cubicBezTo>
                <a:cubicBezTo>
                  <a:pt x="294" y="287"/>
                  <a:pt x="294" y="287"/>
                  <a:pt x="294" y="287"/>
                </a:cubicBezTo>
                <a:cubicBezTo>
                  <a:pt x="295" y="284"/>
                  <a:pt x="295" y="284"/>
                  <a:pt x="295" y="284"/>
                </a:cubicBezTo>
                <a:cubicBezTo>
                  <a:pt x="296" y="283"/>
                  <a:pt x="296" y="283"/>
                  <a:pt x="296" y="283"/>
                </a:cubicBezTo>
                <a:cubicBezTo>
                  <a:pt x="296" y="279"/>
                  <a:pt x="296" y="279"/>
                  <a:pt x="296" y="279"/>
                </a:cubicBezTo>
                <a:cubicBezTo>
                  <a:pt x="297" y="278"/>
                  <a:pt x="297" y="278"/>
                  <a:pt x="297" y="278"/>
                </a:cubicBezTo>
                <a:cubicBezTo>
                  <a:pt x="298" y="275"/>
                  <a:pt x="298" y="275"/>
                  <a:pt x="298" y="275"/>
                </a:cubicBezTo>
                <a:cubicBezTo>
                  <a:pt x="298" y="272"/>
                  <a:pt x="298" y="272"/>
                  <a:pt x="298" y="272"/>
                </a:cubicBezTo>
                <a:cubicBezTo>
                  <a:pt x="297" y="269"/>
                  <a:pt x="297" y="269"/>
                  <a:pt x="297" y="269"/>
                </a:cubicBezTo>
                <a:cubicBezTo>
                  <a:pt x="296" y="268"/>
                  <a:pt x="296" y="268"/>
                  <a:pt x="296" y="268"/>
                </a:cubicBezTo>
                <a:cubicBezTo>
                  <a:pt x="295" y="269"/>
                  <a:pt x="295" y="269"/>
                  <a:pt x="295" y="269"/>
                </a:cubicBezTo>
                <a:cubicBezTo>
                  <a:pt x="293" y="270"/>
                  <a:pt x="293" y="270"/>
                  <a:pt x="293" y="270"/>
                </a:cubicBezTo>
                <a:cubicBezTo>
                  <a:pt x="293" y="271"/>
                  <a:pt x="293" y="271"/>
                  <a:pt x="293" y="271"/>
                </a:cubicBezTo>
                <a:cubicBezTo>
                  <a:pt x="295" y="273"/>
                  <a:pt x="295" y="273"/>
                  <a:pt x="295" y="273"/>
                </a:cubicBezTo>
                <a:cubicBezTo>
                  <a:pt x="294" y="274"/>
                  <a:pt x="294" y="274"/>
                  <a:pt x="294" y="274"/>
                </a:cubicBezTo>
                <a:cubicBezTo>
                  <a:pt x="293" y="276"/>
                  <a:pt x="293" y="276"/>
                  <a:pt x="293" y="276"/>
                </a:cubicBezTo>
                <a:cubicBezTo>
                  <a:pt x="293" y="277"/>
                  <a:pt x="293" y="277"/>
                  <a:pt x="293" y="277"/>
                </a:cubicBezTo>
                <a:cubicBezTo>
                  <a:pt x="291" y="278"/>
                  <a:pt x="291" y="278"/>
                  <a:pt x="291" y="278"/>
                </a:cubicBezTo>
                <a:cubicBezTo>
                  <a:pt x="291" y="279"/>
                  <a:pt x="291" y="279"/>
                  <a:pt x="291" y="279"/>
                </a:cubicBezTo>
                <a:cubicBezTo>
                  <a:pt x="293" y="279"/>
                  <a:pt x="293" y="279"/>
                  <a:pt x="293" y="279"/>
                </a:cubicBezTo>
                <a:cubicBezTo>
                  <a:pt x="292" y="280"/>
                  <a:pt x="292" y="280"/>
                  <a:pt x="292" y="280"/>
                </a:cubicBezTo>
                <a:cubicBezTo>
                  <a:pt x="292" y="281"/>
                  <a:pt x="292" y="281"/>
                  <a:pt x="292" y="281"/>
                </a:cubicBezTo>
                <a:cubicBezTo>
                  <a:pt x="292" y="282"/>
                  <a:pt x="292" y="282"/>
                  <a:pt x="292" y="282"/>
                </a:cubicBezTo>
                <a:cubicBezTo>
                  <a:pt x="293" y="282"/>
                  <a:pt x="293" y="282"/>
                  <a:pt x="293" y="282"/>
                </a:cubicBezTo>
                <a:cubicBezTo>
                  <a:pt x="294" y="281"/>
                  <a:pt x="294" y="281"/>
                  <a:pt x="294" y="281"/>
                </a:cubicBezTo>
                <a:cubicBezTo>
                  <a:pt x="294" y="282"/>
                  <a:pt x="294" y="282"/>
                  <a:pt x="294" y="282"/>
                </a:cubicBezTo>
                <a:cubicBezTo>
                  <a:pt x="293" y="283"/>
                  <a:pt x="293" y="283"/>
                  <a:pt x="293" y="283"/>
                </a:cubicBezTo>
                <a:cubicBezTo>
                  <a:pt x="292" y="283"/>
                  <a:pt x="292" y="283"/>
                  <a:pt x="292" y="283"/>
                </a:cubicBezTo>
                <a:cubicBezTo>
                  <a:pt x="291" y="285"/>
                  <a:pt x="291" y="285"/>
                  <a:pt x="291" y="285"/>
                </a:cubicBezTo>
                <a:cubicBezTo>
                  <a:pt x="291" y="287"/>
                  <a:pt x="291" y="287"/>
                  <a:pt x="291" y="287"/>
                </a:cubicBezTo>
                <a:cubicBezTo>
                  <a:pt x="292" y="288"/>
                  <a:pt x="292" y="288"/>
                  <a:pt x="292" y="288"/>
                </a:cubicBezTo>
                <a:cubicBezTo>
                  <a:pt x="292" y="290"/>
                  <a:pt x="292" y="290"/>
                  <a:pt x="292" y="290"/>
                </a:cubicBezTo>
                <a:lnTo>
                  <a:pt x="292" y="291"/>
                </a:lnTo>
                <a:close/>
                <a:moveTo>
                  <a:pt x="310" y="344"/>
                </a:moveTo>
                <a:cubicBezTo>
                  <a:pt x="311" y="346"/>
                  <a:pt x="311" y="346"/>
                  <a:pt x="311" y="346"/>
                </a:cubicBezTo>
                <a:cubicBezTo>
                  <a:pt x="314" y="349"/>
                  <a:pt x="314" y="349"/>
                  <a:pt x="314" y="349"/>
                </a:cubicBezTo>
                <a:cubicBezTo>
                  <a:pt x="314" y="351"/>
                  <a:pt x="314" y="351"/>
                  <a:pt x="314" y="351"/>
                </a:cubicBezTo>
                <a:cubicBezTo>
                  <a:pt x="316" y="352"/>
                  <a:pt x="316" y="352"/>
                  <a:pt x="316" y="352"/>
                </a:cubicBezTo>
                <a:cubicBezTo>
                  <a:pt x="317" y="350"/>
                  <a:pt x="317" y="350"/>
                  <a:pt x="317" y="350"/>
                </a:cubicBezTo>
                <a:cubicBezTo>
                  <a:pt x="315" y="347"/>
                  <a:pt x="315" y="347"/>
                  <a:pt x="315" y="347"/>
                </a:cubicBezTo>
                <a:cubicBezTo>
                  <a:pt x="311" y="342"/>
                  <a:pt x="311" y="342"/>
                  <a:pt x="311" y="342"/>
                </a:cubicBezTo>
                <a:cubicBezTo>
                  <a:pt x="311" y="342"/>
                  <a:pt x="310" y="344"/>
                  <a:pt x="310" y="344"/>
                </a:cubicBezTo>
                <a:close/>
                <a:moveTo>
                  <a:pt x="349" y="420"/>
                </a:moveTo>
                <a:cubicBezTo>
                  <a:pt x="347" y="417"/>
                  <a:pt x="347" y="417"/>
                  <a:pt x="347" y="417"/>
                </a:cubicBezTo>
                <a:cubicBezTo>
                  <a:pt x="345" y="416"/>
                  <a:pt x="345" y="416"/>
                  <a:pt x="345" y="416"/>
                </a:cubicBezTo>
                <a:cubicBezTo>
                  <a:pt x="345" y="418"/>
                  <a:pt x="345" y="418"/>
                  <a:pt x="345" y="418"/>
                </a:cubicBezTo>
                <a:cubicBezTo>
                  <a:pt x="348" y="421"/>
                  <a:pt x="348" y="421"/>
                  <a:pt x="348" y="421"/>
                </a:cubicBezTo>
                <a:lnTo>
                  <a:pt x="349" y="420"/>
                </a:lnTo>
                <a:close/>
                <a:moveTo>
                  <a:pt x="313" y="296"/>
                </a:moveTo>
                <a:cubicBezTo>
                  <a:pt x="314" y="295"/>
                  <a:pt x="314" y="295"/>
                  <a:pt x="314" y="295"/>
                </a:cubicBezTo>
                <a:cubicBezTo>
                  <a:pt x="314" y="294"/>
                  <a:pt x="314" y="294"/>
                  <a:pt x="314" y="294"/>
                </a:cubicBezTo>
                <a:cubicBezTo>
                  <a:pt x="311" y="296"/>
                  <a:pt x="311" y="296"/>
                  <a:pt x="311" y="296"/>
                </a:cubicBezTo>
                <a:cubicBezTo>
                  <a:pt x="310" y="297"/>
                  <a:pt x="310" y="297"/>
                  <a:pt x="310" y="297"/>
                </a:cubicBezTo>
                <a:cubicBezTo>
                  <a:pt x="312" y="298"/>
                  <a:pt x="312" y="298"/>
                  <a:pt x="312" y="298"/>
                </a:cubicBezTo>
                <a:lnTo>
                  <a:pt x="313" y="296"/>
                </a:lnTo>
                <a:close/>
                <a:moveTo>
                  <a:pt x="313" y="292"/>
                </a:moveTo>
                <a:cubicBezTo>
                  <a:pt x="313" y="291"/>
                  <a:pt x="313" y="291"/>
                  <a:pt x="313" y="291"/>
                </a:cubicBezTo>
                <a:cubicBezTo>
                  <a:pt x="310" y="291"/>
                  <a:pt x="310" y="291"/>
                  <a:pt x="310" y="291"/>
                </a:cubicBezTo>
                <a:cubicBezTo>
                  <a:pt x="308" y="292"/>
                  <a:pt x="308" y="292"/>
                  <a:pt x="308" y="292"/>
                </a:cubicBezTo>
                <a:cubicBezTo>
                  <a:pt x="309" y="294"/>
                  <a:pt x="309" y="294"/>
                  <a:pt x="309" y="294"/>
                </a:cubicBezTo>
                <a:cubicBezTo>
                  <a:pt x="311" y="295"/>
                  <a:pt x="311" y="295"/>
                  <a:pt x="311" y="295"/>
                </a:cubicBezTo>
                <a:lnTo>
                  <a:pt x="313" y="292"/>
                </a:lnTo>
                <a:close/>
                <a:moveTo>
                  <a:pt x="314" y="299"/>
                </a:moveTo>
                <a:cubicBezTo>
                  <a:pt x="314" y="297"/>
                  <a:pt x="314" y="297"/>
                  <a:pt x="314" y="297"/>
                </a:cubicBezTo>
                <a:cubicBezTo>
                  <a:pt x="313" y="297"/>
                  <a:pt x="313" y="297"/>
                  <a:pt x="313" y="297"/>
                </a:cubicBezTo>
                <a:cubicBezTo>
                  <a:pt x="312" y="300"/>
                  <a:pt x="312" y="300"/>
                  <a:pt x="312" y="300"/>
                </a:cubicBezTo>
                <a:cubicBezTo>
                  <a:pt x="313" y="300"/>
                  <a:pt x="313" y="300"/>
                  <a:pt x="313" y="300"/>
                </a:cubicBezTo>
                <a:lnTo>
                  <a:pt x="314" y="299"/>
                </a:lnTo>
                <a:close/>
                <a:moveTo>
                  <a:pt x="318" y="355"/>
                </a:moveTo>
                <a:cubicBezTo>
                  <a:pt x="319" y="354"/>
                  <a:pt x="319" y="354"/>
                  <a:pt x="319" y="354"/>
                </a:cubicBezTo>
                <a:cubicBezTo>
                  <a:pt x="318" y="352"/>
                  <a:pt x="318" y="352"/>
                  <a:pt x="318" y="352"/>
                </a:cubicBezTo>
                <a:lnTo>
                  <a:pt x="318" y="355"/>
                </a:lnTo>
                <a:close/>
                <a:moveTo>
                  <a:pt x="311" y="311"/>
                </a:moveTo>
                <a:cubicBezTo>
                  <a:pt x="312" y="312"/>
                  <a:pt x="312" y="312"/>
                  <a:pt x="312" y="312"/>
                </a:cubicBezTo>
                <a:cubicBezTo>
                  <a:pt x="312" y="313"/>
                  <a:pt x="312" y="313"/>
                  <a:pt x="312" y="313"/>
                </a:cubicBezTo>
                <a:cubicBezTo>
                  <a:pt x="314" y="312"/>
                  <a:pt x="314" y="312"/>
                  <a:pt x="314" y="312"/>
                </a:cubicBezTo>
                <a:cubicBezTo>
                  <a:pt x="312" y="310"/>
                  <a:pt x="312" y="310"/>
                  <a:pt x="312" y="310"/>
                </a:cubicBezTo>
                <a:lnTo>
                  <a:pt x="311" y="311"/>
                </a:lnTo>
                <a:close/>
                <a:moveTo>
                  <a:pt x="314" y="337"/>
                </a:moveTo>
                <a:cubicBezTo>
                  <a:pt x="314" y="339"/>
                  <a:pt x="314" y="339"/>
                  <a:pt x="314" y="339"/>
                </a:cubicBezTo>
                <a:cubicBezTo>
                  <a:pt x="316" y="339"/>
                  <a:pt x="316" y="339"/>
                  <a:pt x="316" y="339"/>
                </a:cubicBezTo>
                <a:cubicBezTo>
                  <a:pt x="317" y="336"/>
                  <a:pt x="317" y="336"/>
                  <a:pt x="317" y="336"/>
                </a:cubicBezTo>
                <a:cubicBezTo>
                  <a:pt x="315" y="335"/>
                  <a:pt x="315" y="335"/>
                  <a:pt x="315" y="335"/>
                </a:cubicBezTo>
                <a:cubicBezTo>
                  <a:pt x="312" y="336"/>
                  <a:pt x="312" y="336"/>
                  <a:pt x="312" y="336"/>
                </a:cubicBezTo>
                <a:cubicBezTo>
                  <a:pt x="311" y="337"/>
                  <a:pt x="311" y="337"/>
                  <a:pt x="311" y="337"/>
                </a:cubicBezTo>
                <a:lnTo>
                  <a:pt x="314" y="337"/>
                </a:lnTo>
                <a:close/>
                <a:moveTo>
                  <a:pt x="321" y="356"/>
                </a:moveTo>
                <a:cubicBezTo>
                  <a:pt x="321" y="358"/>
                  <a:pt x="321" y="358"/>
                  <a:pt x="321" y="358"/>
                </a:cubicBezTo>
                <a:cubicBezTo>
                  <a:pt x="321" y="359"/>
                  <a:pt x="321" y="359"/>
                  <a:pt x="321" y="359"/>
                </a:cubicBezTo>
                <a:cubicBezTo>
                  <a:pt x="322" y="359"/>
                  <a:pt x="322" y="359"/>
                  <a:pt x="322" y="359"/>
                </a:cubicBezTo>
                <a:cubicBezTo>
                  <a:pt x="324" y="357"/>
                  <a:pt x="324" y="357"/>
                  <a:pt x="324" y="357"/>
                </a:cubicBezTo>
                <a:cubicBezTo>
                  <a:pt x="323" y="360"/>
                  <a:pt x="323" y="360"/>
                  <a:pt x="323" y="360"/>
                </a:cubicBezTo>
                <a:cubicBezTo>
                  <a:pt x="323" y="362"/>
                  <a:pt x="323" y="362"/>
                  <a:pt x="323" y="362"/>
                </a:cubicBezTo>
                <a:cubicBezTo>
                  <a:pt x="325" y="359"/>
                  <a:pt x="325" y="359"/>
                  <a:pt x="325" y="359"/>
                </a:cubicBezTo>
                <a:cubicBezTo>
                  <a:pt x="326" y="355"/>
                  <a:pt x="326" y="355"/>
                  <a:pt x="326" y="355"/>
                </a:cubicBezTo>
                <a:cubicBezTo>
                  <a:pt x="324" y="353"/>
                  <a:pt x="324" y="353"/>
                  <a:pt x="324" y="353"/>
                </a:cubicBezTo>
                <a:cubicBezTo>
                  <a:pt x="322" y="354"/>
                  <a:pt x="322" y="354"/>
                  <a:pt x="322" y="354"/>
                </a:cubicBezTo>
                <a:cubicBezTo>
                  <a:pt x="319" y="356"/>
                  <a:pt x="319" y="356"/>
                  <a:pt x="319" y="356"/>
                </a:cubicBezTo>
                <a:lnTo>
                  <a:pt x="321" y="356"/>
                </a:lnTo>
                <a:close/>
                <a:moveTo>
                  <a:pt x="313" y="316"/>
                </a:moveTo>
                <a:cubicBezTo>
                  <a:pt x="312" y="317"/>
                  <a:pt x="312" y="317"/>
                  <a:pt x="312" y="317"/>
                </a:cubicBezTo>
                <a:cubicBezTo>
                  <a:pt x="314" y="318"/>
                  <a:pt x="314" y="318"/>
                  <a:pt x="314" y="318"/>
                </a:cubicBezTo>
                <a:cubicBezTo>
                  <a:pt x="315" y="316"/>
                  <a:pt x="315" y="316"/>
                  <a:pt x="315" y="316"/>
                </a:cubicBezTo>
                <a:cubicBezTo>
                  <a:pt x="314" y="313"/>
                  <a:pt x="314" y="313"/>
                  <a:pt x="314" y="313"/>
                </a:cubicBezTo>
                <a:cubicBezTo>
                  <a:pt x="313" y="314"/>
                  <a:pt x="313" y="314"/>
                  <a:pt x="313" y="314"/>
                </a:cubicBezTo>
                <a:lnTo>
                  <a:pt x="313" y="316"/>
                </a:lnTo>
                <a:close/>
                <a:moveTo>
                  <a:pt x="315" y="310"/>
                </a:moveTo>
                <a:cubicBezTo>
                  <a:pt x="319" y="309"/>
                  <a:pt x="319" y="309"/>
                  <a:pt x="319" y="309"/>
                </a:cubicBezTo>
                <a:cubicBezTo>
                  <a:pt x="319" y="310"/>
                  <a:pt x="319" y="310"/>
                  <a:pt x="319" y="310"/>
                </a:cubicBezTo>
                <a:cubicBezTo>
                  <a:pt x="317" y="311"/>
                  <a:pt x="317" y="311"/>
                  <a:pt x="317" y="311"/>
                </a:cubicBezTo>
                <a:cubicBezTo>
                  <a:pt x="315" y="313"/>
                  <a:pt x="315" y="313"/>
                  <a:pt x="315" y="313"/>
                </a:cubicBezTo>
                <a:cubicBezTo>
                  <a:pt x="316" y="314"/>
                  <a:pt x="316" y="314"/>
                  <a:pt x="316" y="314"/>
                </a:cubicBezTo>
                <a:cubicBezTo>
                  <a:pt x="319" y="312"/>
                  <a:pt x="319" y="312"/>
                  <a:pt x="319" y="312"/>
                </a:cubicBezTo>
                <a:cubicBezTo>
                  <a:pt x="322" y="308"/>
                  <a:pt x="322" y="308"/>
                  <a:pt x="322" y="308"/>
                </a:cubicBezTo>
                <a:cubicBezTo>
                  <a:pt x="321" y="306"/>
                  <a:pt x="321" y="306"/>
                  <a:pt x="321" y="306"/>
                </a:cubicBezTo>
                <a:cubicBezTo>
                  <a:pt x="322" y="304"/>
                  <a:pt x="322" y="304"/>
                  <a:pt x="322" y="304"/>
                </a:cubicBezTo>
                <a:cubicBezTo>
                  <a:pt x="321" y="302"/>
                  <a:pt x="321" y="302"/>
                  <a:pt x="321" y="302"/>
                </a:cubicBezTo>
                <a:cubicBezTo>
                  <a:pt x="319" y="302"/>
                  <a:pt x="319" y="302"/>
                  <a:pt x="319" y="302"/>
                </a:cubicBezTo>
                <a:cubicBezTo>
                  <a:pt x="319" y="303"/>
                  <a:pt x="319" y="303"/>
                  <a:pt x="319" y="303"/>
                </a:cubicBezTo>
                <a:cubicBezTo>
                  <a:pt x="317" y="304"/>
                  <a:pt x="317" y="304"/>
                  <a:pt x="317" y="304"/>
                </a:cubicBezTo>
                <a:cubicBezTo>
                  <a:pt x="316" y="307"/>
                  <a:pt x="316" y="307"/>
                  <a:pt x="316" y="307"/>
                </a:cubicBezTo>
                <a:cubicBezTo>
                  <a:pt x="316" y="308"/>
                  <a:pt x="316" y="308"/>
                  <a:pt x="316" y="308"/>
                </a:cubicBezTo>
                <a:cubicBezTo>
                  <a:pt x="314" y="309"/>
                  <a:pt x="314" y="309"/>
                  <a:pt x="314" y="309"/>
                </a:cubicBezTo>
                <a:lnTo>
                  <a:pt x="315" y="310"/>
                </a:lnTo>
                <a:close/>
                <a:moveTo>
                  <a:pt x="312" y="320"/>
                </a:moveTo>
                <a:cubicBezTo>
                  <a:pt x="314" y="321"/>
                  <a:pt x="314" y="321"/>
                  <a:pt x="314" y="321"/>
                </a:cubicBezTo>
                <a:cubicBezTo>
                  <a:pt x="315" y="319"/>
                  <a:pt x="315" y="319"/>
                  <a:pt x="315" y="319"/>
                </a:cubicBezTo>
                <a:cubicBezTo>
                  <a:pt x="314" y="318"/>
                  <a:pt x="314" y="318"/>
                  <a:pt x="314" y="318"/>
                </a:cubicBezTo>
                <a:lnTo>
                  <a:pt x="312" y="320"/>
                </a:lnTo>
                <a:close/>
                <a:moveTo>
                  <a:pt x="316" y="327"/>
                </a:moveTo>
                <a:cubicBezTo>
                  <a:pt x="316" y="325"/>
                  <a:pt x="316" y="325"/>
                  <a:pt x="316" y="325"/>
                </a:cubicBezTo>
                <a:cubicBezTo>
                  <a:pt x="314" y="326"/>
                  <a:pt x="314" y="326"/>
                  <a:pt x="314" y="326"/>
                </a:cubicBezTo>
                <a:cubicBezTo>
                  <a:pt x="314" y="328"/>
                  <a:pt x="314" y="328"/>
                  <a:pt x="314" y="328"/>
                </a:cubicBezTo>
                <a:lnTo>
                  <a:pt x="316" y="327"/>
                </a:lnTo>
                <a:close/>
                <a:moveTo>
                  <a:pt x="321" y="351"/>
                </a:moveTo>
                <a:cubicBezTo>
                  <a:pt x="319" y="351"/>
                  <a:pt x="319" y="351"/>
                  <a:pt x="319" y="351"/>
                </a:cubicBezTo>
                <a:cubicBezTo>
                  <a:pt x="321" y="353"/>
                  <a:pt x="321" y="353"/>
                  <a:pt x="321" y="353"/>
                </a:cubicBezTo>
                <a:cubicBezTo>
                  <a:pt x="321" y="352"/>
                  <a:pt x="321" y="352"/>
                  <a:pt x="321" y="352"/>
                </a:cubicBezTo>
                <a:lnTo>
                  <a:pt x="321" y="351"/>
                </a:lnTo>
                <a:close/>
                <a:moveTo>
                  <a:pt x="333" y="403"/>
                </a:moveTo>
                <a:cubicBezTo>
                  <a:pt x="333" y="401"/>
                  <a:pt x="333" y="401"/>
                  <a:pt x="333" y="401"/>
                </a:cubicBezTo>
                <a:cubicBezTo>
                  <a:pt x="330" y="402"/>
                  <a:pt x="330" y="402"/>
                  <a:pt x="330" y="402"/>
                </a:cubicBezTo>
                <a:lnTo>
                  <a:pt x="333" y="403"/>
                </a:lnTo>
                <a:close/>
                <a:moveTo>
                  <a:pt x="330" y="397"/>
                </a:moveTo>
                <a:cubicBezTo>
                  <a:pt x="332" y="397"/>
                  <a:pt x="332" y="397"/>
                  <a:pt x="332" y="397"/>
                </a:cubicBezTo>
                <a:cubicBezTo>
                  <a:pt x="331" y="395"/>
                  <a:pt x="331" y="395"/>
                  <a:pt x="331" y="395"/>
                </a:cubicBezTo>
                <a:lnTo>
                  <a:pt x="330" y="397"/>
                </a:lnTo>
                <a:close/>
                <a:moveTo>
                  <a:pt x="328" y="401"/>
                </a:moveTo>
                <a:cubicBezTo>
                  <a:pt x="324" y="400"/>
                  <a:pt x="324" y="400"/>
                  <a:pt x="324" y="400"/>
                </a:cubicBezTo>
                <a:cubicBezTo>
                  <a:pt x="323" y="398"/>
                  <a:pt x="323" y="398"/>
                  <a:pt x="323" y="398"/>
                </a:cubicBezTo>
                <a:cubicBezTo>
                  <a:pt x="322" y="396"/>
                  <a:pt x="322" y="396"/>
                  <a:pt x="322" y="396"/>
                </a:cubicBezTo>
                <a:cubicBezTo>
                  <a:pt x="320" y="396"/>
                  <a:pt x="320" y="396"/>
                  <a:pt x="320" y="396"/>
                </a:cubicBezTo>
                <a:cubicBezTo>
                  <a:pt x="319" y="394"/>
                  <a:pt x="319" y="394"/>
                  <a:pt x="319" y="394"/>
                </a:cubicBezTo>
                <a:cubicBezTo>
                  <a:pt x="317" y="394"/>
                  <a:pt x="317" y="394"/>
                  <a:pt x="317" y="394"/>
                </a:cubicBezTo>
                <a:cubicBezTo>
                  <a:pt x="316" y="394"/>
                  <a:pt x="316" y="394"/>
                  <a:pt x="316" y="394"/>
                </a:cubicBezTo>
                <a:cubicBezTo>
                  <a:pt x="313" y="394"/>
                  <a:pt x="313" y="394"/>
                  <a:pt x="313" y="394"/>
                </a:cubicBezTo>
                <a:cubicBezTo>
                  <a:pt x="314" y="397"/>
                  <a:pt x="314" y="397"/>
                  <a:pt x="314" y="397"/>
                </a:cubicBezTo>
                <a:cubicBezTo>
                  <a:pt x="315" y="397"/>
                  <a:pt x="315" y="397"/>
                  <a:pt x="315" y="397"/>
                </a:cubicBezTo>
                <a:cubicBezTo>
                  <a:pt x="316" y="400"/>
                  <a:pt x="316" y="400"/>
                  <a:pt x="316" y="400"/>
                </a:cubicBezTo>
                <a:cubicBezTo>
                  <a:pt x="321" y="400"/>
                  <a:pt x="321" y="400"/>
                  <a:pt x="321" y="400"/>
                </a:cubicBezTo>
                <a:cubicBezTo>
                  <a:pt x="319" y="401"/>
                  <a:pt x="319" y="401"/>
                  <a:pt x="319" y="401"/>
                </a:cubicBezTo>
                <a:cubicBezTo>
                  <a:pt x="316" y="401"/>
                  <a:pt x="316" y="401"/>
                  <a:pt x="316" y="401"/>
                </a:cubicBezTo>
                <a:cubicBezTo>
                  <a:pt x="315" y="403"/>
                  <a:pt x="315" y="403"/>
                  <a:pt x="315" y="403"/>
                </a:cubicBezTo>
                <a:cubicBezTo>
                  <a:pt x="316" y="404"/>
                  <a:pt x="316" y="404"/>
                  <a:pt x="316" y="404"/>
                </a:cubicBezTo>
                <a:cubicBezTo>
                  <a:pt x="315" y="407"/>
                  <a:pt x="315" y="407"/>
                  <a:pt x="315" y="407"/>
                </a:cubicBezTo>
                <a:cubicBezTo>
                  <a:pt x="316" y="407"/>
                  <a:pt x="316" y="407"/>
                  <a:pt x="316" y="407"/>
                </a:cubicBezTo>
                <a:cubicBezTo>
                  <a:pt x="318" y="406"/>
                  <a:pt x="318" y="406"/>
                  <a:pt x="318" y="406"/>
                </a:cubicBezTo>
                <a:cubicBezTo>
                  <a:pt x="318" y="408"/>
                  <a:pt x="318" y="408"/>
                  <a:pt x="318" y="408"/>
                </a:cubicBezTo>
                <a:cubicBezTo>
                  <a:pt x="320" y="408"/>
                  <a:pt x="320" y="408"/>
                  <a:pt x="320" y="408"/>
                </a:cubicBezTo>
                <a:cubicBezTo>
                  <a:pt x="320" y="410"/>
                  <a:pt x="320" y="410"/>
                  <a:pt x="320" y="410"/>
                </a:cubicBezTo>
                <a:cubicBezTo>
                  <a:pt x="322" y="411"/>
                  <a:pt x="322" y="411"/>
                  <a:pt x="322" y="411"/>
                </a:cubicBezTo>
                <a:cubicBezTo>
                  <a:pt x="325" y="410"/>
                  <a:pt x="325" y="410"/>
                  <a:pt x="325" y="410"/>
                </a:cubicBezTo>
                <a:cubicBezTo>
                  <a:pt x="322" y="413"/>
                  <a:pt x="322" y="413"/>
                  <a:pt x="322" y="413"/>
                </a:cubicBezTo>
                <a:cubicBezTo>
                  <a:pt x="323" y="416"/>
                  <a:pt x="323" y="416"/>
                  <a:pt x="323" y="416"/>
                </a:cubicBezTo>
                <a:cubicBezTo>
                  <a:pt x="325" y="415"/>
                  <a:pt x="325" y="415"/>
                  <a:pt x="325" y="415"/>
                </a:cubicBezTo>
                <a:cubicBezTo>
                  <a:pt x="325" y="414"/>
                  <a:pt x="325" y="414"/>
                  <a:pt x="325" y="414"/>
                </a:cubicBezTo>
                <a:cubicBezTo>
                  <a:pt x="327" y="413"/>
                  <a:pt x="327" y="413"/>
                  <a:pt x="327" y="413"/>
                </a:cubicBezTo>
                <a:cubicBezTo>
                  <a:pt x="327" y="415"/>
                  <a:pt x="327" y="415"/>
                  <a:pt x="327" y="415"/>
                </a:cubicBezTo>
                <a:cubicBezTo>
                  <a:pt x="325" y="417"/>
                  <a:pt x="325" y="417"/>
                  <a:pt x="325" y="417"/>
                </a:cubicBezTo>
                <a:cubicBezTo>
                  <a:pt x="325" y="418"/>
                  <a:pt x="325" y="418"/>
                  <a:pt x="325" y="418"/>
                </a:cubicBezTo>
                <a:cubicBezTo>
                  <a:pt x="326" y="418"/>
                  <a:pt x="326" y="418"/>
                  <a:pt x="326" y="418"/>
                </a:cubicBezTo>
                <a:cubicBezTo>
                  <a:pt x="327" y="421"/>
                  <a:pt x="327" y="421"/>
                  <a:pt x="327" y="421"/>
                </a:cubicBezTo>
                <a:cubicBezTo>
                  <a:pt x="330" y="420"/>
                  <a:pt x="330" y="420"/>
                  <a:pt x="330" y="420"/>
                </a:cubicBezTo>
                <a:cubicBezTo>
                  <a:pt x="330" y="422"/>
                  <a:pt x="330" y="422"/>
                  <a:pt x="330" y="422"/>
                </a:cubicBezTo>
                <a:cubicBezTo>
                  <a:pt x="331" y="422"/>
                  <a:pt x="331" y="422"/>
                  <a:pt x="331" y="422"/>
                </a:cubicBezTo>
                <a:cubicBezTo>
                  <a:pt x="332" y="424"/>
                  <a:pt x="332" y="424"/>
                  <a:pt x="332" y="424"/>
                </a:cubicBezTo>
                <a:cubicBezTo>
                  <a:pt x="331" y="426"/>
                  <a:pt x="331" y="426"/>
                  <a:pt x="331" y="426"/>
                </a:cubicBezTo>
                <a:cubicBezTo>
                  <a:pt x="334" y="428"/>
                  <a:pt x="334" y="428"/>
                  <a:pt x="334" y="428"/>
                </a:cubicBezTo>
                <a:cubicBezTo>
                  <a:pt x="335" y="426"/>
                  <a:pt x="335" y="426"/>
                  <a:pt x="335" y="426"/>
                </a:cubicBezTo>
                <a:cubicBezTo>
                  <a:pt x="336" y="428"/>
                  <a:pt x="336" y="428"/>
                  <a:pt x="336" y="428"/>
                </a:cubicBezTo>
                <a:cubicBezTo>
                  <a:pt x="338" y="428"/>
                  <a:pt x="338" y="428"/>
                  <a:pt x="338" y="428"/>
                </a:cubicBezTo>
                <a:cubicBezTo>
                  <a:pt x="335" y="430"/>
                  <a:pt x="335" y="430"/>
                  <a:pt x="335" y="430"/>
                </a:cubicBezTo>
                <a:cubicBezTo>
                  <a:pt x="339" y="434"/>
                  <a:pt x="339" y="434"/>
                  <a:pt x="339" y="434"/>
                </a:cubicBezTo>
                <a:cubicBezTo>
                  <a:pt x="340" y="435"/>
                  <a:pt x="340" y="435"/>
                  <a:pt x="340" y="435"/>
                </a:cubicBezTo>
                <a:cubicBezTo>
                  <a:pt x="341" y="436"/>
                  <a:pt x="341" y="436"/>
                  <a:pt x="341" y="436"/>
                </a:cubicBezTo>
                <a:cubicBezTo>
                  <a:pt x="347" y="440"/>
                  <a:pt x="347" y="440"/>
                  <a:pt x="347" y="440"/>
                </a:cubicBezTo>
                <a:cubicBezTo>
                  <a:pt x="348" y="439"/>
                  <a:pt x="348" y="439"/>
                  <a:pt x="348" y="439"/>
                </a:cubicBezTo>
                <a:cubicBezTo>
                  <a:pt x="350" y="439"/>
                  <a:pt x="350" y="439"/>
                  <a:pt x="350" y="439"/>
                </a:cubicBezTo>
                <a:cubicBezTo>
                  <a:pt x="349" y="434"/>
                  <a:pt x="349" y="434"/>
                  <a:pt x="349" y="434"/>
                </a:cubicBezTo>
                <a:cubicBezTo>
                  <a:pt x="349" y="431"/>
                  <a:pt x="349" y="431"/>
                  <a:pt x="349" y="431"/>
                </a:cubicBezTo>
                <a:cubicBezTo>
                  <a:pt x="348" y="430"/>
                  <a:pt x="348" y="430"/>
                  <a:pt x="348" y="430"/>
                </a:cubicBezTo>
                <a:cubicBezTo>
                  <a:pt x="349" y="426"/>
                  <a:pt x="349" y="426"/>
                  <a:pt x="349" y="426"/>
                </a:cubicBezTo>
                <a:cubicBezTo>
                  <a:pt x="347" y="424"/>
                  <a:pt x="347" y="424"/>
                  <a:pt x="347" y="424"/>
                </a:cubicBezTo>
                <a:cubicBezTo>
                  <a:pt x="343" y="420"/>
                  <a:pt x="343" y="420"/>
                  <a:pt x="343" y="420"/>
                </a:cubicBezTo>
                <a:cubicBezTo>
                  <a:pt x="342" y="415"/>
                  <a:pt x="342" y="415"/>
                  <a:pt x="342" y="415"/>
                </a:cubicBezTo>
                <a:cubicBezTo>
                  <a:pt x="340" y="411"/>
                  <a:pt x="340" y="411"/>
                  <a:pt x="340" y="411"/>
                </a:cubicBezTo>
                <a:cubicBezTo>
                  <a:pt x="340" y="407"/>
                  <a:pt x="340" y="407"/>
                  <a:pt x="340" y="407"/>
                </a:cubicBezTo>
                <a:cubicBezTo>
                  <a:pt x="339" y="406"/>
                  <a:pt x="339" y="406"/>
                  <a:pt x="339" y="406"/>
                </a:cubicBezTo>
                <a:cubicBezTo>
                  <a:pt x="336" y="406"/>
                  <a:pt x="336" y="406"/>
                  <a:pt x="336" y="406"/>
                </a:cubicBezTo>
                <a:cubicBezTo>
                  <a:pt x="333" y="404"/>
                  <a:pt x="333" y="404"/>
                  <a:pt x="333" y="404"/>
                </a:cubicBezTo>
                <a:cubicBezTo>
                  <a:pt x="331" y="404"/>
                  <a:pt x="331" y="404"/>
                  <a:pt x="331" y="404"/>
                </a:cubicBezTo>
                <a:cubicBezTo>
                  <a:pt x="329" y="403"/>
                  <a:pt x="329" y="403"/>
                  <a:pt x="329" y="403"/>
                </a:cubicBezTo>
                <a:lnTo>
                  <a:pt x="328" y="401"/>
                </a:lnTo>
                <a:close/>
                <a:moveTo>
                  <a:pt x="326" y="346"/>
                </a:moveTo>
                <a:cubicBezTo>
                  <a:pt x="327" y="345"/>
                  <a:pt x="327" y="345"/>
                  <a:pt x="327" y="345"/>
                </a:cubicBezTo>
                <a:cubicBezTo>
                  <a:pt x="326" y="345"/>
                  <a:pt x="326" y="345"/>
                  <a:pt x="326" y="345"/>
                </a:cubicBezTo>
                <a:cubicBezTo>
                  <a:pt x="324" y="346"/>
                  <a:pt x="324" y="346"/>
                  <a:pt x="324" y="346"/>
                </a:cubicBezTo>
                <a:cubicBezTo>
                  <a:pt x="323" y="348"/>
                  <a:pt x="323" y="348"/>
                  <a:pt x="323" y="348"/>
                </a:cubicBezTo>
                <a:cubicBezTo>
                  <a:pt x="324" y="347"/>
                  <a:pt x="324" y="347"/>
                  <a:pt x="324" y="347"/>
                </a:cubicBezTo>
                <a:lnTo>
                  <a:pt x="326" y="346"/>
                </a:lnTo>
                <a:close/>
                <a:moveTo>
                  <a:pt x="2319" y="950"/>
                </a:moveTo>
                <a:cubicBezTo>
                  <a:pt x="2318" y="949"/>
                  <a:pt x="2318" y="949"/>
                  <a:pt x="2318" y="949"/>
                </a:cubicBezTo>
                <a:cubicBezTo>
                  <a:pt x="2319" y="949"/>
                  <a:pt x="2319" y="949"/>
                  <a:pt x="2319" y="949"/>
                </a:cubicBezTo>
                <a:cubicBezTo>
                  <a:pt x="2319" y="948"/>
                  <a:pt x="2319" y="948"/>
                  <a:pt x="2319" y="948"/>
                </a:cubicBezTo>
                <a:cubicBezTo>
                  <a:pt x="2318" y="949"/>
                  <a:pt x="2318" y="949"/>
                  <a:pt x="2318" y="949"/>
                </a:cubicBezTo>
                <a:cubicBezTo>
                  <a:pt x="2318" y="950"/>
                  <a:pt x="2318" y="950"/>
                  <a:pt x="2318" y="950"/>
                </a:cubicBezTo>
                <a:cubicBezTo>
                  <a:pt x="2318" y="953"/>
                  <a:pt x="2318" y="953"/>
                  <a:pt x="2318" y="953"/>
                </a:cubicBezTo>
                <a:lnTo>
                  <a:pt x="2319" y="950"/>
                </a:lnTo>
                <a:close/>
                <a:moveTo>
                  <a:pt x="341" y="408"/>
                </a:moveTo>
                <a:cubicBezTo>
                  <a:pt x="341" y="411"/>
                  <a:pt x="341" y="411"/>
                  <a:pt x="341" y="411"/>
                </a:cubicBezTo>
                <a:cubicBezTo>
                  <a:pt x="342" y="408"/>
                  <a:pt x="342" y="408"/>
                  <a:pt x="342" y="408"/>
                </a:cubicBezTo>
                <a:lnTo>
                  <a:pt x="341" y="408"/>
                </a:lnTo>
                <a:close/>
                <a:moveTo>
                  <a:pt x="325" y="364"/>
                </a:moveTo>
                <a:cubicBezTo>
                  <a:pt x="326" y="364"/>
                  <a:pt x="326" y="364"/>
                  <a:pt x="326" y="364"/>
                </a:cubicBezTo>
                <a:cubicBezTo>
                  <a:pt x="326" y="363"/>
                  <a:pt x="326" y="363"/>
                  <a:pt x="326" y="363"/>
                </a:cubicBezTo>
                <a:cubicBezTo>
                  <a:pt x="327" y="362"/>
                  <a:pt x="327" y="362"/>
                  <a:pt x="327" y="362"/>
                </a:cubicBezTo>
                <a:cubicBezTo>
                  <a:pt x="326" y="360"/>
                  <a:pt x="326" y="360"/>
                  <a:pt x="326" y="360"/>
                </a:cubicBezTo>
                <a:cubicBezTo>
                  <a:pt x="325" y="362"/>
                  <a:pt x="325" y="362"/>
                  <a:pt x="325" y="362"/>
                </a:cubicBezTo>
                <a:lnTo>
                  <a:pt x="325" y="364"/>
                </a:lnTo>
                <a:close/>
                <a:moveTo>
                  <a:pt x="2798" y="643"/>
                </a:moveTo>
                <a:cubicBezTo>
                  <a:pt x="2796" y="644"/>
                  <a:pt x="2796" y="644"/>
                  <a:pt x="2796" y="644"/>
                </a:cubicBezTo>
                <a:cubicBezTo>
                  <a:pt x="2795" y="645"/>
                  <a:pt x="2795" y="645"/>
                  <a:pt x="2795" y="645"/>
                </a:cubicBezTo>
                <a:cubicBezTo>
                  <a:pt x="2794" y="646"/>
                  <a:pt x="2794" y="646"/>
                  <a:pt x="2794" y="646"/>
                </a:cubicBezTo>
                <a:cubicBezTo>
                  <a:pt x="2792" y="648"/>
                  <a:pt x="2792" y="648"/>
                  <a:pt x="2792" y="648"/>
                </a:cubicBezTo>
                <a:cubicBezTo>
                  <a:pt x="2791" y="650"/>
                  <a:pt x="2791" y="650"/>
                  <a:pt x="2791" y="650"/>
                </a:cubicBezTo>
                <a:cubicBezTo>
                  <a:pt x="2790" y="650"/>
                  <a:pt x="2790" y="650"/>
                  <a:pt x="2790" y="650"/>
                </a:cubicBezTo>
                <a:cubicBezTo>
                  <a:pt x="2788" y="651"/>
                  <a:pt x="2788" y="651"/>
                  <a:pt x="2788" y="651"/>
                </a:cubicBezTo>
                <a:cubicBezTo>
                  <a:pt x="2789" y="651"/>
                  <a:pt x="2789" y="651"/>
                  <a:pt x="2789" y="651"/>
                </a:cubicBezTo>
                <a:cubicBezTo>
                  <a:pt x="2790" y="651"/>
                  <a:pt x="2790" y="651"/>
                  <a:pt x="2790" y="651"/>
                </a:cubicBezTo>
                <a:cubicBezTo>
                  <a:pt x="2790" y="653"/>
                  <a:pt x="2790" y="653"/>
                  <a:pt x="2790" y="653"/>
                </a:cubicBezTo>
                <a:cubicBezTo>
                  <a:pt x="2791" y="655"/>
                  <a:pt x="2791" y="655"/>
                  <a:pt x="2791" y="655"/>
                </a:cubicBezTo>
                <a:cubicBezTo>
                  <a:pt x="2791" y="656"/>
                  <a:pt x="2791" y="656"/>
                  <a:pt x="2791" y="656"/>
                </a:cubicBezTo>
                <a:cubicBezTo>
                  <a:pt x="2790" y="654"/>
                  <a:pt x="2790" y="654"/>
                  <a:pt x="2790" y="654"/>
                </a:cubicBezTo>
                <a:cubicBezTo>
                  <a:pt x="2789" y="653"/>
                  <a:pt x="2789" y="653"/>
                  <a:pt x="2789" y="653"/>
                </a:cubicBezTo>
                <a:cubicBezTo>
                  <a:pt x="2789" y="655"/>
                  <a:pt x="2789" y="655"/>
                  <a:pt x="2789" y="655"/>
                </a:cubicBezTo>
                <a:cubicBezTo>
                  <a:pt x="2790" y="657"/>
                  <a:pt x="2790" y="657"/>
                  <a:pt x="2790" y="657"/>
                </a:cubicBezTo>
                <a:cubicBezTo>
                  <a:pt x="2791" y="657"/>
                  <a:pt x="2791" y="657"/>
                  <a:pt x="2791" y="657"/>
                </a:cubicBezTo>
                <a:cubicBezTo>
                  <a:pt x="2791" y="658"/>
                  <a:pt x="2791" y="658"/>
                  <a:pt x="2791" y="658"/>
                </a:cubicBezTo>
                <a:cubicBezTo>
                  <a:pt x="2790" y="660"/>
                  <a:pt x="2790" y="660"/>
                  <a:pt x="2790" y="660"/>
                </a:cubicBezTo>
                <a:cubicBezTo>
                  <a:pt x="2791" y="659"/>
                  <a:pt x="2791" y="659"/>
                  <a:pt x="2791" y="659"/>
                </a:cubicBezTo>
                <a:cubicBezTo>
                  <a:pt x="2792" y="658"/>
                  <a:pt x="2792" y="658"/>
                  <a:pt x="2792" y="658"/>
                </a:cubicBezTo>
                <a:cubicBezTo>
                  <a:pt x="2794" y="657"/>
                  <a:pt x="2794" y="657"/>
                  <a:pt x="2794" y="657"/>
                </a:cubicBezTo>
                <a:cubicBezTo>
                  <a:pt x="2795" y="658"/>
                  <a:pt x="2795" y="658"/>
                  <a:pt x="2795" y="658"/>
                </a:cubicBezTo>
                <a:cubicBezTo>
                  <a:pt x="2794" y="658"/>
                  <a:pt x="2794" y="658"/>
                  <a:pt x="2794" y="658"/>
                </a:cubicBezTo>
                <a:cubicBezTo>
                  <a:pt x="2795" y="659"/>
                  <a:pt x="2795" y="659"/>
                  <a:pt x="2795" y="659"/>
                </a:cubicBezTo>
                <a:cubicBezTo>
                  <a:pt x="2796" y="658"/>
                  <a:pt x="2796" y="658"/>
                  <a:pt x="2796" y="658"/>
                </a:cubicBezTo>
                <a:cubicBezTo>
                  <a:pt x="2796" y="657"/>
                  <a:pt x="2796" y="657"/>
                  <a:pt x="2796" y="657"/>
                </a:cubicBezTo>
                <a:cubicBezTo>
                  <a:pt x="2795" y="656"/>
                  <a:pt x="2795" y="656"/>
                  <a:pt x="2795" y="656"/>
                </a:cubicBezTo>
                <a:cubicBezTo>
                  <a:pt x="2793" y="656"/>
                  <a:pt x="2793" y="656"/>
                  <a:pt x="2793" y="656"/>
                </a:cubicBezTo>
                <a:cubicBezTo>
                  <a:pt x="2793" y="655"/>
                  <a:pt x="2793" y="655"/>
                  <a:pt x="2793" y="655"/>
                </a:cubicBezTo>
                <a:cubicBezTo>
                  <a:pt x="2794" y="654"/>
                  <a:pt x="2794" y="654"/>
                  <a:pt x="2794" y="654"/>
                </a:cubicBezTo>
                <a:cubicBezTo>
                  <a:pt x="2793" y="653"/>
                  <a:pt x="2793" y="653"/>
                  <a:pt x="2793" y="653"/>
                </a:cubicBezTo>
                <a:cubicBezTo>
                  <a:pt x="2794" y="652"/>
                  <a:pt x="2794" y="652"/>
                  <a:pt x="2794" y="652"/>
                </a:cubicBezTo>
                <a:cubicBezTo>
                  <a:pt x="2796" y="652"/>
                  <a:pt x="2796" y="652"/>
                  <a:pt x="2796" y="652"/>
                </a:cubicBezTo>
                <a:cubicBezTo>
                  <a:pt x="2797" y="655"/>
                  <a:pt x="2797" y="655"/>
                  <a:pt x="2797" y="655"/>
                </a:cubicBezTo>
                <a:cubicBezTo>
                  <a:pt x="2798" y="658"/>
                  <a:pt x="2798" y="658"/>
                  <a:pt x="2798" y="658"/>
                </a:cubicBezTo>
                <a:cubicBezTo>
                  <a:pt x="2799" y="659"/>
                  <a:pt x="2799" y="659"/>
                  <a:pt x="2799" y="659"/>
                </a:cubicBezTo>
                <a:cubicBezTo>
                  <a:pt x="2799" y="662"/>
                  <a:pt x="2799" y="662"/>
                  <a:pt x="2799" y="662"/>
                </a:cubicBezTo>
                <a:cubicBezTo>
                  <a:pt x="2797" y="665"/>
                  <a:pt x="2797" y="665"/>
                  <a:pt x="2797" y="665"/>
                </a:cubicBezTo>
                <a:cubicBezTo>
                  <a:pt x="2795" y="666"/>
                  <a:pt x="2795" y="666"/>
                  <a:pt x="2795" y="666"/>
                </a:cubicBezTo>
                <a:cubicBezTo>
                  <a:pt x="2796" y="667"/>
                  <a:pt x="2796" y="667"/>
                  <a:pt x="2796" y="667"/>
                </a:cubicBezTo>
                <a:cubicBezTo>
                  <a:pt x="2797" y="669"/>
                  <a:pt x="2797" y="669"/>
                  <a:pt x="2797" y="669"/>
                </a:cubicBezTo>
                <a:cubicBezTo>
                  <a:pt x="2798" y="673"/>
                  <a:pt x="2798" y="673"/>
                  <a:pt x="2798" y="673"/>
                </a:cubicBezTo>
                <a:cubicBezTo>
                  <a:pt x="2800" y="675"/>
                  <a:pt x="2800" y="675"/>
                  <a:pt x="2800" y="675"/>
                </a:cubicBezTo>
                <a:cubicBezTo>
                  <a:pt x="2800" y="677"/>
                  <a:pt x="2800" y="677"/>
                  <a:pt x="2800" y="677"/>
                </a:cubicBezTo>
                <a:cubicBezTo>
                  <a:pt x="2799" y="678"/>
                  <a:pt x="2799" y="678"/>
                  <a:pt x="2799" y="678"/>
                </a:cubicBezTo>
                <a:cubicBezTo>
                  <a:pt x="2800" y="679"/>
                  <a:pt x="2800" y="679"/>
                  <a:pt x="2800" y="679"/>
                </a:cubicBezTo>
                <a:cubicBezTo>
                  <a:pt x="2802" y="679"/>
                  <a:pt x="2802" y="679"/>
                  <a:pt x="2802" y="679"/>
                </a:cubicBezTo>
                <a:cubicBezTo>
                  <a:pt x="2803" y="680"/>
                  <a:pt x="2803" y="680"/>
                  <a:pt x="2803" y="680"/>
                </a:cubicBezTo>
                <a:cubicBezTo>
                  <a:pt x="2804" y="679"/>
                  <a:pt x="2804" y="679"/>
                  <a:pt x="2804" y="679"/>
                </a:cubicBezTo>
                <a:cubicBezTo>
                  <a:pt x="2804" y="678"/>
                  <a:pt x="2804" y="678"/>
                  <a:pt x="2804" y="678"/>
                </a:cubicBezTo>
                <a:cubicBezTo>
                  <a:pt x="2802" y="676"/>
                  <a:pt x="2802" y="676"/>
                  <a:pt x="2802" y="676"/>
                </a:cubicBezTo>
                <a:cubicBezTo>
                  <a:pt x="2802" y="672"/>
                  <a:pt x="2802" y="672"/>
                  <a:pt x="2802" y="672"/>
                </a:cubicBezTo>
                <a:cubicBezTo>
                  <a:pt x="2803" y="671"/>
                  <a:pt x="2803" y="671"/>
                  <a:pt x="2803" y="671"/>
                </a:cubicBezTo>
                <a:cubicBezTo>
                  <a:pt x="2804" y="672"/>
                  <a:pt x="2804" y="672"/>
                  <a:pt x="2804" y="672"/>
                </a:cubicBezTo>
                <a:cubicBezTo>
                  <a:pt x="2804" y="673"/>
                  <a:pt x="2804" y="673"/>
                  <a:pt x="2804" y="673"/>
                </a:cubicBezTo>
                <a:cubicBezTo>
                  <a:pt x="2804" y="674"/>
                  <a:pt x="2804" y="674"/>
                  <a:pt x="2804" y="674"/>
                </a:cubicBezTo>
                <a:cubicBezTo>
                  <a:pt x="2805" y="676"/>
                  <a:pt x="2805" y="676"/>
                  <a:pt x="2805" y="676"/>
                </a:cubicBezTo>
                <a:cubicBezTo>
                  <a:pt x="2806" y="678"/>
                  <a:pt x="2806" y="678"/>
                  <a:pt x="2806" y="678"/>
                </a:cubicBezTo>
                <a:cubicBezTo>
                  <a:pt x="2805" y="680"/>
                  <a:pt x="2805" y="680"/>
                  <a:pt x="2805" y="680"/>
                </a:cubicBezTo>
                <a:cubicBezTo>
                  <a:pt x="2806" y="681"/>
                  <a:pt x="2806" y="681"/>
                  <a:pt x="2806" y="681"/>
                </a:cubicBezTo>
                <a:cubicBezTo>
                  <a:pt x="2807" y="680"/>
                  <a:pt x="2807" y="680"/>
                  <a:pt x="2807" y="680"/>
                </a:cubicBezTo>
                <a:cubicBezTo>
                  <a:pt x="2809" y="677"/>
                  <a:pt x="2809" y="677"/>
                  <a:pt x="2809" y="677"/>
                </a:cubicBezTo>
                <a:cubicBezTo>
                  <a:pt x="2808" y="676"/>
                  <a:pt x="2808" y="676"/>
                  <a:pt x="2808" y="676"/>
                </a:cubicBezTo>
                <a:cubicBezTo>
                  <a:pt x="2807" y="675"/>
                  <a:pt x="2807" y="675"/>
                  <a:pt x="2807" y="675"/>
                </a:cubicBezTo>
                <a:cubicBezTo>
                  <a:pt x="2808" y="674"/>
                  <a:pt x="2808" y="674"/>
                  <a:pt x="2808" y="674"/>
                </a:cubicBezTo>
                <a:cubicBezTo>
                  <a:pt x="2810" y="675"/>
                  <a:pt x="2810" y="675"/>
                  <a:pt x="2810" y="675"/>
                </a:cubicBezTo>
                <a:cubicBezTo>
                  <a:pt x="2811" y="675"/>
                  <a:pt x="2811" y="675"/>
                  <a:pt x="2811" y="675"/>
                </a:cubicBezTo>
                <a:cubicBezTo>
                  <a:pt x="2811" y="673"/>
                  <a:pt x="2811" y="673"/>
                  <a:pt x="2811" y="673"/>
                </a:cubicBezTo>
                <a:cubicBezTo>
                  <a:pt x="2811" y="670"/>
                  <a:pt x="2811" y="670"/>
                  <a:pt x="2811" y="670"/>
                </a:cubicBezTo>
                <a:cubicBezTo>
                  <a:pt x="2811" y="668"/>
                  <a:pt x="2811" y="668"/>
                  <a:pt x="2811" y="668"/>
                </a:cubicBezTo>
                <a:cubicBezTo>
                  <a:pt x="2811" y="663"/>
                  <a:pt x="2811" y="663"/>
                  <a:pt x="2811" y="663"/>
                </a:cubicBezTo>
                <a:cubicBezTo>
                  <a:pt x="2811" y="660"/>
                  <a:pt x="2811" y="660"/>
                  <a:pt x="2811" y="660"/>
                </a:cubicBezTo>
                <a:cubicBezTo>
                  <a:pt x="2812" y="658"/>
                  <a:pt x="2812" y="658"/>
                  <a:pt x="2812" y="658"/>
                </a:cubicBezTo>
                <a:cubicBezTo>
                  <a:pt x="2814" y="656"/>
                  <a:pt x="2814" y="656"/>
                  <a:pt x="2814" y="656"/>
                </a:cubicBezTo>
                <a:cubicBezTo>
                  <a:pt x="2813" y="654"/>
                  <a:pt x="2813" y="654"/>
                  <a:pt x="2813" y="654"/>
                </a:cubicBezTo>
                <a:cubicBezTo>
                  <a:pt x="2812" y="654"/>
                  <a:pt x="2812" y="654"/>
                  <a:pt x="2812" y="654"/>
                </a:cubicBezTo>
                <a:cubicBezTo>
                  <a:pt x="2812" y="652"/>
                  <a:pt x="2812" y="652"/>
                  <a:pt x="2812" y="652"/>
                </a:cubicBezTo>
                <a:cubicBezTo>
                  <a:pt x="2811" y="652"/>
                  <a:pt x="2811" y="652"/>
                  <a:pt x="2811" y="652"/>
                </a:cubicBezTo>
                <a:cubicBezTo>
                  <a:pt x="2811" y="651"/>
                  <a:pt x="2811" y="651"/>
                  <a:pt x="2811" y="651"/>
                </a:cubicBezTo>
                <a:cubicBezTo>
                  <a:pt x="2808" y="651"/>
                  <a:pt x="2808" y="651"/>
                  <a:pt x="2808" y="651"/>
                </a:cubicBezTo>
                <a:cubicBezTo>
                  <a:pt x="2807" y="650"/>
                  <a:pt x="2807" y="650"/>
                  <a:pt x="2807" y="650"/>
                </a:cubicBezTo>
                <a:cubicBezTo>
                  <a:pt x="2809" y="649"/>
                  <a:pt x="2809" y="649"/>
                  <a:pt x="2809" y="649"/>
                </a:cubicBezTo>
                <a:cubicBezTo>
                  <a:pt x="2810" y="648"/>
                  <a:pt x="2810" y="648"/>
                  <a:pt x="2810" y="648"/>
                </a:cubicBezTo>
                <a:cubicBezTo>
                  <a:pt x="2809" y="645"/>
                  <a:pt x="2809" y="645"/>
                  <a:pt x="2809" y="645"/>
                </a:cubicBezTo>
                <a:cubicBezTo>
                  <a:pt x="2808" y="644"/>
                  <a:pt x="2808" y="644"/>
                  <a:pt x="2808" y="644"/>
                </a:cubicBezTo>
                <a:cubicBezTo>
                  <a:pt x="2806" y="644"/>
                  <a:pt x="2806" y="644"/>
                  <a:pt x="2806" y="644"/>
                </a:cubicBezTo>
                <a:cubicBezTo>
                  <a:pt x="2806" y="645"/>
                  <a:pt x="2806" y="645"/>
                  <a:pt x="2806" y="645"/>
                </a:cubicBezTo>
                <a:cubicBezTo>
                  <a:pt x="2805" y="646"/>
                  <a:pt x="2805" y="646"/>
                  <a:pt x="2805" y="646"/>
                </a:cubicBezTo>
                <a:cubicBezTo>
                  <a:pt x="2803" y="646"/>
                  <a:pt x="2803" y="646"/>
                  <a:pt x="2803" y="646"/>
                </a:cubicBezTo>
                <a:cubicBezTo>
                  <a:pt x="2801" y="643"/>
                  <a:pt x="2801" y="643"/>
                  <a:pt x="2801" y="643"/>
                </a:cubicBezTo>
                <a:cubicBezTo>
                  <a:pt x="2802" y="642"/>
                  <a:pt x="2802" y="642"/>
                  <a:pt x="2802" y="642"/>
                </a:cubicBezTo>
                <a:cubicBezTo>
                  <a:pt x="2805" y="640"/>
                  <a:pt x="2805" y="640"/>
                  <a:pt x="2805" y="640"/>
                </a:cubicBezTo>
                <a:cubicBezTo>
                  <a:pt x="2807" y="640"/>
                  <a:pt x="2807" y="640"/>
                  <a:pt x="2807" y="640"/>
                </a:cubicBezTo>
                <a:cubicBezTo>
                  <a:pt x="2810" y="641"/>
                  <a:pt x="2810" y="641"/>
                  <a:pt x="2810" y="641"/>
                </a:cubicBezTo>
                <a:cubicBezTo>
                  <a:pt x="2812" y="642"/>
                  <a:pt x="2812" y="642"/>
                  <a:pt x="2812" y="642"/>
                </a:cubicBezTo>
                <a:cubicBezTo>
                  <a:pt x="2812" y="641"/>
                  <a:pt x="2812" y="641"/>
                  <a:pt x="2812" y="641"/>
                </a:cubicBezTo>
                <a:cubicBezTo>
                  <a:pt x="2812" y="639"/>
                  <a:pt x="2812" y="639"/>
                  <a:pt x="2812" y="639"/>
                </a:cubicBezTo>
                <a:cubicBezTo>
                  <a:pt x="2812" y="637"/>
                  <a:pt x="2812" y="637"/>
                  <a:pt x="2812" y="637"/>
                </a:cubicBezTo>
                <a:cubicBezTo>
                  <a:pt x="2812" y="636"/>
                  <a:pt x="2812" y="636"/>
                  <a:pt x="2812" y="636"/>
                </a:cubicBezTo>
                <a:cubicBezTo>
                  <a:pt x="2813" y="635"/>
                  <a:pt x="2813" y="635"/>
                  <a:pt x="2813" y="635"/>
                </a:cubicBezTo>
                <a:cubicBezTo>
                  <a:pt x="2814" y="635"/>
                  <a:pt x="2814" y="635"/>
                  <a:pt x="2814" y="635"/>
                </a:cubicBezTo>
                <a:cubicBezTo>
                  <a:pt x="2815" y="636"/>
                  <a:pt x="2815" y="636"/>
                  <a:pt x="2815" y="636"/>
                </a:cubicBezTo>
                <a:cubicBezTo>
                  <a:pt x="2816" y="636"/>
                  <a:pt x="2816" y="636"/>
                  <a:pt x="2816" y="636"/>
                </a:cubicBezTo>
                <a:cubicBezTo>
                  <a:pt x="2818" y="635"/>
                  <a:pt x="2818" y="635"/>
                  <a:pt x="2818" y="635"/>
                </a:cubicBezTo>
                <a:cubicBezTo>
                  <a:pt x="2821" y="635"/>
                  <a:pt x="2821" y="635"/>
                  <a:pt x="2821" y="635"/>
                </a:cubicBezTo>
                <a:cubicBezTo>
                  <a:pt x="2824" y="634"/>
                  <a:pt x="2824" y="634"/>
                  <a:pt x="2824" y="634"/>
                </a:cubicBezTo>
                <a:cubicBezTo>
                  <a:pt x="2826" y="633"/>
                  <a:pt x="2826" y="633"/>
                  <a:pt x="2826" y="633"/>
                </a:cubicBezTo>
                <a:cubicBezTo>
                  <a:pt x="2827" y="634"/>
                  <a:pt x="2827" y="634"/>
                  <a:pt x="2827" y="634"/>
                </a:cubicBezTo>
                <a:cubicBezTo>
                  <a:pt x="2828" y="633"/>
                  <a:pt x="2828" y="633"/>
                  <a:pt x="2828" y="633"/>
                </a:cubicBezTo>
                <a:cubicBezTo>
                  <a:pt x="2828" y="633"/>
                  <a:pt x="2828" y="633"/>
                  <a:pt x="2828" y="633"/>
                </a:cubicBezTo>
                <a:cubicBezTo>
                  <a:pt x="2830" y="631"/>
                  <a:pt x="2830" y="631"/>
                  <a:pt x="2830" y="631"/>
                </a:cubicBezTo>
                <a:cubicBezTo>
                  <a:pt x="2831" y="630"/>
                  <a:pt x="2831" y="630"/>
                  <a:pt x="2831" y="630"/>
                </a:cubicBezTo>
                <a:cubicBezTo>
                  <a:pt x="2833" y="628"/>
                  <a:pt x="2833" y="628"/>
                  <a:pt x="2833" y="628"/>
                </a:cubicBezTo>
                <a:cubicBezTo>
                  <a:pt x="2836" y="628"/>
                  <a:pt x="2836" y="628"/>
                  <a:pt x="2836" y="628"/>
                </a:cubicBezTo>
                <a:cubicBezTo>
                  <a:pt x="2839" y="628"/>
                  <a:pt x="2839" y="628"/>
                  <a:pt x="2839" y="628"/>
                </a:cubicBezTo>
                <a:cubicBezTo>
                  <a:pt x="2840" y="628"/>
                  <a:pt x="2840" y="628"/>
                  <a:pt x="2840" y="628"/>
                </a:cubicBezTo>
                <a:cubicBezTo>
                  <a:pt x="2841" y="628"/>
                  <a:pt x="2841" y="628"/>
                  <a:pt x="2841" y="628"/>
                </a:cubicBezTo>
                <a:cubicBezTo>
                  <a:pt x="2841" y="630"/>
                  <a:pt x="2841" y="630"/>
                  <a:pt x="2841" y="630"/>
                </a:cubicBezTo>
                <a:cubicBezTo>
                  <a:pt x="2840" y="632"/>
                  <a:pt x="2840" y="632"/>
                  <a:pt x="2840" y="632"/>
                </a:cubicBezTo>
                <a:cubicBezTo>
                  <a:pt x="2839" y="634"/>
                  <a:pt x="2839" y="634"/>
                  <a:pt x="2839" y="634"/>
                </a:cubicBezTo>
                <a:cubicBezTo>
                  <a:pt x="2840" y="635"/>
                  <a:pt x="2840" y="635"/>
                  <a:pt x="2840" y="635"/>
                </a:cubicBezTo>
                <a:cubicBezTo>
                  <a:pt x="2840" y="636"/>
                  <a:pt x="2840" y="636"/>
                  <a:pt x="2840" y="636"/>
                </a:cubicBezTo>
                <a:cubicBezTo>
                  <a:pt x="2841" y="638"/>
                  <a:pt x="2841" y="638"/>
                  <a:pt x="2841" y="638"/>
                </a:cubicBezTo>
                <a:cubicBezTo>
                  <a:pt x="2840" y="639"/>
                  <a:pt x="2840" y="639"/>
                  <a:pt x="2840" y="639"/>
                </a:cubicBezTo>
                <a:cubicBezTo>
                  <a:pt x="2841" y="641"/>
                  <a:pt x="2841" y="641"/>
                  <a:pt x="2841" y="641"/>
                </a:cubicBezTo>
                <a:cubicBezTo>
                  <a:pt x="2843" y="642"/>
                  <a:pt x="2843" y="642"/>
                  <a:pt x="2843" y="642"/>
                </a:cubicBezTo>
                <a:cubicBezTo>
                  <a:pt x="2846" y="645"/>
                  <a:pt x="2846" y="645"/>
                  <a:pt x="2846" y="645"/>
                </a:cubicBezTo>
                <a:cubicBezTo>
                  <a:pt x="2848" y="645"/>
                  <a:pt x="2848" y="645"/>
                  <a:pt x="2848" y="645"/>
                </a:cubicBezTo>
                <a:cubicBezTo>
                  <a:pt x="2849" y="644"/>
                  <a:pt x="2849" y="644"/>
                  <a:pt x="2849" y="644"/>
                </a:cubicBezTo>
                <a:cubicBezTo>
                  <a:pt x="2851" y="642"/>
                  <a:pt x="2851" y="642"/>
                  <a:pt x="2851" y="642"/>
                </a:cubicBezTo>
                <a:cubicBezTo>
                  <a:pt x="2851" y="640"/>
                  <a:pt x="2851" y="640"/>
                  <a:pt x="2851" y="640"/>
                </a:cubicBezTo>
                <a:cubicBezTo>
                  <a:pt x="2852" y="639"/>
                  <a:pt x="2852" y="639"/>
                  <a:pt x="2852" y="639"/>
                </a:cubicBezTo>
                <a:cubicBezTo>
                  <a:pt x="2852" y="638"/>
                  <a:pt x="2852" y="638"/>
                  <a:pt x="2852" y="638"/>
                </a:cubicBezTo>
                <a:cubicBezTo>
                  <a:pt x="2852" y="637"/>
                  <a:pt x="2852" y="637"/>
                  <a:pt x="2852" y="637"/>
                </a:cubicBezTo>
                <a:cubicBezTo>
                  <a:pt x="2853" y="634"/>
                  <a:pt x="2853" y="634"/>
                  <a:pt x="2853" y="634"/>
                </a:cubicBezTo>
                <a:cubicBezTo>
                  <a:pt x="2855" y="634"/>
                  <a:pt x="2855" y="634"/>
                  <a:pt x="2855" y="634"/>
                </a:cubicBezTo>
                <a:cubicBezTo>
                  <a:pt x="2857" y="634"/>
                  <a:pt x="2857" y="634"/>
                  <a:pt x="2857" y="634"/>
                </a:cubicBezTo>
                <a:cubicBezTo>
                  <a:pt x="2857" y="633"/>
                  <a:pt x="2857" y="633"/>
                  <a:pt x="2857" y="633"/>
                </a:cubicBezTo>
                <a:cubicBezTo>
                  <a:pt x="2857" y="632"/>
                  <a:pt x="2857" y="632"/>
                  <a:pt x="2857" y="632"/>
                </a:cubicBezTo>
                <a:cubicBezTo>
                  <a:pt x="2856" y="630"/>
                  <a:pt x="2856" y="630"/>
                  <a:pt x="2856" y="630"/>
                </a:cubicBezTo>
                <a:cubicBezTo>
                  <a:pt x="2853" y="628"/>
                  <a:pt x="2853" y="628"/>
                  <a:pt x="2853" y="628"/>
                </a:cubicBezTo>
                <a:cubicBezTo>
                  <a:pt x="2852" y="627"/>
                  <a:pt x="2852" y="627"/>
                  <a:pt x="2852" y="627"/>
                </a:cubicBezTo>
                <a:cubicBezTo>
                  <a:pt x="2853" y="625"/>
                  <a:pt x="2853" y="625"/>
                  <a:pt x="2853" y="625"/>
                </a:cubicBezTo>
                <a:cubicBezTo>
                  <a:pt x="2854" y="624"/>
                  <a:pt x="2854" y="624"/>
                  <a:pt x="2854" y="624"/>
                </a:cubicBezTo>
                <a:cubicBezTo>
                  <a:pt x="2855" y="623"/>
                  <a:pt x="2855" y="623"/>
                  <a:pt x="2855" y="623"/>
                </a:cubicBezTo>
                <a:cubicBezTo>
                  <a:pt x="2854" y="624"/>
                  <a:pt x="2854" y="624"/>
                  <a:pt x="2854" y="624"/>
                </a:cubicBezTo>
                <a:cubicBezTo>
                  <a:pt x="2855" y="626"/>
                  <a:pt x="2855" y="626"/>
                  <a:pt x="2855" y="626"/>
                </a:cubicBezTo>
                <a:cubicBezTo>
                  <a:pt x="2855" y="627"/>
                  <a:pt x="2855" y="627"/>
                  <a:pt x="2855" y="627"/>
                </a:cubicBezTo>
                <a:cubicBezTo>
                  <a:pt x="2856" y="626"/>
                  <a:pt x="2856" y="626"/>
                  <a:pt x="2856" y="626"/>
                </a:cubicBezTo>
                <a:cubicBezTo>
                  <a:pt x="2857" y="626"/>
                  <a:pt x="2857" y="626"/>
                  <a:pt x="2857" y="626"/>
                </a:cubicBezTo>
                <a:cubicBezTo>
                  <a:pt x="2858" y="626"/>
                  <a:pt x="2858" y="626"/>
                  <a:pt x="2858" y="626"/>
                </a:cubicBezTo>
                <a:cubicBezTo>
                  <a:pt x="2859" y="627"/>
                  <a:pt x="2859" y="627"/>
                  <a:pt x="2859" y="627"/>
                </a:cubicBezTo>
                <a:cubicBezTo>
                  <a:pt x="2860" y="627"/>
                  <a:pt x="2860" y="627"/>
                  <a:pt x="2860" y="627"/>
                </a:cubicBezTo>
                <a:cubicBezTo>
                  <a:pt x="2861" y="627"/>
                  <a:pt x="2861" y="627"/>
                  <a:pt x="2861" y="627"/>
                </a:cubicBezTo>
                <a:cubicBezTo>
                  <a:pt x="2860" y="628"/>
                  <a:pt x="2860" y="628"/>
                  <a:pt x="2860" y="628"/>
                </a:cubicBezTo>
                <a:cubicBezTo>
                  <a:pt x="2859" y="628"/>
                  <a:pt x="2859" y="628"/>
                  <a:pt x="2859" y="628"/>
                </a:cubicBezTo>
                <a:cubicBezTo>
                  <a:pt x="2858" y="629"/>
                  <a:pt x="2858" y="629"/>
                  <a:pt x="2858" y="629"/>
                </a:cubicBezTo>
                <a:cubicBezTo>
                  <a:pt x="2859" y="629"/>
                  <a:pt x="2859" y="629"/>
                  <a:pt x="2859" y="629"/>
                </a:cubicBezTo>
                <a:cubicBezTo>
                  <a:pt x="2861" y="628"/>
                  <a:pt x="2861" y="628"/>
                  <a:pt x="2861" y="628"/>
                </a:cubicBezTo>
                <a:cubicBezTo>
                  <a:pt x="2863" y="627"/>
                  <a:pt x="2863" y="627"/>
                  <a:pt x="2863" y="627"/>
                </a:cubicBezTo>
                <a:cubicBezTo>
                  <a:pt x="2868" y="628"/>
                  <a:pt x="2868" y="628"/>
                  <a:pt x="2868" y="628"/>
                </a:cubicBezTo>
                <a:cubicBezTo>
                  <a:pt x="2871" y="627"/>
                  <a:pt x="2871" y="627"/>
                  <a:pt x="2871" y="627"/>
                </a:cubicBezTo>
                <a:cubicBezTo>
                  <a:pt x="2870" y="627"/>
                  <a:pt x="2870" y="627"/>
                  <a:pt x="2870" y="627"/>
                </a:cubicBezTo>
                <a:cubicBezTo>
                  <a:pt x="2870" y="625"/>
                  <a:pt x="2870" y="625"/>
                  <a:pt x="2870" y="625"/>
                </a:cubicBezTo>
                <a:cubicBezTo>
                  <a:pt x="2870" y="622"/>
                  <a:pt x="2870" y="622"/>
                  <a:pt x="2870" y="622"/>
                </a:cubicBezTo>
                <a:cubicBezTo>
                  <a:pt x="2872" y="621"/>
                  <a:pt x="2872" y="621"/>
                  <a:pt x="2872" y="621"/>
                </a:cubicBezTo>
                <a:cubicBezTo>
                  <a:pt x="2874" y="621"/>
                  <a:pt x="2874" y="621"/>
                  <a:pt x="2874" y="621"/>
                </a:cubicBezTo>
                <a:cubicBezTo>
                  <a:pt x="2874" y="623"/>
                  <a:pt x="2874" y="623"/>
                  <a:pt x="2874" y="623"/>
                </a:cubicBezTo>
                <a:cubicBezTo>
                  <a:pt x="2874" y="625"/>
                  <a:pt x="2874" y="625"/>
                  <a:pt x="2874" y="625"/>
                </a:cubicBezTo>
                <a:cubicBezTo>
                  <a:pt x="2875" y="627"/>
                  <a:pt x="2875" y="627"/>
                  <a:pt x="2875" y="627"/>
                </a:cubicBezTo>
                <a:cubicBezTo>
                  <a:pt x="2876" y="627"/>
                  <a:pt x="2876" y="627"/>
                  <a:pt x="2876" y="627"/>
                </a:cubicBezTo>
                <a:cubicBezTo>
                  <a:pt x="2878" y="625"/>
                  <a:pt x="2878" y="625"/>
                  <a:pt x="2878" y="625"/>
                </a:cubicBezTo>
                <a:cubicBezTo>
                  <a:pt x="2876" y="621"/>
                  <a:pt x="2876" y="621"/>
                  <a:pt x="2876" y="621"/>
                </a:cubicBezTo>
                <a:cubicBezTo>
                  <a:pt x="2877" y="619"/>
                  <a:pt x="2877" y="619"/>
                  <a:pt x="2877" y="619"/>
                </a:cubicBezTo>
                <a:cubicBezTo>
                  <a:pt x="2880" y="617"/>
                  <a:pt x="2880" y="617"/>
                  <a:pt x="2880" y="617"/>
                </a:cubicBezTo>
                <a:cubicBezTo>
                  <a:pt x="2881" y="617"/>
                  <a:pt x="2881" y="617"/>
                  <a:pt x="2881" y="617"/>
                </a:cubicBezTo>
                <a:cubicBezTo>
                  <a:pt x="2881" y="616"/>
                  <a:pt x="2881" y="616"/>
                  <a:pt x="2881" y="616"/>
                </a:cubicBezTo>
                <a:cubicBezTo>
                  <a:pt x="2880" y="615"/>
                  <a:pt x="2880" y="615"/>
                  <a:pt x="2880" y="615"/>
                </a:cubicBezTo>
                <a:cubicBezTo>
                  <a:pt x="2881" y="612"/>
                  <a:pt x="2881" y="612"/>
                  <a:pt x="2881" y="612"/>
                </a:cubicBezTo>
                <a:cubicBezTo>
                  <a:pt x="2882" y="612"/>
                  <a:pt x="2882" y="612"/>
                  <a:pt x="2882" y="612"/>
                </a:cubicBezTo>
                <a:cubicBezTo>
                  <a:pt x="2884" y="612"/>
                  <a:pt x="2884" y="612"/>
                  <a:pt x="2884" y="612"/>
                </a:cubicBezTo>
                <a:cubicBezTo>
                  <a:pt x="2884" y="613"/>
                  <a:pt x="2884" y="613"/>
                  <a:pt x="2884" y="613"/>
                </a:cubicBezTo>
                <a:cubicBezTo>
                  <a:pt x="2884" y="614"/>
                  <a:pt x="2884" y="614"/>
                  <a:pt x="2884" y="614"/>
                </a:cubicBezTo>
                <a:cubicBezTo>
                  <a:pt x="2883" y="617"/>
                  <a:pt x="2883" y="617"/>
                  <a:pt x="2883" y="617"/>
                </a:cubicBezTo>
                <a:cubicBezTo>
                  <a:pt x="2884" y="623"/>
                  <a:pt x="2884" y="623"/>
                  <a:pt x="2884" y="623"/>
                </a:cubicBezTo>
                <a:cubicBezTo>
                  <a:pt x="2885" y="623"/>
                  <a:pt x="2885" y="623"/>
                  <a:pt x="2885" y="623"/>
                </a:cubicBezTo>
                <a:cubicBezTo>
                  <a:pt x="2886" y="622"/>
                  <a:pt x="2886" y="622"/>
                  <a:pt x="2886" y="622"/>
                </a:cubicBezTo>
                <a:cubicBezTo>
                  <a:pt x="2887" y="621"/>
                  <a:pt x="2887" y="621"/>
                  <a:pt x="2887" y="621"/>
                </a:cubicBezTo>
                <a:cubicBezTo>
                  <a:pt x="2888" y="620"/>
                  <a:pt x="2888" y="620"/>
                  <a:pt x="2888" y="620"/>
                </a:cubicBezTo>
                <a:cubicBezTo>
                  <a:pt x="2890" y="618"/>
                  <a:pt x="2890" y="618"/>
                  <a:pt x="2890" y="618"/>
                </a:cubicBezTo>
                <a:cubicBezTo>
                  <a:pt x="2891" y="616"/>
                  <a:pt x="2891" y="616"/>
                  <a:pt x="2891" y="616"/>
                </a:cubicBezTo>
                <a:cubicBezTo>
                  <a:pt x="2891" y="614"/>
                  <a:pt x="2891" y="614"/>
                  <a:pt x="2891" y="614"/>
                </a:cubicBezTo>
                <a:cubicBezTo>
                  <a:pt x="2893" y="612"/>
                  <a:pt x="2893" y="612"/>
                  <a:pt x="2893" y="612"/>
                </a:cubicBezTo>
                <a:cubicBezTo>
                  <a:pt x="2892" y="611"/>
                  <a:pt x="2892" y="611"/>
                  <a:pt x="2892" y="611"/>
                </a:cubicBezTo>
                <a:cubicBezTo>
                  <a:pt x="2891" y="610"/>
                  <a:pt x="2891" y="610"/>
                  <a:pt x="2891" y="610"/>
                </a:cubicBezTo>
                <a:cubicBezTo>
                  <a:pt x="2889" y="607"/>
                  <a:pt x="2889" y="607"/>
                  <a:pt x="2889" y="607"/>
                </a:cubicBezTo>
                <a:cubicBezTo>
                  <a:pt x="2888" y="604"/>
                  <a:pt x="2888" y="604"/>
                  <a:pt x="2888" y="604"/>
                </a:cubicBezTo>
                <a:cubicBezTo>
                  <a:pt x="2888" y="599"/>
                  <a:pt x="2888" y="599"/>
                  <a:pt x="2888" y="599"/>
                </a:cubicBezTo>
                <a:cubicBezTo>
                  <a:pt x="2888" y="594"/>
                  <a:pt x="2888" y="594"/>
                  <a:pt x="2888" y="594"/>
                </a:cubicBezTo>
                <a:cubicBezTo>
                  <a:pt x="2888" y="590"/>
                  <a:pt x="2888" y="590"/>
                  <a:pt x="2888" y="590"/>
                </a:cubicBezTo>
                <a:cubicBezTo>
                  <a:pt x="2887" y="583"/>
                  <a:pt x="2887" y="583"/>
                  <a:pt x="2887" y="583"/>
                </a:cubicBezTo>
                <a:cubicBezTo>
                  <a:pt x="2884" y="579"/>
                  <a:pt x="2884" y="579"/>
                  <a:pt x="2884" y="579"/>
                </a:cubicBezTo>
                <a:cubicBezTo>
                  <a:pt x="2884" y="577"/>
                  <a:pt x="2884" y="577"/>
                  <a:pt x="2884" y="577"/>
                </a:cubicBezTo>
                <a:cubicBezTo>
                  <a:pt x="2885" y="573"/>
                  <a:pt x="2885" y="573"/>
                  <a:pt x="2885" y="573"/>
                </a:cubicBezTo>
                <a:cubicBezTo>
                  <a:pt x="2888" y="572"/>
                  <a:pt x="2888" y="572"/>
                  <a:pt x="2888" y="572"/>
                </a:cubicBezTo>
                <a:cubicBezTo>
                  <a:pt x="2889" y="572"/>
                  <a:pt x="2889" y="572"/>
                  <a:pt x="2889" y="572"/>
                </a:cubicBezTo>
                <a:cubicBezTo>
                  <a:pt x="2890" y="573"/>
                  <a:pt x="2890" y="573"/>
                  <a:pt x="2890" y="573"/>
                </a:cubicBezTo>
                <a:cubicBezTo>
                  <a:pt x="2891" y="573"/>
                  <a:pt x="2891" y="573"/>
                  <a:pt x="2891" y="573"/>
                </a:cubicBezTo>
                <a:cubicBezTo>
                  <a:pt x="2890" y="570"/>
                  <a:pt x="2890" y="570"/>
                  <a:pt x="2890" y="570"/>
                </a:cubicBezTo>
                <a:cubicBezTo>
                  <a:pt x="2890" y="569"/>
                  <a:pt x="2890" y="569"/>
                  <a:pt x="2890" y="569"/>
                </a:cubicBezTo>
                <a:cubicBezTo>
                  <a:pt x="2889" y="568"/>
                  <a:pt x="2889" y="568"/>
                  <a:pt x="2889" y="568"/>
                </a:cubicBezTo>
                <a:cubicBezTo>
                  <a:pt x="2889" y="566"/>
                  <a:pt x="2889" y="566"/>
                  <a:pt x="2889" y="566"/>
                </a:cubicBezTo>
                <a:cubicBezTo>
                  <a:pt x="2889" y="565"/>
                  <a:pt x="2889" y="565"/>
                  <a:pt x="2889" y="565"/>
                </a:cubicBezTo>
                <a:cubicBezTo>
                  <a:pt x="2889" y="563"/>
                  <a:pt x="2889" y="563"/>
                  <a:pt x="2889" y="563"/>
                </a:cubicBezTo>
                <a:cubicBezTo>
                  <a:pt x="2889" y="562"/>
                  <a:pt x="2889" y="562"/>
                  <a:pt x="2889" y="562"/>
                </a:cubicBezTo>
                <a:cubicBezTo>
                  <a:pt x="2889" y="561"/>
                  <a:pt x="2889" y="561"/>
                  <a:pt x="2889" y="561"/>
                </a:cubicBezTo>
                <a:cubicBezTo>
                  <a:pt x="2890" y="560"/>
                  <a:pt x="2890" y="560"/>
                  <a:pt x="2890" y="560"/>
                </a:cubicBezTo>
                <a:cubicBezTo>
                  <a:pt x="2889" y="559"/>
                  <a:pt x="2889" y="559"/>
                  <a:pt x="2889" y="559"/>
                </a:cubicBezTo>
                <a:cubicBezTo>
                  <a:pt x="2889" y="557"/>
                  <a:pt x="2889" y="557"/>
                  <a:pt x="2889" y="557"/>
                </a:cubicBezTo>
                <a:cubicBezTo>
                  <a:pt x="2889" y="555"/>
                  <a:pt x="2889" y="555"/>
                  <a:pt x="2889" y="555"/>
                </a:cubicBezTo>
                <a:cubicBezTo>
                  <a:pt x="2889" y="554"/>
                  <a:pt x="2889" y="554"/>
                  <a:pt x="2889" y="554"/>
                </a:cubicBezTo>
                <a:cubicBezTo>
                  <a:pt x="2888" y="550"/>
                  <a:pt x="2888" y="550"/>
                  <a:pt x="2888" y="550"/>
                </a:cubicBezTo>
                <a:cubicBezTo>
                  <a:pt x="2886" y="547"/>
                  <a:pt x="2886" y="547"/>
                  <a:pt x="2886" y="547"/>
                </a:cubicBezTo>
                <a:cubicBezTo>
                  <a:pt x="2885" y="547"/>
                  <a:pt x="2885" y="547"/>
                  <a:pt x="2885" y="547"/>
                </a:cubicBezTo>
                <a:cubicBezTo>
                  <a:pt x="2884" y="546"/>
                  <a:pt x="2884" y="546"/>
                  <a:pt x="2884" y="546"/>
                </a:cubicBezTo>
                <a:cubicBezTo>
                  <a:pt x="2884" y="542"/>
                  <a:pt x="2884" y="542"/>
                  <a:pt x="2884" y="542"/>
                </a:cubicBezTo>
                <a:cubicBezTo>
                  <a:pt x="2882" y="540"/>
                  <a:pt x="2882" y="540"/>
                  <a:pt x="2882" y="540"/>
                </a:cubicBezTo>
                <a:cubicBezTo>
                  <a:pt x="2878" y="535"/>
                  <a:pt x="2878" y="535"/>
                  <a:pt x="2878" y="535"/>
                </a:cubicBezTo>
                <a:cubicBezTo>
                  <a:pt x="2877" y="533"/>
                  <a:pt x="2877" y="533"/>
                  <a:pt x="2877" y="533"/>
                </a:cubicBezTo>
                <a:cubicBezTo>
                  <a:pt x="2876" y="530"/>
                  <a:pt x="2876" y="530"/>
                  <a:pt x="2876" y="530"/>
                </a:cubicBezTo>
                <a:cubicBezTo>
                  <a:pt x="2876" y="527"/>
                  <a:pt x="2876" y="527"/>
                  <a:pt x="2876" y="527"/>
                </a:cubicBezTo>
                <a:cubicBezTo>
                  <a:pt x="2876" y="526"/>
                  <a:pt x="2876" y="526"/>
                  <a:pt x="2876" y="526"/>
                </a:cubicBezTo>
                <a:cubicBezTo>
                  <a:pt x="2875" y="527"/>
                  <a:pt x="2875" y="527"/>
                  <a:pt x="2875" y="527"/>
                </a:cubicBezTo>
                <a:cubicBezTo>
                  <a:pt x="2874" y="527"/>
                  <a:pt x="2874" y="527"/>
                  <a:pt x="2874" y="527"/>
                </a:cubicBezTo>
                <a:cubicBezTo>
                  <a:pt x="2873" y="526"/>
                  <a:pt x="2873" y="526"/>
                  <a:pt x="2873" y="526"/>
                </a:cubicBezTo>
                <a:cubicBezTo>
                  <a:pt x="2871" y="526"/>
                  <a:pt x="2871" y="526"/>
                  <a:pt x="2871" y="526"/>
                </a:cubicBezTo>
                <a:cubicBezTo>
                  <a:pt x="2870" y="525"/>
                  <a:pt x="2870" y="525"/>
                  <a:pt x="2870" y="525"/>
                </a:cubicBezTo>
                <a:cubicBezTo>
                  <a:pt x="2871" y="526"/>
                  <a:pt x="2871" y="526"/>
                  <a:pt x="2871" y="526"/>
                </a:cubicBezTo>
                <a:cubicBezTo>
                  <a:pt x="2870" y="529"/>
                  <a:pt x="2870" y="529"/>
                  <a:pt x="2870" y="529"/>
                </a:cubicBezTo>
                <a:cubicBezTo>
                  <a:pt x="2870" y="530"/>
                  <a:pt x="2870" y="530"/>
                  <a:pt x="2870" y="530"/>
                </a:cubicBezTo>
                <a:cubicBezTo>
                  <a:pt x="2871" y="531"/>
                  <a:pt x="2871" y="531"/>
                  <a:pt x="2871" y="531"/>
                </a:cubicBezTo>
                <a:cubicBezTo>
                  <a:pt x="2872" y="531"/>
                  <a:pt x="2872" y="531"/>
                  <a:pt x="2872" y="531"/>
                </a:cubicBezTo>
                <a:cubicBezTo>
                  <a:pt x="2874" y="529"/>
                  <a:pt x="2874" y="529"/>
                  <a:pt x="2874" y="529"/>
                </a:cubicBezTo>
                <a:cubicBezTo>
                  <a:pt x="2875" y="531"/>
                  <a:pt x="2875" y="531"/>
                  <a:pt x="2875" y="531"/>
                </a:cubicBezTo>
                <a:cubicBezTo>
                  <a:pt x="2874" y="533"/>
                  <a:pt x="2874" y="533"/>
                  <a:pt x="2874" y="533"/>
                </a:cubicBezTo>
                <a:cubicBezTo>
                  <a:pt x="2873" y="534"/>
                  <a:pt x="2873" y="534"/>
                  <a:pt x="2873" y="534"/>
                </a:cubicBezTo>
                <a:cubicBezTo>
                  <a:pt x="2872" y="533"/>
                  <a:pt x="2872" y="533"/>
                  <a:pt x="2872" y="533"/>
                </a:cubicBezTo>
                <a:cubicBezTo>
                  <a:pt x="2871" y="533"/>
                  <a:pt x="2871" y="533"/>
                  <a:pt x="2871" y="533"/>
                </a:cubicBezTo>
                <a:cubicBezTo>
                  <a:pt x="2872" y="535"/>
                  <a:pt x="2872" y="535"/>
                  <a:pt x="2872" y="535"/>
                </a:cubicBezTo>
                <a:cubicBezTo>
                  <a:pt x="2871" y="536"/>
                  <a:pt x="2871" y="536"/>
                  <a:pt x="2871" y="536"/>
                </a:cubicBezTo>
                <a:cubicBezTo>
                  <a:pt x="2869" y="536"/>
                  <a:pt x="2869" y="536"/>
                  <a:pt x="2869" y="536"/>
                </a:cubicBezTo>
                <a:cubicBezTo>
                  <a:pt x="2869" y="534"/>
                  <a:pt x="2869" y="534"/>
                  <a:pt x="2869" y="534"/>
                </a:cubicBezTo>
                <a:cubicBezTo>
                  <a:pt x="2869" y="532"/>
                  <a:pt x="2869" y="532"/>
                  <a:pt x="2869" y="532"/>
                </a:cubicBezTo>
                <a:cubicBezTo>
                  <a:pt x="2868" y="531"/>
                  <a:pt x="2868" y="531"/>
                  <a:pt x="2868" y="531"/>
                </a:cubicBezTo>
                <a:cubicBezTo>
                  <a:pt x="2867" y="531"/>
                  <a:pt x="2867" y="531"/>
                  <a:pt x="2867" y="531"/>
                </a:cubicBezTo>
                <a:cubicBezTo>
                  <a:pt x="2866" y="531"/>
                  <a:pt x="2866" y="531"/>
                  <a:pt x="2866" y="531"/>
                </a:cubicBezTo>
                <a:cubicBezTo>
                  <a:pt x="2865" y="532"/>
                  <a:pt x="2865" y="532"/>
                  <a:pt x="2865" y="532"/>
                </a:cubicBezTo>
                <a:cubicBezTo>
                  <a:pt x="2866" y="535"/>
                  <a:pt x="2866" y="535"/>
                  <a:pt x="2866" y="535"/>
                </a:cubicBezTo>
                <a:cubicBezTo>
                  <a:pt x="2866" y="537"/>
                  <a:pt x="2866" y="537"/>
                  <a:pt x="2866" y="537"/>
                </a:cubicBezTo>
                <a:cubicBezTo>
                  <a:pt x="2865" y="538"/>
                  <a:pt x="2865" y="538"/>
                  <a:pt x="2865" y="538"/>
                </a:cubicBezTo>
                <a:cubicBezTo>
                  <a:pt x="2864" y="539"/>
                  <a:pt x="2864" y="539"/>
                  <a:pt x="2864" y="539"/>
                </a:cubicBezTo>
                <a:cubicBezTo>
                  <a:pt x="2864" y="541"/>
                  <a:pt x="2864" y="541"/>
                  <a:pt x="2864" y="541"/>
                </a:cubicBezTo>
                <a:cubicBezTo>
                  <a:pt x="2866" y="543"/>
                  <a:pt x="2866" y="543"/>
                  <a:pt x="2866" y="543"/>
                </a:cubicBezTo>
                <a:cubicBezTo>
                  <a:pt x="2867" y="545"/>
                  <a:pt x="2867" y="545"/>
                  <a:pt x="2867" y="545"/>
                </a:cubicBezTo>
                <a:cubicBezTo>
                  <a:pt x="2866" y="547"/>
                  <a:pt x="2866" y="547"/>
                  <a:pt x="2866" y="547"/>
                </a:cubicBezTo>
                <a:cubicBezTo>
                  <a:pt x="2865" y="548"/>
                  <a:pt x="2865" y="548"/>
                  <a:pt x="2865" y="548"/>
                </a:cubicBezTo>
                <a:cubicBezTo>
                  <a:pt x="2863" y="548"/>
                  <a:pt x="2863" y="548"/>
                  <a:pt x="2863" y="548"/>
                </a:cubicBezTo>
                <a:cubicBezTo>
                  <a:pt x="2863" y="549"/>
                  <a:pt x="2863" y="549"/>
                  <a:pt x="2863" y="549"/>
                </a:cubicBezTo>
                <a:cubicBezTo>
                  <a:pt x="2864" y="551"/>
                  <a:pt x="2864" y="551"/>
                  <a:pt x="2864" y="551"/>
                </a:cubicBezTo>
                <a:cubicBezTo>
                  <a:pt x="2866" y="551"/>
                  <a:pt x="2866" y="551"/>
                  <a:pt x="2866" y="551"/>
                </a:cubicBezTo>
                <a:cubicBezTo>
                  <a:pt x="2867" y="549"/>
                  <a:pt x="2867" y="549"/>
                  <a:pt x="2867" y="549"/>
                </a:cubicBezTo>
                <a:cubicBezTo>
                  <a:pt x="2869" y="554"/>
                  <a:pt x="2869" y="554"/>
                  <a:pt x="2869" y="554"/>
                </a:cubicBezTo>
                <a:cubicBezTo>
                  <a:pt x="2870" y="558"/>
                  <a:pt x="2870" y="558"/>
                  <a:pt x="2870" y="558"/>
                </a:cubicBezTo>
                <a:cubicBezTo>
                  <a:pt x="2870" y="561"/>
                  <a:pt x="2870" y="561"/>
                  <a:pt x="2870" y="561"/>
                </a:cubicBezTo>
                <a:cubicBezTo>
                  <a:pt x="2870" y="566"/>
                  <a:pt x="2870" y="566"/>
                  <a:pt x="2870" y="566"/>
                </a:cubicBezTo>
                <a:cubicBezTo>
                  <a:pt x="2868" y="573"/>
                  <a:pt x="2868" y="573"/>
                  <a:pt x="2868" y="573"/>
                </a:cubicBezTo>
                <a:cubicBezTo>
                  <a:pt x="2869" y="576"/>
                  <a:pt x="2869" y="576"/>
                  <a:pt x="2869" y="576"/>
                </a:cubicBezTo>
                <a:cubicBezTo>
                  <a:pt x="2868" y="579"/>
                  <a:pt x="2868" y="579"/>
                  <a:pt x="2868" y="579"/>
                </a:cubicBezTo>
                <a:cubicBezTo>
                  <a:pt x="2865" y="580"/>
                  <a:pt x="2865" y="580"/>
                  <a:pt x="2865" y="580"/>
                </a:cubicBezTo>
                <a:cubicBezTo>
                  <a:pt x="2864" y="583"/>
                  <a:pt x="2864" y="583"/>
                  <a:pt x="2864" y="583"/>
                </a:cubicBezTo>
                <a:cubicBezTo>
                  <a:pt x="2864" y="586"/>
                  <a:pt x="2864" y="586"/>
                  <a:pt x="2864" y="586"/>
                </a:cubicBezTo>
                <a:cubicBezTo>
                  <a:pt x="2863" y="588"/>
                  <a:pt x="2863" y="588"/>
                  <a:pt x="2863" y="588"/>
                </a:cubicBezTo>
                <a:cubicBezTo>
                  <a:pt x="2863" y="590"/>
                  <a:pt x="2863" y="590"/>
                  <a:pt x="2863" y="590"/>
                </a:cubicBezTo>
                <a:cubicBezTo>
                  <a:pt x="2860" y="593"/>
                  <a:pt x="2860" y="593"/>
                  <a:pt x="2860" y="593"/>
                </a:cubicBezTo>
                <a:cubicBezTo>
                  <a:pt x="2855" y="596"/>
                  <a:pt x="2855" y="596"/>
                  <a:pt x="2855" y="596"/>
                </a:cubicBezTo>
                <a:cubicBezTo>
                  <a:pt x="2854" y="596"/>
                  <a:pt x="2854" y="596"/>
                  <a:pt x="2854" y="596"/>
                </a:cubicBezTo>
                <a:cubicBezTo>
                  <a:pt x="2853" y="598"/>
                  <a:pt x="2853" y="598"/>
                  <a:pt x="2853" y="598"/>
                </a:cubicBezTo>
                <a:cubicBezTo>
                  <a:pt x="2850" y="597"/>
                  <a:pt x="2850" y="597"/>
                  <a:pt x="2850" y="597"/>
                </a:cubicBezTo>
                <a:cubicBezTo>
                  <a:pt x="2848" y="594"/>
                  <a:pt x="2848" y="594"/>
                  <a:pt x="2848" y="594"/>
                </a:cubicBezTo>
                <a:cubicBezTo>
                  <a:pt x="2848" y="593"/>
                  <a:pt x="2848" y="593"/>
                  <a:pt x="2848" y="593"/>
                </a:cubicBezTo>
                <a:cubicBezTo>
                  <a:pt x="2849" y="592"/>
                  <a:pt x="2849" y="592"/>
                  <a:pt x="2849" y="592"/>
                </a:cubicBezTo>
                <a:cubicBezTo>
                  <a:pt x="2850" y="590"/>
                  <a:pt x="2850" y="590"/>
                  <a:pt x="2850" y="590"/>
                </a:cubicBezTo>
                <a:cubicBezTo>
                  <a:pt x="2850" y="589"/>
                  <a:pt x="2850" y="589"/>
                  <a:pt x="2850" y="589"/>
                </a:cubicBezTo>
                <a:cubicBezTo>
                  <a:pt x="2851" y="588"/>
                  <a:pt x="2851" y="588"/>
                  <a:pt x="2851" y="588"/>
                </a:cubicBezTo>
                <a:cubicBezTo>
                  <a:pt x="2851" y="587"/>
                  <a:pt x="2851" y="587"/>
                  <a:pt x="2851" y="587"/>
                </a:cubicBezTo>
                <a:cubicBezTo>
                  <a:pt x="2849" y="588"/>
                  <a:pt x="2849" y="588"/>
                  <a:pt x="2849" y="588"/>
                </a:cubicBezTo>
                <a:cubicBezTo>
                  <a:pt x="2847" y="590"/>
                  <a:pt x="2847" y="590"/>
                  <a:pt x="2847" y="590"/>
                </a:cubicBezTo>
                <a:cubicBezTo>
                  <a:pt x="2845" y="590"/>
                  <a:pt x="2845" y="590"/>
                  <a:pt x="2845" y="590"/>
                </a:cubicBezTo>
                <a:cubicBezTo>
                  <a:pt x="2844" y="592"/>
                  <a:pt x="2844" y="592"/>
                  <a:pt x="2844" y="592"/>
                </a:cubicBezTo>
                <a:cubicBezTo>
                  <a:pt x="2846" y="595"/>
                  <a:pt x="2846" y="595"/>
                  <a:pt x="2846" y="595"/>
                </a:cubicBezTo>
                <a:cubicBezTo>
                  <a:pt x="2846" y="600"/>
                  <a:pt x="2846" y="600"/>
                  <a:pt x="2846" y="600"/>
                </a:cubicBezTo>
                <a:cubicBezTo>
                  <a:pt x="2846" y="602"/>
                  <a:pt x="2846" y="602"/>
                  <a:pt x="2846" y="602"/>
                </a:cubicBezTo>
                <a:cubicBezTo>
                  <a:pt x="2843" y="604"/>
                  <a:pt x="2843" y="604"/>
                  <a:pt x="2843" y="604"/>
                </a:cubicBezTo>
                <a:cubicBezTo>
                  <a:pt x="2843" y="606"/>
                  <a:pt x="2843" y="606"/>
                  <a:pt x="2843" y="606"/>
                </a:cubicBezTo>
                <a:cubicBezTo>
                  <a:pt x="2843" y="606"/>
                  <a:pt x="2843" y="606"/>
                  <a:pt x="2843" y="606"/>
                </a:cubicBezTo>
                <a:cubicBezTo>
                  <a:pt x="2842" y="610"/>
                  <a:pt x="2842" y="610"/>
                  <a:pt x="2842" y="610"/>
                </a:cubicBezTo>
                <a:cubicBezTo>
                  <a:pt x="2843" y="611"/>
                  <a:pt x="2843" y="611"/>
                  <a:pt x="2843" y="611"/>
                </a:cubicBezTo>
                <a:cubicBezTo>
                  <a:pt x="2843" y="612"/>
                  <a:pt x="2843" y="612"/>
                  <a:pt x="2843" y="612"/>
                </a:cubicBezTo>
                <a:cubicBezTo>
                  <a:pt x="2843" y="613"/>
                  <a:pt x="2843" y="613"/>
                  <a:pt x="2843" y="613"/>
                </a:cubicBezTo>
                <a:cubicBezTo>
                  <a:pt x="2843" y="614"/>
                  <a:pt x="2843" y="614"/>
                  <a:pt x="2843" y="614"/>
                </a:cubicBezTo>
                <a:cubicBezTo>
                  <a:pt x="2842" y="615"/>
                  <a:pt x="2842" y="615"/>
                  <a:pt x="2842" y="615"/>
                </a:cubicBezTo>
                <a:cubicBezTo>
                  <a:pt x="2842" y="615"/>
                  <a:pt x="2842" y="615"/>
                  <a:pt x="2842" y="615"/>
                </a:cubicBezTo>
                <a:cubicBezTo>
                  <a:pt x="2842" y="616"/>
                  <a:pt x="2842" y="616"/>
                  <a:pt x="2842" y="616"/>
                </a:cubicBezTo>
                <a:cubicBezTo>
                  <a:pt x="2841" y="617"/>
                  <a:pt x="2841" y="617"/>
                  <a:pt x="2841" y="617"/>
                </a:cubicBezTo>
                <a:cubicBezTo>
                  <a:pt x="2840" y="616"/>
                  <a:pt x="2840" y="616"/>
                  <a:pt x="2840" y="616"/>
                </a:cubicBezTo>
                <a:cubicBezTo>
                  <a:pt x="2838" y="617"/>
                  <a:pt x="2838" y="617"/>
                  <a:pt x="2838" y="617"/>
                </a:cubicBezTo>
                <a:cubicBezTo>
                  <a:pt x="2837" y="616"/>
                  <a:pt x="2837" y="616"/>
                  <a:pt x="2837" y="616"/>
                </a:cubicBezTo>
                <a:cubicBezTo>
                  <a:pt x="2837" y="614"/>
                  <a:pt x="2837" y="614"/>
                  <a:pt x="2837" y="614"/>
                </a:cubicBezTo>
                <a:cubicBezTo>
                  <a:pt x="2836" y="614"/>
                  <a:pt x="2836" y="614"/>
                  <a:pt x="2836" y="614"/>
                </a:cubicBezTo>
                <a:cubicBezTo>
                  <a:pt x="2835" y="615"/>
                  <a:pt x="2835" y="615"/>
                  <a:pt x="2835" y="615"/>
                </a:cubicBezTo>
                <a:cubicBezTo>
                  <a:pt x="2834" y="615"/>
                  <a:pt x="2834" y="615"/>
                  <a:pt x="2834" y="615"/>
                </a:cubicBezTo>
                <a:cubicBezTo>
                  <a:pt x="2833" y="615"/>
                  <a:pt x="2833" y="615"/>
                  <a:pt x="2833" y="615"/>
                </a:cubicBezTo>
                <a:cubicBezTo>
                  <a:pt x="2829" y="616"/>
                  <a:pt x="2829" y="616"/>
                  <a:pt x="2829" y="616"/>
                </a:cubicBezTo>
                <a:cubicBezTo>
                  <a:pt x="2826" y="617"/>
                  <a:pt x="2826" y="617"/>
                  <a:pt x="2826" y="617"/>
                </a:cubicBezTo>
                <a:cubicBezTo>
                  <a:pt x="2824" y="618"/>
                  <a:pt x="2824" y="618"/>
                  <a:pt x="2824" y="618"/>
                </a:cubicBezTo>
                <a:cubicBezTo>
                  <a:pt x="2822" y="618"/>
                  <a:pt x="2822" y="618"/>
                  <a:pt x="2822" y="618"/>
                </a:cubicBezTo>
                <a:cubicBezTo>
                  <a:pt x="2819" y="619"/>
                  <a:pt x="2819" y="619"/>
                  <a:pt x="2819" y="619"/>
                </a:cubicBezTo>
                <a:cubicBezTo>
                  <a:pt x="2818" y="618"/>
                  <a:pt x="2818" y="618"/>
                  <a:pt x="2818" y="618"/>
                </a:cubicBezTo>
                <a:cubicBezTo>
                  <a:pt x="2816" y="618"/>
                  <a:pt x="2816" y="618"/>
                  <a:pt x="2816" y="618"/>
                </a:cubicBezTo>
                <a:cubicBezTo>
                  <a:pt x="2812" y="621"/>
                  <a:pt x="2812" y="621"/>
                  <a:pt x="2812" y="621"/>
                </a:cubicBezTo>
                <a:cubicBezTo>
                  <a:pt x="2812" y="624"/>
                  <a:pt x="2812" y="624"/>
                  <a:pt x="2812" y="624"/>
                </a:cubicBezTo>
                <a:cubicBezTo>
                  <a:pt x="2810" y="624"/>
                  <a:pt x="2810" y="624"/>
                  <a:pt x="2810" y="624"/>
                </a:cubicBezTo>
                <a:cubicBezTo>
                  <a:pt x="2810" y="626"/>
                  <a:pt x="2810" y="626"/>
                  <a:pt x="2810" y="626"/>
                </a:cubicBezTo>
                <a:cubicBezTo>
                  <a:pt x="2807" y="629"/>
                  <a:pt x="2807" y="629"/>
                  <a:pt x="2807" y="629"/>
                </a:cubicBezTo>
                <a:cubicBezTo>
                  <a:pt x="2805" y="630"/>
                  <a:pt x="2805" y="630"/>
                  <a:pt x="2805" y="630"/>
                </a:cubicBezTo>
                <a:cubicBezTo>
                  <a:pt x="2804" y="632"/>
                  <a:pt x="2804" y="632"/>
                  <a:pt x="2804" y="632"/>
                </a:cubicBezTo>
                <a:cubicBezTo>
                  <a:pt x="2803" y="633"/>
                  <a:pt x="2803" y="633"/>
                  <a:pt x="2803" y="633"/>
                </a:cubicBezTo>
                <a:cubicBezTo>
                  <a:pt x="2802" y="635"/>
                  <a:pt x="2802" y="635"/>
                  <a:pt x="2802" y="635"/>
                </a:cubicBezTo>
                <a:cubicBezTo>
                  <a:pt x="2799" y="635"/>
                  <a:pt x="2799" y="635"/>
                  <a:pt x="2799" y="635"/>
                </a:cubicBezTo>
                <a:cubicBezTo>
                  <a:pt x="2798" y="637"/>
                  <a:pt x="2798" y="637"/>
                  <a:pt x="2798" y="637"/>
                </a:cubicBezTo>
                <a:cubicBezTo>
                  <a:pt x="2799" y="640"/>
                  <a:pt x="2799" y="640"/>
                  <a:pt x="2799" y="640"/>
                </a:cubicBezTo>
                <a:cubicBezTo>
                  <a:pt x="2800" y="640"/>
                  <a:pt x="2800" y="640"/>
                  <a:pt x="2800" y="640"/>
                </a:cubicBezTo>
                <a:cubicBezTo>
                  <a:pt x="2800" y="641"/>
                  <a:pt x="2800" y="641"/>
                  <a:pt x="2800" y="641"/>
                </a:cubicBezTo>
                <a:cubicBezTo>
                  <a:pt x="2800" y="642"/>
                  <a:pt x="2800" y="642"/>
                  <a:pt x="2800" y="642"/>
                </a:cubicBezTo>
                <a:lnTo>
                  <a:pt x="2798" y="643"/>
                </a:lnTo>
                <a:close/>
                <a:moveTo>
                  <a:pt x="2953" y="420"/>
                </a:moveTo>
                <a:cubicBezTo>
                  <a:pt x="2952" y="419"/>
                  <a:pt x="2952" y="419"/>
                  <a:pt x="2952" y="419"/>
                </a:cubicBezTo>
                <a:cubicBezTo>
                  <a:pt x="2952" y="420"/>
                  <a:pt x="2952" y="420"/>
                  <a:pt x="2952" y="420"/>
                </a:cubicBezTo>
                <a:cubicBezTo>
                  <a:pt x="2952" y="420"/>
                  <a:pt x="2952" y="420"/>
                  <a:pt x="2952" y="420"/>
                </a:cubicBezTo>
                <a:cubicBezTo>
                  <a:pt x="2953" y="421"/>
                  <a:pt x="2953" y="421"/>
                  <a:pt x="2953" y="421"/>
                </a:cubicBezTo>
                <a:lnTo>
                  <a:pt x="2953" y="420"/>
                </a:lnTo>
                <a:close/>
                <a:moveTo>
                  <a:pt x="2960" y="363"/>
                </a:moveTo>
                <a:cubicBezTo>
                  <a:pt x="2959" y="365"/>
                  <a:pt x="2959" y="365"/>
                  <a:pt x="2959" y="365"/>
                </a:cubicBezTo>
                <a:cubicBezTo>
                  <a:pt x="2958" y="365"/>
                  <a:pt x="2958" y="365"/>
                  <a:pt x="2958" y="365"/>
                </a:cubicBezTo>
                <a:cubicBezTo>
                  <a:pt x="2958" y="366"/>
                  <a:pt x="2958" y="366"/>
                  <a:pt x="2958" y="366"/>
                </a:cubicBezTo>
                <a:cubicBezTo>
                  <a:pt x="2959" y="367"/>
                  <a:pt x="2959" y="367"/>
                  <a:pt x="2959" y="367"/>
                </a:cubicBezTo>
                <a:cubicBezTo>
                  <a:pt x="2959" y="369"/>
                  <a:pt x="2959" y="369"/>
                  <a:pt x="2959" y="369"/>
                </a:cubicBezTo>
                <a:cubicBezTo>
                  <a:pt x="2958" y="370"/>
                  <a:pt x="2958" y="370"/>
                  <a:pt x="2958" y="370"/>
                </a:cubicBezTo>
                <a:cubicBezTo>
                  <a:pt x="2959" y="370"/>
                  <a:pt x="2959" y="370"/>
                  <a:pt x="2959" y="370"/>
                </a:cubicBezTo>
                <a:cubicBezTo>
                  <a:pt x="2961" y="370"/>
                  <a:pt x="2961" y="370"/>
                  <a:pt x="2961" y="370"/>
                </a:cubicBezTo>
                <a:cubicBezTo>
                  <a:pt x="2961" y="371"/>
                  <a:pt x="2961" y="371"/>
                  <a:pt x="2961" y="371"/>
                </a:cubicBezTo>
                <a:cubicBezTo>
                  <a:pt x="2962" y="371"/>
                  <a:pt x="2962" y="371"/>
                  <a:pt x="2962" y="371"/>
                </a:cubicBezTo>
                <a:cubicBezTo>
                  <a:pt x="2962" y="369"/>
                  <a:pt x="2962" y="369"/>
                  <a:pt x="2962" y="369"/>
                </a:cubicBezTo>
                <a:cubicBezTo>
                  <a:pt x="2962" y="367"/>
                  <a:pt x="2962" y="367"/>
                  <a:pt x="2962" y="367"/>
                </a:cubicBezTo>
                <a:cubicBezTo>
                  <a:pt x="2964" y="366"/>
                  <a:pt x="2964" y="366"/>
                  <a:pt x="2964" y="366"/>
                </a:cubicBezTo>
                <a:cubicBezTo>
                  <a:pt x="2965" y="365"/>
                  <a:pt x="2965" y="365"/>
                  <a:pt x="2965" y="365"/>
                </a:cubicBezTo>
                <a:cubicBezTo>
                  <a:pt x="2965" y="363"/>
                  <a:pt x="2965" y="363"/>
                  <a:pt x="2965" y="363"/>
                </a:cubicBezTo>
                <a:cubicBezTo>
                  <a:pt x="2965" y="361"/>
                  <a:pt x="2965" y="361"/>
                  <a:pt x="2965" y="361"/>
                </a:cubicBezTo>
                <a:cubicBezTo>
                  <a:pt x="2966" y="360"/>
                  <a:pt x="2966" y="360"/>
                  <a:pt x="2966" y="360"/>
                </a:cubicBezTo>
                <a:cubicBezTo>
                  <a:pt x="2966" y="358"/>
                  <a:pt x="2966" y="358"/>
                  <a:pt x="2966" y="358"/>
                </a:cubicBezTo>
                <a:cubicBezTo>
                  <a:pt x="2963" y="355"/>
                  <a:pt x="2963" y="355"/>
                  <a:pt x="2963" y="355"/>
                </a:cubicBezTo>
                <a:cubicBezTo>
                  <a:pt x="2962" y="357"/>
                  <a:pt x="2962" y="357"/>
                  <a:pt x="2962" y="357"/>
                </a:cubicBezTo>
                <a:cubicBezTo>
                  <a:pt x="2962" y="360"/>
                  <a:pt x="2962" y="360"/>
                  <a:pt x="2962" y="360"/>
                </a:cubicBezTo>
                <a:cubicBezTo>
                  <a:pt x="2962" y="362"/>
                  <a:pt x="2962" y="362"/>
                  <a:pt x="2962" y="362"/>
                </a:cubicBezTo>
                <a:lnTo>
                  <a:pt x="2960" y="363"/>
                </a:lnTo>
                <a:close/>
                <a:moveTo>
                  <a:pt x="2951" y="427"/>
                </a:moveTo>
                <a:cubicBezTo>
                  <a:pt x="2951" y="424"/>
                  <a:pt x="2951" y="424"/>
                  <a:pt x="2951" y="424"/>
                </a:cubicBezTo>
                <a:cubicBezTo>
                  <a:pt x="2951" y="424"/>
                  <a:pt x="2951" y="424"/>
                  <a:pt x="2951" y="424"/>
                </a:cubicBezTo>
                <a:cubicBezTo>
                  <a:pt x="2950" y="425"/>
                  <a:pt x="2950" y="425"/>
                  <a:pt x="2950" y="425"/>
                </a:cubicBezTo>
                <a:cubicBezTo>
                  <a:pt x="2950" y="428"/>
                  <a:pt x="2950" y="428"/>
                  <a:pt x="2950" y="428"/>
                </a:cubicBezTo>
                <a:cubicBezTo>
                  <a:pt x="2950" y="428"/>
                  <a:pt x="2950" y="428"/>
                  <a:pt x="2950" y="428"/>
                </a:cubicBezTo>
                <a:lnTo>
                  <a:pt x="2951" y="427"/>
                </a:lnTo>
                <a:close/>
                <a:moveTo>
                  <a:pt x="2967" y="357"/>
                </a:moveTo>
                <a:cubicBezTo>
                  <a:pt x="2968" y="356"/>
                  <a:pt x="2968" y="356"/>
                  <a:pt x="2968" y="356"/>
                </a:cubicBezTo>
                <a:cubicBezTo>
                  <a:pt x="2967" y="354"/>
                  <a:pt x="2967" y="354"/>
                  <a:pt x="2967" y="354"/>
                </a:cubicBezTo>
                <a:cubicBezTo>
                  <a:pt x="2966" y="353"/>
                  <a:pt x="2966" y="353"/>
                  <a:pt x="2966" y="353"/>
                </a:cubicBezTo>
                <a:cubicBezTo>
                  <a:pt x="2965" y="354"/>
                  <a:pt x="2965" y="354"/>
                  <a:pt x="2965" y="354"/>
                </a:cubicBezTo>
                <a:cubicBezTo>
                  <a:pt x="2965" y="355"/>
                  <a:pt x="2965" y="355"/>
                  <a:pt x="2965" y="355"/>
                </a:cubicBezTo>
                <a:cubicBezTo>
                  <a:pt x="2966" y="357"/>
                  <a:pt x="2966" y="357"/>
                  <a:pt x="2966" y="357"/>
                </a:cubicBezTo>
                <a:lnTo>
                  <a:pt x="2967" y="357"/>
                </a:lnTo>
                <a:close/>
                <a:moveTo>
                  <a:pt x="3025" y="1132"/>
                </a:moveTo>
                <a:cubicBezTo>
                  <a:pt x="3024" y="1131"/>
                  <a:pt x="3024" y="1131"/>
                  <a:pt x="3024" y="1131"/>
                </a:cubicBezTo>
                <a:cubicBezTo>
                  <a:pt x="3023" y="1131"/>
                  <a:pt x="3023" y="1131"/>
                  <a:pt x="3023" y="1131"/>
                </a:cubicBezTo>
                <a:cubicBezTo>
                  <a:pt x="3022" y="1131"/>
                  <a:pt x="3022" y="1131"/>
                  <a:pt x="3022" y="1131"/>
                </a:cubicBezTo>
                <a:cubicBezTo>
                  <a:pt x="3021" y="1131"/>
                  <a:pt x="3021" y="1131"/>
                  <a:pt x="3021" y="1131"/>
                </a:cubicBezTo>
                <a:cubicBezTo>
                  <a:pt x="3020" y="1131"/>
                  <a:pt x="3020" y="1131"/>
                  <a:pt x="3020" y="1131"/>
                </a:cubicBezTo>
                <a:cubicBezTo>
                  <a:pt x="3018" y="1129"/>
                  <a:pt x="3018" y="1129"/>
                  <a:pt x="3018" y="1129"/>
                </a:cubicBezTo>
                <a:cubicBezTo>
                  <a:pt x="3018" y="1126"/>
                  <a:pt x="3018" y="1126"/>
                  <a:pt x="3018" y="1126"/>
                </a:cubicBezTo>
                <a:cubicBezTo>
                  <a:pt x="3016" y="1125"/>
                  <a:pt x="3016" y="1125"/>
                  <a:pt x="3016" y="1125"/>
                </a:cubicBezTo>
                <a:cubicBezTo>
                  <a:pt x="3014" y="1121"/>
                  <a:pt x="3014" y="1121"/>
                  <a:pt x="3014" y="1121"/>
                </a:cubicBezTo>
                <a:cubicBezTo>
                  <a:pt x="3013" y="1120"/>
                  <a:pt x="3013" y="1120"/>
                  <a:pt x="3013" y="1120"/>
                </a:cubicBezTo>
                <a:cubicBezTo>
                  <a:pt x="3013" y="1119"/>
                  <a:pt x="3013" y="1119"/>
                  <a:pt x="3013" y="1119"/>
                </a:cubicBezTo>
                <a:cubicBezTo>
                  <a:pt x="3010" y="1119"/>
                  <a:pt x="3010" y="1119"/>
                  <a:pt x="3010" y="1119"/>
                </a:cubicBezTo>
                <a:cubicBezTo>
                  <a:pt x="3009" y="1118"/>
                  <a:pt x="3009" y="1118"/>
                  <a:pt x="3009" y="1118"/>
                </a:cubicBezTo>
                <a:cubicBezTo>
                  <a:pt x="3008" y="1116"/>
                  <a:pt x="3008" y="1116"/>
                  <a:pt x="3008" y="1116"/>
                </a:cubicBezTo>
                <a:cubicBezTo>
                  <a:pt x="3006" y="1114"/>
                  <a:pt x="3006" y="1114"/>
                  <a:pt x="3006" y="1114"/>
                </a:cubicBezTo>
                <a:cubicBezTo>
                  <a:pt x="3005" y="1111"/>
                  <a:pt x="3005" y="1111"/>
                  <a:pt x="3005" y="1111"/>
                </a:cubicBezTo>
                <a:cubicBezTo>
                  <a:pt x="3004" y="1110"/>
                  <a:pt x="3004" y="1110"/>
                  <a:pt x="3004" y="1110"/>
                </a:cubicBezTo>
                <a:cubicBezTo>
                  <a:pt x="3003" y="1108"/>
                  <a:pt x="3003" y="1108"/>
                  <a:pt x="3003" y="1108"/>
                </a:cubicBezTo>
                <a:cubicBezTo>
                  <a:pt x="3003" y="1107"/>
                  <a:pt x="3003" y="1107"/>
                  <a:pt x="3003" y="1107"/>
                </a:cubicBezTo>
                <a:cubicBezTo>
                  <a:pt x="3007" y="1108"/>
                  <a:pt x="3007" y="1108"/>
                  <a:pt x="3007" y="1108"/>
                </a:cubicBezTo>
                <a:cubicBezTo>
                  <a:pt x="3011" y="1106"/>
                  <a:pt x="3011" y="1106"/>
                  <a:pt x="3011" y="1106"/>
                </a:cubicBezTo>
                <a:cubicBezTo>
                  <a:pt x="3012" y="1104"/>
                  <a:pt x="3012" y="1104"/>
                  <a:pt x="3012" y="1104"/>
                </a:cubicBezTo>
                <a:cubicBezTo>
                  <a:pt x="3011" y="1102"/>
                  <a:pt x="3011" y="1102"/>
                  <a:pt x="3011" y="1102"/>
                </a:cubicBezTo>
                <a:cubicBezTo>
                  <a:pt x="3008" y="1099"/>
                  <a:pt x="3008" y="1099"/>
                  <a:pt x="3008" y="1099"/>
                </a:cubicBezTo>
                <a:cubicBezTo>
                  <a:pt x="3006" y="1098"/>
                  <a:pt x="3006" y="1098"/>
                  <a:pt x="3006" y="1098"/>
                </a:cubicBezTo>
                <a:cubicBezTo>
                  <a:pt x="3005" y="1099"/>
                  <a:pt x="3005" y="1099"/>
                  <a:pt x="3005" y="1099"/>
                </a:cubicBezTo>
                <a:cubicBezTo>
                  <a:pt x="3003" y="1098"/>
                  <a:pt x="3003" y="1098"/>
                  <a:pt x="3003" y="1098"/>
                </a:cubicBezTo>
                <a:cubicBezTo>
                  <a:pt x="3000" y="1096"/>
                  <a:pt x="3000" y="1096"/>
                  <a:pt x="3000" y="1096"/>
                </a:cubicBezTo>
                <a:cubicBezTo>
                  <a:pt x="2998" y="1094"/>
                  <a:pt x="2998" y="1094"/>
                  <a:pt x="2998" y="1094"/>
                </a:cubicBezTo>
                <a:cubicBezTo>
                  <a:pt x="2996" y="1095"/>
                  <a:pt x="2996" y="1095"/>
                  <a:pt x="2996" y="1095"/>
                </a:cubicBezTo>
                <a:cubicBezTo>
                  <a:pt x="2991" y="1093"/>
                  <a:pt x="2991" y="1093"/>
                  <a:pt x="2991" y="1093"/>
                </a:cubicBezTo>
                <a:cubicBezTo>
                  <a:pt x="2990" y="1092"/>
                  <a:pt x="2990" y="1092"/>
                  <a:pt x="2990" y="1092"/>
                </a:cubicBezTo>
                <a:cubicBezTo>
                  <a:pt x="2992" y="1089"/>
                  <a:pt x="2992" y="1089"/>
                  <a:pt x="2992" y="1089"/>
                </a:cubicBezTo>
                <a:cubicBezTo>
                  <a:pt x="2992" y="1087"/>
                  <a:pt x="2992" y="1087"/>
                  <a:pt x="2992" y="1087"/>
                </a:cubicBezTo>
                <a:cubicBezTo>
                  <a:pt x="2991" y="1086"/>
                  <a:pt x="2991" y="1086"/>
                  <a:pt x="2991" y="1086"/>
                </a:cubicBezTo>
                <a:cubicBezTo>
                  <a:pt x="2987" y="1082"/>
                  <a:pt x="2987" y="1082"/>
                  <a:pt x="2987" y="1082"/>
                </a:cubicBezTo>
                <a:cubicBezTo>
                  <a:pt x="2986" y="1082"/>
                  <a:pt x="2986" y="1082"/>
                  <a:pt x="2986" y="1082"/>
                </a:cubicBezTo>
                <a:cubicBezTo>
                  <a:pt x="2985" y="1083"/>
                  <a:pt x="2985" y="1083"/>
                  <a:pt x="2985" y="1083"/>
                </a:cubicBezTo>
                <a:cubicBezTo>
                  <a:pt x="2984" y="1081"/>
                  <a:pt x="2984" y="1081"/>
                  <a:pt x="2984" y="1081"/>
                </a:cubicBezTo>
                <a:cubicBezTo>
                  <a:pt x="2982" y="1080"/>
                  <a:pt x="2982" y="1080"/>
                  <a:pt x="2982" y="1080"/>
                </a:cubicBezTo>
                <a:cubicBezTo>
                  <a:pt x="2982" y="1078"/>
                  <a:pt x="2982" y="1078"/>
                  <a:pt x="2982" y="1078"/>
                </a:cubicBezTo>
                <a:cubicBezTo>
                  <a:pt x="2980" y="1078"/>
                  <a:pt x="2980" y="1078"/>
                  <a:pt x="2980" y="1078"/>
                </a:cubicBezTo>
                <a:cubicBezTo>
                  <a:pt x="2978" y="1076"/>
                  <a:pt x="2978" y="1076"/>
                  <a:pt x="2978" y="1076"/>
                </a:cubicBezTo>
                <a:cubicBezTo>
                  <a:pt x="2978" y="1077"/>
                  <a:pt x="2978" y="1077"/>
                  <a:pt x="2978" y="1077"/>
                </a:cubicBezTo>
                <a:cubicBezTo>
                  <a:pt x="2976" y="1076"/>
                  <a:pt x="2976" y="1076"/>
                  <a:pt x="2976" y="1076"/>
                </a:cubicBezTo>
                <a:cubicBezTo>
                  <a:pt x="2974" y="1075"/>
                  <a:pt x="2974" y="1075"/>
                  <a:pt x="2974" y="1075"/>
                </a:cubicBezTo>
                <a:cubicBezTo>
                  <a:pt x="2971" y="1074"/>
                  <a:pt x="2971" y="1074"/>
                  <a:pt x="2971" y="1074"/>
                </a:cubicBezTo>
                <a:cubicBezTo>
                  <a:pt x="2969" y="1073"/>
                  <a:pt x="2969" y="1073"/>
                  <a:pt x="2969" y="1073"/>
                </a:cubicBezTo>
                <a:cubicBezTo>
                  <a:pt x="2965" y="1071"/>
                  <a:pt x="2965" y="1071"/>
                  <a:pt x="2965" y="1071"/>
                </a:cubicBezTo>
                <a:cubicBezTo>
                  <a:pt x="2960" y="1070"/>
                  <a:pt x="2960" y="1070"/>
                  <a:pt x="2960" y="1070"/>
                </a:cubicBezTo>
                <a:cubicBezTo>
                  <a:pt x="2958" y="1070"/>
                  <a:pt x="2958" y="1070"/>
                  <a:pt x="2958" y="1070"/>
                </a:cubicBezTo>
                <a:cubicBezTo>
                  <a:pt x="2957" y="1068"/>
                  <a:pt x="2957" y="1068"/>
                  <a:pt x="2957" y="1068"/>
                </a:cubicBezTo>
                <a:cubicBezTo>
                  <a:pt x="2956" y="1068"/>
                  <a:pt x="2956" y="1068"/>
                  <a:pt x="2956" y="1068"/>
                </a:cubicBezTo>
                <a:cubicBezTo>
                  <a:pt x="2955" y="1069"/>
                  <a:pt x="2955" y="1069"/>
                  <a:pt x="2955" y="1069"/>
                </a:cubicBezTo>
                <a:cubicBezTo>
                  <a:pt x="2951" y="1067"/>
                  <a:pt x="2951" y="1067"/>
                  <a:pt x="2951" y="1067"/>
                </a:cubicBezTo>
                <a:cubicBezTo>
                  <a:pt x="2950" y="1066"/>
                  <a:pt x="2950" y="1066"/>
                  <a:pt x="2950" y="1066"/>
                </a:cubicBezTo>
                <a:cubicBezTo>
                  <a:pt x="2948" y="1065"/>
                  <a:pt x="2948" y="1065"/>
                  <a:pt x="2948" y="1065"/>
                </a:cubicBezTo>
                <a:cubicBezTo>
                  <a:pt x="2945" y="1064"/>
                  <a:pt x="2945" y="1064"/>
                  <a:pt x="2945" y="1064"/>
                </a:cubicBezTo>
                <a:cubicBezTo>
                  <a:pt x="2943" y="1064"/>
                  <a:pt x="2943" y="1064"/>
                  <a:pt x="2943" y="1064"/>
                </a:cubicBezTo>
                <a:cubicBezTo>
                  <a:pt x="2943" y="1064"/>
                  <a:pt x="2943" y="1064"/>
                  <a:pt x="2943" y="1064"/>
                </a:cubicBezTo>
                <a:cubicBezTo>
                  <a:pt x="2941" y="1064"/>
                  <a:pt x="2941" y="1064"/>
                  <a:pt x="2941" y="1064"/>
                </a:cubicBezTo>
                <a:cubicBezTo>
                  <a:pt x="2940" y="1064"/>
                  <a:pt x="2940" y="1064"/>
                  <a:pt x="2940" y="1064"/>
                </a:cubicBezTo>
                <a:cubicBezTo>
                  <a:pt x="2940" y="1063"/>
                  <a:pt x="2940" y="1063"/>
                  <a:pt x="2940" y="1063"/>
                </a:cubicBezTo>
                <a:cubicBezTo>
                  <a:pt x="2940" y="1062"/>
                  <a:pt x="2940" y="1062"/>
                  <a:pt x="2940" y="1062"/>
                </a:cubicBezTo>
                <a:cubicBezTo>
                  <a:pt x="2939" y="1061"/>
                  <a:pt x="2939" y="1061"/>
                  <a:pt x="2939" y="1061"/>
                </a:cubicBezTo>
                <a:cubicBezTo>
                  <a:pt x="2937" y="1061"/>
                  <a:pt x="2937" y="1061"/>
                  <a:pt x="2937" y="1061"/>
                </a:cubicBezTo>
                <a:cubicBezTo>
                  <a:pt x="2934" y="1060"/>
                  <a:pt x="2934" y="1060"/>
                  <a:pt x="2934" y="1060"/>
                </a:cubicBezTo>
                <a:cubicBezTo>
                  <a:pt x="2933" y="1060"/>
                  <a:pt x="2933" y="1060"/>
                  <a:pt x="2933" y="1060"/>
                </a:cubicBezTo>
                <a:cubicBezTo>
                  <a:pt x="2932" y="1060"/>
                  <a:pt x="2932" y="1060"/>
                  <a:pt x="2932" y="1060"/>
                </a:cubicBezTo>
                <a:cubicBezTo>
                  <a:pt x="2926" y="1058"/>
                  <a:pt x="2926" y="1058"/>
                  <a:pt x="2926" y="1058"/>
                </a:cubicBezTo>
                <a:cubicBezTo>
                  <a:pt x="2923" y="1057"/>
                  <a:pt x="2923" y="1057"/>
                  <a:pt x="2923" y="1057"/>
                </a:cubicBezTo>
                <a:cubicBezTo>
                  <a:pt x="2921" y="1057"/>
                  <a:pt x="2921" y="1057"/>
                  <a:pt x="2921" y="1057"/>
                </a:cubicBezTo>
                <a:cubicBezTo>
                  <a:pt x="2919" y="1055"/>
                  <a:pt x="2919" y="1055"/>
                  <a:pt x="2919" y="1055"/>
                </a:cubicBezTo>
                <a:cubicBezTo>
                  <a:pt x="2916" y="1054"/>
                  <a:pt x="2916" y="1054"/>
                  <a:pt x="2916" y="1054"/>
                </a:cubicBezTo>
                <a:cubicBezTo>
                  <a:pt x="2913" y="1053"/>
                  <a:pt x="2913" y="1053"/>
                  <a:pt x="2913" y="1053"/>
                </a:cubicBezTo>
                <a:cubicBezTo>
                  <a:pt x="2911" y="1051"/>
                  <a:pt x="2911" y="1051"/>
                  <a:pt x="2911" y="1051"/>
                </a:cubicBezTo>
                <a:cubicBezTo>
                  <a:pt x="2909" y="1051"/>
                  <a:pt x="2909" y="1051"/>
                  <a:pt x="2909" y="1051"/>
                </a:cubicBezTo>
                <a:cubicBezTo>
                  <a:pt x="2904" y="1054"/>
                  <a:pt x="2904" y="1054"/>
                  <a:pt x="2904" y="1054"/>
                </a:cubicBezTo>
                <a:cubicBezTo>
                  <a:pt x="2903" y="1055"/>
                  <a:pt x="2903" y="1055"/>
                  <a:pt x="2903" y="1055"/>
                </a:cubicBezTo>
                <a:cubicBezTo>
                  <a:pt x="2904" y="1057"/>
                  <a:pt x="2904" y="1057"/>
                  <a:pt x="2904" y="1057"/>
                </a:cubicBezTo>
                <a:cubicBezTo>
                  <a:pt x="2904" y="1058"/>
                  <a:pt x="2904" y="1058"/>
                  <a:pt x="2904" y="1058"/>
                </a:cubicBezTo>
                <a:cubicBezTo>
                  <a:pt x="2901" y="1059"/>
                  <a:pt x="2901" y="1059"/>
                  <a:pt x="2901" y="1059"/>
                </a:cubicBezTo>
                <a:cubicBezTo>
                  <a:pt x="2899" y="1059"/>
                  <a:pt x="2899" y="1059"/>
                  <a:pt x="2899" y="1059"/>
                </a:cubicBezTo>
                <a:cubicBezTo>
                  <a:pt x="2898" y="1060"/>
                  <a:pt x="2898" y="1060"/>
                  <a:pt x="2898" y="1060"/>
                </a:cubicBezTo>
                <a:cubicBezTo>
                  <a:pt x="2897" y="1059"/>
                  <a:pt x="2897" y="1059"/>
                  <a:pt x="2897" y="1059"/>
                </a:cubicBezTo>
                <a:cubicBezTo>
                  <a:pt x="2896" y="1060"/>
                  <a:pt x="2896" y="1060"/>
                  <a:pt x="2896" y="1060"/>
                </a:cubicBezTo>
                <a:cubicBezTo>
                  <a:pt x="2896" y="1062"/>
                  <a:pt x="2896" y="1062"/>
                  <a:pt x="2896" y="1062"/>
                </a:cubicBezTo>
                <a:cubicBezTo>
                  <a:pt x="2894" y="1063"/>
                  <a:pt x="2894" y="1063"/>
                  <a:pt x="2894" y="1063"/>
                </a:cubicBezTo>
                <a:cubicBezTo>
                  <a:pt x="2892" y="1063"/>
                  <a:pt x="2892" y="1063"/>
                  <a:pt x="2892" y="1063"/>
                </a:cubicBezTo>
                <a:cubicBezTo>
                  <a:pt x="2891" y="1065"/>
                  <a:pt x="2891" y="1065"/>
                  <a:pt x="2891" y="1065"/>
                </a:cubicBezTo>
                <a:cubicBezTo>
                  <a:pt x="2891" y="1068"/>
                  <a:pt x="2891" y="1068"/>
                  <a:pt x="2891" y="1068"/>
                </a:cubicBezTo>
                <a:cubicBezTo>
                  <a:pt x="2889" y="1068"/>
                  <a:pt x="2889" y="1068"/>
                  <a:pt x="2889" y="1068"/>
                </a:cubicBezTo>
                <a:cubicBezTo>
                  <a:pt x="2888" y="1069"/>
                  <a:pt x="2888" y="1069"/>
                  <a:pt x="2888" y="1069"/>
                </a:cubicBezTo>
                <a:cubicBezTo>
                  <a:pt x="2888" y="1071"/>
                  <a:pt x="2888" y="1071"/>
                  <a:pt x="2888" y="1071"/>
                </a:cubicBezTo>
                <a:cubicBezTo>
                  <a:pt x="2886" y="1072"/>
                  <a:pt x="2886" y="1072"/>
                  <a:pt x="2886" y="1072"/>
                </a:cubicBezTo>
                <a:cubicBezTo>
                  <a:pt x="2884" y="1072"/>
                  <a:pt x="2884" y="1072"/>
                  <a:pt x="2884" y="1072"/>
                </a:cubicBezTo>
                <a:cubicBezTo>
                  <a:pt x="2883" y="1071"/>
                  <a:pt x="2883" y="1071"/>
                  <a:pt x="2883" y="1071"/>
                </a:cubicBezTo>
                <a:cubicBezTo>
                  <a:pt x="2881" y="1069"/>
                  <a:pt x="2881" y="1069"/>
                  <a:pt x="2881" y="1069"/>
                </a:cubicBezTo>
                <a:cubicBezTo>
                  <a:pt x="2880" y="1067"/>
                  <a:pt x="2880" y="1067"/>
                  <a:pt x="2880" y="1067"/>
                </a:cubicBezTo>
                <a:cubicBezTo>
                  <a:pt x="2879" y="1068"/>
                  <a:pt x="2879" y="1068"/>
                  <a:pt x="2879" y="1068"/>
                </a:cubicBezTo>
                <a:cubicBezTo>
                  <a:pt x="2879" y="1066"/>
                  <a:pt x="2879" y="1066"/>
                  <a:pt x="2879" y="1066"/>
                </a:cubicBezTo>
                <a:cubicBezTo>
                  <a:pt x="2879" y="1064"/>
                  <a:pt x="2879" y="1064"/>
                  <a:pt x="2879" y="1064"/>
                </a:cubicBezTo>
                <a:cubicBezTo>
                  <a:pt x="2878" y="1063"/>
                  <a:pt x="2878" y="1063"/>
                  <a:pt x="2878" y="1063"/>
                </a:cubicBezTo>
                <a:cubicBezTo>
                  <a:pt x="2877" y="1064"/>
                  <a:pt x="2877" y="1064"/>
                  <a:pt x="2877" y="1064"/>
                </a:cubicBezTo>
                <a:cubicBezTo>
                  <a:pt x="2877" y="1066"/>
                  <a:pt x="2877" y="1066"/>
                  <a:pt x="2877" y="1066"/>
                </a:cubicBezTo>
                <a:cubicBezTo>
                  <a:pt x="2876" y="1066"/>
                  <a:pt x="2876" y="1066"/>
                  <a:pt x="2876" y="1066"/>
                </a:cubicBezTo>
                <a:cubicBezTo>
                  <a:pt x="2875" y="1065"/>
                  <a:pt x="2875" y="1065"/>
                  <a:pt x="2875" y="1065"/>
                </a:cubicBezTo>
                <a:cubicBezTo>
                  <a:pt x="2874" y="1063"/>
                  <a:pt x="2874" y="1063"/>
                  <a:pt x="2874" y="1063"/>
                </a:cubicBezTo>
                <a:cubicBezTo>
                  <a:pt x="2874" y="1058"/>
                  <a:pt x="2874" y="1058"/>
                  <a:pt x="2874" y="1058"/>
                </a:cubicBezTo>
                <a:cubicBezTo>
                  <a:pt x="2873" y="1055"/>
                  <a:pt x="2873" y="1055"/>
                  <a:pt x="2873" y="1055"/>
                </a:cubicBezTo>
                <a:cubicBezTo>
                  <a:pt x="2874" y="1053"/>
                  <a:pt x="2874" y="1053"/>
                  <a:pt x="2874" y="1053"/>
                </a:cubicBezTo>
                <a:cubicBezTo>
                  <a:pt x="2875" y="1052"/>
                  <a:pt x="2875" y="1052"/>
                  <a:pt x="2875" y="1052"/>
                </a:cubicBezTo>
                <a:cubicBezTo>
                  <a:pt x="2875" y="1050"/>
                  <a:pt x="2875" y="1050"/>
                  <a:pt x="2875" y="1050"/>
                </a:cubicBezTo>
                <a:cubicBezTo>
                  <a:pt x="2873" y="1048"/>
                  <a:pt x="2873" y="1048"/>
                  <a:pt x="2873" y="1048"/>
                </a:cubicBezTo>
                <a:cubicBezTo>
                  <a:pt x="2873" y="1046"/>
                  <a:pt x="2873" y="1046"/>
                  <a:pt x="2873" y="1046"/>
                </a:cubicBezTo>
                <a:cubicBezTo>
                  <a:pt x="2873" y="1045"/>
                  <a:pt x="2873" y="1045"/>
                  <a:pt x="2873" y="1045"/>
                </a:cubicBezTo>
                <a:cubicBezTo>
                  <a:pt x="2873" y="1044"/>
                  <a:pt x="2873" y="1044"/>
                  <a:pt x="2873" y="1044"/>
                </a:cubicBezTo>
                <a:cubicBezTo>
                  <a:pt x="2869" y="1043"/>
                  <a:pt x="2869" y="1043"/>
                  <a:pt x="2869" y="1043"/>
                </a:cubicBezTo>
                <a:cubicBezTo>
                  <a:pt x="2866" y="1044"/>
                  <a:pt x="2866" y="1044"/>
                  <a:pt x="2866" y="1044"/>
                </a:cubicBezTo>
                <a:cubicBezTo>
                  <a:pt x="2863" y="1041"/>
                  <a:pt x="2863" y="1041"/>
                  <a:pt x="2863" y="1041"/>
                </a:cubicBezTo>
                <a:cubicBezTo>
                  <a:pt x="2858" y="1039"/>
                  <a:pt x="2858" y="1039"/>
                  <a:pt x="2858" y="1039"/>
                </a:cubicBezTo>
                <a:cubicBezTo>
                  <a:pt x="2854" y="1040"/>
                  <a:pt x="2854" y="1040"/>
                  <a:pt x="2854" y="1040"/>
                </a:cubicBezTo>
                <a:cubicBezTo>
                  <a:pt x="2854" y="1041"/>
                  <a:pt x="2854" y="1041"/>
                  <a:pt x="2854" y="1041"/>
                </a:cubicBezTo>
                <a:cubicBezTo>
                  <a:pt x="2851" y="1043"/>
                  <a:pt x="2851" y="1043"/>
                  <a:pt x="2851" y="1043"/>
                </a:cubicBezTo>
                <a:cubicBezTo>
                  <a:pt x="2849" y="1043"/>
                  <a:pt x="2849" y="1043"/>
                  <a:pt x="2849" y="1043"/>
                </a:cubicBezTo>
                <a:cubicBezTo>
                  <a:pt x="2848" y="1045"/>
                  <a:pt x="2848" y="1045"/>
                  <a:pt x="2848" y="1045"/>
                </a:cubicBezTo>
                <a:cubicBezTo>
                  <a:pt x="2845" y="1045"/>
                  <a:pt x="2845" y="1045"/>
                  <a:pt x="2845" y="1045"/>
                </a:cubicBezTo>
                <a:cubicBezTo>
                  <a:pt x="2844" y="1046"/>
                  <a:pt x="2844" y="1046"/>
                  <a:pt x="2844" y="1046"/>
                </a:cubicBezTo>
                <a:cubicBezTo>
                  <a:pt x="2844" y="1047"/>
                  <a:pt x="2844" y="1047"/>
                  <a:pt x="2844" y="1047"/>
                </a:cubicBezTo>
                <a:cubicBezTo>
                  <a:pt x="2844" y="1049"/>
                  <a:pt x="2844" y="1049"/>
                  <a:pt x="2844" y="1049"/>
                </a:cubicBezTo>
                <a:cubicBezTo>
                  <a:pt x="2842" y="1050"/>
                  <a:pt x="2842" y="1050"/>
                  <a:pt x="2842" y="1050"/>
                </a:cubicBezTo>
                <a:cubicBezTo>
                  <a:pt x="2841" y="1052"/>
                  <a:pt x="2841" y="1052"/>
                  <a:pt x="2841" y="1052"/>
                </a:cubicBezTo>
                <a:cubicBezTo>
                  <a:pt x="2844" y="1052"/>
                  <a:pt x="2844" y="1052"/>
                  <a:pt x="2844" y="1052"/>
                </a:cubicBezTo>
                <a:cubicBezTo>
                  <a:pt x="2845" y="1051"/>
                  <a:pt x="2845" y="1051"/>
                  <a:pt x="2845" y="1051"/>
                </a:cubicBezTo>
                <a:cubicBezTo>
                  <a:pt x="2846" y="1050"/>
                  <a:pt x="2846" y="1050"/>
                  <a:pt x="2846" y="1050"/>
                </a:cubicBezTo>
                <a:cubicBezTo>
                  <a:pt x="2847" y="1051"/>
                  <a:pt x="2847" y="1051"/>
                  <a:pt x="2847" y="1051"/>
                </a:cubicBezTo>
                <a:cubicBezTo>
                  <a:pt x="2850" y="1053"/>
                  <a:pt x="2850" y="1053"/>
                  <a:pt x="2850" y="1053"/>
                </a:cubicBezTo>
                <a:cubicBezTo>
                  <a:pt x="2851" y="1055"/>
                  <a:pt x="2851" y="1055"/>
                  <a:pt x="2851" y="1055"/>
                </a:cubicBezTo>
                <a:cubicBezTo>
                  <a:pt x="2851" y="1056"/>
                  <a:pt x="2851" y="1056"/>
                  <a:pt x="2851" y="1056"/>
                </a:cubicBezTo>
                <a:cubicBezTo>
                  <a:pt x="2851" y="1058"/>
                  <a:pt x="2851" y="1058"/>
                  <a:pt x="2851" y="1058"/>
                </a:cubicBezTo>
                <a:cubicBezTo>
                  <a:pt x="2853" y="1060"/>
                  <a:pt x="2853" y="1060"/>
                  <a:pt x="2853" y="1060"/>
                </a:cubicBezTo>
                <a:cubicBezTo>
                  <a:pt x="2855" y="1060"/>
                  <a:pt x="2855" y="1060"/>
                  <a:pt x="2855" y="1060"/>
                </a:cubicBezTo>
                <a:cubicBezTo>
                  <a:pt x="2857" y="1059"/>
                  <a:pt x="2857" y="1059"/>
                  <a:pt x="2857" y="1059"/>
                </a:cubicBezTo>
                <a:cubicBezTo>
                  <a:pt x="2858" y="1060"/>
                  <a:pt x="2858" y="1060"/>
                  <a:pt x="2858" y="1060"/>
                </a:cubicBezTo>
                <a:cubicBezTo>
                  <a:pt x="2859" y="1060"/>
                  <a:pt x="2859" y="1060"/>
                  <a:pt x="2859" y="1060"/>
                </a:cubicBezTo>
                <a:cubicBezTo>
                  <a:pt x="2861" y="1060"/>
                  <a:pt x="2861" y="1060"/>
                  <a:pt x="2861" y="1060"/>
                </a:cubicBezTo>
                <a:cubicBezTo>
                  <a:pt x="2864" y="1059"/>
                  <a:pt x="2864" y="1059"/>
                  <a:pt x="2864" y="1059"/>
                </a:cubicBezTo>
                <a:cubicBezTo>
                  <a:pt x="2865" y="1060"/>
                  <a:pt x="2865" y="1060"/>
                  <a:pt x="2865" y="1060"/>
                </a:cubicBezTo>
                <a:cubicBezTo>
                  <a:pt x="2866" y="1059"/>
                  <a:pt x="2866" y="1059"/>
                  <a:pt x="2866" y="1059"/>
                </a:cubicBezTo>
                <a:cubicBezTo>
                  <a:pt x="2865" y="1058"/>
                  <a:pt x="2865" y="1058"/>
                  <a:pt x="2865" y="1058"/>
                </a:cubicBezTo>
                <a:cubicBezTo>
                  <a:pt x="2870" y="1059"/>
                  <a:pt x="2870" y="1059"/>
                  <a:pt x="2870" y="1059"/>
                </a:cubicBezTo>
                <a:cubicBezTo>
                  <a:pt x="2871" y="1060"/>
                  <a:pt x="2871" y="1060"/>
                  <a:pt x="2871" y="1060"/>
                </a:cubicBezTo>
                <a:cubicBezTo>
                  <a:pt x="2871" y="1062"/>
                  <a:pt x="2871" y="1062"/>
                  <a:pt x="2871" y="1062"/>
                </a:cubicBezTo>
                <a:cubicBezTo>
                  <a:pt x="2870" y="1062"/>
                  <a:pt x="2870" y="1062"/>
                  <a:pt x="2870" y="1062"/>
                </a:cubicBezTo>
                <a:cubicBezTo>
                  <a:pt x="2869" y="1064"/>
                  <a:pt x="2869" y="1064"/>
                  <a:pt x="2869" y="1064"/>
                </a:cubicBezTo>
                <a:cubicBezTo>
                  <a:pt x="2868" y="1066"/>
                  <a:pt x="2868" y="1066"/>
                  <a:pt x="2868" y="1066"/>
                </a:cubicBezTo>
                <a:cubicBezTo>
                  <a:pt x="2866" y="1064"/>
                  <a:pt x="2866" y="1064"/>
                  <a:pt x="2866" y="1064"/>
                </a:cubicBezTo>
                <a:cubicBezTo>
                  <a:pt x="2863" y="1062"/>
                  <a:pt x="2863" y="1062"/>
                  <a:pt x="2863" y="1062"/>
                </a:cubicBezTo>
                <a:cubicBezTo>
                  <a:pt x="2862" y="1063"/>
                  <a:pt x="2862" y="1063"/>
                  <a:pt x="2862" y="1063"/>
                </a:cubicBezTo>
                <a:cubicBezTo>
                  <a:pt x="2861" y="1065"/>
                  <a:pt x="2861" y="1065"/>
                  <a:pt x="2861" y="1065"/>
                </a:cubicBezTo>
                <a:cubicBezTo>
                  <a:pt x="2859" y="1066"/>
                  <a:pt x="2859" y="1066"/>
                  <a:pt x="2859" y="1066"/>
                </a:cubicBezTo>
                <a:cubicBezTo>
                  <a:pt x="2858" y="1066"/>
                  <a:pt x="2858" y="1066"/>
                  <a:pt x="2858" y="1066"/>
                </a:cubicBezTo>
                <a:cubicBezTo>
                  <a:pt x="2855" y="1065"/>
                  <a:pt x="2855" y="1065"/>
                  <a:pt x="2855" y="1065"/>
                </a:cubicBezTo>
                <a:cubicBezTo>
                  <a:pt x="2855" y="1064"/>
                  <a:pt x="2855" y="1064"/>
                  <a:pt x="2855" y="1064"/>
                </a:cubicBezTo>
                <a:cubicBezTo>
                  <a:pt x="2852" y="1065"/>
                  <a:pt x="2852" y="1065"/>
                  <a:pt x="2852" y="1065"/>
                </a:cubicBezTo>
                <a:cubicBezTo>
                  <a:pt x="2851" y="1066"/>
                  <a:pt x="2851" y="1066"/>
                  <a:pt x="2851" y="1066"/>
                </a:cubicBezTo>
                <a:cubicBezTo>
                  <a:pt x="2852" y="1067"/>
                  <a:pt x="2852" y="1067"/>
                  <a:pt x="2852" y="1067"/>
                </a:cubicBezTo>
                <a:cubicBezTo>
                  <a:pt x="2854" y="1068"/>
                  <a:pt x="2854" y="1068"/>
                  <a:pt x="2854" y="1068"/>
                </a:cubicBezTo>
                <a:cubicBezTo>
                  <a:pt x="2856" y="1069"/>
                  <a:pt x="2856" y="1069"/>
                  <a:pt x="2856" y="1069"/>
                </a:cubicBezTo>
                <a:cubicBezTo>
                  <a:pt x="2857" y="1071"/>
                  <a:pt x="2857" y="1071"/>
                  <a:pt x="2857" y="1071"/>
                </a:cubicBezTo>
                <a:cubicBezTo>
                  <a:pt x="2858" y="1072"/>
                  <a:pt x="2858" y="1072"/>
                  <a:pt x="2858" y="1072"/>
                </a:cubicBezTo>
                <a:cubicBezTo>
                  <a:pt x="2859" y="1071"/>
                  <a:pt x="2859" y="1071"/>
                  <a:pt x="2859" y="1071"/>
                </a:cubicBezTo>
                <a:cubicBezTo>
                  <a:pt x="2859" y="1073"/>
                  <a:pt x="2859" y="1073"/>
                  <a:pt x="2859" y="1073"/>
                </a:cubicBezTo>
                <a:cubicBezTo>
                  <a:pt x="2859" y="1074"/>
                  <a:pt x="2859" y="1074"/>
                  <a:pt x="2859" y="1074"/>
                </a:cubicBezTo>
                <a:cubicBezTo>
                  <a:pt x="2858" y="1074"/>
                  <a:pt x="2858" y="1074"/>
                  <a:pt x="2858" y="1074"/>
                </a:cubicBezTo>
                <a:cubicBezTo>
                  <a:pt x="2858" y="1076"/>
                  <a:pt x="2858" y="1076"/>
                  <a:pt x="2858" y="1076"/>
                </a:cubicBezTo>
                <a:cubicBezTo>
                  <a:pt x="2860" y="1079"/>
                  <a:pt x="2860" y="1079"/>
                  <a:pt x="2860" y="1079"/>
                </a:cubicBezTo>
                <a:cubicBezTo>
                  <a:pt x="2861" y="1080"/>
                  <a:pt x="2861" y="1080"/>
                  <a:pt x="2861" y="1080"/>
                </a:cubicBezTo>
                <a:cubicBezTo>
                  <a:pt x="2863" y="1079"/>
                  <a:pt x="2863" y="1079"/>
                  <a:pt x="2863" y="1079"/>
                </a:cubicBezTo>
                <a:cubicBezTo>
                  <a:pt x="2865" y="1077"/>
                  <a:pt x="2865" y="1077"/>
                  <a:pt x="2865" y="1077"/>
                </a:cubicBezTo>
                <a:cubicBezTo>
                  <a:pt x="2865" y="1075"/>
                  <a:pt x="2865" y="1075"/>
                  <a:pt x="2865" y="1075"/>
                </a:cubicBezTo>
                <a:cubicBezTo>
                  <a:pt x="2867" y="1072"/>
                  <a:pt x="2867" y="1072"/>
                  <a:pt x="2867" y="1072"/>
                </a:cubicBezTo>
                <a:cubicBezTo>
                  <a:pt x="2868" y="1072"/>
                  <a:pt x="2868" y="1072"/>
                  <a:pt x="2868" y="1072"/>
                </a:cubicBezTo>
                <a:cubicBezTo>
                  <a:pt x="2868" y="1070"/>
                  <a:pt x="2868" y="1070"/>
                  <a:pt x="2868" y="1070"/>
                </a:cubicBezTo>
                <a:cubicBezTo>
                  <a:pt x="2869" y="1068"/>
                  <a:pt x="2869" y="1068"/>
                  <a:pt x="2869" y="1068"/>
                </a:cubicBezTo>
                <a:cubicBezTo>
                  <a:pt x="2870" y="1066"/>
                  <a:pt x="2870" y="1066"/>
                  <a:pt x="2870" y="1066"/>
                </a:cubicBezTo>
                <a:cubicBezTo>
                  <a:pt x="2870" y="1069"/>
                  <a:pt x="2870" y="1069"/>
                  <a:pt x="2870" y="1069"/>
                </a:cubicBezTo>
                <a:cubicBezTo>
                  <a:pt x="2869" y="1070"/>
                  <a:pt x="2869" y="1070"/>
                  <a:pt x="2869" y="1070"/>
                </a:cubicBezTo>
                <a:cubicBezTo>
                  <a:pt x="2869" y="1072"/>
                  <a:pt x="2869" y="1072"/>
                  <a:pt x="2869" y="1072"/>
                </a:cubicBezTo>
                <a:cubicBezTo>
                  <a:pt x="2870" y="1075"/>
                  <a:pt x="2870" y="1075"/>
                  <a:pt x="2870" y="1075"/>
                </a:cubicBezTo>
                <a:cubicBezTo>
                  <a:pt x="2871" y="1076"/>
                  <a:pt x="2871" y="1076"/>
                  <a:pt x="2871" y="1076"/>
                </a:cubicBezTo>
                <a:cubicBezTo>
                  <a:pt x="2872" y="1075"/>
                  <a:pt x="2872" y="1075"/>
                  <a:pt x="2872" y="1075"/>
                </a:cubicBezTo>
                <a:cubicBezTo>
                  <a:pt x="2872" y="1075"/>
                  <a:pt x="2872" y="1075"/>
                  <a:pt x="2872" y="1075"/>
                </a:cubicBezTo>
                <a:cubicBezTo>
                  <a:pt x="2873" y="1075"/>
                  <a:pt x="2873" y="1075"/>
                  <a:pt x="2873" y="1075"/>
                </a:cubicBezTo>
                <a:cubicBezTo>
                  <a:pt x="2874" y="1077"/>
                  <a:pt x="2874" y="1077"/>
                  <a:pt x="2874" y="1077"/>
                </a:cubicBezTo>
                <a:cubicBezTo>
                  <a:pt x="2875" y="1076"/>
                  <a:pt x="2875" y="1076"/>
                  <a:pt x="2875" y="1076"/>
                </a:cubicBezTo>
                <a:cubicBezTo>
                  <a:pt x="2875" y="1077"/>
                  <a:pt x="2875" y="1077"/>
                  <a:pt x="2875" y="1077"/>
                </a:cubicBezTo>
                <a:cubicBezTo>
                  <a:pt x="2876" y="1077"/>
                  <a:pt x="2876" y="1077"/>
                  <a:pt x="2876" y="1077"/>
                </a:cubicBezTo>
                <a:cubicBezTo>
                  <a:pt x="2877" y="1078"/>
                  <a:pt x="2877" y="1078"/>
                  <a:pt x="2877" y="1078"/>
                </a:cubicBezTo>
                <a:cubicBezTo>
                  <a:pt x="2879" y="1077"/>
                  <a:pt x="2879" y="1077"/>
                  <a:pt x="2879" y="1077"/>
                </a:cubicBezTo>
                <a:cubicBezTo>
                  <a:pt x="2880" y="1077"/>
                  <a:pt x="2880" y="1077"/>
                  <a:pt x="2880" y="1077"/>
                </a:cubicBezTo>
                <a:cubicBezTo>
                  <a:pt x="2880" y="1078"/>
                  <a:pt x="2880" y="1078"/>
                  <a:pt x="2880" y="1078"/>
                </a:cubicBezTo>
                <a:cubicBezTo>
                  <a:pt x="2880" y="1078"/>
                  <a:pt x="2880" y="1078"/>
                  <a:pt x="2880" y="1078"/>
                </a:cubicBezTo>
                <a:cubicBezTo>
                  <a:pt x="2878" y="1078"/>
                  <a:pt x="2878" y="1078"/>
                  <a:pt x="2878" y="1078"/>
                </a:cubicBezTo>
                <a:cubicBezTo>
                  <a:pt x="2878" y="1079"/>
                  <a:pt x="2878" y="1079"/>
                  <a:pt x="2878" y="1079"/>
                </a:cubicBezTo>
                <a:cubicBezTo>
                  <a:pt x="2880" y="1080"/>
                  <a:pt x="2880" y="1080"/>
                  <a:pt x="2880" y="1080"/>
                </a:cubicBezTo>
                <a:cubicBezTo>
                  <a:pt x="2880" y="1081"/>
                  <a:pt x="2880" y="1081"/>
                  <a:pt x="2880" y="1081"/>
                </a:cubicBezTo>
                <a:cubicBezTo>
                  <a:pt x="2881" y="1082"/>
                  <a:pt x="2881" y="1082"/>
                  <a:pt x="2881" y="1082"/>
                </a:cubicBezTo>
                <a:cubicBezTo>
                  <a:pt x="2883" y="1083"/>
                  <a:pt x="2883" y="1083"/>
                  <a:pt x="2883" y="1083"/>
                </a:cubicBezTo>
                <a:cubicBezTo>
                  <a:pt x="2886" y="1083"/>
                  <a:pt x="2886" y="1083"/>
                  <a:pt x="2886" y="1083"/>
                </a:cubicBezTo>
                <a:cubicBezTo>
                  <a:pt x="2893" y="1085"/>
                  <a:pt x="2893" y="1085"/>
                  <a:pt x="2893" y="1085"/>
                </a:cubicBezTo>
                <a:cubicBezTo>
                  <a:pt x="2899" y="1087"/>
                  <a:pt x="2899" y="1087"/>
                  <a:pt x="2899" y="1087"/>
                </a:cubicBezTo>
                <a:cubicBezTo>
                  <a:pt x="2900" y="1086"/>
                  <a:pt x="2900" y="1086"/>
                  <a:pt x="2900" y="1086"/>
                </a:cubicBezTo>
                <a:cubicBezTo>
                  <a:pt x="2903" y="1087"/>
                  <a:pt x="2903" y="1087"/>
                  <a:pt x="2903" y="1087"/>
                </a:cubicBezTo>
                <a:cubicBezTo>
                  <a:pt x="2904" y="1089"/>
                  <a:pt x="2904" y="1089"/>
                  <a:pt x="2904" y="1089"/>
                </a:cubicBezTo>
                <a:cubicBezTo>
                  <a:pt x="2907" y="1090"/>
                  <a:pt x="2907" y="1090"/>
                  <a:pt x="2907" y="1090"/>
                </a:cubicBezTo>
                <a:cubicBezTo>
                  <a:pt x="2908" y="1090"/>
                  <a:pt x="2908" y="1090"/>
                  <a:pt x="2908" y="1090"/>
                </a:cubicBezTo>
                <a:cubicBezTo>
                  <a:pt x="2910" y="1089"/>
                  <a:pt x="2910" y="1089"/>
                  <a:pt x="2910" y="1089"/>
                </a:cubicBezTo>
                <a:cubicBezTo>
                  <a:pt x="2908" y="1091"/>
                  <a:pt x="2908" y="1091"/>
                  <a:pt x="2908" y="1091"/>
                </a:cubicBezTo>
                <a:cubicBezTo>
                  <a:pt x="2909" y="1092"/>
                  <a:pt x="2909" y="1092"/>
                  <a:pt x="2909" y="1092"/>
                </a:cubicBezTo>
                <a:cubicBezTo>
                  <a:pt x="2910" y="1091"/>
                  <a:pt x="2910" y="1091"/>
                  <a:pt x="2910" y="1091"/>
                </a:cubicBezTo>
                <a:cubicBezTo>
                  <a:pt x="2911" y="1092"/>
                  <a:pt x="2911" y="1092"/>
                  <a:pt x="2911" y="1092"/>
                </a:cubicBezTo>
                <a:cubicBezTo>
                  <a:pt x="2913" y="1092"/>
                  <a:pt x="2913" y="1092"/>
                  <a:pt x="2913" y="1092"/>
                </a:cubicBezTo>
                <a:cubicBezTo>
                  <a:pt x="2912" y="1093"/>
                  <a:pt x="2912" y="1093"/>
                  <a:pt x="2912" y="1093"/>
                </a:cubicBezTo>
                <a:cubicBezTo>
                  <a:pt x="2912" y="1094"/>
                  <a:pt x="2912" y="1094"/>
                  <a:pt x="2912" y="1094"/>
                </a:cubicBezTo>
                <a:cubicBezTo>
                  <a:pt x="2912" y="1095"/>
                  <a:pt x="2912" y="1095"/>
                  <a:pt x="2912" y="1095"/>
                </a:cubicBezTo>
                <a:cubicBezTo>
                  <a:pt x="2913" y="1095"/>
                  <a:pt x="2913" y="1095"/>
                  <a:pt x="2913" y="1095"/>
                </a:cubicBezTo>
                <a:cubicBezTo>
                  <a:pt x="2915" y="1095"/>
                  <a:pt x="2915" y="1095"/>
                  <a:pt x="2915" y="1095"/>
                </a:cubicBezTo>
                <a:cubicBezTo>
                  <a:pt x="2913" y="1097"/>
                  <a:pt x="2913" y="1097"/>
                  <a:pt x="2913" y="1097"/>
                </a:cubicBezTo>
                <a:cubicBezTo>
                  <a:pt x="2913" y="1098"/>
                  <a:pt x="2913" y="1098"/>
                  <a:pt x="2913" y="1098"/>
                </a:cubicBezTo>
                <a:cubicBezTo>
                  <a:pt x="2915" y="1100"/>
                  <a:pt x="2915" y="1100"/>
                  <a:pt x="2915" y="1100"/>
                </a:cubicBezTo>
                <a:cubicBezTo>
                  <a:pt x="2915" y="1102"/>
                  <a:pt x="2915" y="1102"/>
                  <a:pt x="2915" y="1102"/>
                </a:cubicBezTo>
                <a:cubicBezTo>
                  <a:pt x="2915" y="1104"/>
                  <a:pt x="2915" y="1104"/>
                  <a:pt x="2915" y="1104"/>
                </a:cubicBezTo>
                <a:cubicBezTo>
                  <a:pt x="2917" y="1105"/>
                  <a:pt x="2917" y="1105"/>
                  <a:pt x="2917" y="1105"/>
                </a:cubicBezTo>
                <a:cubicBezTo>
                  <a:pt x="2920" y="1107"/>
                  <a:pt x="2920" y="1107"/>
                  <a:pt x="2920" y="1107"/>
                </a:cubicBezTo>
                <a:cubicBezTo>
                  <a:pt x="2920" y="1108"/>
                  <a:pt x="2920" y="1108"/>
                  <a:pt x="2920" y="1108"/>
                </a:cubicBezTo>
                <a:cubicBezTo>
                  <a:pt x="2919" y="1108"/>
                  <a:pt x="2919" y="1108"/>
                  <a:pt x="2919" y="1108"/>
                </a:cubicBezTo>
                <a:cubicBezTo>
                  <a:pt x="2918" y="1108"/>
                  <a:pt x="2918" y="1108"/>
                  <a:pt x="2918" y="1108"/>
                </a:cubicBezTo>
                <a:cubicBezTo>
                  <a:pt x="2917" y="1109"/>
                  <a:pt x="2917" y="1109"/>
                  <a:pt x="2917" y="1109"/>
                </a:cubicBezTo>
                <a:cubicBezTo>
                  <a:pt x="2919" y="1110"/>
                  <a:pt x="2919" y="1110"/>
                  <a:pt x="2919" y="1110"/>
                </a:cubicBezTo>
                <a:cubicBezTo>
                  <a:pt x="2921" y="1111"/>
                  <a:pt x="2921" y="1111"/>
                  <a:pt x="2921" y="1111"/>
                </a:cubicBezTo>
                <a:cubicBezTo>
                  <a:pt x="2923" y="1111"/>
                  <a:pt x="2923" y="1111"/>
                  <a:pt x="2923" y="1111"/>
                </a:cubicBezTo>
                <a:cubicBezTo>
                  <a:pt x="2925" y="1111"/>
                  <a:pt x="2925" y="1111"/>
                  <a:pt x="2925" y="1111"/>
                </a:cubicBezTo>
                <a:cubicBezTo>
                  <a:pt x="2923" y="1111"/>
                  <a:pt x="2923" y="1111"/>
                  <a:pt x="2923" y="1111"/>
                </a:cubicBezTo>
                <a:cubicBezTo>
                  <a:pt x="2921" y="1112"/>
                  <a:pt x="2921" y="1112"/>
                  <a:pt x="2921" y="1112"/>
                </a:cubicBezTo>
                <a:cubicBezTo>
                  <a:pt x="2920" y="1112"/>
                  <a:pt x="2920" y="1112"/>
                  <a:pt x="2920" y="1112"/>
                </a:cubicBezTo>
                <a:cubicBezTo>
                  <a:pt x="2919" y="1112"/>
                  <a:pt x="2919" y="1112"/>
                  <a:pt x="2919" y="1112"/>
                </a:cubicBezTo>
                <a:cubicBezTo>
                  <a:pt x="2920" y="1114"/>
                  <a:pt x="2920" y="1114"/>
                  <a:pt x="2920" y="1114"/>
                </a:cubicBezTo>
                <a:cubicBezTo>
                  <a:pt x="2922" y="1114"/>
                  <a:pt x="2922" y="1114"/>
                  <a:pt x="2922" y="1114"/>
                </a:cubicBezTo>
                <a:cubicBezTo>
                  <a:pt x="2921" y="1117"/>
                  <a:pt x="2921" y="1117"/>
                  <a:pt x="2921" y="1117"/>
                </a:cubicBezTo>
                <a:cubicBezTo>
                  <a:pt x="2921" y="1117"/>
                  <a:pt x="2921" y="1117"/>
                  <a:pt x="2921" y="1117"/>
                </a:cubicBezTo>
                <a:cubicBezTo>
                  <a:pt x="2921" y="1119"/>
                  <a:pt x="2921" y="1119"/>
                  <a:pt x="2921" y="1119"/>
                </a:cubicBezTo>
                <a:cubicBezTo>
                  <a:pt x="2920" y="1120"/>
                  <a:pt x="2920" y="1120"/>
                  <a:pt x="2920" y="1120"/>
                </a:cubicBezTo>
                <a:cubicBezTo>
                  <a:pt x="2919" y="1121"/>
                  <a:pt x="2919" y="1121"/>
                  <a:pt x="2919" y="1121"/>
                </a:cubicBezTo>
                <a:cubicBezTo>
                  <a:pt x="2921" y="1122"/>
                  <a:pt x="2921" y="1122"/>
                  <a:pt x="2921" y="1122"/>
                </a:cubicBezTo>
                <a:cubicBezTo>
                  <a:pt x="2923" y="1121"/>
                  <a:pt x="2923" y="1121"/>
                  <a:pt x="2923" y="1121"/>
                </a:cubicBezTo>
                <a:cubicBezTo>
                  <a:pt x="2924" y="1122"/>
                  <a:pt x="2924" y="1122"/>
                  <a:pt x="2924" y="1122"/>
                </a:cubicBezTo>
                <a:cubicBezTo>
                  <a:pt x="2925" y="1122"/>
                  <a:pt x="2925" y="1122"/>
                  <a:pt x="2925" y="1122"/>
                </a:cubicBezTo>
                <a:cubicBezTo>
                  <a:pt x="2927" y="1121"/>
                  <a:pt x="2927" y="1121"/>
                  <a:pt x="2927" y="1121"/>
                </a:cubicBezTo>
                <a:cubicBezTo>
                  <a:pt x="2930" y="1121"/>
                  <a:pt x="2930" y="1121"/>
                  <a:pt x="2930" y="1121"/>
                </a:cubicBezTo>
                <a:cubicBezTo>
                  <a:pt x="2931" y="1120"/>
                  <a:pt x="2931" y="1120"/>
                  <a:pt x="2931" y="1120"/>
                </a:cubicBezTo>
                <a:cubicBezTo>
                  <a:pt x="2932" y="1118"/>
                  <a:pt x="2932" y="1118"/>
                  <a:pt x="2932" y="1118"/>
                </a:cubicBezTo>
                <a:cubicBezTo>
                  <a:pt x="2932" y="1120"/>
                  <a:pt x="2932" y="1120"/>
                  <a:pt x="2932" y="1120"/>
                </a:cubicBezTo>
                <a:cubicBezTo>
                  <a:pt x="2931" y="1122"/>
                  <a:pt x="2931" y="1122"/>
                  <a:pt x="2931" y="1122"/>
                </a:cubicBezTo>
                <a:cubicBezTo>
                  <a:pt x="2931" y="1123"/>
                  <a:pt x="2931" y="1123"/>
                  <a:pt x="2931" y="1123"/>
                </a:cubicBezTo>
                <a:cubicBezTo>
                  <a:pt x="2932" y="1124"/>
                  <a:pt x="2932" y="1124"/>
                  <a:pt x="2932" y="1124"/>
                </a:cubicBezTo>
                <a:cubicBezTo>
                  <a:pt x="2934" y="1126"/>
                  <a:pt x="2934" y="1126"/>
                  <a:pt x="2934" y="1126"/>
                </a:cubicBezTo>
                <a:cubicBezTo>
                  <a:pt x="2934" y="1126"/>
                  <a:pt x="2934" y="1126"/>
                  <a:pt x="2934" y="1126"/>
                </a:cubicBezTo>
                <a:cubicBezTo>
                  <a:pt x="2935" y="1128"/>
                  <a:pt x="2935" y="1128"/>
                  <a:pt x="2935" y="1128"/>
                </a:cubicBezTo>
                <a:cubicBezTo>
                  <a:pt x="2938" y="1131"/>
                  <a:pt x="2938" y="1131"/>
                  <a:pt x="2938" y="1131"/>
                </a:cubicBezTo>
                <a:cubicBezTo>
                  <a:pt x="2940" y="1132"/>
                  <a:pt x="2940" y="1132"/>
                  <a:pt x="2940" y="1132"/>
                </a:cubicBezTo>
                <a:cubicBezTo>
                  <a:pt x="2941" y="1132"/>
                  <a:pt x="2941" y="1132"/>
                  <a:pt x="2941" y="1132"/>
                </a:cubicBezTo>
                <a:cubicBezTo>
                  <a:pt x="2944" y="1132"/>
                  <a:pt x="2944" y="1132"/>
                  <a:pt x="2944" y="1132"/>
                </a:cubicBezTo>
                <a:cubicBezTo>
                  <a:pt x="2945" y="1132"/>
                  <a:pt x="2945" y="1132"/>
                  <a:pt x="2945" y="1132"/>
                </a:cubicBezTo>
                <a:cubicBezTo>
                  <a:pt x="2947" y="1132"/>
                  <a:pt x="2947" y="1132"/>
                  <a:pt x="2947" y="1132"/>
                </a:cubicBezTo>
                <a:cubicBezTo>
                  <a:pt x="2953" y="1132"/>
                  <a:pt x="2953" y="1132"/>
                  <a:pt x="2953" y="1132"/>
                </a:cubicBezTo>
                <a:cubicBezTo>
                  <a:pt x="2954" y="1132"/>
                  <a:pt x="2954" y="1132"/>
                  <a:pt x="2954" y="1132"/>
                </a:cubicBezTo>
                <a:cubicBezTo>
                  <a:pt x="2954" y="1133"/>
                  <a:pt x="2954" y="1133"/>
                  <a:pt x="2954" y="1133"/>
                </a:cubicBezTo>
                <a:cubicBezTo>
                  <a:pt x="2956" y="1134"/>
                  <a:pt x="2956" y="1134"/>
                  <a:pt x="2956" y="1134"/>
                </a:cubicBezTo>
                <a:cubicBezTo>
                  <a:pt x="2957" y="1135"/>
                  <a:pt x="2957" y="1135"/>
                  <a:pt x="2957" y="1135"/>
                </a:cubicBezTo>
                <a:cubicBezTo>
                  <a:pt x="2959" y="1133"/>
                  <a:pt x="2959" y="1133"/>
                  <a:pt x="2959" y="1133"/>
                </a:cubicBezTo>
                <a:cubicBezTo>
                  <a:pt x="2963" y="1132"/>
                  <a:pt x="2963" y="1132"/>
                  <a:pt x="2963" y="1132"/>
                </a:cubicBezTo>
                <a:cubicBezTo>
                  <a:pt x="2963" y="1131"/>
                  <a:pt x="2963" y="1131"/>
                  <a:pt x="2963" y="1131"/>
                </a:cubicBezTo>
                <a:cubicBezTo>
                  <a:pt x="2964" y="1132"/>
                  <a:pt x="2964" y="1132"/>
                  <a:pt x="2964" y="1132"/>
                </a:cubicBezTo>
                <a:cubicBezTo>
                  <a:pt x="2965" y="1131"/>
                  <a:pt x="2965" y="1131"/>
                  <a:pt x="2965" y="1131"/>
                </a:cubicBezTo>
                <a:cubicBezTo>
                  <a:pt x="2965" y="1128"/>
                  <a:pt x="2965" y="1128"/>
                  <a:pt x="2965" y="1128"/>
                </a:cubicBezTo>
                <a:cubicBezTo>
                  <a:pt x="2962" y="1126"/>
                  <a:pt x="2962" y="1126"/>
                  <a:pt x="2962" y="1126"/>
                </a:cubicBezTo>
                <a:cubicBezTo>
                  <a:pt x="2959" y="1125"/>
                  <a:pt x="2959" y="1125"/>
                  <a:pt x="2959" y="1125"/>
                </a:cubicBezTo>
                <a:cubicBezTo>
                  <a:pt x="2957" y="1125"/>
                  <a:pt x="2957" y="1125"/>
                  <a:pt x="2957" y="1125"/>
                </a:cubicBezTo>
                <a:cubicBezTo>
                  <a:pt x="2956" y="1124"/>
                  <a:pt x="2956" y="1124"/>
                  <a:pt x="2956" y="1124"/>
                </a:cubicBezTo>
                <a:cubicBezTo>
                  <a:pt x="2954" y="1123"/>
                  <a:pt x="2954" y="1123"/>
                  <a:pt x="2954" y="1123"/>
                </a:cubicBezTo>
                <a:cubicBezTo>
                  <a:pt x="2954" y="1123"/>
                  <a:pt x="2954" y="1123"/>
                  <a:pt x="2954" y="1123"/>
                </a:cubicBezTo>
                <a:cubicBezTo>
                  <a:pt x="2953" y="1122"/>
                  <a:pt x="2953" y="1122"/>
                  <a:pt x="2953" y="1122"/>
                </a:cubicBezTo>
                <a:cubicBezTo>
                  <a:pt x="2952" y="1120"/>
                  <a:pt x="2952" y="1120"/>
                  <a:pt x="2952" y="1120"/>
                </a:cubicBezTo>
                <a:cubicBezTo>
                  <a:pt x="2951" y="1118"/>
                  <a:pt x="2951" y="1118"/>
                  <a:pt x="2951" y="1118"/>
                </a:cubicBezTo>
                <a:cubicBezTo>
                  <a:pt x="2949" y="1117"/>
                  <a:pt x="2949" y="1117"/>
                  <a:pt x="2949" y="1117"/>
                </a:cubicBezTo>
                <a:cubicBezTo>
                  <a:pt x="2948" y="1115"/>
                  <a:pt x="2948" y="1115"/>
                  <a:pt x="2948" y="1115"/>
                </a:cubicBezTo>
                <a:cubicBezTo>
                  <a:pt x="2947" y="1114"/>
                  <a:pt x="2947" y="1114"/>
                  <a:pt x="2947" y="1114"/>
                </a:cubicBezTo>
                <a:cubicBezTo>
                  <a:pt x="2948" y="1115"/>
                  <a:pt x="2948" y="1115"/>
                  <a:pt x="2948" y="1115"/>
                </a:cubicBezTo>
                <a:cubicBezTo>
                  <a:pt x="2949" y="1117"/>
                  <a:pt x="2949" y="1117"/>
                  <a:pt x="2949" y="1117"/>
                </a:cubicBezTo>
                <a:cubicBezTo>
                  <a:pt x="2950" y="1117"/>
                  <a:pt x="2950" y="1117"/>
                  <a:pt x="2950" y="1117"/>
                </a:cubicBezTo>
                <a:cubicBezTo>
                  <a:pt x="2952" y="1118"/>
                  <a:pt x="2952" y="1118"/>
                  <a:pt x="2952" y="1118"/>
                </a:cubicBezTo>
                <a:cubicBezTo>
                  <a:pt x="2953" y="1120"/>
                  <a:pt x="2953" y="1120"/>
                  <a:pt x="2953" y="1120"/>
                </a:cubicBezTo>
                <a:cubicBezTo>
                  <a:pt x="2953" y="1122"/>
                  <a:pt x="2953" y="1122"/>
                  <a:pt x="2953" y="1122"/>
                </a:cubicBezTo>
                <a:cubicBezTo>
                  <a:pt x="2954" y="1122"/>
                  <a:pt x="2954" y="1122"/>
                  <a:pt x="2954" y="1122"/>
                </a:cubicBezTo>
                <a:cubicBezTo>
                  <a:pt x="2956" y="1123"/>
                  <a:pt x="2956" y="1123"/>
                  <a:pt x="2956" y="1123"/>
                </a:cubicBezTo>
                <a:cubicBezTo>
                  <a:pt x="2958" y="1124"/>
                  <a:pt x="2958" y="1124"/>
                  <a:pt x="2958" y="1124"/>
                </a:cubicBezTo>
                <a:cubicBezTo>
                  <a:pt x="2959" y="1124"/>
                  <a:pt x="2959" y="1124"/>
                  <a:pt x="2959" y="1124"/>
                </a:cubicBezTo>
                <a:cubicBezTo>
                  <a:pt x="2961" y="1124"/>
                  <a:pt x="2961" y="1124"/>
                  <a:pt x="2961" y="1124"/>
                </a:cubicBezTo>
                <a:cubicBezTo>
                  <a:pt x="2964" y="1123"/>
                  <a:pt x="2964" y="1123"/>
                  <a:pt x="2964" y="1123"/>
                </a:cubicBezTo>
                <a:cubicBezTo>
                  <a:pt x="2966" y="1123"/>
                  <a:pt x="2966" y="1123"/>
                  <a:pt x="2966" y="1123"/>
                </a:cubicBezTo>
                <a:cubicBezTo>
                  <a:pt x="2968" y="1123"/>
                  <a:pt x="2968" y="1123"/>
                  <a:pt x="2968" y="1123"/>
                </a:cubicBezTo>
                <a:cubicBezTo>
                  <a:pt x="2967" y="1122"/>
                  <a:pt x="2967" y="1122"/>
                  <a:pt x="2967" y="1122"/>
                </a:cubicBezTo>
                <a:cubicBezTo>
                  <a:pt x="2966" y="1121"/>
                  <a:pt x="2966" y="1121"/>
                  <a:pt x="2966" y="1121"/>
                </a:cubicBezTo>
                <a:cubicBezTo>
                  <a:pt x="2965" y="1120"/>
                  <a:pt x="2965" y="1120"/>
                  <a:pt x="2965" y="1120"/>
                </a:cubicBezTo>
                <a:cubicBezTo>
                  <a:pt x="2964" y="1120"/>
                  <a:pt x="2964" y="1120"/>
                  <a:pt x="2964" y="1120"/>
                </a:cubicBezTo>
                <a:cubicBezTo>
                  <a:pt x="2963" y="1119"/>
                  <a:pt x="2963" y="1119"/>
                  <a:pt x="2963" y="1119"/>
                </a:cubicBezTo>
                <a:cubicBezTo>
                  <a:pt x="2964" y="1120"/>
                  <a:pt x="2964" y="1120"/>
                  <a:pt x="2964" y="1120"/>
                </a:cubicBezTo>
                <a:cubicBezTo>
                  <a:pt x="2966" y="1119"/>
                  <a:pt x="2966" y="1119"/>
                  <a:pt x="2966" y="1119"/>
                </a:cubicBezTo>
                <a:cubicBezTo>
                  <a:pt x="2968" y="1121"/>
                  <a:pt x="2968" y="1121"/>
                  <a:pt x="2968" y="1121"/>
                </a:cubicBezTo>
                <a:cubicBezTo>
                  <a:pt x="2969" y="1121"/>
                  <a:pt x="2969" y="1121"/>
                  <a:pt x="2969" y="1121"/>
                </a:cubicBezTo>
                <a:cubicBezTo>
                  <a:pt x="2969" y="1120"/>
                  <a:pt x="2969" y="1120"/>
                  <a:pt x="2969" y="1120"/>
                </a:cubicBezTo>
                <a:cubicBezTo>
                  <a:pt x="2969" y="1119"/>
                  <a:pt x="2969" y="1119"/>
                  <a:pt x="2969" y="1119"/>
                </a:cubicBezTo>
                <a:cubicBezTo>
                  <a:pt x="2970" y="1118"/>
                  <a:pt x="2970" y="1118"/>
                  <a:pt x="2970" y="1118"/>
                </a:cubicBezTo>
                <a:cubicBezTo>
                  <a:pt x="2970" y="1117"/>
                  <a:pt x="2970" y="1117"/>
                  <a:pt x="2970" y="1117"/>
                </a:cubicBezTo>
                <a:cubicBezTo>
                  <a:pt x="2969" y="1115"/>
                  <a:pt x="2969" y="1115"/>
                  <a:pt x="2969" y="1115"/>
                </a:cubicBezTo>
                <a:cubicBezTo>
                  <a:pt x="2968" y="1114"/>
                  <a:pt x="2968" y="1114"/>
                  <a:pt x="2968" y="1114"/>
                </a:cubicBezTo>
                <a:cubicBezTo>
                  <a:pt x="2968" y="1113"/>
                  <a:pt x="2968" y="1113"/>
                  <a:pt x="2968" y="1113"/>
                </a:cubicBezTo>
                <a:cubicBezTo>
                  <a:pt x="2970" y="1114"/>
                  <a:pt x="2970" y="1114"/>
                  <a:pt x="2970" y="1114"/>
                </a:cubicBezTo>
                <a:cubicBezTo>
                  <a:pt x="2970" y="1115"/>
                  <a:pt x="2970" y="1115"/>
                  <a:pt x="2970" y="1115"/>
                </a:cubicBezTo>
                <a:cubicBezTo>
                  <a:pt x="2972" y="1117"/>
                  <a:pt x="2972" y="1117"/>
                  <a:pt x="2972" y="1117"/>
                </a:cubicBezTo>
                <a:cubicBezTo>
                  <a:pt x="2974" y="1117"/>
                  <a:pt x="2974" y="1117"/>
                  <a:pt x="2974" y="1117"/>
                </a:cubicBezTo>
                <a:cubicBezTo>
                  <a:pt x="2974" y="1116"/>
                  <a:pt x="2974" y="1116"/>
                  <a:pt x="2974" y="1116"/>
                </a:cubicBezTo>
                <a:cubicBezTo>
                  <a:pt x="2974" y="1115"/>
                  <a:pt x="2974" y="1115"/>
                  <a:pt x="2974" y="1115"/>
                </a:cubicBezTo>
                <a:cubicBezTo>
                  <a:pt x="2974" y="1115"/>
                  <a:pt x="2974" y="1115"/>
                  <a:pt x="2974" y="1115"/>
                </a:cubicBezTo>
                <a:cubicBezTo>
                  <a:pt x="2975" y="1117"/>
                  <a:pt x="2975" y="1117"/>
                  <a:pt x="2975" y="1117"/>
                </a:cubicBezTo>
                <a:cubicBezTo>
                  <a:pt x="2975" y="1117"/>
                  <a:pt x="2975" y="1117"/>
                  <a:pt x="2975" y="1117"/>
                </a:cubicBezTo>
                <a:cubicBezTo>
                  <a:pt x="2976" y="1116"/>
                  <a:pt x="2976" y="1116"/>
                  <a:pt x="2976" y="1116"/>
                </a:cubicBezTo>
                <a:cubicBezTo>
                  <a:pt x="2975" y="1115"/>
                  <a:pt x="2975" y="1115"/>
                  <a:pt x="2975" y="1115"/>
                </a:cubicBezTo>
                <a:cubicBezTo>
                  <a:pt x="2976" y="1112"/>
                  <a:pt x="2976" y="1112"/>
                  <a:pt x="2976" y="1112"/>
                </a:cubicBezTo>
                <a:cubicBezTo>
                  <a:pt x="2976" y="1114"/>
                  <a:pt x="2976" y="1114"/>
                  <a:pt x="2976" y="1114"/>
                </a:cubicBezTo>
                <a:cubicBezTo>
                  <a:pt x="2979" y="1114"/>
                  <a:pt x="2979" y="1114"/>
                  <a:pt x="2979" y="1114"/>
                </a:cubicBezTo>
                <a:cubicBezTo>
                  <a:pt x="2979" y="1116"/>
                  <a:pt x="2979" y="1116"/>
                  <a:pt x="2979" y="1116"/>
                </a:cubicBezTo>
                <a:cubicBezTo>
                  <a:pt x="2981" y="1116"/>
                  <a:pt x="2981" y="1116"/>
                  <a:pt x="2981" y="1116"/>
                </a:cubicBezTo>
                <a:cubicBezTo>
                  <a:pt x="2982" y="1116"/>
                  <a:pt x="2982" y="1116"/>
                  <a:pt x="2982" y="1116"/>
                </a:cubicBezTo>
                <a:cubicBezTo>
                  <a:pt x="2983" y="1117"/>
                  <a:pt x="2983" y="1117"/>
                  <a:pt x="2983" y="1117"/>
                </a:cubicBezTo>
                <a:cubicBezTo>
                  <a:pt x="2984" y="1115"/>
                  <a:pt x="2984" y="1115"/>
                  <a:pt x="2984" y="1115"/>
                </a:cubicBezTo>
                <a:cubicBezTo>
                  <a:pt x="2983" y="1117"/>
                  <a:pt x="2983" y="1117"/>
                  <a:pt x="2983" y="1117"/>
                </a:cubicBezTo>
                <a:cubicBezTo>
                  <a:pt x="2984" y="1118"/>
                  <a:pt x="2984" y="1118"/>
                  <a:pt x="2984" y="1118"/>
                </a:cubicBezTo>
                <a:cubicBezTo>
                  <a:pt x="2985" y="1118"/>
                  <a:pt x="2985" y="1118"/>
                  <a:pt x="2985" y="1118"/>
                </a:cubicBezTo>
                <a:cubicBezTo>
                  <a:pt x="2986" y="1120"/>
                  <a:pt x="2986" y="1120"/>
                  <a:pt x="2986" y="1120"/>
                </a:cubicBezTo>
                <a:cubicBezTo>
                  <a:pt x="2991" y="1121"/>
                  <a:pt x="2991" y="1121"/>
                  <a:pt x="2991" y="1121"/>
                </a:cubicBezTo>
                <a:cubicBezTo>
                  <a:pt x="2993" y="1122"/>
                  <a:pt x="2993" y="1122"/>
                  <a:pt x="2993" y="1122"/>
                </a:cubicBezTo>
                <a:cubicBezTo>
                  <a:pt x="2995" y="1124"/>
                  <a:pt x="2995" y="1124"/>
                  <a:pt x="2995" y="1124"/>
                </a:cubicBezTo>
                <a:cubicBezTo>
                  <a:pt x="2995" y="1126"/>
                  <a:pt x="2995" y="1126"/>
                  <a:pt x="2995" y="1126"/>
                </a:cubicBezTo>
                <a:cubicBezTo>
                  <a:pt x="2998" y="1130"/>
                  <a:pt x="2998" y="1130"/>
                  <a:pt x="2998" y="1130"/>
                </a:cubicBezTo>
                <a:cubicBezTo>
                  <a:pt x="2999" y="1131"/>
                  <a:pt x="2999" y="1131"/>
                  <a:pt x="2999" y="1131"/>
                </a:cubicBezTo>
                <a:cubicBezTo>
                  <a:pt x="3000" y="1132"/>
                  <a:pt x="3000" y="1132"/>
                  <a:pt x="3000" y="1132"/>
                </a:cubicBezTo>
                <a:cubicBezTo>
                  <a:pt x="3001" y="1133"/>
                  <a:pt x="3001" y="1133"/>
                  <a:pt x="3001" y="1133"/>
                </a:cubicBezTo>
                <a:cubicBezTo>
                  <a:pt x="3002" y="1135"/>
                  <a:pt x="3002" y="1135"/>
                  <a:pt x="3002" y="1135"/>
                </a:cubicBezTo>
                <a:cubicBezTo>
                  <a:pt x="3007" y="1139"/>
                  <a:pt x="3007" y="1139"/>
                  <a:pt x="3007" y="1139"/>
                </a:cubicBezTo>
                <a:cubicBezTo>
                  <a:pt x="3007" y="1141"/>
                  <a:pt x="3007" y="1141"/>
                  <a:pt x="3007" y="1141"/>
                </a:cubicBezTo>
                <a:cubicBezTo>
                  <a:pt x="3008" y="1142"/>
                  <a:pt x="3008" y="1142"/>
                  <a:pt x="3008" y="1142"/>
                </a:cubicBezTo>
                <a:cubicBezTo>
                  <a:pt x="3011" y="1143"/>
                  <a:pt x="3011" y="1143"/>
                  <a:pt x="3011" y="1143"/>
                </a:cubicBezTo>
                <a:cubicBezTo>
                  <a:pt x="3012" y="1143"/>
                  <a:pt x="3012" y="1143"/>
                  <a:pt x="3012" y="1143"/>
                </a:cubicBezTo>
                <a:cubicBezTo>
                  <a:pt x="3013" y="1143"/>
                  <a:pt x="3013" y="1143"/>
                  <a:pt x="3013" y="1143"/>
                </a:cubicBezTo>
                <a:cubicBezTo>
                  <a:pt x="3015" y="1143"/>
                  <a:pt x="3015" y="1143"/>
                  <a:pt x="3015" y="1143"/>
                </a:cubicBezTo>
                <a:cubicBezTo>
                  <a:pt x="3018" y="1143"/>
                  <a:pt x="3018" y="1143"/>
                  <a:pt x="3018" y="1143"/>
                </a:cubicBezTo>
                <a:cubicBezTo>
                  <a:pt x="3020" y="1144"/>
                  <a:pt x="3020" y="1144"/>
                  <a:pt x="3020" y="1144"/>
                </a:cubicBezTo>
                <a:cubicBezTo>
                  <a:pt x="3022" y="1144"/>
                  <a:pt x="3022" y="1144"/>
                  <a:pt x="3022" y="1144"/>
                </a:cubicBezTo>
                <a:cubicBezTo>
                  <a:pt x="3025" y="1144"/>
                  <a:pt x="3025" y="1144"/>
                  <a:pt x="3025" y="1144"/>
                </a:cubicBezTo>
                <a:cubicBezTo>
                  <a:pt x="3027" y="1145"/>
                  <a:pt x="3027" y="1145"/>
                  <a:pt x="3027" y="1145"/>
                </a:cubicBezTo>
                <a:cubicBezTo>
                  <a:pt x="3029" y="1145"/>
                  <a:pt x="3029" y="1145"/>
                  <a:pt x="3029" y="1145"/>
                </a:cubicBezTo>
                <a:cubicBezTo>
                  <a:pt x="3030" y="1146"/>
                  <a:pt x="3030" y="1146"/>
                  <a:pt x="3030" y="1146"/>
                </a:cubicBezTo>
                <a:cubicBezTo>
                  <a:pt x="3032" y="1146"/>
                  <a:pt x="3032" y="1146"/>
                  <a:pt x="3032" y="1146"/>
                </a:cubicBezTo>
                <a:cubicBezTo>
                  <a:pt x="3032" y="1146"/>
                  <a:pt x="3032" y="1146"/>
                  <a:pt x="3032" y="1146"/>
                </a:cubicBezTo>
                <a:cubicBezTo>
                  <a:pt x="3031" y="1147"/>
                  <a:pt x="3031" y="1147"/>
                  <a:pt x="3031" y="1147"/>
                </a:cubicBezTo>
                <a:cubicBezTo>
                  <a:pt x="3033" y="1148"/>
                  <a:pt x="3033" y="1148"/>
                  <a:pt x="3033" y="1148"/>
                </a:cubicBezTo>
                <a:cubicBezTo>
                  <a:pt x="3035" y="1149"/>
                  <a:pt x="3035" y="1149"/>
                  <a:pt x="3035" y="1149"/>
                </a:cubicBezTo>
                <a:cubicBezTo>
                  <a:pt x="3038" y="1149"/>
                  <a:pt x="3038" y="1149"/>
                  <a:pt x="3038" y="1149"/>
                </a:cubicBezTo>
                <a:cubicBezTo>
                  <a:pt x="3038" y="1147"/>
                  <a:pt x="3038" y="1147"/>
                  <a:pt x="3038" y="1147"/>
                </a:cubicBezTo>
                <a:cubicBezTo>
                  <a:pt x="3036" y="1146"/>
                  <a:pt x="3036" y="1146"/>
                  <a:pt x="3036" y="1146"/>
                </a:cubicBezTo>
                <a:cubicBezTo>
                  <a:pt x="3035" y="1146"/>
                  <a:pt x="3035" y="1146"/>
                  <a:pt x="3035" y="1146"/>
                </a:cubicBezTo>
                <a:cubicBezTo>
                  <a:pt x="3035" y="1145"/>
                  <a:pt x="3035" y="1145"/>
                  <a:pt x="3035" y="1145"/>
                </a:cubicBezTo>
                <a:cubicBezTo>
                  <a:pt x="3037" y="1144"/>
                  <a:pt x="3037" y="1144"/>
                  <a:pt x="3037" y="1144"/>
                </a:cubicBezTo>
                <a:cubicBezTo>
                  <a:pt x="3039" y="1145"/>
                  <a:pt x="3039" y="1145"/>
                  <a:pt x="3039" y="1145"/>
                </a:cubicBezTo>
                <a:cubicBezTo>
                  <a:pt x="3040" y="1144"/>
                  <a:pt x="3040" y="1144"/>
                  <a:pt x="3040" y="1144"/>
                </a:cubicBezTo>
                <a:cubicBezTo>
                  <a:pt x="3036" y="1143"/>
                  <a:pt x="3036" y="1143"/>
                  <a:pt x="3036" y="1143"/>
                </a:cubicBezTo>
                <a:cubicBezTo>
                  <a:pt x="3032" y="1142"/>
                  <a:pt x="3032" y="1142"/>
                  <a:pt x="3032" y="1142"/>
                </a:cubicBezTo>
                <a:cubicBezTo>
                  <a:pt x="3029" y="1141"/>
                  <a:pt x="3029" y="1141"/>
                  <a:pt x="3029" y="1141"/>
                </a:cubicBezTo>
                <a:cubicBezTo>
                  <a:pt x="3028" y="1140"/>
                  <a:pt x="3028" y="1140"/>
                  <a:pt x="3028" y="1140"/>
                </a:cubicBezTo>
                <a:cubicBezTo>
                  <a:pt x="3031" y="1139"/>
                  <a:pt x="3031" y="1139"/>
                  <a:pt x="3031" y="1139"/>
                </a:cubicBezTo>
                <a:cubicBezTo>
                  <a:pt x="3032" y="1139"/>
                  <a:pt x="3032" y="1139"/>
                  <a:pt x="3032" y="1139"/>
                </a:cubicBezTo>
                <a:cubicBezTo>
                  <a:pt x="3033" y="1138"/>
                  <a:pt x="3033" y="1138"/>
                  <a:pt x="3033" y="1138"/>
                </a:cubicBezTo>
                <a:cubicBezTo>
                  <a:pt x="3032" y="1137"/>
                  <a:pt x="3032" y="1137"/>
                  <a:pt x="3032" y="1137"/>
                </a:cubicBezTo>
                <a:cubicBezTo>
                  <a:pt x="3028" y="1137"/>
                  <a:pt x="3028" y="1137"/>
                  <a:pt x="3028" y="1137"/>
                </a:cubicBezTo>
                <a:cubicBezTo>
                  <a:pt x="3025" y="1137"/>
                  <a:pt x="3025" y="1137"/>
                  <a:pt x="3025" y="1137"/>
                </a:cubicBezTo>
                <a:cubicBezTo>
                  <a:pt x="3024" y="1136"/>
                  <a:pt x="3024" y="1136"/>
                  <a:pt x="3024" y="1136"/>
                </a:cubicBezTo>
                <a:cubicBezTo>
                  <a:pt x="3024" y="1134"/>
                  <a:pt x="3024" y="1134"/>
                  <a:pt x="3024" y="1134"/>
                </a:cubicBezTo>
                <a:cubicBezTo>
                  <a:pt x="3025" y="1133"/>
                  <a:pt x="3025" y="1133"/>
                  <a:pt x="3025" y="1133"/>
                </a:cubicBezTo>
                <a:lnTo>
                  <a:pt x="3025" y="1132"/>
                </a:lnTo>
                <a:close/>
                <a:moveTo>
                  <a:pt x="2936" y="449"/>
                </a:moveTo>
                <a:cubicBezTo>
                  <a:pt x="2937" y="447"/>
                  <a:pt x="2937" y="447"/>
                  <a:pt x="2937" y="447"/>
                </a:cubicBezTo>
                <a:cubicBezTo>
                  <a:pt x="2939" y="446"/>
                  <a:pt x="2939" y="446"/>
                  <a:pt x="2939" y="446"/>
                </a:cubicBezTo>
                <a:cubicBezTo>
                  <a:pt x="2939" y="444"/>
                  <a:pt x="2939" y="444"/>
                  <a:pt x="2939" y="444"/>
                </a:cubicBezTo>
                <a:cubicBezTo>
                  <a:pt x="2939" y="442"/>
                  <a:pt x="2939" y="442"/>
                  <a:pt x="2939" y="442"/>
                </a:cubicBezTo>
                <a:cubicBezTo>
                  <a:pt x="2941" y="439"/>
                  <a:pt x="2941" y="439"/>
                  <a:pt x="2941" y="439"/>
                </a:cubicBezTo>
                <a:cubicBezTo>
                  <a:pt x="2940" y="440"/>
                  <a:pt x="2940" y="440"/>
                  <a:pt x="2940" y="440"/>
                </a:cubicBezTo>
                <a:cubicBezTo>
                  <a:pt x="2938" y="440"/>
                  <a:pt x="2938" y="440"/>
                  <a:pt x="2938" y="440"/>
                </a:cubicBezTo>
                <a:cubicBezTo>
                  <a:pt x="2937" y="442"/>
                  <a:pt x="2937" y="442"/>
                  <a:pt x="2937" y="442"/>
                </a:cubicBezTo>
                <a:cubicBezTo>
                  <a:pt x="2937" y="443"/>
                  <a:pt x="2937" y="443"/>
                  <a:pt x="2937" y="443"/>
                </a:cubicBezTo>
                <a:cubicBezTo>
                  <a:pt x="2936" y="445"/>
                  <a:pt x="2936" y="445"/>
                  <a:pt x="2936" y="445"/>
                </a:cubicBezTo>
                <a:cubicBezTo>
                  <a:pt x="2935" y="445"/>
                  <a:pt x="2935" y="445"/>
                  <a:pt x="2935" y="445"/>
                </a:cubicBezTo>
                <a:cubicBezTo>
                  <a:pt x="2935" y="447"/>
                  <a:pt x="2935" y="447"/>
                  <a:pt x="2935" y="447"/>
                </a:cubicBezTo>
                <a:cubicBezTo>
                  <a:pt x="2933" y="448"/>
                  <a:pt x="2933" y="448"/>
                  <a:pt x="2933" y="448"/>
                </a:cubicBezTo>
                <a:cubicBezTo>
                  <a:pt x="2933" y="451"/>
                  <a:pt x="2933" y="451"/>
                  <a:pt x="2933" y="451"/>
                </a:cubicBezTo>
                <a:cubicBezTo>
                  <a:pt x="2934" y="452"/>
                  <a:pt x="2934" y="452"/>
                  <a:pt x="2934" y="452"/>
                </a:cubicBezTo>
                <a:lnTo>
                  <a:pt x="2936" y="449"/>
                </a:lnTo>
                <a:close/>
                <a:moveTo>
                  <a:pt x="2914" y="484"/>
                </a:moveTo>
                <a:cubicBezTo>
                  <a:pt x="2915" y="484"/>
                  <a:pt x="2915" y="484"/>
                  <a:pt x="2915" y="484"/>
                </a:cubicBezTo>
                <a:cubicBezTo>
                  <a:pt x="2917" y="483"/>
                  <a:pt x="2917" y="483"/>
                  <a:pt x="2917" y="483"/>
                </a:cubicBezTo>
                <a:cubicBezTo>
                  <a:pt x="2917" y="482"/>
                  <a:pt x="2917" y="482"/>
                  <a:pt x="2917" y="482"/>
                </a:cubicBezTo>
                <a:cubicBezTo>
                  <a:pt x="2916" y="482"/>
                  <a:pt x="2916" y="482"/>
                  <a:pt x="2916" y="482"/>
                </a:cubicBezTo>
                <a:lnTo>
                  <a:pt x="2914" y="484"/>
                </a:lnTo>
                <a:close/>
                <a:moveTo>
                  <a:pt x="2961" y="387"/>
                </a:moveTo>
                <a:cubicBezTo>
                  <a:pt x="2960" y="386"/>
                  <a:pt x="2960" y="386"/>
                  <a:pt x="2960" y="386"/>
                </a:cubicBezTo>
                <a:cubicBezTo>
                  <a:pt x="2959" y="385"/>
                  <a:pt x="2959" y="385"/>
                  <a:pt x="2959" y="385"/>
                </a:cubicBezTo>
                <a:cubicBezTo>
                  <a:pt x="2958" y="386"/>
                  <a:pt x="2958" y="386"/>
                  <a:pt x="2958" y="386"/>
                </a:cubicBezTo>
                <a:cubicBezTo>
                  <a:pt x="2959" y="386"/>
                  <a:pt x="2959" y="386"/>
                  <a:pt x="2959" y="386"/>
                </a:cubicBezTo>
                <a:cubicBezTo>
                  <a:pt x="2960" y="387"/>
                  <a:pt x="2960" y="387"/>
                  <a:pt x="2960" y="387"/>
                </a:cubicBezTo>
                <a:lnTo>
                  <a:pt x="2961" y="387"/>
                </a:lnTo>
                <a:close/>
                <a:moveTo>
                  <a:pt x="2960" y="382"/>
                </a:moveTo>
                <a:cubicBezTo>
                  <a:pt x="2959" y="380"/>
                  <a:pt x="2959" y="380"/>
                  <a:pt x="2959" y="380"/>
                </a:cubicBezTo>
                <a:cubicBezTo>
                  <a:pt x="2959" y="379"/>
                  <a:pt x="2959" y="379"/>
                  <a:pt x="2959" y="379"/>
                </a:cubicBezTo>
                <a:cubicBezTo>
                  <a:pt x="2959" y="378"/>
                  <a:pt x="2959" y="378"/>
                  <a:pt x="2959" y="378"/>
                </a:cubicBezTo>
                <a:cubicBezTo>
                  <a:pt x="2959" y="380"/>
                  <a:pt x="2959" y="380"/>
                  <a:pt x="2959" y="380"/>
                </a:cubicBezTo>
                <a:cubicBezTo>
                  <a:pt x="2958" y="382"/>
                  <a:pt x="2958" y="382"/>
                  <a:pt x="2958" y="382"/>
                </a:cubicBezTo>
                <a:cubicBezTo>
                  <a:pt x="2959" y="384"/>
                  <a:pt x="2959" y="384"/>
                  <a:pt x="2959" y="384"/>
                </a:cubicBezTo>
                <a:cubicBezTo>
                  <a:pt x="2959" y="383"/>
                  <a:pt x="2960" y="382"/>
                  <a:pt x="2960" y="382"/>
                </a:cubicBezTo>
                <a:close/>
                <a:moveTo>
                  <a:pt x="2954" y="415"/>
                </a:moveTo>
                <a:cubicBezTo>
                  <a:pt x="2955" y="413"/>
                  <a:pt x="2955" y="413"/>
                  <a:pt x="2955" y="413"/>
                </a:cubicBezTo>
                <a:cubicBezTo>
                  <a:pt x="2954" y="412"/>
                  <a:pt x="2954" y="412"/>
                  <a:pt x="2954" y="412"/>
                </a:cubicBezTo>
                <a:cubicBezTo>
                  <a:pt x="2954" y="413"/>
                  <a:pt x="2954" y="413"/>
                  <a:pt x="2954" y="413"/>
                </a:cubicBezTo>
                <a:lnTo>
                  <a:pt x="2954" y="415"/>
                </a:lnTo>
                <a:close/>
                <a:moveTo>
                  <a:pt x="2995" y="1084"/>
                </a:moveTo>
                <a:cubicBezTo>
                  <a:pt x="2993" y="1084"/>
                  <a:pt x="2993" y="1084"/>
                  <a:pt x="2993" y="1084"/>
                </a:cubicBezTo>
                <a:cubicBezTo>
                  <a:pt x="2993" y="1086"/>
                  <a:pt x="2993" y="1086"/>
                  <a:pt x="2993" y="1086"/>
                </a:cubicBezTo>
                <a:cubicBezTo>
                  <a:pt x="2995" y="1085"/>
                  <a:pt x="2995" y="1085"/>
                  <a:pt x="2995" y="1085"/>
                </a:cubicBezTo>
                <a:lnTo>
                  <a:pt x="2995" y="1084"/>
                </a:lnTo>
                <a:close/>
                <a:moveTo>
                  <a:pt x="2958" y="393"/>
                </a:moveTo>
                <a:cubicBezTo>
                  <a:pt x="2958" y="395"/>
                  <a:pt x="2958" y="395"/>
                  <a:pt x="2958" y="395"/>
                </a:cubicBezTo>
                <a:cubicBezTo>
                  <a:pt x="2958" y="395"/>
                  <a:pt x="2958" y="395"/>
                  <a:pt x="2958" y="395"/>
                </a:cubicBezTo>
                <a:cubicBezTo>
                  <a:pt x="2959" y="394"/>
                  <a:pt x="2959" y="394"/>
                  <a:pt x="2959" y="394"/>
                </a:cubicBezTo>
                <a:cubicBezTo>
                  <a:pt x="2959" y="392"/>
                  <a:pt x="2959" y="392"/>
                  <a:pt x="2959" y="392"/>
                </a:cubicBezTo>
                <a:cubicBezTo>
                  <a:pt x="2958" y="391"/>
                  <a:pt x="2958" y="391"/>
                  <a:pt x="2958" y="391"/>
                </a:cubicBezTo>
                <a:lnTo>
                  <a:pt x="2958" y="393"/>
                </a:lnTo>
                <a:close/>
                <a:moveTo>
                  <a:pt x="2954" y="407"/>
                </a:moveTo>
                <a:cubicBezTo>
                  <a:pt x="2955" y="407"/>
                  <a:pt x="2955" y="407"/>
                  <a:pt x="2955" y="407"/>
                </a:cubicBezTo>
                <a:cubicBezTo>
                  <a:pt x="2956" y="407"/>
                  <a:pt x="2956" y="407"/>
                  <a:pt x="2956" y="407"/>
                </a:cubicBezTo>
                <a:cubicBezTo>
                  <a:pt x="2955" y="406"/>
                  <a:pt x="2955" y="406"/>
                  <a:pt x="2955" y="406"/>
                </a:cubicBezTo>
                <a:lnTo>
                  <a:pt x="2954" y="407"/>
                </a:lnTo>
                <a:close/>
                <a:moveTo>
                  <a:pt x="2913" y="471"/>
                </a:moveTo>
                <a:cubicBezTo>
                  <a:pt x="2914" y="473"/>
                  <a:pt x="2914" y="473"/>
                  <a:pt x="2914" y="473"/>
                </a:cubicBezTo>
                <a:cubicBezTo>
                  <a:pt x="2915" y="473"/>
                  <a:pt x="2915" y="473"/>
                  <a:pt x="2915" y="473"/>
                </a:cubicBezTo>
                <a:cubicBezTo>
                  <a:pt x="2915" y="471"/>
                  <a:pt x="2915" y="471"/>
                  <a:pt x="2915" y="471"/>
                </a:cubicBezTo>
                <a:cubicBezTo>
                  <a:pt x="2917" y="470"/>
                  <a:pt x="2917" y="470"/>
                  <a:pt x="2917" y="470"/>
                </a:cubicBezTo>
                <a:cubicBezTo>
                  <a:pt x="2916" y="467"/>
                  <a:pt x="2916" y="467"/>
                  <a:pt x="2916" y="467"/>
                </a:cubicBezTo>
                <a:cubicBezTo>
                  <a:pt x="2917" y="466"/>
                  <a:pt x="2917" y="466"/>
                  <a:pt x="2917" y="466"/>
                </a:cubicBezTo>
                <a:cubicBezTo>
                  <a:pt x="2918" y="465"/>
                  <a:pt x="2918" y="465"/>
                  <a:pt x="2918" y="465"/>
                </a:cubicBezTo>
                <a:cubicBezTo>
                  <a:pt x="2918" y="464"/>
                  <a:pt x="2918" y="464"/>
                  <a:pt x="2918" y="464"/>
                </a:cubicBezTo>
                <a:cubicBezTo>
                  <a:pt x="2920" y="465"/>
                  <a:pt x="2920" y="465"/>
                  <a:pt x="2920" y="465"/>
                </a:cubicBezTo>
                <a:cubicBezTo>
                  <a:pt x="2921" y="463"/>
                  <a:pt x="2921" y="463"/>
                  <a:pt x="2921" y="463"/>
                </a:cubicBezTo>
                <a:cubicBezTo>
                  <a:pt x="2922" y="460"/>
                  <a:pt x="2922" y="460"/>
                  <a:pt x="2922" y="460"/>
                </a:cubicBezTo>
                <a:cubicBezTo>
                  <a:pt x="2924" y="458"/>
                  <a:pt x="2924" y="458"/>
                  <a:pt x="2924" y="458"/>
                </a:cubicBezTo>
                <a:cubicBezTo>
                  <a:pt x="2927" y="458"/>
                  <a:pt x="2927" y="458"/>
                  <a:pt x="2927" y="458"/>
                </a:cubicBezTo>
                <a:cubicBezTo>
                  <a:pt x="2928" y="457"/>
                  <a:pt x="2928" y="457"/>
                  <a:pt x="2928" y="457"/>
                </a:cubicBezTo>
                <a:cubicBezTo>
                  <a:pt x="2928" y="455"/>
                  <a:pt x="2928" y="455"/>
                  <a:pt x="2928" y="455"/>
                </a:cubicBezTo>
                <a:cubicBezTo>
                  <a:pt x="2927" y="453"/>
                  <a:pt x="2927" y="453"/>
                  <a:pt x="2927" y="453"/>
                </a:cubicBezTo>
                <a:cubicBezTo>
                  <a:pt x="2926" y="453"/>
                  <a:pt x="2926" y="453"/>
                  <a:pt x="2926" y="453"/>
                </a:cubicBezTo>
                <a:cubicBezTo>
                  <a:pt x="2924" y="456"/>
                  <a:pt x="2924" y="456"/>
                  <a:pt x="2924" y="456"/>
                </a:cubicBezTo>
                <a:cubicBezTo>
                  <a:pt x="2924" y="457"/>
                  <a:pt x="2924" y="457"/>
                  <a:pt x="2924" y="457"/>
                </a:cubicBezTo>
                <a:cubicBezTo>
                  <a:pt x="2922" y="457"/>
                  <a:pt x="2922" y="457"/>
                  <a:pt x="2922" y="457"/>
                </a:cubicBezTo>
                <a:cubicBezTo>
                  <a:pt x="2921" y="458"/>
                  <a:pt x="2921" y="458"/>
                  <a:pt x="2921" y="458"/>
                </a:cubicBezTo>
                <a:cubicBezTo>
                  <a:pt x="2920" y="458"/>
                  <a:pt x="2920" y="458"/>
                  <a:pt x="2920" y="458"/>
                </a:cubicBezTo>
                <a:cubicBezTo>
                  <a:pt x="2919" y="456"/>
                  <a:pt x="2919" y="456"/>
                  <a:pt x="2919" y="456"/>
                </a:cubicBezTo>
                <a:cubicBezTo>
                  <a:pt x="2919" y="457"/>
                  <a:pt x="2919" y="457"/>
                  <a:pt x="2919" y="457"/>
                </a:cubicBezTo>
                <a:cubicBezTo>
                  <a:pt x="2918" y="458"/>
                  <a:pt x="2918" y="458"/>
                  <a:pt x="2918" y="458"/>
                </a:cubicBezTo>
                <a:cubicBezTo>
                  <a:pt x="2919" y="459"/>
                  <a:pt x="2919" y="459"/>
                  <a:pt x="2919" y="459"/>
                </a:cubicBezTo>
                <a:cubicBezTo>
                  <a:pt x="2918" y="461"/>
                  <a:pt x="2918" y="461"/>
                  <a:pt x="2918" y="461"/>
                </a:cubicBezTo>
                <a:cubicBezTo>
                  <a:pt x="2917" y="463"/>
                  <a:pt x="2917" y="463"/>
                  <a:pt x="2917" y="463"/>
                </a:cubicBezTo>
                <a:cubicBezTo>
                  <a:pt x="2916" y="463"/>
                  <a:pt x="2916" y="463"/>
                  <a:pt x="2916" y="463"/>
                </a:cubicBezTo>
                <a:cubicBezTo>
                  <a:pt x="2916" y="464"/>
                  <a:pt x="2916" y="464"/>
                  <a:pt x="2916" y="464"/>
                </a:cubicBezTo>
                <a:cubicBezTo>
                  <a:pt x="2915" y="466"/>
                  <a:pt x="2915" y="466"/>
                  <a:pt x="2915" y="466"/>
                </a:cubicBezTo>
                <a:cubicBezTo>
                  <a:pt x="2914" y="467"/>
                  <a:pt x="2914" y="467"/>
                  <a:pt x="2914" y="467"/>
                </a:cubicBezTo>
                <a:cubicBezTo>
                  <a:pt x="2914" y="468"/>
                  <a:pt x="2914" y="468"/>
                  <a:pt x="2914" y="468"/>
                </a:cubicBezTo>
                <a:cubicBezTo>
                  <a:pt x="2914" y="469"/>
                  <a:pt x="2914" y="469"/>
                  <a:pt x="2914" y="469"/>
                </a:cubicBezTo>
                <a:cubicBezTo>
                  <a:pt x="2914" y="470"/>
                  <a:pt x="2914" y="470"/>
                  <a:pt x="2914" y="470"/>
                </a:cubicBezTo>
                <a:lnTo>
                  <a:pt x="2913" y="471"/>
                </a:lnTo>
                <a:close/>
                <a:moveTo>
                  <a:pt x="2956" y="390"/>
                </a:moveTo>
                <a:cubicBezTo>
                  <a:pt x="2957" y="390"/>
                  <a:pt x="2957" y="390"/>
                  <a:pt x="2957" y="390"/>
                </a:cubicBezTo>
                <a:cubicBezTo>
                  <a:pt x="2956" y="389"/>
                  <a:pt x="2956" y="389"/>
                  <a:pt x="2956" y="389"/>
                </a:cubicBezTo>
                <a:cubicBezTo>
                  <a:pt x="2956" y="389"/>
                  <a:pt x="2956" y="389"/>
                  <a:pt x="2956" y="389"/>
                </a:cubicBezTo>
                <a:cubicBezTo>
                  <a:pt x="2955" y="390"/>
                  <a:pt x="2955" y="390"/>
                  <a:pt x="2955" y="390"/>
                </a:cubicBezTo>
                <a:lnTo>
                  <a:pt x="2956" y="390"/>
                </a:lnTo>
                <a:close/>
                <a:moveTo>
                  <a:pt x="2956" y="354"/>
                </a:moveTo>
                <a:cubicBezTo>
                  <a:pt x="2955" y="356"/>
                  <a:pt x="2955" y="356"/>
                  <a:pt x="2955" y="356"/>
                </a:cubicBezTo>
                <a:cubicBezTo>
                  <a:pt x="2956" y="357"/>
                  <a:pt x="2956" y="357"/>
                  <a:pt x="2956" y="357"/>
                </a:cubicBezTo>
                <a:cubicBezTo>
                  <a:pt x="2958" y="356"/>
                  <a:pt x="2958" y="356"/>
                  <a:pt x="2958" y="356"/>
                </a:cubicBezTo>
                <a:cubicBezTo>
                  <a:pt x="2959" y="355"/>
                  <a:pt x="2959" y="355"/>
                  <a:pt x="2959" y="355"/>
                </a:cubicBezTo>
                <a:cubicBezTo>
                  <a:pt x="2957" y="353"/>
                  <a:pt x="2957" y="353"/>
                  <a:pt x="2957" y="353"/>
                </a:cubicBezTo>
                <a:lnTo>
                  <a:pt x="2956" y="354"/>
                </a:lnTo>
                <a:close/>
                <a:moveTo>
                  <a:pt x="2954" y="417"/>
                </a:moveTo>
                <a:cubicBezTo>
                  <a:pt x="2955" y="416"/>
                  <a:pt x="2955" y="416"/>
                  <a:pt x="2955" y="416"/>
                </a:cubicBezTo>
                <a:cubicBezTo>
                  <a:pt x="2954" y="416"/>
                  <a:pt x="2954" y="416"/>
                  <a:pt x="2954" y="416"/>
                </a:cubicBezTo>
                <a:lnTo>
                  <a:pt x="2954" y="417"/>
                </a:lnTo>
                <a:close/>
                <a:moveTo>
                  <a:pt x="2901" y="479"/>
                </a:moveTo>
                <a:cubicBezTo>
                  <a:pt x="2901" y="478"/>
                  <a:pt x="2901" y="478"/>
                  <a:pt x="2901" y="478"/>
                </a:cubicBezTo>
                <a:cubicBezTo>
                  <a:pt x="2900" y="477"/>
                  <a:pt x="2900" y="477"/>
                  <a:pt x="2900" y="477"/>
                </a:cubicBezTo>
                <a:cubicBezTo>
                  <a:pt x="2900" y="477"/>
                  <a:pt x="2900" y="477"/>
                  <a:pt x="2900" y="477"/>
                </a:cubicBezTo>
                <a:cubicBezTo>
                  <a:pt x="2899" y="479"/>
                  <a:pt x="2899" y="479"/>
                  <a:pt x="2899" y="479"/>
                </a:cubicBezTo>
                <a:cubicBezTo>
                  <a:pt x="2898" y="481"/>
                  <a:pt x="2898" y="481"/>
                  <a:pt x="2898" y="481"/>
                </a:cubicBezTo>
                <a:cubicBezTo>
                  <a:pt x="2895" y="484"/>
                  <a:pt x="2895" y="484"/>
                  <a:pt x="2895" y="484"/>
                </a:cubicBezTo>
                <a:cubicBezTo>
                  <a:pt x="2892" y="484"/>
                  <a:pt x="2892" y="484"/>
                  <a:pt x="2892" y="484"/>
                </a:cubicBezTo>
                <a:cubicBezTo>
                  <a:pt x="2891" y="484"/>
                  <a:pt x="2891" y="484"/>
                  <a:pt x="2891" y="484"/>
                </a:cubicBezTo>
                <a:cubicBezTo>
                  <a:pt x="2890" y="484"/>
                  <a:pt x="2890" y="484"/>
                  <a:pt x="2890" y="484"/>
                </a:cubicBezTo>
                <a:cubicBezTo>
                  <a:pt x="2888" y="482"/>
                  <a:pt x="2888" y="482"/>
                  <a:pt x="2888" y="482"/>
                </a:cubicBezTo>
                <a:cubicBezTo>
                  <a:pt x="2885" y="482"/>
                  <a:pt x="2885" y="482"/>
                  <a:pt x="2885" y="482"/>
                </a:cubicBezTo>
                <a:cubicBezTo>
                  <a:pt x="2882" y="480"/>
                  <a:pt x="2882" y="480"/>
                  <a:pt x="2882" y="480"/>
                </a:cubicBezTo>
                <a:cubicBezTo>
                  <a:pt x="2881" y="478"/>
                  <a:pt x="2881" y="478"/>
                  <a:pt x="2881" y="478"/>
                </a:cubicBezTo>
                <a:cubicBezTo>
                  <a:pt x="2879" y="478"/>
                  <a:pt x="2879" y="478"/>
                  <a:pt x="2879" y="478"/>
                </a:cubicBezTo>
                <a:cubicBezTo>
                  <a:pt x="2878" y="476"/>
                  <a:pt x="2878" y="476"/>
                  <a:pt x="2878" y="476"/>
                </a:cubicBezTo>
                <a:cubicBezTo>
                  <a:pt x="2875" y="475"/>
                  <a:pt x="2875" y="475"/>
                  <a:pt x="2875" y="475"/>
                </a:cubicBezTo>
                <a:cubicBezTo>
                  <a:pt x="2871" y="470"/>
                  <a:pt x="2871" y="470"/>
                  <a:pt x="2871" y="470"/>
                </a:cubicBezTo>
                <a:cubicBezTo>
                  <a:pt x="2869" y="467"/>
                  <a:pt x="2869" y="467"/>
                  <a:pt x="2869" y="467"/>
                </a:cubicBezTo>
                <a:cubicBezTo>
                  <a:pt x="2866" y="467"/>
                  <a:pt x="2866" y="467"/>
                  <a:pt x="2866" y="467"/>
                </a:cubicBezTo>
                <a:cubicBezTo>
                  <a:pt x="2863" y="464"/>
                  <a:pt x="2863" y="464"/>
                  <a:pt x="2863" y="464"/>
                </a:cubicBezTo>
                <a:cubicBezTo>
                  <a:pt x="2862" y="463"/>
                  <a:pt x="2862" y="463"/>
                  <a:pt x="2862" y="463"/>
                </a:cubicBezTo>
                <a:cubicBezTo>
                  <a:pt x="2860" y="463"/>
                  <a:pt x="2860" y="463"/>
                  <a:pt x="2860" y="463"/>
                </a:cubicBezTo>
                <a:cubicBezTo>
                  <a:pt x="2860" y="463"/>
                  <a:pt x="2860" y="463"/>
                  <a:pt x="2860" y="463"/>
                </a:cubicBezTo>
                <a:cubicBezTo>
                  <a:pt x="2859" y="465"/>
                  <a:pt x="2859" y="465"/>
                  <a:pt x="2859" y="465"/>
                </a:cubicBezTo>
                <a:cubicBezTo>
                  <a:pt x="2858" y="465"/>
                  <a:pt x="2858" y="465"/>
                  <a:pt x="2858" y="465"/>
                </a:cubicBezTo>
                <a:cubicBezTo>
                  <a:pt x="2858" y="465"/>
                  <a:pt x="2858" y="465"/>
                  <a:pt x="2858" y="465"/>
                </a:cubicBezTo>
                <a:cubicBezTo>
                  <a:pt x="2859" y="467"/>
                  <a:pt x="2859" y="467"/>
                  <a:pt x="2859" y="467"/>
                </a:cubicBezTo>
                <a:cubicBezTo>
                  <a:pt x="2859" y="469"/>
                  <a:pt x="2859" y="469"/>
                  <a:pt x="2859" y="469"/>
                </a:cubicBezTo>
                <a:cubicBezTo>
                  <a:pt x="2863" y="474"/>
                  <a:pt x="2863" y="474"/>
                  <a:pt x="2863" y="474"/>
                </a:cubicBezTo>
                <a:cubicBezTo>
                  <a:pt x="2864" y="477"/>
                  <a:pt x="2864" y="477"/>
                  <a:pt x="2864" y="477"/>
                </a:cubicBezTo>
                <a:cubicBezTo>
                  <a:pt x="2864" y="481"/>
                  <a:pt x="2864" y="481"/>
                  <a:pt x="2864" y="481"/>
                </a:cubicBezTo>
                <a:cubicBezTo>
                  <a:pt x="2864" y="482"/>
                  <a:pt x="2864" y="482"/>
                  <a:pt x="2864" y="482"/>
                </a:cubicBezTo>
                <a:cubicBezTo>
                  <a:pt x="2865" y="485"/>
                  <a:pt x="2865" y="485"/>
                  <a:pt x="2865" y="485"/>
                </a:cubicBezTo>
                <a:cubicBezTo>
                  <a:pt x="2865" y="487"/>
                  <a:pt x="2865" y="487"/>
                  <a:pt x="2865" y="487"/>
                </a:cubicBezTo>
                <a:cubicBezTo>
                  <a:pt x="2865" y="488"/>
                  <a:pt x="2865" y="488"/>
                  <a:pt x="2865" y="488"/>
                </a:cubicBezTo>
                <a:cubicBezTo>
                  <a:pt x="2864" y="488"/>
                  <a:pt x="2864" y="488"/>
                  <a:pt x="2864" y="488"/>
                </a:cubicBezTo>
                <a:cubicBezTo>
                  <a:pt x="2863" y="490"/>
                  <a:pt x="2863" y="490"/>
                  <a:pt x="2863" y="490"/>
                </a:cubicBezTo>
                <a:cubicBezTo>
                  <a:pt x="2863" y="492"/>
                  <a:pt x="2863" y="492"/>
                  <a:pt x="2863" y="492"/>
                </a:cubicBezTo>
                <a:cubicBezTo>
                  <a:pt x="2864" y="493"/>
                  <a:pt x="2864" y="493"/>
                  <a:pt x="2864" y="493"/>
                </a:cubicBezTo>
                <a:cubicBezTo>
                  <a:pt x="2865" y="494"/>
                  <a:pt x="2865" y="494"/>
                  <a:pt x="2865" y="494"/>
                </a:cubicBezTo>
                <a:cubicBezTo>
                  <a:pt x="2866" y="495"/>
                  <a:pt x="2866" y="495"/>
                  <a:pt x="2866" y="495"/>
                </a:cubicBezTo>
                <a:cubicBezTo>
                  <a:pt x="2866" y="496"/>
                  <a:pt x="2866" y="496"/>
                  <a:pt x="2866" y="496"/>
                </a:cubicBezTo>
                <a:cubicBezTo>
                  <a:pt x="2866" y="497"/>
                  <a:pt x="2866" y="497"/>
                  <a:pt x="2866" y="497"/>
                </a:cubicBezTo>
                <a:cubicBezTo>
                  <a:pt x="2866" y="498"/>
                  <a:pt x="2866" y="498"/>
                  <a:pt x="2866" y="498"/>
                </a:cubicBezTo>
                <a:cubicBezTo>
                  <a:pt x="2864" y="499"/>
                  <a:pt x="2864" y="499"/>
                  <a:pt x="2864" y="499"/>
                </a:cubicBezTo>
                <a:cubicBezTo>
                  <a:pt x="2861" y="499"/>
                  <a:pt x="2861" y="499"/>
                  <a:pt x="2861" y="499"/>
                </a:cubicBezTo>
                <a:cubicBezTo>
                  <a:pt x="2858" y="497"/>
                  <a:pt x="2858" y="497"/>
                  <a:pt x="2858" y="497"/>
                </a:cubicBezTo>
                <a:cubicBezTo>
                  <a:pt x="2856" y="497"/>
                  <a:pt x="2856" y="497"/>
                  <a:pt x="2856" y="497"/>
                </a:cubicBezTo>
                <a:cubicBezTo>
                  <a:pt x="2856" y="499"/>
                  <a:pt x="2856" y="499"/>
                  <a:pt x="2856" y="499"/>
                </a:cubicBezTo>
                <a:cubicBezTo>
                  <a:pt x="2856" y="500"/>
                  <a:pt x="2856" y="500"/>
                  <a:pt x="2856" y="500"/>
                </a:cubicBezTo>
                <a:cubicBezTo>
                  <a:pt x="2857" y="500"/>
                  <a:pt x="2857" y="500"/>
                  <a:pt x="2857" y="500"/>
                </a:cubicBezTo>
                <a:cubicBezTo>
                  <a:pt x="2859" y="501"/>
                  <a:pt x="2859" y="501"/>
                  <a:pt x="2859" y="501"/>
                </a:cubicBezTo>
                <a:cubicBezTo>
                  <a:pt x="2859" y="502"/>
                  <a:pt x="2859" y="502"/>
                  <a:pt x="2859" y="502"/>
                </a:cubicBezTo>
                <a:cubicBezTo>
                  <a:pt x="2859" y="503"/>
                  <a:pt x="2859" y="503"/>
                  <a:pt x="2859" y="503"/>
                </a:cubicBezTo>
                <a:cubicBezTo>
                  <a:pt x="2858" y="505"/>
                  <a:pt x="2858" y="505"/>
                  <a:pt x="2858" y="505"/>
                </a:cubicBezTo>
                <a:cubicBezTo>
                  <a:pt x="2856" y="505"/>
                  <a:pt x="2856" y="505"/>
                  <a:pt x="2856" y="505"/>
                </a:cubicBezTo>
                <a:cubicBezTo>
                  <a:pt x="2856" y="506"/>
                  <a:pt x="2856" y="506"/>
                  <a:pt x="2856" y="506"/>
                </a:cubicBezTo>
                <a:cubicBezTo>
                  <a:pt x="2855" y="507"/>
                  <a:pt x="2855" y="507"/>
                  <a:pt x="2855" y="507"/>
                </a:cubicBezTo>
                <a:cubicBezTo>
                  <a:pt x="2854" y="509"/>
                  <a:pt x="2854" y="509"/>
                  <a:pt x="2854" y="509"/>
                </a:cubicBezTo>
                <a:cubicBezTo>
                  <a:pt x="2855" y="511"/>
                  <a:pt x="2855" y="511"/>
                  <a:pt x="2855" y="511"/>
                </a:cubicBezTo>
                <a:cubicBezTo>
                  <a:pt x="2854" y="513"/>
                  <a:pt x="2854" y="513"/>
                  <a:pt x="2854" y="513"/>
                </a:cubicBezTo>
                <a:cubicBezTo>
                  <a:pt x="2855" y="515"/>
                  <a:pt x="2855" y="515"/>
                  <a:pt x="2855" y="515"/>
                </a:cubicBezTo>
                <a:cubicBezTo>
                  <a:pt x="2856" y="515"/>
                  <a:pt x="2856" y="515"/>
                  <a:pt x="2856" y="515"/>
                </a:cubicBezTo>
                <a:cubicBezTo>
                  <a:pt x="2858" y="516"/>
                  <a:pt x="2858" y="516"/>
                  <a:pt x="2858" y="516"/>
                </a:cubicBezTo>
                <a:cubicBezTo>
                  <a:pt x="2859" y="517"/>
                  <a:pt x="2859" y="517"/>
                  <a:pt x="2859" y="517"/>
                </a:cubicBezTo>
                <a:cubicBezTo>
                  <a:pt x="2860" y="521"/>
                  <a:pt x="2860" y="521"/>
                  <a:pt x="2860" y="521"/>
                </a:cubicBezTo>
                <a:cubicBezTo>
                  <a:pt x="2861" y="525"/>
                  <a:pt x="2861" y="525"/>
                  <a:pt x="2861" y="525"/>
                </a:cubicBezTo>
                <a:cubicBezTo>
                  <a:pt x="2860" y="525"/>
                  <a:pt x="2860" y="525"/>
                  <a:pt x="2860" y="525"/>
                </a:cubicBezTo>
                <a:cubicBezTo>
                  <a:pt x="2861" y="527"/>
                  <a:pt x="2861" y="527"/>
                  <a:pt x="2861" y="527"/>
                </a:cubicBezTo>
                <a:cubicBezTo>
                  <a:pt x="2863" y="528"/>
                  <a:pt x="2863" y="528"/>
                  <a:pt x="2863" y="528"/>
                </a:cubicBezTo>
                <a:cubicBezTo>
                  <a:pt x="2865" y="525"/>
                  <a:pt x="2865" y="525"/>
                  <a:pt x="2865" y="525"/>
                </a:cubicBezTo>
                <a:cubicBezTo>
                  <a:pt x="2866" y="523"/>
                  <a:pt x="2866" y="523"/>
                  <a:pt x="2866" y="523"/>
                </a:cubicBezTo>
                <a:cubicBezTo>
                  <a:pt x="2866" y="522"/>
                  <a:pt x="2866" y="522"/>
                  <a:pt x="2866" y="522"/>
                </a:cubicBezTo>
                <a:cubicBezTo>
                  <a:pt x="2867" y="521"/>
                  <a:pt x="2867" y="521"/>
                  <a:pt x="2867" y="521"/>
                </a:cubicBezTo>
                <a:cubicBezTo>
                  <a:pt x="2869" y="521"/>
                  <a:pt x="2869" y="521"/>
                  <a:pt x="2869" y="521"/>
                </a:cubicBezTo>
                <a:cubicBezTo>
                  <a:pt x="2871" y="522"/>
                  <a:pt x="2871" y="522"/>
                  <a:pt x="2871" y="522"/>
                </a:cubicBezTo>
                <a:cubicBezTo>
                  <a:pt x="2871" y="521"/>
                  <a:pt x="2871" y="521"/>
                  <a:pt x="2871" y="521"/>
                </a:cubicBezTo>
                <a:cubicBezTo>
                  <a:pt x="2873" y="519"/>
                  <a:pt x="2873" y="519"/>
                  <a:pt x="2873" y="519"/>
                </a:cubicBezTo>
                <a:cubicBezTo>
                  <a:pt x="2872" y="518"/>
                  <a:pt x="2872" y="518"/>
                  <a:pt x="2872" y="518"/>
                </a:cubicBezTo>
                <a:cubicBezTo>
                  <a:pt x="2870" y="518"/>
                  <a:pt x="2870" y="518"/>
                  <a:pt x="2870" y="518"/>
                </a:cubicBezTo>
                <a:cubicBezTo>
                  <a:pt x="2868" y="517"/>
                  <a:pt x="2868" y="517"/>
                  <a:pt x="2868" y="517"/>
                </a:cubicBezTo>
                <a:cubicBezTo>
                  <a:pt x="2865" y="514"/>
                  <a:pt x="2865" y="514"/>
                  <a:pt x="2865" y="514"/>
                </a:cubicBezTo>
                <a:cubicBezTo>
                  <a:pt x="2863" y="515"/>
                  <a:pt x="2863" y="515"/>
                  <a:pt x="2863" y="515"/>
                </a:cubicBezTo>
                <a:cubicBezTo>
                  <a:pt x="2861" y="514"/>
                  <a:pt x="2861" y="514"/>
                  <a:pt x="2861" y="514"/>
                </a:cubicBezTo>
                <a:cubicBezTo>
                  <a:pt x="2860" y="512"/>
                  <a:pt x="2860" y="512"/>
                  <a:pt x="2860" y="512"/>
                </a:cubicBezTo>
                <a:cubicBezTo>
                  <a:pt x="2860" y="510"/>
                  <a:pt x="2860" y="510"/>
                  <a:pt x="2860" y="510"/>
                </a:cubicBezTo>
                <a:cubicBezTo>
                  <a:pt x="2861" y="509"/>
                  <a:pt x="2861" y="509"/>
                  <a:pt x="2861" y="509"/>
                </a:cubicBezTo>
                <a:cubicBezTo>
                  <a:pt x="2863" y="509"/>
                  <a:pt x="2863" y="509"/>
                  <a:pt x="2863" y="509"/>
                </a:cubicBezTo>
                <a:cubicBezTo>
                  <a:pt x="2865" y="510"/>
                  <a:pt x="2865" y="510"/>
                  <a:pt x="2865" y="510"/>
                </a:cubicBezTo>
                <a:cubicBezTo>
                  <a:pt x="2866" y="511"/>
                  <a:pt x="2866" y="511"/>
                  <a:pt x="2866" y="511"/>
                </a:cubicBezTo>
                <a:cubicBezTo>
                  <a:pt x="2869" y="508"/>
                  <a:pt x="2869" y="508"/>
                  <a:pt x="2869" y="508"/>
                </a:cubicBezTo>
                <a:cubicBezTo>
                  <a:pt x="2871" y="506"/>
                  <a:pt x="2871" y="506"/>
                  <a:pt x="2871" y="506"/>
                </a:cubicBezTo>
                <a:cubicBezTo>
                  <a:pt x="2873" y="506"/>
                  <a:pt x="2873" y="506"/>
                  <a:pt x="2873" y="506"/>
                </a:cubicBezTo>
                <a:cubicBezTo>
                  <a:pt x="2874" y="507"/>
                  <a:pt x="2874" y="507"/>
                  <a:pt x="2874" y="507"/>
                </a:cubicBezTo>
                <a:cubicBezTo>
                  <a:pt x="2875" y="507"/>
                  <a:pt x="2875" y="507"/>
                  <a:pt x="2875" y="507"/>
                </a:cubicBezTo>
                <a:cubicBezTo>
                  <a:pt x="2877" y="507"/>
                  <a:pt x="2877" y="507"/>
                  <a:pt x="2877" y="507"/>
                </a:cubicBezTo>
                <a:cubicBezTo>
                  <a:pt x="2879" y="509"/>
                  <a:pt x="2879" y="509"/>
                  <a:pt x="2879" y="509"/>
                </a:cubicBezTo>
                <a:cubicBezTo>
                  <a:pt x="2882" y="511"/>
                  <a:pt x="2882" y="511"/>
                  <a:pt x="2882" y="511"/>
                </a:cubicBezTo>
                <a:cubicBezTo>
                  <a:pt x="2885" y="513"/>
                  <a:pt x="2885" y="513"/>
                  <a:pt x="2885" y="513"/>
                </a:cubicBezTo>
                <a:cubicBezTo>
                  <a:pt x="2888" y="514"/>
                  <a:pt x="2888" y="514"/>
                  <a:pt x="2888" y="514"/>
                </a:cubicBezTo>
                <a:cubicBezTo>
                  <a:pt x="2889" y="515"/>
                  <a:pt x="2889" y="515"/>
                  <a:pt x="2889" y="515"/>
                </a:cubicBezTo>
                <a:cubicBezTo>
                  <a:pt x="2891" y="516"/>
                  <a:pt x="2891" y="516"/>
                  <a:pt x="2891" y="516"/>
                </a:cubicBezTo>
                <a:cubicBezTo>
                  <a:pt x="2890" y="514"/>
                  <a:pt x="2890" y="514"/>
                  <a:pt x="2890" y="514"/>
                </a:cubicBezTo>
                <a:cubicBezTo>
                  <a:pt x="2891" y="513"/>
                  <a:pt x="2891" y="513"/>
                  <a:pt x="2891" y="513"/>
                </a:cubicBezTo>
                <a:cubicBezTo>
                  <a:pt x="2890" y="510"/>
                  <a:pt x="2890" y="510"/>
                  <a:pt x="2890" y="510"/>
                </a:cubicBezTo>
                <a:cubicBezTo>
                  <a:pt x="2891" y="507"/>
                  <a:pt x="2891" y="507"/>
                  <a:pt x="2891" y="507"/>
                </a:cubicBezTo>
                <a:cubicBezTo>
                  <a:pt x="2892" y="503"/>
                  <a:pt x="2892" y="503"/>
                  <a:pt x="2892" y="503"/>
                </a:cubicBezTo>
                <a:cubicBezTo>
                  <a:pt x="2894" y="499"/>
                  <a:pt x="2894" y="499"/>
                  <a:pt x="2894" y="499"/>
                </a:cubicBezTo>
                <a:cubicBezTo>
                  <a:pt x="2896" y="499"/>
                  <a:pt x="2896" y="499"/>
                  <a:pt x="2896" y="499"/>
                </a:cubicBezTo>
                <a:cubicBezTo>
                  <a:pt x="2898" y="499"/>
                  <a:pt x="2898" y="499"/>
                  <a:pt x="2898" y="499"/>
                </a:cubicBezTo>
                <a:cubicBezTo>
                  <a:pt x="2901" y="499"/>
                  <a:pt x="2901" y="499"/>
                  <a:pt x="2901" y="499"/>
                </a:cubicBezTo>
                <a:cubicBezTo>
                  <a:pt x="2900" y="498"/>
                  <a:pt x="2900" y="498"/>
                  <a:pt x="2900" y="498"/>
                </a:cubicBezTo>
                <a:cubicBezTo>
                  <a:pt x="2902" y="497"/>
                  <a:pt x="2902" y="497"/>
                  <a:pt x="2902" y="497"/>
                </a:cubicBezTo>
                <a:cubicBezTo>
                  <a:pt x="2902" y="498"/>
                  <a:pt x="2902" y="498"/>
                  <a:pt x="2902" y="498"/>
                </a:cubicBezTo>
                <a:cubicBezTo>
                  <a:pt x="2904" y="498"/>
                  <a:pt x="2904" y="498"/>
                  <a:pt x="2904" y="498"/>
                </a:cubicBezTo>
                <a:cubicBezTo>
                  <a:pt x="2905" y="497"/>
                  <a:pt x="2905" y="497"/>
                  <a:pt x="2905" y="497"/>
                </a:cubicBezTo>
                <a:cubicBezTo>
                  <a:pt x="2905" y="495"/>
                  <a:pt x="2905" y="495"/>
                  <a:pt x="2905" y="495"/>
                </a:cubicBezTo>
                <a:cubicBezTo>
                  <a:pt x="2907" y="494"/>
                  <a:pt x="2907" y="494"/>
                  <a:pt x="2907" y="494"/>
                </a:cubicBezTo>
                <a:cubicBezTo>
                  <a:pt x="2908" y="493"/>
                  <a:pt x="2908" y="493"/>
                  <a:pt x="2908" y="493"/>
                </a:cubicBezTo>
                <a:cubicBezTo>
                  <a:pt x="2908" y="491"/>
                  <a:pt x="2908" y="491"/>
                  <a:pt x="2908" y="491"/>
                </a:cubicBezTo>
                <a:cubicBezTo>
                  <a:pt x="2909" y="491"/>
                  <a:pt x="2909" y="491"/>
                  <a:pt x="2909" y="491"/>
                </a:cubicBezTo>
                <a:cubicBezTo>
                  <a:pt x="2910" y="489"/>
                  <a:pt x="2910" y="489"/>
                  <a:pt x="2910" y="489"/>
                </a:cubicBezTo>
                <a:cubicBezTo>
                  <a:pt x="2908" y="489"/>
                  <a:pt x="2908" y="489"/>
                  <a:pt x="2908" y="489"/>
                </a:cubicBezTo>
                <a:cubicBezTo>
                  <a:pt x="2907" y="491"/>
                  <a:pt x="2907" y="491"/>
                  <a:pt x="2907" y="491"/>
                </a:cubicBezTo>
                <a:cubicBezTo>
                  <a:pt x="2906" y="492"/>
                  <a:pt x="2906" y="492"/>
                  <a:pt x="2906" y="492"/>
                </a:cubicBezTo>
                <a:cubicBezTo>
                  <a:pt x="2905" y="492"/>
                  <a:pt x="2905" y="492"/>
                  <a:pt x="2905" y="492"/>
                </a:cubicBezTo>
                <a:cubicBezTo>
                  <a:pt x="2905" y="491"/>
                  <a:pt x="2905" y="491"/>
                  <a:pt x="2905" y="491"/>
                </a:cubicBezTo>
                <a:cubicBezTo>
                  <a:pt x="2905" y="490"/>
                  <a:pt x="2905" y="490"/>
                  <a:pt x="2905" y="490"/>
                </a:cubicBezTo>
                <a:cubicBezTo>
                  <a:pt x="2903" y="488"/>
                  <a:pt x="2903" y="488"/>
                  <a:pt x="2903" y="488"/>
                </a:cubicBezTo>
                <a:cubicBezTo>
                  <a:pt x="2900" y="486"/>
                  <a:pt x="2900" y="486"/>
                  <a:pt x="2900" y="486"/>
                </a:cubicBezTo>
                <a:cubicBezTo>
                  <a:pt x="2900" y="485"/>
                  <a:pt x="2900" y="485"/>
                  <a:pt x="2900" y="485"/>
                </a:cubicBezTo>
                <a:cubicBezTo>
                  <a:pt x="2900" y="482"/>
                  <a:pt x="2900" y="482"/>
                  <a:pt x="2900" y="482"/>
                </a:cubicBezTo>
                <a:lnTo>
                  <a:pt x="2901" y="479"/>
                </a:lnTo>
                <a:close/>
                <a:moveTo>
                  <a:pt x="2766" y="631"/>
                </a:moveTo>
                <a:cubicBezTo>
                  <a:pt x="2765" y="631"/>
                  <a:pt x="2765" y="631"/>
                  <a:pt x="2765" y="631"/>
                </a:cubicBezTo>
                <a:cubicBezTo>
                  <a:pt x="2766" y="632"/>
                  <a:pt x="2766" y="632"/>
                  <a:pt x="2766" y="632"/>
                </a:cubicBezTo>
                <a:cubicBezTo>
                  <a:pt x="2767" y="632"/>
                  <a:pt x="2767" y="632"/>
                  <a:pt x="2767" y="632"/>
                </a:cubicBezTo>
                <a:lnTo>
                  <a:pt x="2766" y="631"/>
                </a:lnTo>
                <a:close/>
                <a:moveTo>
                  <a:pt x="2766" y="891"/>
                </a:moveTo>
                <a:cubicBezTo>
                  <a:pt x="2769" y="890"/>
                  <a:pt x="2769" y="890"/>
                  <a:pt x="2769" y="890"/>
                </a:cubicBezTo>
                <a:cubicBezTo>
                  <a:pt x="2770" y="888"/>
                  <a:pt x="2770" y="888"/>
                  <a:pt x="2770" y="888"/>
                </a:cubicBezTo>
                <a:cubicBezTo>
                  <a:pt x="2769" y="886"/>
                  <a:pt x="2769" y="886"/>
                  <a:pt x="2769" y="886"/>
                </a:cubicBezTo>
                <a:cubicBezTo>
                  <a:pt x="2767" y="884"/>
                  <a:pt x="2767" y="884"/>
                  <a:pt x="2767" y="884"/>
                </a:cubicBezTo>
                <a:cubicBezTo>
                  <a:pt x="2766" y="885"/>
                  <a:pt x="2766" y="885"/>
                  <a:pt x="2766" y="885"/>
                </a:cubicBezTo>
                <a:cubicBezTo>
                  <a:pt x="2767" y="888"/>
                  <a:pt x="2767" y="888"/>
                  <a:pt x="2767" y="888"/>
                </a:cubicBezTo>
                <a:cubicBezTo>
                  <a:pt x="2766" y="889"/>
                  <a:pt x="2766" y="889"/>
                  <a:pt x="2766" y="889"/>
                </a:cubicBezTo>
                <a:cubicBezTo>
                  <a:pt x="2765" y="890"/>
                  <a:pt x="2765" y="890"/>
                  <a:pt x="2765" y="890"/>
                </a:cubicBezTo>
                <a:lnTo>
                  <a:pt x="2766" y="891"/>
                </a:lnTo>
                <a:close/>
                <a:moveTo>
                  <a:pt x="2759" y="652"/>
                </a:moveTo>
                <a:cubicBezTo>
                  <a:pt x="2761" y="650"/>
                  <a:pt x="2761" y="650"/>
                  <a:pt x="2761" y="650"/>
                </a:cubicBezTo>
                <a:cubicBezTo>
                  <a:pt x="2760" y="648"/>
                  <a:pt x="2760" y="648"/>
                  <a:pt x="2760" y="648"/>
                </a:cubicBezTo>
                <a:cubicBezTo>
                  <a:pt x="2758" y="648"/>
                  <a:pt x="2758" y="648"/>
                  <a:pt x="2758" y="648"/>
                </a:cubicBezTo>
                <a:cubicBezTo>
                  <a:pt x="2754" y="649"/>
                  <a:pt x="2754" y="649"/>
                  <a:pt x="2754" y="649"/>
                </a:cubicBezTo>
                <a:cubicBezTo>
                  <a:pt x="2753" y="651"/>
                  <a:pt x="2753" y="651"/>
                  <a:pt x="2753" y="651"/>
                </a:cubicBezTo>
                <a:cubicBezTo>
                  <a:pt x="2754" y="652"/>
                  <a:pt x="2754" y="652"/>
                  <a:pt x="2754" y="652"/>
                </a:cubicBezTo>
                <a:cubicBezTo>
                  <a:pt x="2756" y="653"/>
                  <a:pt x="2756" y="653"/>
                  <a:pt x="2756" y="653"/>
                </a:cubicBezTo>
                <a:lnTo>
                  <a:pt x="2759" y="652"/>
                </a:lnTo>
                <a:close/>
                <a:moveTo>
                  <a:pt x="2739" y="830"/>
                </a:moveTo>
                <a:cubicBezTo>
                  <a:pt x="2737" y="831"/>
                  <a:pt x="2737" y="831"/>
                  <a:pt x="2737" y="831"/>
                </a:cubicBezTo>
                <a:cubicBezTo>
                  <a:pt x="2739" y="832"/>
                  <a:pt x="2739" y="832"/>
                  <a:pt x="2739" y="832"/>
                </a:cubicBezTo>
                <a:cubicBezTo>
                  <a:pt x="2739" y="831"/>
                  <a:pt x="2739" y="831"/>
                  <a:pt x="2739" y="831"/>
                </a:cubicBezTo>
                <a:cubicBezTo>
                  <a:pt x="2739" y="831"/>
                  <a:pt x="2739" y="830"/>
                  <a:pt x="2739" y="830"/>
                </a:cubicBezTo>
                <a:close/>
                <a:moveTo>
                  <a:pt x="2340" y="959"/>
                </a:moveTo>
                <a:cubicBezTo>
                  <a:pt x="2339" y="958"/>
                  <a:pt x="2339" y="958"/>
                  <a:pt x="2339" y="958"/>
                </a:cubicBezTo>
                <a:cubicBezTo>
                  <a:pt x="2340" y="956"/>
                  <a:pt x="2340" y="956"/>
                  <a:pt x="2340" y="956"/>
                </a:cubicBezTo>
                <a:cubicBezTo>
                  <a:pt x="2338" y="955"/>
                  <a:pt x="2338" y="955"/>
                  <a:pt x="2338" y="955"/>
                </a:cubicBezTo>
                <a:cubicBezTo>
                  <a:pt x="2336" y="950"/>
                  <a:pt x="2336" y="950"/>
                  <a:pt x="2336" y="950"/>
                </a:cubicBezTo>
                <a:cubicBezTo>
                  <a:pt x="2335" y="947"/>
                  <a:pt x="2335" y="947"/>
                  <a:pt x="2335" y="947"/>
                </a:cubicBezTo>
                <a:cubicBezTo>
                  <a:pt x="2333" y="947"/>
                  <a:pt x="2333" y="947"/>
                  <a:pt x="2333" y="947"/>
                </a:cubicBezTo>
                <a:cubicBezTo>
                  <a:pt x="2333" y="947"/>
                  <a:pt x="2333" y="947"/>
                  <a:pt x="2333" y="947"/>
                </a:cubicBezTo>
                <a:cubicBezTo>
                  <a:pt x="2332" y="947"/>
                  <a:pt x="2332" y="947"/>
                  <a:pt x="2332" y="947"/>
                </a:cubicBezTo>
                <a:cubicBezTo>
                  <a:pt x="2334" y="946"/>
                  <a:pt x="2334" y="946"/>
                  <a:pt x="2334" y="946"/>
                </a:cubicBezTo>
                <a:cubicBezTo>
                  <a:pt x="2333" y="945"/>
                  <a:pt x="2333" y="945"/>
                  <a:pt x="2333" y="945"/>
                </a:cubicBezTo>
                <a:cubicBezTo>
                  <a:pt x="2333" y="945"/>
                  <a:pt x="2333" y="945"/>
                  <a:pt x="2333" y="945"/>
                </a:cubicBezTo>
                <a:cubicBezTo>
                  <a:pt x="2331" y="942"/>
                  <a:pt x="2331" y="942"/>
                  <a:pt x="2331" y="942"/>
                </a:cubicBezTo>
                <a:cubicBezTo>
                  <a:pt x="2330" y="942"/>
                  <a:pt x="2330" y="942"/>
                  <a:pt x="2330" y="942"/>
                </a:cubicBezTo>
                <a:cubicBezTo>
                  <a:pt x="2330" y="940"/>
                  <a:pt x="2330" y="940"/>
                  <a:pt x="2330" y="940"/>
                </a:cubicBezTo>
                <a:cubicBezTo>
                  <a:pt x="2329" y="940"/>
                  <a:pt x="2329" y="940"/>
                  <a:pt x="2329" y="940"/>
                </a:cubicBezTo>
                <a:cubicBezTo>
                  <a:pt x="2329" y="938"/>
                  <a:pt x="2329" y="938"/>
                  <a:pt x="2329" y="938"/>
                </a:cubicBezTo>
                <a:cubicBezTo>
                  <a:pt x="2326" y="937"/>
                  <a:pt x="2326" y="937"/>
                  <a:pt x="2326" y="937"/>
                </a:cubicBezTo>
                <a:cubicBezTo>
                  <a:pt x="2326" y="938"/>
                  <a:pt x="2326" y="938"/>
                  <a:pt x="2326" y="938"/>
                </a:cubicBezTo>
                <a:cubicBezTo>
                  <a:pt x="2324" y="938"/>
                  <a:pt x="2324" y="938"/>
                  <a:pt x="2324" y="938"/>
                </a:cubicBezTo>
                <a:cubicBezTo>
                  <a:pt x="2324" y="937"/>
                  <a:pt x="2324" y="937"/>
                  <a:pt x="2324" y="937"/>
                </a:cubicBezTo>
                <a:cubicBezTo>
                  <a:pt x="2322" y="936"/>
                  <a:pt x="2322" y="936"/>
                  <a:pt x="2322" y="936"/>
                </a:cubicBezTo>
                <a:cubicBezTo>
                  <a:pt x="2322" y="937"/>
                  <a:pt x="2322" y="937"/>
                  <a:pt x="2322" y="937"/>
                </a:cubicBezTo>
                <a:cubicBezTo>
                  <a:pt x="2323" y="937"/>
                  <a:pt x="2323" y="937"/>
                  <a:pt x="2323" y="937"/>
                </a:cubicBezTo>
                <a:cubicBezTo>
                  <a:pt x="2322" y="938"/>
                  <a:pt x="2322" y="938"/>
                  <a:pt x="2322" y="938"/>
                </a:cubicBezTo>
                <a:cubicBezTo>
                  <a:pt x="2322" y="938"/>
                  <a:pt x="2322" y="938"/>
                  <a:pt x="2322" y="938"/>
                </a:cubicBezTo>
                <a:cubicBezTo>
                  <a:pt x="2322" y="939"/>
                  <a:pt x="2322" y="939"/>
                  <a:pt x="2322" y="939"/>
                </a:cubicBezTo>
                <a:cubicBezTo>
                  <a:pt x="2322" y="940"/>
                  <a:pt x="2322" y="940"/>
                  <a:pt x="2322" y="940"/>
                </a:cubicBezTo>
                <a:cubicBezTo>
                  <a:pt x="2321" y="942"/>
                  <a:pt x="2321" y="942"/>
                  <a:pt x="2321" y="942"/>
                </a:cubicBezTo>
                <a:cubicBezTo>
                  <a:pt x="2320" y="942"/>
                  <a:pt x="2320" y="942"/>
                  <a:pt x="2320" y="942"/>
                </a:cubicBezTo>
                <a:cubicBezTo>
                  <a:pt x="2319" y="941"/>
                  <a:pt x="2319" y="941"/>
                  <a:pt x="2319" y="941"/>
                </a:cubicBezTo>
                <a:cubicBezTo>
                  <a:pt x="2318" y="940"/>
                  <a:pt x="2318" y="940"/>
                  <a:pt x="2318" y="940"/>
                </a:cubicBezTo>
                <a:cubicBezTo>
                  <a:pt x="2318" y="941"/>
                  <a:pt x="2318" y="941"/>
                  <a:pt x="2318" y="941"/>
                </a:cubicBezTo>
                <a:cubicBezTo>
                  <a:pt x="2319" y="941"/>
                  <a:pt x="2319" y="941"/>
                  <a:pt x="2319" y="941"/>
                </a:cubicBezTo>
                <a:cubicBezTo>
                  <a:pt x="2320" y="942"/>
                  <a:pt x="2320" y="942"/>
                  <a:pt x="2320" y="942"/>
                </a:cubicBezTo>
                <a:cubicBezTo>
                  <a:pt x="2319" y="943"/>
                  <a:pt x="2319" y="943"/>
                  <a:pt x="2319" y="943"/>
                </a:cubicBezTo>
                <a:cubicBezTo>
                  <a:pt x="2320" y="945"/>
                  <a:pt x="2320" y="945"/>
                  <a:pt x="2320" y="945"/>
                </a:cubicBezTo>
                <a:cubicBezTo>
                  <a:pt x="2320" y="948"/>
                  <a:pt x="2320" y="948"/>
                  <a:pt x="2320" y="948"/>
                </a:cubicBezTo>
                <a:cubicBezTo>
                  <a:pt x="2319" y="949"/>
                  <a:pt x="2319" y="949"/>
                  <a:pt x="2319" y="949"/>
                </a:cubicBezTo>
                <a:cubicBezTo>
                  <a:pt x="2319" y="953"/>
                  <a:pt x="2319" y="953"/>
                  <a:pt x="2319" y="953"/>
                </a:cubicBezTo>
                <a:cubicBezTo>
                  <a:pt x="2319" y="954"/>
                  <a:pt x="2319" y="954"/>
                  <a:pt x="2319" y="954"/>
                </a:cubicBezTo>
                <a:cubicBezTo>
                  <a:pt x="2318" y="955"/>
                  <a:pt x="2318" y="955"/>
                  <a:pt x="2318" y="955"/>
                </a:cubicBezTo>
                <a:cubicBezTo>
                  <a:pt x="2319" y="959"/>
                  <a:pt x="2319" y="959"/>
                  <a:pt x="2319" y="959"/>
                </a:cubicBezTo>
                <a:cubicBezTo>
                  <a:pt x="2319" y="960"/>
                  <a:pt x="2319" y="960"/>
                  <a:pt x="2319" y="960"/>
                </a:cubicBezTo>
                <a:cubicBezTo>
                  <a:pt x="2320" y="965"/>
                  <a:pt x="2320" y="965"/>
                  <a:pt x="2320" y="965"/>
                </a:cubicBezTo>
                <a:cubicBezTo>
                  <a:pt x="2322" y="970"/>
                  <a:pt x="2322" y="970"/>
                  <a:pt x="2322" y="970"/>
                </a:cubicBezTo>
                <a:cubicBezTo>
                  <a:pt x="2323" y="973"/>
                  <a:pt x="2323" y="973"/>
                  <a:pt x="2323" y="973"/>
                </a:cubicBezTo>
                <a:cubicBezTo>
                  <a:pt x="2326" y="974"/>
                  <a:pt x="2326" y="974"/>
                  <a:pt x="2326" y="974"/>
                </a:cubicBezTo>
                <a:cubicBezTo>
                  <a:pt x="2328" y="974"/>
                  <a:pt x="2328" y="974"/>
                  <a:pt x="2328" y="974"/>
                </a:cubicBezTo>
                <a:cubicBezTo>
                  <a:pt x="2331" y="973"/>
                  <a:pt x="2331" y="973"/>
                  <a:pt x="2331" y="973"/>
                </a:cubicBezTo>
                <a:cubicBezTo>
                  <a:pt x="2334" y="972"/>
                  <a:pt x="2334" y="972"/>
                  <a:pt x="2334" y="972"/>
                </a:cubicBezTo>
                <a:cubicBezTo>
                  <a:pt x="2338" y="969"/>
                  <a:pt x="2338" y="969"/>
                  <a:pt x="2338" y="969"/>
                </a:cubicBezTo>
                <a:cubicBezTo>
                  <a:pt x="2339" y="966"/>
                  <a:pt x="2339" y="966"/>
                  <a:pt x="2339" y="966"/>
                </a:cubicBezTo>
                <a:cubicBezTo>
                  <a:pt x="2340" y="964"/>
                  <a:pt x="2340" y="964"/>
                  <a:pt x="2340" y="964"/>
                </a:cubicBezTo>
                <a:cubicBezTo>
                  <a:pt x="2340" y="962"/>
                  <a:pt x="2340" y="962"/>
                  <a:pt x="2340" y="962"/>
                </a:cubicBezTo>
                <a:cubicBezTo>
                  <a:pt x="2340" y="962"/>
                  <a:pt x="2340" y="962"/>
                  <a:pt x="2340" y="962"/>
                </a:cubicBezTo>
                <a:lnTo>
                  <a:pt x="2340" y="959"/>
                </a:lnTo>
                <a:close/>
                <a:moveTo>
                  <a:pt x="2744" y="873"/>
                </a:moveTo>
                <a:cubicBezTo>
                  <a:pt x="2741" y="874"/>
                  <a:pt x="2741" y="874"/>
                  <a:pt x="2741" y="874"/>
                </a:cubicBezTo>
                <a:cubicBezTo>
                  <a:pt x="2742" y="877"/>
                  <a:pt x="2742" y="877"/>
                  <a:pt x="2742" y="877"/>
                </a:cubicBezTo>
                <a:cubicBezTo>
                  <a:pt x="2742" y="878"/>
                  <a:pt x="2742" y="878"/>
                  <a:pt x="2742" y="878"/>
                </a:cubicBezTo>
                <a:cubicBezTo>
                  <a:pt x="2743" y="879"/>
                  <a:pt x="2743" y="879"/>
                  <a:pt x="2743" y="879"/>
                </a:cubicBezTo>
                <a:cubicBezTo>
                  <a:pt x="2744" y="878"/>
                  <a:pt x="2744" y="878"/>
                  <a:pt x="2744" y="878"/>
                </a:cubicBezTo>
                <a:cubicBezTo>
                  <a:pt x="2744" y="875"/>
                  <a:pt x="2744" y="875"/>
                  <a:pt x="2744" y="875"/>
                </a:cubicBezTo>
                <a:cubicBezTo>
                  <a:pt x="2745" y="874"/>
                  <a:pt x="2745" y="874"/>
                  <a:pt x="2745" y="874"/>
                </a:cubicBezTo>
                <a:lnTo>
                  <a:pt x="2744" y="873"/>
                </a:lnTo>
                <a:close/>
                <a:moveTo>
                  <a:pt x="2752" y="638"/>
                </a:moveTo>
                <a:cubicBezTo>
                  <a:pt x="2753" y="638"/>
                  <a:pt x="2753" y="638"/>
                  <a:pt x="2753" y="638"/>
                </a:cubicBezTo>
                <a:cubicBezTo>
                  <a:pt x="2752" y="637"/>
                  <a:pt x="2752" y="637"/>
                  <a:pt x="2752" y="637"/>
                </a:cubicBezTo>
                <a:cubicBezTo>
                  <a:pt x="2752" y="636"/>
                  <a:pt x="2752" y="636"/>
                  <a:pt x="2752" y="636"/>
                </a:cubicBezTo>
                <a:cubicBezTo>
                  <a:pt x="2751" y="637"/>
                  <a:pt x="2751" y="637"/>
                  <a:pt x="2751" y="637"/>
                </a:cubicBezTo>
                <a:cubicBezTo>
                  <a:pt x="2751" y="637"/>
                  <a:pt x="2751" y="637"/>
                  <a:pt x="2751" y="637"/>
                </a:cubicBezTo>
                <a:cubicBezTo>
                  <a:pt x="2750" y="637"/>
                  <a:pt x="2750" y="637"/>
                  <a:pt x="2750" y="637"/>
                </a:cubicBezTo>
                <a:cubicBezTo>
                  <a:pt x="2751" y="639"/>
                  <a:pt x="2751" y="639"/>
                  <a:pt x="2751" y="639"/>
                </a:cubicBezTo>
                <a:lnTo>
                  <a:pt x="2752" y="638"/>
                </a:lnTo>
                <a:close/>
                <a:moveTo>
                  <a:pt x="2817" y="610"/>
                </a:moveTo>
                <a:cubicBezTo>
                  <a:pt x="2817" y="608"/>
                  <a:pt x="2817" y="608"/>
                  <a:pt x="2817" y="608"/>
                </a:cubicBezTo>
                <a:cubicBezTo>
                  <a:pt x="2816" y="608"/>
                  <a:pt x="2816" y="608"/>
                  <a:pt x="2816" y="608"/>
                </a:cubicBezTo>
                <a:cubicBezTo>
                  <a:pt x="2815" y="609"/>
                  <a:pt x="2815" y="609"/>
                  <a:pt x="2815" y="609"/>
                </a:cubicBezTo>
                <a:cubicBezTo>
                  <a:pt x="2816" y="610"/>
                  <a:pt x="2816" y="610"/>
                  <a:pt x="2816" y="610"/>
                </a:cubicBezTo>
                <a:cubicBezTo>
                  <a:pt x="2816" y="610"/>
                  <a:pt x="2816" y="610"/>
                  <a:pt x="2816" y="610"/>
                </a:cubicBezTo>
                <a:lnTo>
                  <a:pt x="2817" y="610"/>
                </a:lnTo>
                <a:close/>
                <a:moveTo>
                  <a:pt x="2826" y="363"/>
                </a:moveTo>
                <a:cubicBezTo>
                  <a:pt x="2828" y="364"/>
                  <a:pt x="2828" y="364"/>
                  <a:pt x="2828" y="364"/>
                </a:cubicBezTo>
                <a:cubicBezTo>
                  <a:pt x="2830" y="367"/>
                  <a:pt x="2830" y="367"/>
                  <a:pt x="2830" y="367"/>
                </a:cubicBezTo>
                <a:cubicBezTo>
                  <a:pt x="2831" y="371"/>
                  <a:pt x="2831" y="371"/>
                  <a:pt x="2831" y="371"/>
                </a:cubicBezTo>
                <a:cubicBezTo>
                  <a:pt x="2831" y="373"/>
                  <a:pt x="2831" y="373"/>
                  <a:pt x="2831" y="373"/>
                </a:cubicBezTo>
                <a:cubicBezTo>
                  <a:pt x="2832" y="376"/>
                  <a:pt x="2832" y="376"/>
                  <a:pt x="2832" y="376"/>
                </a:cubicBezTo>
                <a:cubicBezTo>
                  <a:pt x="2832" y="378"/>
                  <a:pt x="2832" y="378"/>
                  <a:pt x="2832" y="378"/>
                </a:cubicBezTo>
                <a:cubicBezTo>
                  <a:pt x="2834" y="379"/>
                  <a:pt x="2834" y="379"/>
                  <a:pt x="2834" y="379"/>
                </a:cubicBezTo>
                <a:cubicBezTo>
                  <a:pt x="2836" y="381"/>
                  <a:pt x="2836" y="381"/>
                  <a:pt x="2836" y="381"/>
                </a:cubicBezTo>
                <a:cubicBezTo>
                  <a:pt x="2835" y="382"/>
                  <a:pt x="2835" y="382"/>
                  <a:pt x="2835" y="382"/>
                </a:cubicBezTo>
                <a:cubicBezTo>
                  <a:pt x="2835" y="384"/>
                  <a:pt x="2835" y="384"/>
                  <a:pt x="2835" y="384"/>
                </a:cubicBezTo>
                <a:cubicBezTo>
                  <a:pt x="2838" y="387"/>
                  <a:pt x="2838" y="387"/>
                  <a:pt x="2838" y="387"/>
                </a:cubicBezTo>
                <a:cubicBezTo>
                  <a:pt x="2838" y="389"/>
                  <a:pt x="2838" y="389"/>
                  <a:pt x="2838" y="389"/>
                </a:cubicBezTo>
                <a:cubicBezTo>
                  <a:pt x="2839" y="392"/>
                  <a:pt x="2839" y="392"/>
                  <a:pt x="2839" y="392"/>
                </a:cubicBezTo>
                <a:cubicBezTo>
                  <a:pt x="2840" y="396"/>
                  <a:pt x="2840" y="396"/>
                  <a:pt x="2840" y="396"/>
                </a:cubicBezTo>
                <a:cubicBezTo>
                  <a:pt x="2840" y="397"/>
                  <a:pt x="2840" y="397"/>
                  <a:pt x="2840" y="397"/>
                </a:cubicBezTo>
                <a:cubicBezTo>
                  <a:pt x="2840" y="399"/>
                  <a:pt x="2840" y="399"/>
                  <a:pt x="2840" y="399"/>
                </a:cubicBezTo>
                <a:cubicBezTo>
                  <a:pt x="2840" y="403"/>
                  <a:pt x="2840" y="403"/>
                  <a:pt x="2840" y="403"/>
                </a:cubicBezTo>
                <a:cubicBezTo>
                  <a:pt x="2842" y="406"/>
                  <a:pt x="2842" y="406"/>
                  <a:pt x="2842" y="406"/>
                </a:cubicBezTo>
                <a:cubicBezTo>
                  <a:pt x="2842" y="408"/>
                  <a:pt x="2842" y="408"/>
                  <a:pt x="2842" y="408"/>
                </a:cubicBezTo>
                <a:cubicBezTo>
                  <a:pt x="2842" y="411"/>
                  <a:pt x="2842" y="411"/>
                  <a:pt x="2842" y="411"/>
                </a:cubicBezTo>
                <a:cubicBezTo>
                  <a:pt x="2844" y="412"/>
                  <a:pt x="2844" y="412"/>
                  <a:pt x="2844" y="412"/>
                </a:cubicBezTo>
                <a:cubicBezTo>
                  <a:pt x="2848" y="417"/>
                  <a:pt x="2848" y="417"/>
                  <a:pt x="2848" y="417"/>
                </a:cubicBezTo>
                <a:cubicBezTo>
                  <a:pt x="2848" y="419"/>
                  <a:pt x="2848" y="419"/>
                  <a:pt x="2848" y="419"/>
                </a:cubicBezTo>
                <a:cubicBezTo>
                  <a:pt x="2849" y="422"/>
                  <a:pt x="2849" y="422"/>
                  <a:pt x="2849" y="422"/>
                </a:cubicBezTo>
                <a:cubicBezTo>
                  <a:pt x="2849" y="426"/>
                  <a:pt x="2849" y="426"/>
                  <a:pt x="2849" y="426"/>
                </a:cubicBezTo>
                <a:cubicBezTo>
                  <a:pt x="2849" y="429"/>
                  <a:pt x="2849" y="429"/>
                  <a:pt x="2849" y="429"/>
                </a:cubicBezTo>
                <a:cubicBezTo>
                  <a:pt x="2851" y="433"/>
                  <a:pt x="2851" y="433"/>
                  <a:pt x="2851" y="433"/>
                </a:cubicBezTo>
                <a:cubicBezTo>
                  <a:pt x="2851" y="435"/>
                  <a:pt x="2851" y="435"/>
                  <a:pt x="2851" y="435"/>
                </a:cubicBezTo>
                <a:cubicBezTo>
                  <a:pt x="2854" y="438"/>
                  <a:pt x="2854" y="438"/>
                  <a:pt x="2854" y="438"/>
                </a:cubicBezTo>
                <a:cubicBezTo>
                  <a:pt x="2854" y="440"/>
                  <a:pt x="2854" y="440"/>
                  <a:pt x="2854" y="440"/>
                </a:cubicBezTo>
                <a:cubicBezTo>
                  <a:pt x="2854" y="443"/>
                  <a:pt x="2854" y="443"/>
                  <a:pt x="2854" y="443"/>
                </a:cubicBezTo>
                <a:cubicBezTo>
                  <a:pt x="2854" y="447"/>
                  <a:pt x="2854" y="447"/>
                  <a:pt x="2854" y="447"/>
                </a:cubicBezTo>
                <a:cubicBezTo>
                  <a:pt x="2854" y="450"/>
                  <a:pt x="2854" y="450"/>
                  <a:pt x="2854" y="450"/>
                </a:cubicBezTo>
                <a:cubicBezTo>
                  <a:pt x="2857" y="451"/>
                  <a:pt x="2857" y="451"/>
                  <a:pt x="2857" y="451"/>
                </a:cubicBezTo>
                <a:cubicBezTo>
                  <a:pt x="2858" y="454"/>
                  <a:pt x="2858" y="454"/>
                  <a:pt x="2858" y="454"/>
                </a:cubicBezTo>
                <a:cubicBezTo>
                  <a:pt x="2861" y="456"/>
                  <a:pt x="2861" y="456"/>
                  <a:pt x="2861" y="456"/>
                </a:cubicBezTo>
                <a:cubicBezTo>
                  <a:pt x="2860" y="454"/>
                  <a:pt x="2860" y="454"/>
                  <a:pt x="2860" y="454"/>
                </a:cubicBezTo>
                <a:cubicBezTo>
                  <a:pt x="2861" y="451"/>
                  <a:pt x="2861" y="451"/>
                  <a:pt x="2861" y="451"/>
                </a:cubicBezTo>
                <a:cubicBezTo>
                  <a:pt x="2860" y="449"/>
                  <a:pt x="2860" y="449"/>
                  <a:pt x="2860" y="449"/>
                </a:cubicBezTo>
                <a:cubicBezTo>
                  <a:pt x="2859" y="447"/>
                  <a:pt x="2859" y="447"/>
                  <a:pt x="2859" y="447"/>
                </a:cubicBezTo>
                <a:cubicBezTo>
                  <a:pt x="2860" y="444"/>
                  <a:pt x="2860" y="444"/>
                  <a:pt x="2860" y="444"/>
                </a:cubicBezTo>
                <a:cubicBezTo>
                  <a:pt x="2861" y="442"/>
                  <a:pt x="2861" y="442"/>
                  <a:pt x="2861" y="442"/>
                </a:cubicBezTo>
                <a:cubicBezTo>
                  <a:pt x="2862" y="443"/>
                  <a:pt x="2862" y="443"/>
                  <a:pt x="2862" y="443"/>
                </a:cubicBezTo>
                <a:cubicBezTo>
                  <a:pt x="2862" y="444"/>
                  <a:pt x="2862" y="444"/>
                  <a:pt x="2862" y="444"/>
                </a:cubicBezTo>
                <a:cubicBezTo>
                  <a:pt x="2863" y="445"/>
                  <a:pt x="2863" y="445"/>
                  <a:pt x="2863" y="445"/>
                </a:cubicBezTo>
                <a:cubicBezTo>
                  <a:pt x="2867" y="445"/>
                  <a:pt x="2867" y="445"/>
                  <a:pt x="2867" y="445"/>
                </a:cubicBezTo>
                <a:cubicBezTo>
                  <a:pt x="2868" y="444"/>
                  <a:pt x="2868" y="444"/>
                  <a:pt x="2868" y="444"/>
                </a:cubicBezTo>
                <a:cubicBezTo>
                  <a:pt x="2869" y="443"/>
                  <a:pt x="2869" y="443"/>
                  <a:pt x="2869" y="443"/>
                </a:cubicBezTo>
                <a:cubicBezTo>
                  <a:pt x="2869" y="444"/>
                  <a:pt x="2869" y="444"/>
                  <a:pt x="2869" y="444"/>
                </a:cubicBezTo>
                <a:cubicBezTo>
                  <a:pt x="2869" y="445"/>
                  <a:pt x="2869" y="445"/>
                  <a:pt x="2869" y="445"/>
                </a:cubicBezTo>
                <a:cubicBezTo>
                  <a:pt x="2869" y="447"/>
                  <a:pt x="2869" y="447"/>
                  <a:pt x="2869" y="447"/>
                </a:cubicBezTo>
                <a:cubicBezTo>
                  <a:pt x="2871" y="449"/>
                  <a:pt x="2871" y="449"/>
                  <a:pt x="2871" y="449"/>
                </a:cubicBezTo>
                <a:cubicBezTo>
                  <a:pt x="2871" y="451"/>
                  <a:pt x="2871" y="451"/>
                  <a:pt x="2871" y="451"/>
                </a:cubicBezTo>
                <a:cubicBezTo>
                  <a:pt x="2873" y="452"/>
                  <a:pt x="2873" y="452"/>
                  <a:pt x="2873" y="452"/>
                </a:cubicBezTo>
                <a:cubicBezTo>
                  <a:pt x="2873" y="451"/>
                  <a:pt x="2873" y="451"/>
                  <a:pt x="2873" y="451"/>
                </a:cubicBezTo>
                <a:cubicBezTo>
                  <a:pt x="2872" y="449"/>
                  <a:pt x="2872" y="449"/>
                  <a:pt x="2872" y="449"/>
                </a:cubicBezTo>
                <a:cubicBezTo>
                  <a:pt x="2872" y="447"/>
                  <a:pt x="2872" y="447"/>
                  <a:pt x="2872" y="447"/>
                </a:cubicBezTo>
                <a:cubicBezTo>
                  <a:pt x="2872" y="445"/>
                  <a:pt x="2872" y="445"/>
                  <a:pt x="2872" y="445"/>
                </a:cubicBezTo>
                <a:cubicBezTo>
                  <a:pt x="2871" y="443"/>
                  <a:pt x="2871" y="443"/>
                  <a:pt x="2871" y="443"/>
                </a:cubicBezTo>
                <a:cubicBezTo>
                  <a:pt x="2870" y="441"/>
                  <a:pt x="2870" y="441"/>
                  <a:pt x="2870" y="441"/>
                </a:cubicBezTo>
                <a:cubicBezTo>
                  <a:pt x="2869" y="439"/>
                  <a:pt x="2869" y="439"/>
                  <a:pt x="2869" y="439"/>
                </a:cubicBezTo>
                <a:cubicBezTo>
                  <a:pt x="2868" y="440"/>
                  <a:pt x="2868" y="440"/>
                  <a:pt x="2868" y="440"/>
                </a:cubicBezTo>
                <a:cubicBezTo>
                  <a:pt x="2867" y="440"/>
                  <a:pt x="2867" y="440"/>
                  <a:pt x="2867" y="440"/>
                </a:cubicBezTo>
                <a:cubicBezTo>
                  <a:pt x="2864" y="438"/>
                  <a:pt x="2864" y="438"/>
                  <a:pt x="2864" y="438"/>
                </a:cubicBezTo>
                <a:cubicBezTo>
                  <a:pt x="2863" y="435"/>
                  <a:pt x="2863" y="435"/>
                  <a:pt x="2863" y="435"/>
                </a:cubicBezTo>
                <a:cubicBezTo>
                  <a:pt x="2862" y="433"/>
                  <a:pt x="2862" y="433"/>
                  <a:pt x="2862" y="433"/>
                </a:cubicBezTo>
                <a:cubicBezTo>
                  <a:pt x="2860" y="431"/>
                  <a:pt x="2860" y="431"/>
                  <a:pt x="2860" y="431"/>
                </a:cubicBezTo>
                <a:cubicBezTo>
                  <a:pt x="2858" y="430"/>
                  <a:pt x="2858" y="430"/>
                  <a:pt x="2858" y="430"/>
                </a:cubicBezTo>
                <a:cubicBezTo>
                  <a:pt x="2856" y="428"/>
                  <a:pt x="2856" y="428"/>
                  <a:pt x="2856" y="428"/>
                </a:cubicBezTo>
                <a:cubicBezTo>
                  <a:pt x="2856" y="425"/>
                  <a:pt x="2856" y="425"/>
                  <a:pt x="2856" y="425"/>
                </a:cubicBezTo>
                <a:cubicBezTo>
                  <a:pt x="2854" y="422"/>
                  <a:pt x="2854" y="422"/>
                  <a:pt x="2854" y="422"/>
                </a:cubicBezTo>
                <a:cubicBezTo>
                  <a:pt x="2853" y="420"/>
                  <a:pt x="2853" y="420"/>
                  <a:pt x="2853" y="420"/>
                </a:cubicBezTo>
                <a:cubicBezTo>
                  <a:pt x="2853" y="416"/>
                  <a:pt x="2853" y="416"/>
                  <a:pt x="2853" y="416"/>
                </a:cubicBezTo>
                <a:cubicBezTo>
                  <a:pt x="2853" y="412"/>
                  <a:pt x="2853" y="412"/>
                  <a:pt x="2853" y="412"/>
                </a:cubicBezTo>
                <a:cubicBezTo>
                  <a:pt x="2852" y="410"/>
                  <a:pt x="2852" y="410"/>
                  <a:pt x="2852" y="410"/>
                </a:cubicBezTo>
                <a:cubicBezTo>
                  <a:pt x="2852" y="407"/>
                  <a:pt x="2852" y="407"/>
                  <a:pt x="2852" y="407"/>
                </a:cubicBezTo>
                <a:cubicBezTo>
                  <a:pt x="2852" y="405"/>
                  <a:pt x="2852" y="405"/>
                  <a:pt x="2852" y="405"/>
                </a:cubicBezTo>
                <a:cubicBezTo>
                  <a:pt x="2851" y="402"/>
                  <a:pt x="2851" y="402"/>
                  <a:pt x="2851" y="402"/>
                </a:cubicBezTo>
                <a:cubicBezTo>
                  <a:pt x="2852" y="401"/>
                  <a:pt x="2852" y="401"/>
                  <a:pt x="2852" y="401"/>
                </a:cubicBezTo>
                <a:cubicBezTo>
                  <a:pt x="2852" y="400"/>
                  <a:pt x="2852" y="400"/>
                  <a:pt x="2852" y="400"/>
                </a:cubicBezTo>
                <a:cubicBezTo>
                  <a:pt x="2852" y="398"/>
                  <a:pt x="2852" y="398"/>
                  <a:pt x="2852" y="398"/>
                </a:cubicBezTo>
                <a:cubicBezTo>
                  <a:pt x="2853" y="398"/>
                  <a:pt x="2853" y="398"/>
                  <a:pt x="2853" y="398"/>
                </a:cubicBezTo>
                <a:cubicBezTo>
                  <a:pt x="2854" y="398"/>
                  <a:pt x="2854" y="398"/>
                  <a:pt x="2854" y="398"/>
                </a:cubicBezTo>
                <a:cubicBezTo>
                  <a:pt x="2856" y="398"/>
                  <a:pt x="2856" y="398"/>
                  <a:pt x="2856" y="398"/>
                </a:cubicBezTo>
                <a:cubicBezTo>
                  <a:pt x="2859" y="398"/>
                  <a:pt x="2859" y="398"/>
                  <a:pt x="2859" y="398"/>
                </a:cubicBezTo>
                <a:cubicBezTo>
                  <a:pt x="2861" y="400"/>
                  <a:pt x="2861" y="400"/>
                  <a:pt x="2861" y="400"/>
                </a:cubicBezTo>
                <a:cubicBezTo>
                  <a:pt x="2862" y="403"/>
                  <a:pt x="2862" y="403"/>
                  <a:pt x="2862" y="403"/>
                </a:cubicBezTo>
                <a:cubicBezTo>
                  <a:pt x="2864" y="403"/>
                  <a:pt x="2864" y="403"/>
                  <a:pt x="2864" y="403"/>
                </a:cubicBezTo>
                <a:cubicBezTo>
                  <a:pt x="2866" y="405"/>
                  <a:pt x="2866" y="405"/>
                  <a:pt x="2866" y="405"/>
                </a:cubicBezTo>
                <a:cubicBezTo>
                  <a:pt x="2868" y="407"/>
                  <a:pt x="2868" y="407"/>
                  <a:pt x="2868" y="407"/>
                </a:cubicBezTo>
                <a:cubicBezTo>
                  <a:pt x="2869" y="408"/>
                  <a:pt x="2869" y="408"/>
                  <a:pt x="2869" y="408"/>
                </a:cubicBezTo>
                <a:cubicBezTo>
                  <a:pt x="2868" y="405"/>
                  <a:pt x="2868" y="405"/>
                  <a:pt x="2868" y="405"/>
                </a:cubicBezTo>
                <a:cubicBezTo>
                  <a:pt x="2866" y="403"/>
                  <a:pt x="2866" y="403"/>
                  <a:pt x="2866" y="403"/>
                </a:cubicBezTo>
                <a:cubicBezTo>
                  <a:pt x="2863" y="401"/>
                  <a:pt x="2863" y="401"/>
                  <a:pt x="2863" y="401"/>
                </a:cubicBezTo>
                <a:cubicBezTo>
                  <a:pt x="2862" y="398"/>
                  <a:pt x="2862" y="398"/>
                  <a:pt x="2862" y="398"/>
                </a:cubicBezTo>
                <a:cubicBezTo>
                  <a:pt x="2860" y="395"/>
                  <a:pt x="2860" y="395"/>
                  <a:pt x="2860" y="395"/>
                </a:cubicBezTo>
                <a:cubicBezTo>
                  <a:pt x="2860" y="394"/>
                  <a:pt x="2860" y="394"/>
                  <a:pt x="2860" y="394"/>
                </a:cubicBezTo>
                <a:cubicBezTo>
                  <a:pt x="2859" y="393"/>
                  <a:pt x="2859" y="393"/>
                  <a:pt x="2859" y="393"/>
                </a:cubicBezTo>
                <a:cubicBezTo>
                  <a:pt x="2857" y="389"/>
                  <a:pt x="2857" y="389"/>
                  <a:pt x="2857" y="389"/>
                </a:cubicBezTo>
                <a:cubicBezTo>
                  <a:pt x="2856" y="387"/>
                  <a:pt x="2856" y="387"/>
                  <a:pt x="2856" y="387"/>
                </a:cubicBezTo>
                <a:cubicBezTo>
                  <a:pt x="2855" y="386"/>
                  <a:pt x="2855" y="386"/>
                  <a:pt x="2855" y="386"/>
                </a:cubicBezTo>
                <a:cubicBezTo>
                  <a:pt x="2854" y="384"/>
                  <a:pt x="2854" y="384"/>
                  <a:pt x="2854" y="384"/>
                </a:cubicBezTo>
                <a:cubicBezTo>
                  <a:pt x="2851" y="381"/>
                  <a:pt x="2851" y="381"/>
                  <a:pt x="2851" y="381"/>
                </a:cubicBezTo>
                <a:cubicBezTo>
                  <a:pt x="2849" y="376"/>
                  <a:pt x="2849" y="376"/>
                  <a:pt x="2849" y="376"/>
                </a:cubicBezTo>
                <a:cubicBezTo>
                  <a:pt x="2848" y="373"/>
                  <a:pt x="2848" y="373"/>
                  <a:pt x="2848" y="373"/>
                </a:cubicBezTo>
                <a:cubicBezTo>
                  <a:pt x="2844" y="369"/>
                  <a:pt x="2844" y="369"/>
                  <a:pt x="2844" y="369"/>
                </a:cubicBezTo>
                <a:cubicBezTo>
                  <a:pt x="2842" y="365"/>
                  <a:pt x="2842" y="365"/>
                  <a:pt x="2842" y="365"/>
                </a:cubicBezTo>
                <a:cubicBezTo>
                  <a:pt x="2841" y="364"/>
                  <a:pt x="2841" y="364"/>
                  <a:pt x="2841" y="364"/>
                </a:cubicBezTo>
                <a:cubicBezTo>
                  <a:pt x="2841" y="362"/>
                  <a:pt x="2841" y="362"/>
                  <a:pt x="2841" y="362"/>
                </a:cubicBezTo>
                <a:cubicBezTo>
                  <a:pt x="2840" y="360"/>
                  <a:pt x="2840" y="360"/>
                  <a:pt x="2840" y="360"/>
                </a:cubicBezTo>
                <a:cubicBezTo>
                  <a:pt x="2839" y="360"/>
                  <a:pt x="2839" y="360"/>
                  <a:pt x="2839" y="360"/>
                </a:cubicBezTo>
                <a:cubicBezTo>
                  <a:pt x="2838" y="361"/>
                  <a:pt x="2838" y="361"/>
                  <a:pt x="2838" y="361"/>
                </a:cubicBezTo>
                <a:cubicBezTo>
                  <a:pt x="2837" y="360"/>
                  <a:pt x="2837" y="360"/>
                  <a:pt x="2837" y="360"/>
                </a:cubicBezTo>
                <a:cubicBezTo>
                  <a:pt x="2837" y="360"/>
                  <a:pt x="2837" y="360"/>
                  <a:pt x="2837" y="360"/>
                </a:cubicBezTo>
                <a:cubicBezTo>
                  <a:pt x="2837" y="358"/>
                  <a:pt x="2837" y="358"/>
                  <a:pt x="2837" y="358"/>
                </a:cubicBezTo>
                <a:cubicBezTo>
                  <a:pt x="2837" y="356"/>
                  <a:pt x="2837" y="356"/>
                  <a:pt x="2837" y="356"/>
                </a:cubicBezTo>
                <a:cubicBezTo>
                  <a:pt x="2835" y="355"/>
                  <a:pt x="2835" y="355"/>
                  <a:pt x="2835" y="355"/>
                </a:cubicBezTo>
                <a:cubicBezTo>
                  <a:pt x="2833" y="353"/>
                  <a:pt x="2833" y="353"/>
                  <a:pt x="2833" y="353"/>
                </a:cubicBezTo>
                <a:cubicBezTo>
                  <a:pt x="2832" y="350"/>
                  <a:pt x="2832" y="350"/>
                  <a:pt x="2832" y="350"/>
                </a:cubicBezTo>
                <a:cubicBezTo>
                  <a:pt x="2831" y="349"/>
                  <a:pt x="2831" y="349"/>
                  <a:pt x="2831" y="349"/>
                </a:cubicBezTo>
                <a:cubicBezTo>
                  <a:pt x="2831" y="347"/>
                  <a:pt x="2831" y="347"/>
                  <a:pt x="2831" y="347"/>
                </a:cubicBezTo>
                <a:cubicBezTo>
                  <a:pt x="2831" y="345"/>
                  <a:pt x="2831" y="345"/>
                  <a:pt x="2831" y="345"/>
                </a:cubicBezTo>
                <a:cubicBezTo>
                  <a:pt x="2832" y="345"/>
                  <a:pt x="2832" y="345"/>
                  <a:pt x="2832" y="345"/>
                </a:cubicBezTo>
                <a:cubicBezTo>
                  <a:pt x="2831" y="342"/>
                  <a:pt x="2831" y="342"/>
                  <a:pt x="2831" y="342"/>
                </a:cubicBezTo>
                <a:cubicBezTo>
                  <a:pt x="2831" y="339"/>
                  <a:pt x="2831" y="339"/>
                  <a:pt x="2831" y="339"/>
                </a:cubicBezTo>
                <a:cubicBezTo>
                  <a:pt x="2830" y="337"/>
                  <a:pt x="2830" y="337"/>
                  <a:pt x="2830" y="337"/>
                </a:cubicBezTo>
                <a:cubicBezTo>
                  <a:pt x="2828" y="336"/>
                  <a:pt x="2828" y="336"/>
                  <a:pt x="2828" y="336"/>
                </a:cubicBezTo>
                <a:cubicBezTo>
                  <a:pt x="2826" y="334"/>
                  <a:pt x="2826" y="334"/>
                  <a:pt x="2826" y="334"/>
                </a:cubicBezTo>
                <a:cubicBezTo>
                  <a:pt x="2826" y="332"/>
                  <a:pt x="2826" y="332"/>
                  <a:pt x="2826" y="332"/>
                </a:cubicBezTo>
                <a:cubicBezTo>
                  <a:pt x="2825" y="331"/>
                  <a:pt x="2825" y="331"/>
                  <a:pt x="2825" y="331"/>
                </a:cubicBezTo>
                <a:cubicBezTo>
                  <a:pt x="2825" y="330"/>
                  <a:pt x="2825" y="330"/>
                  <a:pt x="2825" y="330"/>
                </a:cubicBezTo>
                <a:cubicBezTo>
                  <a:pt x="2825" y="330"/>
                  <a:pt x="2825" y="330"/>
                  <a:pt x="2825" y="330"/>
                </a:cubicBezTo>
                <a:cubicBezTo>
                  <a:pt x="2827" y="332"/>
                  <a:pt x="2827" y="332"/>
                  <a:pt x="2827" y="332"/>
                </a:cubicBezTo>
                <a:cubicBezTo>
                  <a:pt x="2829" y="335"/>
                  <a:pt x="2829" y="335"/>
                  <a:pt x="2829" y="335"/>
                </a:cubicBezTo>
                <a:cubicBezTo>
                  <a:pt x="2828" y="332"/>
                  <a:pt x="2828" y="332"/>
                  <a:pt x="2828" y="332"/>
                </a:cubicBezTo>
                <a:cubicBezTo>
                  <a:pt x="2826" y="329"/>
                  <a:pt x="2826" y="329"/>
                  <a:pt x="2826" y="329"/>
                </a:cubicBezTo>
                <a:cubicBezTo>
                  <a:pt x="2824" y="326"/>
                  <a:pt x="2824" y="326"/>
                  <a:pt x="2824" y="326"/>
                </a:cubicBezTo>
                <a:cubicBezTo>
                  <a:pt x="2823" y="326"/>
                  <a:pt x="2823" y="326"/>
                  <a:pt x="2823" y="326"/>
                </a:cubicBezTo>
                <a:cubicBezTo>
                  <a:pt x="2822" y="324"/>
                  <a:pt x="2822" y="324"/>
                  <a:pt x="2822" y="324"/>
                </a:cubicBezTo>
                <a:cubicBezTo>
                  <a:pt x="2818" y="321"/>
                  <a:pt x="2818" y="321"/>
                  <a:pt x="2818" y="321"/>
                </a:cubicBezTo>
                <a:cubicBezTo>
                  <a:pt x="2817" y="319"/>
                  <a:pt x="2817" y="319"/>
                  <a:pt x="2817" y="319"/>
                </a:cubicBezTo>
                <a:cubicBezTo>
                  <a:pt x="2817" y="316"/>
                  <a:pt x="2817" y="316"/>
                  <a:pt x="2817" y="316"/>
                </a:cubicBezTo>
                <a:cubicBezTo>
                  <a:pt x="2816" y="314"/>
                  <a:pt x="2816" y="314"/>
                  <a:pt x="2816" y="314"/>
                </a:cubicBezTo>
                <a:cubicBezTo>
                  <a:pt x="2813" y="313"/>
                  <a:pt x="2813" y="313"/>
                  <a:pt x="2813" y="313"/>
                </a:cubicBezTo>
                <a:cubicBezTo>
                  <a:pt x="2811" y="310"/>
                  <a:pt x="2811" y="310"/>
                  <a:pt x="2811" y="310"/>
                </a:cubicBezTo>
                <a:cubicBezTo>
                  <a:pt x="2811" y="309"/>
                  <a:pt x="2811" y="309"/>
                  <a:pt x="2811" y="309"/>
                </a:cubicBezTo>
                <a:cubicBezTo>
                  <a:pt x="2810" y="310"/>
                  <a:pt x="2810" y="310"/>
                  <a:pt x="2810" y="310"/>
                </a:cubicBezTo>
                <a:cubicBezTo>
                  <a:pt x="2811" y="311"/>
                  <a:pt x="2811" y="311"/>
                  <a:pt x="2811" y="311"/>
                </a:cubicBezTo>
                <a:cubicBezTo>
                  <a:pt x="2811" y="313"/>
                  <a:pt x="2811" y="313"/>
                  <a:pt x="2811" y="313"/>
                </a:cubicBezTo>
                <a:cubicBezTo>
                  <a:pt x="2810" y="313"/>
                  <a:pt x="2810" y="313"/>
                  <a:pt x="2810" y="313"/>
                </a:cubicBezTo>
                <a:cubicBezTo>
                  <a:pt x="2808" y="312"/>
                  <a:pt x="2808" y="312"/>
                  <a:pt x="2808" y="312"/>
                </a:cubicBezTo>
                <a:cubicBezTo>
                  <a:pt x="2806" y="312"/>
                  <a:pt x="2806" y="312"/>
                  <a:pt x="2806" y="312"/>
                </a:cubicBezTo>
                <a:cubicBezTo>
                  <a:pt x="2809" y="315"/>
                  <a:pt x="2809" y="315"/>
                  <a:pt x="2809" y="315"/>
                </a:cubicBezTo>
                <a:cubicBezTo>
                  <a:pt x="2812" y="317"/>
                  <a:pt x="2812" y="317"/>
                  <a:pt x="2812" y="317"/>
                </a:cubicBezTo>
                <a:cubicBezTo>
                  <a:pt x="2814" y="319"/>
                  <a:pt x="2814" y="319"/>
                  <a:pt x="2814" y="319"/>
                </a:cubicBezTo>
                <a:cubicBezTo>
                  <a:pt x="2813" y="321"/>
                  <a:pt x="2813" y="321"/>
                  <a:pt x="2813" y="321"/>
                </a:cubicBezTo>
                <a:cubicBezTo>
                  <a:pt x="2814" y="320"/>
                  <a:pt x="2814" y="320"/>
                  <a:pt x="2814" y="320"/>
                </a:cubicBezTo>
                <a:cubicBezTo>
                  <a:pt x="2815" y="320"/>
                  <a:pt x="2815" y="320"/>
                  <a:pt x="2815" y="320"/>
                </a:cubicBezTo>
                <a:cubicBezTo>
                  <a:pt x="2816" y="321"/>
                  <a:pt x="2816" y="321"/>
                  <a:pt x="2816" y="321"/>
                </a:cubicBezTo>
                <a:cubicBezTo>
                  <a:pt x="2815" y="322"/>
                  <a:pt x="2815" y="322"/>
                  <a:pt x="2815" y="322"/>
                </a:cubicBezTo>
                <a:cubicBezTo>
                  <a:pt x="2814" y="323"/>
                  <a:pt x="2814" y="323"/>
                  <a:pt x="2814" y="323"/>
                </a:cubicBezTo>
                <a:cubicBezTo>
                  <a:pt x="2814" y="324"/>
                  <a:pt x="2814" y="324"/>
                  <a:pt x="2814" y="324"/>
                </a:cubicBezTo>
                <a:cubicBezTo>
                  <a:pt x="2816" y="324"/>
                  <a:pt x="2816" y="324"/>
                  <a:pt x="2816" y="324"/>
                </a:cubicBezTo>
                <a:cubicBezTo>
                  <a:pt x="2816" y="326"/>
                  <a:pt x="2816" y="326"/>
                  <a:pt x="2816" y="326"/>
                </a:cubicBezTo>
                <a:cubicBezTo>
                  <a:pt x="2814" y="327"/>
                  <a:pt x="2814" y="327"/>
                  <a:pt x="2814" y="327"/>
                </a:cubicBezTo>
                <a:cubicBezTo>
                  <a:pt x="2813" y="327"/>
                  <a:pt x="2813" y="327"/>
                  <a:pt x="2813" y="327"/>
                </a:cubicBezTo>
                <a:cubicBezTo>
                  <a:pt x="2812" y="325"/>
                  <a:pt x="2812" y="325"/>
                  <a:pt x="2812" y="325"/>
                </a:cubicBezTo>
                <a:cubicBezTo>
                  <a:pt x="2810" y="326"/>
                  <a:pt x="2810" y="326"/>
                  <a:pt x="2810" y="326"/>
                </a:cubicBezTo>
                <a:cubicBezTo>
                  <a:pt x="2809" y="329"/>
                  <a:pt x="2809" y="329"/>
                  <a:pt x="2809" y="329"/>
                </a:cubicBezTo>
                <a:cubicBezTo>
                  <a:pt x="2811" y="331"/>
                  <a:pt x="2811" y="331"/>
                  <a:pt x="2811" y="331"/>
                </a:cubicBezTo>
                <a:cubicBezTo>
                  <a:pt x="2812" y="334"/>
                  <a:pt x="2812" y="334"/>
                  <a:pt x="2812" y="334"/>
                </a:cubicBezTo>
                <a:cubicBezTo>
                  <a:pt x="2814" y="336"/>
                  <a:pt x="2814" y="336"/>
                  <a:pt x="2814" y="336"/>
                </a:cubicBezTo>
                <a:cubicBezTo>
                  <a:pt x="2815" y="339"/>
                  <a:pt x="2815" y="339"/>
                  <a:pt x="2815" y="339"/>
                </a:cubicBezTo>
                <a:cubicBezTo>
                  <a:pt x="2816" y="344"/>
                  <a:pt x="2816" y="344"/>
                  <a:pt x="2816" y="344"/>
                </a:cubicBezTo>
                <a:cubicBezTo>
                  <a:pt x="2816" y="345"/>
                  <a:pt x="2816" y="345"/>
                  <a:pt x="2816" y="345"/>
                </a:cubicBezTo>
                <a:cubicBezTo>
                  <a:pt x="2817" y="348"/>
                  <a:pt x="2817" y="348"/>
                  <a:pt x="2817" y="348"/>
                </a:cubicBezTo>
                <a:cubicBezTo>
                  <a:pt x="2818" y="353"/>
                  <a:pt x="2818" y="353"/>
                  <a:pt x="2818" y="353"/>
                </a:cubicBezTo>
                <a:cubicBezTo>
                  <a:pt x="2820" y="356"/>
                  <a:pt x="2820" y="356"/>
                  <a:pt x="2820" y="356"/>
                </a:cubicBezTo>
                <a:cubicBezTo>
                  <a:pt x="2822" y="357"/>
                  <a:pt x="2822" y="357"/>
                  <a:pt x="2822" y="357"/>
                </a:cubicBezTo>
                <a:cubicBezTo>
                  <a:pt x="2822" y="358"/>
                  <a:pt x="2822" y="358"/>
                  <a:pt x="2822" y="358"/>
                </a:cubicBezTo>
                <a:cubicBezTo>
                  <a:pt x="2821" y="359"/>
                  <a:pt x="2821" y="359"/>
                  <a:pt x="2821" y="359"/>
                </a:cubicBezTo>
                <a:lnTo>
                  <a:pt x="2826" y="363"/>
                </a:lnTo>
                <a:close/>
                <a:moveTo>
                  <a:pt x="2843" y="204"/>
                </a:moveTo>
                <a:cubicBezTo>
                  <a:pt x="2843" y="203"/>
                  <a:pt x="2843" y="203"/>
                  <a:pt x="2843" y="203"/>
                </a:cubicBezTo>
                <a:cubicBezTo>
                  <a:pt x="2842" y="203"/>
                  <a:pt x="2842" y="203"/>
                  <a:pt x="2842" y="203"/>
                </a:cubicBezTo>
                <a:cubicBezTo>
                  <a:pt x="2841" y="205"/>
                  <a:pt x="2841" y="205"/>
                  <a:pt x="2841" y="205"/>
                </a:cubicBezTo>
                <a:cubicBezTo>
                  <a:pt x="2840" y="206"/>
                  <a:pt x="2840" y="206"/>
                  <a:pt x="2840" y="206"/>
                </a:cubicBezTo>
                <a:cubicBezTo>
                  <a:pt x="2841" y="206"/>
                  <a:pt x="2841" y="206"/>
                  <a:pt x="2841" y="206"/>
                </a:cubicBezTo>
                <a:lnTo>
                  <a:pt x="2843" y="204"/>
                </a:lnTo>
                <a:close/>
                <a:moveTo>
                  <a:pt x="2770" y="902"/>
                </a:moveTo>
                <a:cubicBezTo>
                  <a:pt x="2769" y="901"/>
                  <a:pt x="2769" y="901"/>
                  <a:pt x="2769" y="901"/>
                </a:cubicBezTo>
                <a:cubicBezTo>
                  <a:pt x="2769" y="903"/>
                  <a:pt x="2769" y="903"/>
                  <a:pt x="2769" y="903"/>
                </a:cubicBezTo>
                <a:cubicBezTo>
                  <a:pt x="2771" y="906"/>
                  <a:pt x="2771" y="906"/>
                  <a:pt x="2771" y="906"/>
                </a:cubicBezTo>
                <a:cubicBezTo>
                  <a:pt x="2773" y="908"/>
                  <a:pt x="2773" y="908"/>
                  <a:pt x="2773" y="908"/>
                </a:cubicBezTo>
                <a:cubicBezTo>
                  <a:pt x="2776" y="911"/>
                  <a:pt x="2776" y="911"/>
                  <a:pt x="2776" y="911"/>
                </a:cubicBezTo>
                <a:cubicBezTo>
                  <a:pt x="2777" y="911"/>
                  <a:pt x="2777" y="911"/>
                  <a:pt x="2777" y="911"/>
                </a:cubicBezTo>
                <a:cubicBezTo>
                  <a:pt x="2776" y="912"/>
                  <a:pt x="2776" y="912"/>
                  <a:pt x="2776" y="912"/>
                </a:cubicBezTo>
                <a:cubicBezTo>
                  <a:pt x="2775" y="913"/>
                  <a:pt x="2775" y="913"/>
                  <a:pt x="2775" y="913"/>
                </a:cubicBezTo>
                <a:cubicBezTo>
                  <a:pt x="2775" y="914"/>
                  <a:pt x="2775" y="914"/>
                  <a:pt x="2775" y="914"/>
                </a:cubicBezTo>
                <a:cubicBezTo>
                  <a:pt x="2776" y="913"/>
                  <a:pt x="2776" y="913"/>
                  <a:pt x="2776" y="913"/>
                </a:cubicBezTo>
                <a:cubicBezTo>
                  <a:pt x="2776" y="914"/>
                  <a:pt x="2776" y="914"/>
                  <a:pt x="2776" y="914"/>
                </a:cubicBezTo>
                <a:cubicBezTo>
                  <a:pt x="2777" y="915"/>
                  <a:pt x="2777" y="915"/>
                  <a:pt x="2777" y="915"/>
                </a:cubicBezTo>
                <a:cubicBezTo>
                  <a:pt x="2779" y="916"/>
                  <a:pt x="2779" y="916"/>
                  <a:pt x="2779" y="916"/>
                </a:cubicBezTo>
                <a:cubicBezTo>
                  <a:pt x="2779" y="917"/>
                  <a:pt x="2779" y="917"/>
                  <a:pt x="2779" y="917"/>
                </a:cubicBezTo>
                <a:cubicBezTo>
                  <a:pt x="2782" y="917"/>
                  <a:pt x="2782" y="917"/>
                  <a:pt x="2782" y="917"/>
                </a:cubicBezTo>
                <a:cubicBezTo>
                  <a:pt x="2783" y="917"/>
                  <a:pt x="2783" y="917"/>
                  <a:pt x="2783" y="917"/>
                </a:cubicBezTo>
                <a:cubicBezTo>
                  <a:pt x="2783" y="917"/>
                  <a:pt x="2783" y="917"/>
                  <a:pt x="2783" y="917"/>
                </a:cubicBezTo>
                <a:cubicBezTo>
                  <a:pt x="2784" y="917"/>
                  <a:pt x="2784" y="917"/>
                  <a:pt x="2784" y="917"/>
                </a:cubicBezTo>
                <a:cubicBezTo>
                  <a:pt x="2783" y="916"/>
                  <a:pt x="2783" y="916"/>
                  <a:pt x="2783" y="916"/>
                </a:cubicBezTo>
                <a:cubicBezTo>
                  <a:pt x="2783" y="914"/>
                  <a:pt x="2783" y="914"/>
                  <a:pt x="2783" y="914"/>
                </a:cubicBezTo>
                <a:cubicBezTo>
                  <a:pt x="2782" y="913"/>
                  <a:pt x="2782" y="913"/>
                  <a:pt x="2782" y="913"/>
                </a:cubicBezTo>
                <a:cubicBezTo>
                  <a:pt x="2782" y="910"/>
                  <a:pt x="2782" y="910"/>
                  <a:pt x="2782" y="910"/>
                </a:cubicBezTo>
                <a:cubicBezTo>
                  <a:pt x="2782" y="907"/>
                  <a:pt x="2782" y="907"/>
                  <a:pt x="2782" y="907"/>
                </a:cubicBezTo>
                <a:cubicBezTo>
                  <a:pt x="2782" y="906"/>
                  <a:pt x="2782" y="906"/>
                  <a:pt x="2782" y="906"/>
                </a:cubicBezTo>
                <a:cubicBezTo>
                  <a:pt x="2781" y="905"/>
                  <a:pt x="2781" y="905"/>
                  <a:pt x="2781" y="905"/>
                </a:cubicBezTo>
                <a:cubicBezTo>
                  <a:pt x="2779" y="903"/>
                  <a:pt x="2779" y="903"/>
                  <a:pt x="2779" y="903"/>
                </a:cubicBezTo>
                <a:cubicBezTo>
                  <a:pt x="2778" y="901"/>
                  <a:pt x="2778" y="901"/>
                  <a:pt x="2778" y="901"/>
                </a:cubicBezTo>
                <a:cubicBezTo>
                  <a:pt x="2777" y="901"/>
                  <a:pt x="2777" y="901"/>
                  <a:pt x="2777" y="901"/>
                </a:cubicBezTo>
                <a:cubicBezTo>
                  <a:pt x="2776" y="901"/>
                  <a:pt x="2776" y="901"/>
                  <a:pt x="2776" y="901"/>
                </a:cubicBezTo>
                <a:cubicBezTo>
                  <a:pt x="2775" y="901"/>
                  <a:pt x="2775" y="901"/>
                  <a:pt x="2775" y="901"/>
                </a:cubicBezTo>
                <a:cubicBezTo>
                  <a:pt x="2774" y="901"/>
                  <a:pt x="2774" y="901"/>
                  <a:pt x="2774" y="901"/>
                </a:cubicBezTo>
                <a:cubicBezTo>
                  <a:pt x="2774" y="902"/>
                  <a:pt x="2774" y="902"/>
                  <a:pt x="2774" y="902"/>
                </a:cubicBezTo>
                <a:cubicBezTo>
                  <a:pt x="2772" y="902"/>
                  <a:pt x="2772" y="902"/>
                  <a:pt x="2772" y="902"/>
                </a:cubicBezTo>
                <a:lnTo>
                  <a:pt x="2770" y="902"/>
                </a:lnTo>
                <a:close/>
                <a:moveTo>
                  <a:pt x="2774" y="632"/>
                </a:moveTo>
                <a:cubicBezTo>
                  <a:pt x="2775" y="630"/>
                  <a:pt x="2775" y="630"/>
                  <a:pt x="2775" y="630"/>
                </a:cubicBezTo>
                <a:cubicBezTo>
                  <a:pt x="2775" y="629"/>
                  <a:pt x="2775" y="629"/>
                  <a:pt x="2775" y="629"/>
                </a:cubicBezTo>
                <a:cubicBezTo>
                  <a:pt x="2774" y="628"/>
                  <a:pt x="2774" y="628"/>
                  <a:pt x="2774" y="628"/>
                </a:cubicBezTo>
                <a:cubicBezTo>
                  <a:pt x="2773" y="629"/>
                  <a:pt x="2773" y="629"/>
                  <a:pt x="2773" y="629"/>
                </a:cubicBezTo>
                <a:cubicBezTo>
                  <a:pt x="2773" y="630"/>
                  <a:pt x="2773" y="630"/>
                  <a:pt x="2773" y="630"/>
                </a:cubicBezTo>
                <a:cubicBezTo>
                  <a:pt x="2773" y="632"/>
                  <a:pt x="2773" y="632"/>
                  <a:pt x="2773" y="632"/>
                </a:cubicBezTo>
                <a:lnTo>
                  <a:pt x="2774" y="632"/>
                </a:lnTo>
                <a:close/>
                <a:moveTo>
                  <a:pt x="2880" y="1165"/>
                </a:moveTo>
                <a:cubicBezTo>
                  <a:pt x="2882" y="1164"/>
                  <a:pt x="2882" y="1164"/>
                  <a:pt x="2882" y="1164"/>
                </a:cubicBezTo>
                <a:cubicBezTo>
                  <a:pt x="2882" y="1164"/>
                  <a:pt x="2882" y="1164"/>
                  <a:pt x="2882" y="1164"/>
                </a:cubicBezTo>
                <a:cubicBezTo>
                  <a:pt x="2879" y="1164"/>
                  <a:pt x="2879" y="1164"/>
                  <a:pt x="2879" y="1164"/>
                </a:cubicBezTo>
                <a:lnTo>
                  <a:pt x="2880" y="1165"/>
                </a:lnTo>
                <a:close/>
                <a:moveTo>
                  <a:pt x="2814" y="610"/>
                </a:moveTo>
                <a:cubicBezTo>
                  <a:pt x="2813" y="611"/>
                  <a:pt x="2813" y="611"/>
                  <a:pt x="2813" y="611"/>
                </a:cubicBezTo>
                <a:cubicBezTo>
                  <a:pt x="2814" y="612"/>
                  <a:pt x="2814" y="612"/>
                  <a:pt x="2814" y="612"/>
                </a:cubicBezTo>
                <a:cubicBezTo>
                  <a:pt x="2815" y="611"/>
                  <a:pt x="2815" y="611"/>
                  <a:pt x="2815" y="611"/>
                </a:cubicBezTo>
                <a:lnTo>
                  <a:pt x="2814" y="610"/>
                </a:lnTo>
                <a:close/>
                <a:moveTo>
                  <a:pt x="2979" y="1117"/>
                </a:moveTo>
                <a:cubicBezTo>
                  <a:pt x="2979" y="1116"/>
                  <a:pt x="2979" y="1116"/>
                  <a:pt x="2979" y="1116"/>
                </a:cubicBezTo>
                <a:cubicBezTo>
                  <a:pt x="2979" y="1117"/>
                  <a:pt x="2979" y="1117"/>
                  <a:pt x="2979" y="1117"/>
                </a:cubicBezTo>
                <a:close/>
                <a:moveTo>
                  <a:pt x="2965" y="1125"/>
                </a:moveTo>
                <a:cubicBezTo>
                  <a:pt x="2966" y="1126"/>
                  <a:pt x="2966" y="1126"/>
                  <a:pt x="2966" y="1126"/>
                </a:cubicBezTo>
                <a:cubicBezTo>
                  <a:pt x="2967" y="1125"/>
                  <a:pt x="2967" y="1125"/>
                  <a:pt x="2967" y="1125"/>
                </a:cubicBezTo>
                <a:lnTo>
                  <a:pt x="2965" y="1125"/>
                </a:lnTo>
                <a:close/>
                <a:moveTo>
                  <a:pt x="3007" y="1056"/>
                </a:moveTo>
                <a:cubicBezTo>
                  <a:pt x="3006" y="1056"/>
                  <a:pt x="3006" y="1056"/>
                  <a:pt x="3006" y="1056"/>
                </a:cubicBezTo>
                <a:cubicBezTo>
                  <a:pt x="3004" y="1056"/>
                  <a:pt x="3004" y="1056"/>
                  <a:pt x="3004" y="1056"/>
                </a:cubicBezTo>
                <a:cubicBezTo>
                  <a:pt x="3003" y="1056"/>
                  <a:pt x="3003" y="1056"/>
                  <a:pt x="3003" y="1056"/>
                </a:cubicBezTo>
                <a:cubicBezTo>
                  <a:pt x="3001" y="1056"/>
                  <a:pt x="3001" y="1056"/>
                  <a:pt x="3001" y="1056"/>
                </a:cubicBezTo>
                <a:cubicBezTo>
                  <a:pt x="3000" y="1056"/>
                  <a:pt x="3000" y="1056"/>
                  <a:pt x="3000" y="1056"/>
                </a:cubicBezTo>
                <a:cubicBezTo>
                  <a:pt x="3000" y="1056"/>
                  <a:pt x="3001" y="1058"/>
                  <a:pt x="3001" y="1058"/>
                </a:cubicBezTo>
                <a:cubicBezTo>
                  <a:pt x="3003" y="1058"/>
                  <a:pt x="3003" y="1058"/>
                  <a:pt x="3003" y="1058"/>
                </a:cubicBezTo>
                <a:cubicBezTo>
                  <a:pt x="3004" y="1059"/>
                  <a:pt x="3004" y="1059"/>
                  <a:pt x="3004" y="1059"/>
                </a:cubicBezTo>
                <a:cubicBezTo>
                  <a:pt x="3006" y="1059"/>
                  <a:pt x="3006" y="1059"/>
                  <a:pt x="3006" y="1059"/>
                </a:cubicBezTo>
                <a:cubicBezTo>
                  <a:pt x="3008" y="1057"/>
                  <a:pt x="3008" y="1057"/>
                  <a:pt x="3008" y="1057"/>
                </a:cubicBezTo>
                <a:lnTo>
                  <a:pt x="3007" y="1056"/>
                </a:lnTo>
                <a:close/>
                <a:moveTo>
                  <a:pt x="2921" y="1214"/>
                </a:moveTo>
                <a:cubicBezTo>
                  <a:pt x="2919" y="1214"/>
                  <a:pt x="2919" y="1214"/>
                  <a:pt x="2919" y="1214"/>
                </a:cubicBezTo>
                <a:cubicBezTo>
                  <a:pt x="2916" y="1215"/>
                  <a:pt x="2916" y="1215"/>
                  <a:pt x="2916" y="1215"/>
                </a:cubicBezTo>
                <a:cubicBezTo>
                  <a:pt x="2916" y="1215"/>
                  <a:pt x="2916" y="1217"/>
                  <a:pt x="2916" y="1217"/>
                </a:cubicBezTo>
                <a:cubicBezTo>
                  <a:pt x="2917" y="1217"/>
                  <a:pt x="2917" y="1217"/>
                  <a:pt x="2917" y="1217"/>
                </a:cubicBezTo>
                <a:cubicBezTo>
                  <a:pt x="2918" y="1217"/>
                  <a:pt x="2918" y="1217"/>
                  <a:pt x="2918" y="1217"/>
                </a:cubicBezTo>
                <a:cubicBezTo>
                  <a:pt x="2919" y="1215"/>
                  <a:pt x="2919" y="1215"/>
                  <a:pt x="2919" y="1215"/>
                </a:cubicBezTo>
                <a:cubicBezTo>
                  <a:pt x="2921" y="1215"/>
                  <a:pt x="2921" y="1215"/>
                  <a:pt x="2921" y="1215"/>
                </a:cubicBezTo>
                <a:lnTo>
                  <a:pt x="2921" y="1214"/>
                </a:lnTo>
                <a:close/>
                <a:moveTo>
                  <a:pt x="2971" y="1120"/>
                </a:moveTo>
                <a:cubicBezTo>
                  <a:pt x="2970" y="1118"/>
                  <a:pt x="2970" y="1118"/>
                  <a:pt x="2970" y="1118"/>
                </a:cubicBezTo>
                <a:cubicBezTo>
                  <a:pt x="2969" y="1119"/>
                  <a:pt x="2969" y="1119"/>
                  <a:pt x="2969" y="1119"/>
                </a:cubicBezTo>
                <a:cubicBezTo>
                  <a:pt x="2969" y="1120"/>
                  <a:pt x="2969" y="1120"/>
                  <a:pt x="2969" y="1120"/>
                </a:cubicBezTo>
                <a:cubicBezTo>
                  <a:pt x="2970" y="1121"/>
                  <a:pt x="2970" y="1121"/>
                  <a:pt x="2970" y="1121"/>
                </a:cubicBezTo>
                <a:cubicBezTo>
                  <a:pt x="2970" y="1121"/>
                  <a:pt x="2970" y="1121"/>
                  <a:pt x="2970" y="1121"/>
                </a:cubicBezTo>
                <a:lnTo>
                  <a:pt x="2971" y="1120"/>
                </a:lnTo>
                <a:close/>
                <a:moveTo>
                  <a:pt x="2951" y="1148"/>
                </a:moveTo>
                <a:cubicBezTo>
                  <a:pt x="2951" y="1151"/>
                  <a:pt x="2951" y="1151"/>
                  <a:pt x="2951" y="1151"/>
                </a:cubicBezTo>
                <a:cubicBezTo>
                  <a:pt x="2952" y="1150"/>
                  <a:pt x="2952" y="1150"/>
                  <a:pt x="2952" y="1150"/>
                </a:cubicBezTo>
                <a:cubicBezTo>
                  <a:pt x="2953" y="1150"/>
                  <a:pt x="2953" y="1150"/>
                  <a:pt x="2953" y="1150"/>
                </a:cubicBezTo>
                <a:cubicBezTo>
                  <a:pt x="2952" y="1148"/>
                  <a:pt x="2952" y="1148"/>
                  <a:pt x="2952" y="1148"/>
                </a:cubicBezTo>
                <a:lnTo>
                  <a:pt x="2951" y="1148"/>
                </a:lnTo>
                <a:close/>
                <a:moveTo>
                  <a:pt x="2967" y="1126"/>
                </a:moveTo>
                <a:cubicBezTo>
                  <a:pt x="2968" y="1127"/>
                  <a:pt x="2968" y="1127"/>
                  <a:pt x="2968" y="1127"/>
                </a:cubicBezTo>
                <a:cubicBezTo>
                  <a:pt x="2968" y="1126"/>
                  <a:pt x="2968" y="1126"/>
                  <a:pt x="2968" y="1126"/>
                </a:cubicBezTo>
                <a:lnTo>
                  <a:pt x="2967" y="1126"/>
                </a:lnTo>
                <a:close/>
                <a:moveTo>
                  <a:pt x="2970" y="1124"/>
                </a:moveTo>
                <a:cubicBezTo>
                  <a:pt x="2969" y="1124"/>
                  <a:pt x="2969" y="1124"/>
                  <a:pt x="2969" y="1124"/>
                </a:cubicBezTo>
                <a:cubicBezTo>
                  <a:pt x="2968" y="1125"/>
                  <a:pt x="2968" y="1125"/>
                  <a:pt x="2968" y="1125"/>
                </a:cubicBezTo>
                <a:cubicBezTo>
                  <a:pt x="2968" y="1125"/>
                  <a:pt x="2970" y="1125"/>
                  <a:pt x="2970" y="1125"/>
                </a:cubicBezTo>
                <a:lnTo>
                  <a:pt x="2970" y="1124"/>
                </a:lnTo>
                <a:close/>
                <a:moveTo>
                  <a:pt x="2967" y="1121"/>
                </a:moveTo>
                <a:cubicBezTo>
                  <a:pt x="2968" y="1122"/>
                  <a:pt x="2968" y="1122"/>
                  <a:pt x="2968" y="1122"/>
                </a:cubicBezTo>
                <a:cubicBezTo>
                  <a:pt x="2969" y="1122"/>
                  <a:pt x="2969" y="1122"/>
                  <a:pt x="2969" y="1122"/>
                </a:cubicBezTo>
                <a:cubicBezTo>
                  <a:pt x="2969" y="1122"/>
                  <a:pt x="2969" y="1122"/>
                  <a:pt x="2969" y="1122"/>
                </a:cubicBezTo>
                <a:lnTo>
                  <a:pt x="2967" y="1121"/>
                </a:lnTo>
                <a:close/>
                <a:moveTo>
                  <a:pt x="2952" y="1143"/>
                </a:moveTo>
                <a:cubicBezTo>
                  <a:pt x="2953" y="1144"/>
                  <a:pt x="2953" y="1144"/>
                  <a:pt x="2953" y="1144"/>
                </a:cubicBezTo>
                <a:cubicBezTo>
                  <a:pt x="2954" y="1143"/>
                  <a:pt x="2954" y="1143"/>
                  <a:pt x="2954" y="1143"/>
                </a:cubicBezTo>
                <a:lnTo>
                  <a:pt x="2952" y="1143"/>
                </a:lnTo>
                <a:close/>
                <a:moveTo>
                  <a:pt x="2886" y="1160"/>
                </a:moveTo>
                <a:cubicBezTo>
                  <a:pt x="2885" y="1161"/>
                  <a:pt x="2885" y="1161"/>
                  <a:pt x="2885" y="1161"/>
                </a:cubicBezTo>
                <a:cubicBezTo>
                  <a:pt x="2886" y="1161"/>
                  <a:pt x="2886" y="1161"/>
                  <a:pt x="2886" y="1161"/>
                </a:cubicBezTo>
                <a:lnTo>
                  <a:pt x="2886" y="1160"/>
                </a:lnTo>
                <a:close/>
                <a:moveTo>
                  <a:pt x="2919" y="1118"/>
                </a:moveTo>
                <a:cubicBezTo>
                  <a:pt x="2920" y="1118"/>
                  <a:pt x="2920" y="1118"/>
                  <a:pt x="2920" y="1118"/>
                </a:cubicBezTo>
                <a:cubicBezTo>
                  <a:pt x="2920" y="1116"/>
                  <a:pt x="2920" y="1116"/>
                  <a:pt x="2920" y="1116"/>
                </a:cubicBezTo>
                <a:cubicBezTo>
                  <a:pt x="2921" y="1115"/>
                  <a:pt x="2921" y="1115"/>
                  <a:pt x="2921" y="1115"/>
                </a:cubicBezTo>
                <a:cubicBezTo>
                  <a:pt x="2919" y="1114"/>
                  <a:pt x="2919" y="1114"/>
                  <a:pt x="2919" y="1114"/>
                </a:cubicBezTo>
                <a:cubicBezTo>
                  <a:pt x="2918" y="1114"/>
                  <a:pt x="2918" y="1114"/>
                  <a:pt x="2918" y="1114"/>
                </a:cubicBezTo>
                <a:cubicBezTo>
                  <a:pt x="2915" y="1113"/>
                  <a:pt x="2915" y="1113"/>
                  <a:pt x="2915" y="1113"/>
                </a:cubicBezTo>
                <a:cubicBezTo>
                  <a:pt x="2913" y="1115"/>
                  <a:pt x="2913" y="1115"/>
                  <a:pt x="2913" y="1115"/>
                </a:cubicBezTo>
                <a:cubicBezTo>
                  <a:pt x="2912" y="1117"/>
                  <a:pt x="2912" y="1117"/>
                  <a:pt x="2912" y="1117"/>
                </a:cubicBezTo>
                <a:cubicBezTo>
                  <a:pt x="2911" y="1119"/>
                  <a:pt x="2911" y="1119"/>
                  <a:pt x="2911" y="1119"/>
                </a:cubicBezTo>
                <a:cubicBezTo>
                  <a:pt x="2906" y="1124"/>
                  <a:pt x="2906" y="1124"/>
                  <a:pt x="2906" y="1124"/>
                </a:cubicBezTo>
                <a:cubicBezTo>
                  <a:pt x="2906" y="1124"/>
                  <a:pt x="2910" y="1123"/>
                  <a:pt x="2910" y="1123"/>
                </a:cubicBezTo>
                <a:cubicBezTo>
                  <a:pt x="2911" y="1123"/>
                  <a:pt x="2911" y="1123"/>
                  <a:pt x="2911" y="1123"/>
                </a:cubicBezTo>
                <a:cubicBezTo>
                  <a:pt x="2914" y="1123"/>
                  <a:pt x="2914" y="1123"/>
                  <a:pt x="2914" y="1123"/>
                </a:cubicBezTo>
                <a:cubicBezTo>
                  <a:pt x="2915" y="1123"/>
                  <a:pt x="2915" y="1123"/>
                  <a:pt x="2915" y="1123"/>
                </a:cubicBezTo>
                <a:cubicBezTo>
                  <a:pt x="2917" y="1121"/>
                  <a:pt x="2917" y="1121"/>
                  <a:pt x="2917" y="1121"/>
                </a:cubicBezTo>
                <a:cubicBezTo>
                  <a:pt x="2919" y="1120"/>
                  <a:pt x="2919" y="1120"/>
                  <a:pt x="2919" y="1120"/>
                </a:cubicBezTo>
                <a:cubicBezTo>
                  <a:pt x="2919" y="1119"/>
                  <a:pt x="2919" y="1119"/>
                  <a:pt x="2919" y="1119"/>
                </a:cubicBezTo>
                <a:lnTo>
                  <a:pt x="2919" y="1118"/>
                </a:lnTo>
                <a:close/>
                <a:moveTo>
                  <a:pt x="2890" y="1159"/>
                </a:moveTo>
                <a:cubicBezTo>
                  <a:pt x="2889" y="1159"/>
                  <a:pt x="2889" y="1159"/>
                  <a:pt x="2889" y="1159"/>
                </a:cubicBezTo>
                <a:cubicBezTo>
                  <a:pt x="2889" y="1160"/>
                  <a:pt x="2889" y="1160"/>
                  <a:pt x="2889" y="1160"/>
                </a:cubicBezTo>
                <a:lnTo>
                  <a:pt x="2890" y="1159"/>
                </a:lnTo>
                <a:close/>
                <a:moveTo>
                  <a:pt x="2882" y="1163"/>
                </a:moveTo>
                <a:cubicBezTo>
                  <a:pt x="2883" y="1164"/>
                  <a:pt x="2883" y="1164"/>
                  <a:pt x="2883" y="1164"/>
                </a:cubicBezTo>
                <a:cubicBezTo>
                  <a:pt x="2884" y="1163"/>
                  <a:pt x="2884" y="1163"/>
                  <a:pt x="2884" y="1163"/>
                </a:cubicBezTo>
                <a:cubicBezTo>
                  <a:pt x="2885" y="1162"/>
                  <a:pt x="2885" y="1162"/>
                  <a:pt x="2885" y="1162"/>
                </a:cubicBezTo>
                <a:cubicBezTo>
                  <a:pt x="2886" y="1161"/>
                  <a:pt x="2886" y="1161"/>
                  <a:pt x="2886" y="1161"/>
                </a:cubicBezTo>
                <a:cubicBezTo>
                  <a:pt x="2884" y="1161"/>
                  <a:pt x="2884" y="1161"/>
                  <a:pt x="2884" y="1161"/>
                </a:cubicBezTo>
                <a:lnTo>
                  <a:pt x="2882" y="1163"/>
                </a:lnTo>
                <a:close/>
                <a:moveTo>
                  <a:pt x="2917" y="1122"/>
                </a:moveTo>
                <a:cubicBezTo>
                  <a:pt x="2916" y="1123"/>
                  <a:pt x="2916" y="1123"/>
                  <a:pt x="2916" y="1123"/>
                </a:cubicBezTo>
                <a:cubicBezTo>
                  <a:pt x="2917" y="1123"/>
                  <a:pt x="2917" y="1123"/>
                  <a:pt x="2917" y="1123"/>
                </a:cubicBezTo>
                <a:cubicBezTo>
                  <a:pt x="2919" y="1124"/>
                  <a:pt x="2919" y="1124"/>
                  <a:pt x="2919" y="1124"/>
                </a:cubicBezTo>
                <a:cubicBezTo>
                  <a:pt x="2920" y="1123"/>
                  <a:pt x="2920" y="1123"/>
                  <a:pt x="2920" y="1123"/>
                </a:cubicBezTo>
                <a:cubicBezTo>
                  <a:pt x="2919" y="1121"/>
                  <a:pt x="2919" y="1121"/>
                  <a:pt x="2919" y="1121"/>
                </a:cubicBezTo>
                <a:cubicBezTo>
                  <a:pt x="2918" y="1121"/>
                  <a:pt x="2918" y="1121"/>
                  <a:pt x="2918" y="1121"/>
                </a:cubicBezTo>
                <a:lnTo>
                  <a:pt x="2917" y="1122"/>
                </a:lnTo>
                <a:close/>
                <a:moveTo>
                  <a:pt x="2893" y="1156"/>
                </a:moveTo>
                <a:cubicBezTo>
                  <a:pt x="2894" y="1157"/>
                  <a:pt x="2894" y="1157"/>
                  <a:pt x="2894" y="1157"/>
                </a:cubicBezTo>
                <a:cubicBezTo>
                  <a:pt x="2894" y="1156"/>
                  <a:pt x="2894" y="1156"/>
                  <a:pt x="2894" y="1156"/>
                </a:cubicBezTo>
                <a:cubicBezTo>
                  <a:pt x="2896" y="1154"/>
                  <a:pt x="2896" y="1154"/>
                  <a:pt x="2896" y="1154"/>
                </a:cubicBezTo>
                <a:cubicBezTo>
                  <a:pt x="2895" y="1153"/>
                  <a:pt x="2895" y="1153"/>
                  <a:pt x="2895" y="1153"/>
                </a:cubicBezTo>
                <a:cubicBezTo>
                  <a:pt x="2893" y="1155"/>
                  <a:pt x="2893" y="1155"/>
                  <a:pt x="2893" y="1155"/>
                </a:cubicBezTo>
                <a:lnTo>
                  <a:pt x="2893" y="1156"/>
                </a:lnTo>
                <a:close/>
                <a:moveTo>
                  <a:pt x="2892" y="1159"/>
                </a:moveTo>
                <a:cubicBezTo>
                  <a:pt x="2891" y="1158"/>
                  <a:pt x="2891" y="1158"/>
                  <a:pt x="2891" y="1158"/>
                </a:cubicBezTo>
                <a:cubicBezTo>
                  <a:pt x="2890" y="1158"/>
                  <a:pt x="2890" y="1158"/>
                  <a:pt x="2890" y="1158"/>
                </a:cubicBezTo>
                <a:lnTo>
                  <a:pt x="2892" y="1159"/>
                </a:lnTo>
                <a:close/>
                <a:moveTo>
                  <a:pt x="2919" y="1222"/>
                </a:moveTo>
                <a:cubicBezTo>
                  <a:pt x="2920" y="1221"/>
                  <a:pt x="2920" y="1221"/>
                  <a:pt x="2920" y="1221"/>
                </a:cubicBezTo>
                <a:cubicBezTo>
                  <a:pt x="2920" y="1220"/>
                  <a:pt x="2920" y="1220"/>
                  <a:pt x="2920" y="1220"/>
                </a:cubicBezTo>
                <a:cubicBezTo>
                  <a:pt x="2918" y="1221"/>
                  <a:pt x="2918" y="1221"/>
                  <a:pt x="2918" y="1221"/>
                </a:cubicBezTo>
                <a:lnTo>
                  <a:pt x="2919" y="1222"/>
                </a:lnTo>
                <a:close/>
                <a:moveTo>
                  <a:pt x="3040" y="1135"/>
                </a:moveTo>
                <a:cubicBezTo>
                  <a:pt x="3040" y="1135"/>
                  <a:pt x="3040" y="1135"/>
                  <a:pt x="3040" y="1135"/>
                </a:cubicBezTo>
                <a:cubicBezTo>
                  <a:pt x="3038" y="1135"/>
                  <a:pt x="3038" y="1135"/>
                  <a:pt x="3038" y="1135"/>
                </a:cubicBezTo>
                <a:cubicBezTo>
                  <a:pt x="3038" y="1135"/>
                  <a:pt x="3038" y="1135"/>
                  <a:pt x="3038" y="1135"/>
                </a:cubicBezTo>
                <a:cubicBezTo>
                  <a:pt x="3038" y="1137"/>
                  <a:pt x="3038" y="1137"/>
                  <a:pt x="3038" y="1137"/>
                </a:cubicBezTo>
                <a:cubicBezTo>
                  <a:pt x="3039" y="1138"/>
                  <a:pt x="3039" y="1138"/>
                  <a:pt x="3039" y="1138"/>
                </a:cubicBezTo>
                <a:cubicBezTo>
                  <a:pt x="3041" y="1138"/>
                  <a:pt x="3041" y="1138"/>
                  <a:pt x="3041" y="1138"/>
                </a:cubicBezTo>
                <a:cubicBezTo>
                  <a:pt x="3041" y="1138"/>
                  <a:pt x="3041" y="1138"/>
                  <a:pt x="3041" y="1138"/>
                </a:cubicBezTo>
                <a:cubicBezTo>
                  <a:pt x="3042" y="1137"/>
                  <a:pt x="3042" y="1137"/>
                  <a:pt x="3042" y="1137"/>
                </a:cubicBezTo>
                <a:cubicBezTo>
                  <a:pt x="3041" y="1137"/>
                  <a:pt x="3041" y="1137"/>
                  <a:pt x="3041" y="1137"/>
                </a:cubicBezTo>
                <a:cubicBezTo>
                  <a:pt x="3040" y="1137"/>
                  <a:pt x="3040" y="1137"/>
                  <a:pt x="3040" y="1137"/>
                </a:cubicBezTo>
                <a:cubicBezTo>
                  <a:pt x="3041" y="1136"/>
                  <a:pt x="3041" y="1136"/>
                  <a:pt x="3041" y="1136"/>
                </a:cubicBezTo>
                <a:lnTo>
                  <a:pt x="3040" y="1135"/>
                </a:lnTo>
                <a:close/>
                <a:moveTo>
                  <a:pt x="3045" y="1128"/>
                </a:moveTo>
                <a:cubicBezTo>
                  <a:pt x="3045" y="1126"/>
                  <a:pt x="3045" y="1126"/>
                  <a:pt x="3045" y="1126"/>
                </a:cubicBezTo>
                <a:cubicBezTo>
                  <a:pt x="3045" y="1124"/>
                  <a:pt x="3045" y="1124"/>
                  <a:pt x="3045" y="1124"/>
                </a:cubicBezTo>
                <a:cubicBezTo>
                  <a:pt x="3044" y="1124"/>
                  <a:pt x="3044" y="1124"/>
                  <a:pt x="3044" y="1124"/>
                </a:cubicBezTo>
                <a:cubicBezTo>
                  <a:pt x="3044" y="1125"/>
                  <a:pt x="3044" y="1125"/>
                  <a:pt x="3044" y="1125"/>
                </a:cubicBezTo>
                <a:cubicBezTo>
                  <a:pt x="3044" y="1126"/>
                  <a:pt x="3044" y="1126"/>
                  <a:pt x="3044" y="1126"/>
                </a:cubicBezTo>
                <a:cubicBezTo>
                  <a:pt x="3045" y="1126"/>
                  <a:pt x="3045" y="1126"/>
                  <a:pt x="3045" y="1126"/>
                </a:cubicBezTo>
                <a:cubicBezTo>
                  <a:pt x="3045" y="1127"/>
                  <a:pt x="3045" y="1127"/>
                  <a:pt x="3045" y="1127"/>
                </a:cubicBezTo>
                <a:cubicBezTo>
                  <a:pt x="3045" y="1128"/>
                  <a:pt x="3045" y="1128"/>
                  <a:pt x="3045" y="1128"/>
                </a:cubicBezTo>
                <a:close/>
                <a:moveTo>
                  <a:pt x="3028" y="1298"/>
                </a:moveTo>
                <a:cubicBezTo>
                  <a:pt x="3027" y="1297"/>
                  <a:pt x="3027" y="1297"/>
                  <a:pt x="3027" y="1297"/>
                </a:cubicBezTo>
                <a:cubicBezTo>
                  <a:pt x="3027" y="1298"/>
                  <a:pt x="3027" y="1298"/>
                  <a:pt x="3027" y="1298"/>
                </a:cubicBezTo>
                <a:cubicBezTo>
                  <a:pt x="3028" y="1301"/>
                  <a:pt x="3028" y="1301"/>
                  <a:pt x="3028" y="1301"/>
                </a:cubicBezTo>
                <a:cubicBezTo>
                  <a:pt x="3029" y="1302"/>
                  <a:pt x="3029" y="1302"/>
                  <a:pt x="3029" y="1302"/>
                </a:cubicBezTo>
                <a:cubicBezTo>
                  <a:pt x="3030" y="1301"/>
                  <a:pt x="3030" y="1301"/>
                  <a:pt x="3030" y="1301"/>
                </a:cubicBezTo>
                <a:cubicBezTo>
                  <a:pt x="3029" y="1300"/>
                  <a:pt x="3029" y="1300"/>
                  <a:pt x="3029" y="1300"/>
                </a:cubicBezTo>
                <a:cubicBezTo>
                  <a:pt x="3029" y="1298"/>
                  <a:pt x="3029" y="1298"/>
                  <a:pt x="3029" y="1298"/>
                </a:cubicBezTo>
                <a:lnTo>
                  <a:pt x="3028" y="1298"/>
                </a:lnTo>
                <a:close/>
                <a:moveTo>
                  <a:pt x="3043" y="1140"/>
                </a:moveTo>
                <a:cubicBezTo>
                  <a:pt x="3042" y="1140"/>
                  <a:pt x="3042" y="1140"/>
                  <a:pt x="3042" y="1140"/>
                </a:cubicBezTo>
                <a:cubicBezTo>
                  <a:pt x="3042" y="1140"/>
                  <a:pt x="3042" y="1140"/>
                  <a:pt x="3042" y="1140"/>
                </a:cubicBezTo>
                <a:cubicBezTo>
                  <a:pt x="3041" y="1139"/>
                  <a:pt x="3041" y="1139"/>
                  <a:pt x="3041" y="1139"/>
                </a:cubicBezTo>
                <a:cubicBezTo>
                  <a:pt x="3040" y="1139"/>
                  <a:pt x="3040" y="1139"/>
                  <a:pt x="3040" y="1139"/>
                </a:cubicBezTo>
                <a:cubicBezTo>
                  <a:pt x="3040" y="1139"/>
                  <a:pt x="3040" y="1139"/>
                  <a:pt x="3040" y="1139"/>
                </a:cubicBezTo>
                <a:cubicBezTo>
                  <a:pt x="3041" y="1139"/>
                  <a:pt x="3041" y="1139"/>
                  <a:pt x="3041" y="1139"/>
                </a:cubicBezTo>
                <a:cubicBezTo>
                  <a:pt x="3042" y="1141"/>
                  <a:pt x="3042" y="1141"/>
                  <a:pt x="3042" y="1141"/>
                </a:cubicBezTo>
                <a:cubicBezTo>
                  <a:pt x="3042" y="1141"/>
                  <a:pt x="3042" y="1141"/>
                  <a:pt x="3042" y="1141"/>
                </a:cubicBezTo>
                <a:cubicBezTo>
                  <a:pt x="3042" y="1143"/>
                  <a:pt x="3042" y="1143"/>
                  <a:pt x="3042" y="1143"/>
                </a:cubicBezTo>
                <a:cubicBezTo>
                  <a:pt x="3043" y="1143"/>
                  <a:pt x="3043" y="1143"/>
                  <a:pt x="3043" y="1143"/>
                </a:cubicBezTo>
                <a:cubicBezTo>
                  <a:pt x="3044" y="1143"/>
                  <a:pt x="3044" y="1143"/>
                  <a:pt x="3044" y="1143"/>
                </a:cubicBezTo>
                <a:cubicBezTo>
                  <a:pt x="3045" y="1142"/>
                  <a:pt x="3045" y="1142"/>
                  <a:pt x="3045" y="1142"/>
                </a:cubicBezTo>
                <a:cubicBezTo>
                  <a:pt x="3046" y="1141"/>
                  <a:pt x="3046" y="1141"/>
                  <a:pt x="3046" y="1141"/>
                </a:cubicBezTo>
                <a:cubicBezTo>
                  <a:pt x="3045" y="1140"/>
                  <a:pt x="3045" y="1140"/>
                  <a:pt x="3045" y="1140"/>
                </a:cubicBezTo>
                <a:cubicBezTo>
                  <a:pt x="3044" y="1140"/>
                  <a:pt x="3044" y="1140"/>
                  <a:pt x="3044" y="1140"/>
                </a:cubicBezTo>
                <a:cubicBezTo>
                  <a:pt x="3043" y="1141"/>
                  <a:pt x="3043" y="1141"/>
                  <a:pt x="3043" y="1141"/>
                </a:cubicBezTo>
                <a:lnTo>
                  <a:pt x="3043" y="1140"/>
                </a:lnTo>
                <a:close/>
                <a:moveTo>
                  <a:pt x="3004" y="1092"/>
                </a:moveTo>
                <a:cubicBezTo>
                  <a:pt x="3005" y="1093"/>
                  <a:pt x="3005" y="1093"/>
                  <a:pt x="3005" y="1093"/>
                </a:cubicBezTo>
                <a:cubicBezTo>
                  <a:pt x="3006" y="1093"/>
                  <a:pt x="3006" y="1093"/>
                  <a:pt x="3006" y="1093"/>
                </a:cubicBezTo>
                <a:cubicBezTo>
                  <a:pt x="3006" y="1091"/>
                  <a:pt x="3006" y="1091"/>
                  <a:pt x="3006" y="1091"/>
                </a:cubicBezTo>
                <a:cubicBezTo>
                  <a:pt x="3005" y="1090"/>
                  <a:pt x="3005" y="1090"/>
                  <a:pt x="3005" y="1090"/>
                </a:cubicBezTo>
                <a:lnTo>
                  <a:pt x="3004" y="1092"/>
                </a:lnTo>
                <a:close/>
                <a:moveTo>
                  <a:pt x="3036" y="1136"/>
                </a:moveTo>
                <a:cubicBezTo>
                  <a:pt x="3037" y="1137"/>
                  <a:pt x="3037" y="1137"/>
                  <a:pt x="3037" y="1137"/>
                </a:cubicBezTo>
                <a:cubicBezTo>
                  <a:pt x="3037" y="1135"/>
                  <a:pt x="3037" y="1135"/>
                  <a:pt x="3037" y="1135"/>
                </a:cubicBezTo>
                <a:cubicBezTo>
                  <a:pt x="3036" y="1134"/>
                  <a:pt x="3036" y="1134"/>
                  <a:pt x="3036" y="1134"/>
                </a:cubicBezTo>
                <a:cubicBezTo>
                  <a:pt x="3035" y="1133"/>
                  <a:pt x="3035" y="1133"/>
                  <a:pt x="3035" y="1133"/>
                </a:cubicBezTo>
                <a:cubicBezTo>
                  <a:pt x="3034" y="1134"/>
                  <a:pt x="3034" y="1134"/>
                  <a:pt x="3034" y="1134"/>
                </a:cubicBezTo>
                <a:cubicBezTo>
                  <a:pt x="3034" y="1135"/>
                  <a:pt x="3034" y="1135"/>
                  <a:pt x="3034" y="1135"/>
                </a:cubicBezTo>
                <a:cubicBezTo>
                  <a:pt x="3035" y="1135"/>
                  <a:pt x="3035" y="1135"/>
                  <a:pt x="3035" y="1135"/>
                </a:cubicBezTo>
                <a:lnTo>
                  <a:pt x="3036" y="1136"/>
                </a:lnTo>
                <a:close/>
                <a:moveTo>
                  <a:pt x="3013" y="1097"/>
                </a:moveTo>
                <a:cubicBezTo>
                  <a:pt x="3014" y="1096"/>
                  <a:pt x="3014" y="1096"/>
                  <a:pt x="3014" y="1096"/>
                </a:cubicBezTo>
                <a:cubicBezTo>
                  <a:pt x="3013" y="1094"/>
                  <a:pt x="3013" y="1094"/>
                  <a:pt x="3013" y="1094"/>
                </a:cubicBezTo>
                <a:cubicBezTo>
                  <a:pt x="3012" y="1093"/>
                  <a:pt x="3012" y="1093"/>
                  <a:pt x="3012" y="1093"/>
                </a:cubicBezTo>
                <a:cubicBezTo>
                  <a:pt x="3011" y="1094"/>
                  <a:pt x="3011" y="1094"/>
                  <a:pt x="3011" y="1094"/>
                </a:cubicBezTo>
                <a:cubicBezTo>
                  <a:pt x="3012" y="1096"/>
                  <a:pt x="3012" y="1096"/>
                  <a:pt x="3012" y="1096"/>
                </a:cubicBezTo>
                <a:lnTo>
                  <a:pt x="3013" y="1097"/>
                </a:lnTo>
                <a:close/>
                <a:moveTo>
                  <a:pt x="2986" y="1240"/>
                </a:moveTo>
                <a:cubicBezTo>
                  <a:pt x="2987" y="1238"/>
                  <a:pt x="2987" y="1238"/>
                  <a:pt x="2987" y="1238"/>
                </a:cubicBezTo>
                <a:cubicBezTo>
                  <a:pt x="2987" y="1235"/>
                  <a:pt x="2987" y="1235"/>
                  <a:pt x="2987" y="1235"/>
                </a:cubicBezTo>
                <a:cubicBezTo>
                  <a:pt x="2986" y="1235"/>
                  <a:pt x="2986" y="1235"/>
                  <a:pt x="2986" y="1235"/>
                </a:cubicBezTo>
                <a:cubicBezTo>
                  <a:pt x="2985" y="1236"/>
                  <a:pt x="2985" y="1236"/>
                  <a:pt x="2985" y="1236"/>
                </a:cubicBezTo>
                <a:cubicBezTo>
                  <a:pt x="2986" y="1237"/>
                  <a:pt x="2986" y="1237"/>
                  <a:pt x="2986" y="1237"/>
                </a:cubicBezTo>
                <a:cubicBezTo>
                  <a:pt x="2985" y="1239"/>
                  <a:pt x="2985" y="1239"/>
                  <a:pt x="2985" y="1239"/>
                </a:cubicBezTo>
                <a:lnTo>
                  <a:pt x="2986" y="1240"/>
                </a:lnTo>
                <a:close/>
                <a:moveTo>
                  <a:pt x="3024" y="1284"/>
                </a:moveTo>
                <a:cubicBezTo>
                  <a:pt x="3024" y="1283"/>
                  <a:pt x="3024" y="1283"/>
                  <a:pt x="3024" y="1283"/>
                </a:cubicBezTo>
                <a:cubicBezTo>
                  <a:pt x="3023" y="1283"/>
                  <a:pt x="3023" y="1283"/>
                  <a:pt x="3023" y="1283"/>
                </a:cubicBezTo>
                <a:lnTo>
                  <a:pt x="3024" y="1284"/>
                </a:lnTo>
                <a:close/>
                <a:moveTo>
                  <a:pt x="2977" y="1115"/>
                </a:moveTo>
                <a:cubicBezTo>
                  <a:pt x="2977" y="1116"/>
                  <a:pt x="2977" y="1116"/>
                  <a:pt x="2977" y="1116"/>
                </a:cubicBezTo>
                <a:cubicBezTo>
                  <a:pt x="2978" y="1117"/>
                  <a:pt x="2978" y="1117"/>
                  <a:pt x="2978" y="1117"/>
                </a:cubicBezTo>
                <a:cubicBezTo>
                  <a:pt x="2978" y="1116"/>
                  <a:pt x="2978" y="1116"/>
                  <a:pt x="2978" y="1116"/>
                </a:cubicBezTo>
                <a:cubicBezTo>
                  <a:pt x="2979" y="1115"/>
                  <a:pt x="2979" y="1115"/>
                  <a:pt x="2979" y="1115"/>
                </a:cubicBezTo>
                <a:lnTo>
                  <a:pt x="2977" y="1115"/>
                </a:lnTo>
                <a:close/>
                <a:moveTo>
                  <a:pt x="2971" y="1117"/>
                </a:moveTo>
                <a:cubicBezTo>
                  <a:pt x="2972" y="1119"/>
                  <a:pt x="2972" y="1119"/>
                  <a:pt x="2972" y="1119"/>
                </a:cubicBezTo>
                <a:cubicBezTo>
                  <a:pt x="2973" y="1119"/>
                  <a:pt x="2973" y="1119"/>
                  <a:pt x="2973" y="1119"/>
                </a:cubicBezTo>
                <a:cubicBezTo>
                  <a:pt x="2972" y="1118"/>
                  <a:pt x="2972" y="1118"/>
                  <a:pt x="2972" y="1118"/>
                </a:cubicBezTo>
                <a:lnTo>
                  <a:pt x="2971" y="1117"/>
                </a:lnTo>
                <a:close/>
                <a:moveTo>
                  <a:pt x="2976" y="1116"/>
                </a:moveTo>
                <a:cubicBezTo>
                  <a:pt x="2976" y="1118"/>
                  <a:pt x="2976" y="1118"/>
                  <a:pt x="2976" y="1118"/>
                </a:cubicBezTo>
                <a:cubicBezTo>
                  <a:pt x="2977" y="1118"/>
                  <a:pt x="2977" y="1118"/>
                  <a:pt x="2977" y="1118"/>
                </a:cubicBezTo>
                <a:cubicBezTo>
                  <a:pt x="2977" y="1117"/>
                  <a:pt x="2977" y="1117"/>
                  <a:pt x="2977" y="1117"/>
                </a:cubicBezTo>
                <a:lnTo>
                  <a:pt x="2976" y="1116"/>
                </a:lnTo>
                <a:close/>
                <a:moveTo>
                  <a:pt x="2736" y="838"/>
                </a:moveTo>
                <a:cubicBezTo>
                  <a:pt x="2734" y="838"/>
                  <a:pt x="2734" y="838"/>
                  <a:pt x="2734" y="838"/>
                </a:cubicBezTo>
                <a:cubicBezTo>
                  <a:pt x="2733" y="836"/>
                  <a:pt x="2733" y="836"/>
                  <a:pt x="2733" y="836"/>
                </a:cubicBezTo>
                <a:cubicBezTo>
                  <a:pt x="2729" y="835"/>
                  <a:pt x="2729" y="835"/>
                  <a:pt x="2729" y="835"/>
                </a:cubicBezTo>
                <a:cubicBezTo>
                  <a:pt x="2726" y="836"/>
                  <a:pt x="2726" y="836"/>
                  <a:pt x="2726" y="836"/>
                </a:cubicBezTo>
                <a:cubicBezTo>
                  <a:pt x="2726" y="838"/>
                  <a:pt x="2726" y="838"/>
                  <a:pt x="2726" y="838"/>
                </a:cubicBezTo>
                <a:cubicBezTo>
                  <a:pt x="2724" y="842"/>
                  <a:pt x="2724" y="842"/>
                  <a:pt x="2724" y="842"/>
                </a:cubicBezTo>
                <a:cubicBezTo>
                  <a:pt x="2724" y="845"/>
                  <a:pt x="2724" y="845"/>
                  <a:pt x="2724" y="845"/>
                </a:cubicBezTo>
                <a:cubicBezTo>
                  <a:pt x="2724" y="849"/>
                  <a:pt x="2724" y="849"/>
                  <a:pt x="2724" y="849"/>
                </a:cubicBezTo>
                <a:cubicBezTo>
                  <a:pt x="2723" y="854"/>
                  <a:pt x="2723" y="854"/>
                  <a:pt x="2723" y="854"/>
                </a:cubicBezTo>
                <a:cubicBezTo>
                  <a:pt x="2722" y="856"/>
                  <a:pt x="2722" y="856"/>
                  <a:pt x="2722" y="856"/>
                </a:cubicBezTo>
                <a:cubicBezTo>
                  <a:pt x="2724" y="860"/>
                  <a:pt x="2724" y="860"/>
                  <a:pt x="2724" y="860"/>
                </a:cubicBezTo>
                <a:cubicBezTo>
                  <a:pt x="2724" y="861"/>
                  <a:pt x="2724" y="861"/>
                  <a:pt x="2724" y="861"/>
                </a:cubicBezTo>
                <a:cubicBezTo>
                  <a:pt x="2722" y="862"/>
                  <a:pt x="2722" y="862"/>
                  <a:pt x="2722" y="862"/>
                </a:cubicBezTo>
                <a:cubicBezTo>
                  <a:pt x="2720" y="862"/>
                  <a:pt x="2720" y="862"/>
                  <a:pt x="2720" y="862"/>
                </a:cubicBezTo>
                <a:cubicBezTo>
                  <a:pt x="2719" y="860"/>
                  <a:pt x="2719" y="860"/>
                  <a:pt x="2719" y="860"/>
                </a:cubicBezTo>
                <a:cubicBezTo>
                  <a:pt x="2719" y="862"/>
                  <a:pt x="2719" y="862"/>
                  <a:pt x="2719" y="862"/>
                </a:cubicBezTo>
                <a:cubicBezTo>
                  <a:pt x="2719" y="864"/>
                  <a:pt x="2719" y="864"/>
                  <a:pt x="2719" y="864"/>
                </a:cubicBezTo>
                <a:cubicBezTo>
                  <a:pt x="2720" y="865"/>
                  <a:pt x="2720" y="865"/>
                  <a:pt x="2720" y="865"/>
                </a:cubicBezTo>
                <a:cubicBezTo>
                  <a:pt x="2721" y="865"/>
                  <a:pt x="2721" y="865"/>
                  <a:pt x="2721" y="865"/>
                </a:cubicBezTo>
                <a:cubicBezTo>
                  <a:pt x="2720" y="867"/>
                  <a:pt x="2720" y="867"/>
                  <a:pt x="2720" y="867"/>
                </a:cubicBezTo>
                <a:cubicBezTo>
                  <a:pt x="2721" y="870"/>
                  <a:pt x="2721" y="870"/>
                  <a:pt x="2721" y="870"/>
                </a:cubicBezTo>
                <a:cubicBezTo>
                  <a:pt x="2722" y="872"/>
                  <a:pt x="2722" y="872"/>
                  <a:pt x="2722" y="872"/>
                </a:cubicBezTo>
                <a:cubicBezTo>
                  <a:pt x="2722" y="876"/>
                  <a:pt x="2722" y="876"/>
                  <a:pt x="2722" y="876"/>
                </a:cubicBezTo>
                <a:cubicBezTo>
                  <a:pt x="2723" y="877"/>
                  <a:pt x="2723" y="877"/>
                  <a:pt x="2723" y="877"/>
                </a:cubicBezTo>
                <a:cubicBezTo>
                  <a:pt x="2724" y="876"/>
                  <a:pt x="2724" y="876"/>
                  <a:pt x="2724" y="876"/>
                </a:cubicBezTo>
                <a:cubicBezTo>
                  <a:pt x="2725" y="876"/>
                  <a:pt x="2725" y="876"/>
                  <a:pt x="2725" y="876"/>
                </a:cubicBezTo>
                <a:cubicBezTo>
                  <a:pt x="2725" y="878"/>
                  <a:pt x="2725" y="878"/>
                  <a:pt x="2725" y="878"/>
                </a:cubicBezTo>
                <a:cubicBezTo>
                  <a:pt x="2727" y="881"/>
                  <a:pt x="2727" y="881"/>
                  <a:pt x="2727" y="881"/>
                </a:cubicBezTo>
                <a:cubicBezTo>
                  <a:pt x="2728" y="881"/>
                  <a:pt x="2728" y="881"/>
                  <a:pt x="2728" y="881"/>
                </a:cubicBezTo>
                <a:cubicBezTo>
                  <a:pt x="2729" y="880"/>
                  <a:pt x="2729" y="880"/>
                  <a:pt x="2729" y="880"/>
                </a:cubicBezTo>
                <a:cubicBezTo>
                  <a:pt x="2728" y="878"/>
                  <a:pt x="2728" y="878"/>
                  <a:pt x="2728" y="878"/>
                </a:cubicBezTo>
                <a:cubicBezTo>
                  <a:pt x="2728" y="877"/>
                  <a:pt x="2728" y="877"/>
                  <a:pt x="2728" y="877"/>
                </a:cubicBezTo>
                <a:cubicBezTo>
                  <a:pt x="2731" y="877"/>
                  <a:pt x="2731" y="877"/>
                  <a:pt x="2731" y="877"/>
                </a:cubicBezTo>
                <a:cubicBezTo>
                  <a:pt x="2732" y="879"/>
                  <a:pt x="2732" y="879"/>
                  <a:pt x="2732" y="879"/>
                </a:cubicBezTo>
                <a:cubicBezTo>
                  <a:pt x="2730" y="881"/>
                  <a:pt x="2730" y="881"/>
                  <a:pt x="2730" y="881"/>
                </a:cubicBezTo>
                <a:cubicBezTo>
                  <a:pt x="2729" y="883"/>
                  <a:pt x="2729" y="883"/>
                  <a:pt x="2729" y="883"/>
                </a:cubicBezTo>
                <a:cubicBezTo>
                  <a:pt x="2729" y="884"/>
                  <a:pt x="2729" y="884"/>
                  <a:pt x="2729" y="884"/>
                </a:cubicBezTo>
                <a:cubicBezTo>
                  <a:pt x="2729" y="886"/>
                  <a:pt x="2729" y="886"/>
                  <a:pt x="2729" y="886"/>
                </a:cubicBezTo>
                <a:cubicBezTo>
                  <a:pt x="2730" y="889"/>
                  <a:pt x="2730" y="889"/>
                  <a:pt x="2730" y="889"/>
                </a:cubicBezTo>
                <a:cubicBezTo>
                  <a:pt x="2731" y="887"/>
                  <a:pt x="2731" y="887"/>
                  <a:pt x="2731" y="887"/>
                </a:cubicBezTo>
                <a:cubicBezTo>
                  <a:pt x="2732" y="886"/>
                  <a:pt x="2732" y="886"/>
                  <a:pt x="2732" y="886"/>
                </a:cubicBezTo>
                <a:cubicBezTo>
                  <a:pt x="2733" y="888"/>
                  <a:pt x="2733" y="888"/>
                  <a:pt x="2733" y="888"/>
                </a:cubicBezTo>
                <a:cubicBezTo>
                  <a:pt x="2732" y="890"/>
                  <a:pt x="2732" y="890"/>
                  <a:pt x="2732" y="890"/>
                </a:cubicBezTo>
                <a:cubicBezTo>
                  <a:pt x="2734" y="889"/>
                  <a:pt x="2734" y="889"/>
                  <a:pt x="2734" y="889"/>
                </a:cubicBezTo>
                <a:cubicBezTo>
                  <a:pt x="2735" y="888"/>
                  <a:pt x="2735" y="888"/>
                  <a:pt x="2735" y="888"/>
                </a:cubicBezTo>
                <a:cubicBezTo>
                  <a:pt x="2737" y="890"/>
                  <a:pt x="2737" y="890"/>
                  <a:pt x="2737" y="890"/>
                </a:cubicBezTo>
                <a:cubicBezTo>
                  <a:pt x="2739" y="889"/>
                  <a:pt x="2739" y="889"/>
                  <a:pt x="2739" y="889"/>
                </a:cubicBezTo>
                <a:cubicBezTo>
                  <a:pt x="2739" y="888"/>
                  <a:pt x="2739" y="888"/>
                  <a:pt x="2739" y="888"/>
                </a:cubicBezTo>
                <a:cubicBezTo>
                  <a:pt x="2740" y="886"/>
                  <a:pt x="2740" y="886"/>
                  <a:pt x="2740" y="886"/>
                </a:cubicBezTo>
                <a:cubicBezTo>
                  <a:pt x="2742" y="886"/>
                  <a:pt x="2742" y="886"/>
                  <a:pt x="2742" y="886"/>
                </a:cubicBezTo>
                <a:cubicBezTo>
                  <a:pt x="2746" y="888"/>
                  <a:pt x="2746" y="888"/>
                  <a:pt x="2746" y="888"/>
                </a:cubicBezTo>
                <a:cubicBezTo>
                  <a:pt x="2747" y="889"/>
                  <a:pt x="2747" y="889"/>
                  <a:pt x="2747" y="889"/>
                </a:cubicBezTo>
                <a:cubicBezTo>
                  <a:pt x="2749" y="891"/>
                  <a:pt x="2749" y="891"/>
                  <a:pt x="2749" y="891"/>
                </a:cubicBezTo>
                <a:cubicBezTo>
                  <a:pt x="2751" y="894"/>
                  <a:pt x="2751" y="894"/>
                  <a:pt x="2751" y="894"/>
                </a:cubicBezTo>
                <a:cubicBezTo>
                  <a:pt x="2752" y="894"/>
                  <a:pt x="2752" y="894"/>
                  <a:pt x="2752" y="894"/>
                </a:cubicBezTo>
                <a:cubicBezTo>
                  <a:pt x="2751" y="891"/>
                  <a:pt x="2751" y="891"/>
                  <a:pt x="2751" y="891"/>
                </a:cubicBezTo>
                <a:cubicBezTo>
                  <a:pt x="2749" y="887"/>
                  <a:pt x="2749" y="887"/>
                  <a:pt x="2749" y="887"/>
                </a:cubicBezTo>
                <a:cubicBezTo>
                  <a:pt x="2749" y="886"/>
                  <a:pt x="2749" y="886"/>
                  <a:pt x="2749" y="886"/>
                </a:cubicBezTo>
                <a:cubicBezTo>
                  <a:pt x="2750" y="886"/>
                  <a:pt x="2750" y="886"/>
                  <a:pt x="2750" y="886"/>
                </a:cubicBezTo>
                <a:cubicBezTo>
                  <a:pt x="2752" y="888"/>
                  <a:pt x="2752" y="888"/>
                  <a:pt x="2752" y="888"/>
                </a:cubicBezTo>
                <a:cubicBezTo>
                  <a:pt x="2753" y="888"/>
                  <a:pt x="2753" y="888"/>
                  <a:pt x="2753" y="888"/>
                </a:cubicBezTo>
                <a:cubicBezTo>
                  <a:pt x="2754" y="891"/>
                  <a:pt x="2754" y="891"/>
                  <a:pt x="2754" y="891"/>
                </a:cubicBezTo>
                <a:cubicBezTo>
                  <a:pt x="2757" y="892"/>
                  <a:pt x="2757" y="892"/>
                  <a:pt x="2757" y="892"/>
                </a:cubicBezTo>
                <a:cubicBezTo>
                  <a:pt x="2758" y="894"/>
                  <a:pt x="2758" y="894"/>
                  <a:pt x="2758" y="894"/>
                </a:cubicBezTo>
                <a:cubicBezTo>
                  <a:pt x="2758" y="896"/>
                  <a:pt x="2758" y="896"/>
                  <a:pt x="2758" y="896"/>
                </a:cubicBezTo>
                <a:cubicBezTo>
                  <a:pt x="2760" y="896"/>
                  <a:pt x="2760" y="896"/>
                  <a:pt x="2760" y="896"/>
                </a:cubicBezTo>
                <a:cubicBezTo>
                  <a:pt x="2762" y="899"/>
                  <a:pt x="2762" y="899"/>
                  <a:pt x="2762" y="899"/>
                </a:cubicBezTo>
                <a:cubicBezTo>
                  <a:pt x="2764" y="898"/>
                  <a:pt x="2764" y="898"/>
                  <a:pt x="2764" y="898"/>
                </a:cubicBezTo>
                <a:cubicBezTo>
                  <a:pt x="2763" y="898"/>
                  <a:pt x="2763" y="898"/>
                  <a:pt x="2763" y="898"/>
                </a:cubicBezTo>
                <a:cubicBezTo>
                  <a:pt x="2765" y="898"/>
                  <a:pt x="2765" y="898"/>
                  <a:pt x="2765" y="898"/>
                </a:cubicBezTo>
                <a:cubicBezTo>
                  <a:pt x="2765" y="899"/>
                  <a:pt x="2765" y="899"/>
                  <a:pt x="2765" y="899"/>
                </a:cubicBezTo>
                <a:cubicBezTo>
                  <a:pt x="2763" y="900"/>
                  <a:pt x="2763" y="900"/>
                  <a:pt x="2763" y="900"/>
                </a:cubicBezTo>
                <a:cubicBezTo>
                  <a:pt x="2765" y="902"/>
                  <a:pt x="2765" y="902"/>
                  <a:pt x="2765" y="902"/>
                </a:cubicBezTo>
                <a:cubicBezTo>
                  <a:pt x="2767" y="903"/>
                  <a:pt x="2767" y="903"/>
                  <a:pt x="2767" y="903"/>
                </a:cubicBezTo>
                <a:cubicBezTo>
                  <a:pt x="2768" y="900"/>
                  <a:pt x="2768" y="900"/>
                  <a:pt x="2768" y="900"/>
                </a:cubicBezTo>
                <a:cubicBezTo>
                  <a:pt x="2767" y="898"/>
                  <a:pt x="2767" y="898"/>
                  <a:pt x="2767" y="898"/>
                </a:cubicBezTo>
                <a:cubicBezTo>
                  <a:pt x="2768" y="898"/>
                  <a:pt x="2768" y="898"/>
                  <a:pt x="2768" y="898"/>
                </a:cubicBezTo>
                <a:cubicBezTo>
                  <a:pt x="2767" y="896"/>
                  <a:pt x="2767" y="896"/>
                  <a:pt x="2767" y="896"/>
                </a:cubicBezTo>
                <a:cubicBezTo>
                  <a:pt x="2766" y="897"/>
                  <a:pt x="2766" y="897"/>
                  <a:pt x="2766" y="897"/>
                </a:cubicBezTo>
                <a:cubicBezTo>
                  <a:pt x="2764" y="896"/>
                  <a:pt x="2764" y="896"/>
                  <a:pt x="2764" y="896"/>
                </a:cubicBezTo>
                <a:cubicBezTo>
                  <a:pt x="2762" y="896"/>
                  <a:pt x="2762" y="896"/>
                  <a:pt x="2762" y="896"/>
                </a:cubicBezTo>
                <a:cubicBezTo>
                  <a:pt x="2762" y="894"/>
                  <a:pt x="2762" y="894"/>
                  <a:pt x="2762" y="894"/>
                </a:cubicBezTo>
                <a:cubicBezTo>
                  <a:pt x="2761" y="891"/>
                  <a:pt x="2761" y="891"/>
                  <a:pt x="2761" y="891"/>
                </a:cubicBezTo>
                <a:cubicBezTo>
                  <a:pt x="2761" y="889"/>
                  <a:pt x="2761" y="889"/>
                  <a:pt x="2761" y="889"/>
                </a:cubicBezTo>
                <a:cubicBezTo>
                  <a:pt x="2762" y="888"/>
                  <a:pt x="2762" y="888"/>
                  <a:pt x="2762" y="888"/>
                </a:cubicBezTo>
                <a:cubicBezTo>
                  <a:pt x="2763" y="889"/>
                  <a:pt x="2763" y="889"/>
                  <a:pt x="2763" y="889"/>
                </a:cubicBezTo>
                <a:cubicBezTo>
                  <a:pt x="2764" y="889"/>
                  <a:pt x="2764" y="889"/>
                  <a:pt x="2764" y="889"/>
                </a:cubicBezTo>
                <a:cubicBezTo>
                  <a:pt x="2764" y="888"/>
                  <a:pt x="2764" y="888"/>
                  <a:pt x="2764" y="888"/>
                </a:cubicBezTo>
                <a:cubicBezTo>
                  <a:pt x="2762" y="887"/>
                  <a:pt x="2762" y="887"/>
                  <a:pt x="2762" y="887"/>
                </a:cubicBezTo>
                <a:cubicBezTo>
                  <a:pt x="2759" y="887"/>
                  <a:pt x="2759" y="887"/>
                  <a:pt x="2759" y="887"/>
                </a:cubicBezTo>
                <a:cubicBezTo>
                  <a:pt x="2758" y="885"/>
                  <a:pt x="2758" y="885"/>
                  <a:pt x="2758" y="885"/>
                </a:cubicBezTo>
                <a:cubicBezTo>
                  <a:pt x="2757" y="885"/>
                  <a:pt x="2757" y="885"/>
                  <a:pt x="2757" y="885"/>
                </a:cubicBezTo>
                <a:cubicBezTo>
                  <a:pt x="2757" y="887"/>
                  <a:pt x="2757" y="887"/>
                  <a:pt x="2757" y="887"/>
                </a:cubicBezTo>
                <a:cubicBezTo>
                  <a:pt x="2756" y="888"/>
                  <a:pt x="2756" y="888"/>
                  <a:pt x="2756" y="888"/>
                </a:cubicBezTo>
                <a:cubicBezTo>
                  <a:pt x="2755" y="887"/>
                  <a:pt x="2755" y="887"/>
                  <a:pt x="2755" y="887"/>
                </a:cubicBezTo>
                <a:cubicBezTo>
                  <a:pt x="2755" y="885"/>
                  <a:pt x="2755" y="885"/>
                  <a:pt x="2755" y="885"/>
                </a:cubicBezTo>
                <a:cubicBezTo>
                  <a:pt x="2754" y="883"/>
                  <a:pt x="2754" y="883"/>
                  <a:pt x="2754" y="883"/>
                </a:cubicBezTo>
                <a:cubicBezTo>
                  <a:pt x="2751" y="881"/>
                  <a:pt x="2751" y="881"/>
                  <a:pt x="2751" y="881"/>
                </a:cubicBezTo>
                <a:cubicBezTo>
                  <a:pt x="2749" y="881"/>
                  <a:pt x="2749" y="881"/>
                  <a:pt x="2749" y="881"/>
                </a:cubicBezTo>
                <a:cubicBezTo>
                  <a:pt x="2746" y="883"/>
                  <a:pt x="2746" y="883"/>
                  <a:pt x="2746" y="883"/>
                </a:cubicBezTo>
                <a:cubicBezTo>
                  <a:pt x="2746" y="885"/>
                  <a:pt x="2746" y="885"/>
                  <a:pt x="2746" y="885"/>
                </a:cubicBezTo>
                <a:cubicBezTo>
                  <a:pt x="2744" y="885"/>
                  <a:pt x="2744" y="885"/>
                  <a:pt x="2744" y="885"/>
                </a:cubicBezTo>
                <a:cubicBezTo>
                  <a:pt x="2742" y="884"/>
                  <a:pt x="2742" y="884"/>
                  <a:pt x="2742" y="884"/>
                </a:cubicBezTo>
                <a:cubicBezTo>
                  <a:pt x="2741" y="883"/>
                  <a:pt x="2741" y="883"/>
                  <a:pt x="2741" y="883"/>
                </a:cubicBezTo>
                <a:cubicBezTo>
                  <a:pt x="2739" y="881"/>
                  <a:pt x="2739" y="881"/>
                  <a:pt x="2739" y="881"/>
                </a:cubicBezTo>
                <a:cubicBezTo>
                  <a:pt x="2739" y="879"/>
                  <a:pt x="2739" y="879"/>
                  <a:pt x="2739" y="879"/>
                </a:cubicBezTo>
                <a:cubicBezTo>
                  <a:pt x="2740" y="878"/>
                  <a:pt x="2740" y="878"/>
                  <a:pt x="2740" y="878"/>
                </a:cubicBezTo>
                <a:cubicBezTo>
                  <a:pt x="2739" y="876"/>
                  <a:pt x="2739" y="876"/>
                  <a:pt x="2739" y="876"/>
                </a:cubicBezTo>
                <a:cubicBezTo>
                  <a:pt x="2738" y="874"/>
                  <a:pt x="2738" y="874"/>
                  <a:pt x="2738" y="874"/>
                </a:cubicBezTo>
                <a:cubicBezTo>
                  <a:pt x="2737" y="873"/>
                  <a:pt x="2737" y="873"/>
                  <a:pt x="2737" y="873"/>
                </a:cubicBezTo>
                <a:cubicBezTo>
                  <a:pt x="2737" y="870"/>
                  <a:pt x="2737" y="870"/>
                  <a:pt x="2737" y="870"/>
                </a:cubicBezTo>
                <a:cubicBezTo>
                  <a:pt x="2738" y="869"/>
                  <a:pt x="2738" y="869"/>
                  <a:pt x="2738" y="869"/>
                </a:cubicBezTo>
                <a:cubicBezTo>
                  <a:pt x="2738" y="867"/>
                  <a:pt x="2738" y="867"/>
                  <a:pt x="2738" y="867"/>
                </a:cubicBezTo>
                <a:cubicBezTo>
                  <a:pt x="2739" y="865"/>
                  <a:pt x="2739" y="865"/>
                  <a:pt x="2739" y="865"/>
                </a:cubicBezTo>
                <a:cubicBezTo>
                  <a:pt x="2742" y="862"/>
                  <a:pt x="2742" y="862"/>
                  <a:pt x="2742" y="862"/>
                </a:cubicBezTo>
                <a:cubicBezTo>
                  <a:pt x="2743" y="861"/>
                  <a:pt x="2743" y="861"/>
                  <a:pt x="2743" y="861"/>
                </a:cubicBezTo>
                <a:cubicBezTo>
                  <a:pt x="2742" y="863"/>
                  <a:pt x="2742" y="863"/>
                  <a:pt x="2742" y="863"/>
                </a:cubicBezTo>
                <a:cubicBezTo>
                  <a:pt x="2743" y="864"/>
                  <a:pt x="2743" y="864"/>
                  <a:pt x="2743" y="864"/>
                </a:cubicBezTo>
                <a:cubicBezTo>
                  <a:pt x="2744" y="861"/>
                  <a:pt x="2744" y="861"/>
                  <a:pt x="2744" y="861"/>
                </a:cubicBezTo>
                <a:cubicBezTo>
                  <a:pt x="2744" y="859"/>
                  <a:pt x="2744" y="859"/>
                  <a:pt x="2744" y="859"/>
                </a:cubicBezTo>
                <a:cubicBezTo>
                  <a:pt x="2745" y="856"/>
                  <a:pt x="2745" y="856"/>
                  <a:pt x="2745" y="856"/>
                </a:cubicBezTo>
                <a:cubicBezTo>
                  <a:pt x="2746" y="851"/>
                  <a:pt x="2746" y="851"/>
                  <a:pt x="2746" y="851"/>
                </a:cubicBezTo>
                <a:cubicBezTo>
                  <a:pt x="2745" y="850"/>
                  <a:pt x="2745" y="850"/>
                  <a:pt x="2745" y="850"/>
                </a:cubicBezTo>
                <a:cubicBezTo>
                  <a:pt x="2744" y="847"/>
                  <a:pt x="2744" y="847"/>
                  <a:pt x="2744" y="847"/>
                </a:cubicBezTo>
                <a:cubicBezTo>
                  <a:pt x="2743" y="847"/>
                  <a:pt x="2743" y="847"/>
                  <a:pt x="2743" y="847"/>
                </a:cubicBezTo>
                <a:cubicBezTo>
                  <a:pt x="2741" y="844"/>
                  <a:pt x="2741" y="844"/>
                  <a:pt x="2741" y="844"/>
                </a:cubicBezTo>
                <a:cubicBezTo>
                  <a:pt x="2742" y="840"/>
                  <a:pt x="2742" y="840"/>
                  <a:pt x="2742" y="840"/>
                </a:cubicBezTo>
                <a:cubicBezTo>
                  <a:pt x="2743" y="838"/>
                  <a:pt x="2743" y="838"/>
                  <a:pt x="2743" y="838"/>
                </a:cubicBezTo>
                <a:cubicBezTo>
                  <a:pt x="2743" y="837"/>
                  <a:pt x="2743" y="837"/>
                  <a:pt x="2743" y="837"/>
                </a:cubicBezTo>
                <a:cubicBezTo>
                  <a:pt x="2742" y="835"/>
                  <a:pt x="2742" y="835"/>
                  <a:pt x="2742" y="835"/>
                </a:cubicBezTo>
                <a:cubicBezTo>
                  <a:pt x="2741" y="835"/>
                  <a:pt x="2741" y="835"/>
                  <a:pt x="2741" y="835"/>
                </a:cubicBezTo>
                <a:cubicBezTo>
                  <a:pt x="2741" y="836"/>
                  <a:pt x="2741" y="836"/>
                  <a:pt x="2741" y="836"/>
                </a:cubicBezTo>
                <a:cubicBezTo>
                  <a:pt x="2739" y="837"/>
                  <a:pt x="2739" y="837"/>
                  <a:pt x="2739" y="837"/>
                </a:cubicBezTo>
                <a:cubicBezTo>
                  <a:pt x="2736" y="837"/>
                  <a:pt x="2736" y="837"/>
                  <a:pt x="2736" y="837"/>
                </a:cubicBezTo>
                <a:lnTo>
                  <a:pt x="2736" y="838"/>
                </a:lnTo>
                <a:close/>
                <a:moveTo>
                  <a:pt x="2969" y="1129"/>
                </a:moveTo>
                <a:cubicBezTo>
                  <a:pt x="2967" y="1127"/>
                  <a:pt x="2967" y="1127"/>
                  <a:pt x="2967" y="1127"/>
                </a:cubicBezTo>
                <a:cubicBezTo>
                  <a:pt x="2967" y="1127"/>
                  <a:pt x="2964" y="1126"/>
                  <a:pt x="2964" y="1126"/>
                </a:cubicBezTo>
                <a:lnTo>
                  <a:pt x="2969" y="1129"/>
                </a:lnTo>
                <a:close/>
                <a:moveTo>
                  <a:pt x="2982" y="1117"/>
                </a:moveTo>
                <a:cubicBezTo>
                  <a:pt x="2983" y="1118"/>
                  <a:pt x="2983" y="1118"/>
                  <a:pt x="2983" y="1118"/>
                </a:cubicBezTo>
                <a:cubicBezTo>
                  <a:pt x="2983" y="1118"/>
                  <a:pt x="2983" y="1117"/>
                  <a:pt x="2983" y="1117"/>
                </a:cubicBezTo>
                <a:lnTo>
                  <a:pt x="2982" y="1117"/>
                </a:lnTo>
                <a:close/>
                <a:moveTo>
                  <a:pt x="2744" y="884"/>
                </a:moveTo>
                <a:cubicBezTo>
                  <a:pt x="2745" y="885"/>
                  <a:pt x="2745" y="885"/>
                  <a:pt x="2745" y="885"/>
                </a:cubicBezTo>
                <a:cubicBezTo>
                  <a:pt x="2745" y="883"/>
                  <a:pt x="2745" y="883"/>
                  <a:pt x="2745" y="883"/>
                </a:cubicBezTo>
                <a:cubicBezTo>
                  <a:pt x="2743" y="882"/>
                  <a:pt x="2743" y="882"/>
                  <a:pt x="2743" y="882"/>
                </a:cubicBezTo>
                <a:lnTo>
                  <a:pt x="2744" y="884"/>
                </a:lnTo>
                <a:close/>
                <a:moveTo>
                  <a:pt x="2463" y="960"/>
                </a:moveTo>
                <a:cubicBezTo>
                  <a:pt x="2462" y="959"/>
                  <a:pt x="2462" y="959"/>
                  <a:pt x="2462" y="959"/>
                </a:cubicBezTo>
                <a:cubicBezTo>
                  <a:pt x="2461" y="960"/>
                  <a:pt x="2461" y="960"/>
                  <a:pt x="2461" y="960"/>
                </a:cubicBezTo>
                <a:cubicBezTo>
                  <a:pt x="2461" y="962"/>
                  <a:pt x="2461" y="962"/>
                  <a:pt x="2461" y="962"/>
                </a:cubicBezTo>
                <a:cubicBezTo>
                  <a:pt x="2461" y="962"/>
                  <a:pt x="2462" y="963"/>
                  <a:pt x="2462" y="963"/>
                </a:cubicBezTo>
                <a:cubicBezTo>
                  <a:pt x="2462" y="963"/>
                  <a:pt x="2462" y="965"/>
                  <a:pt x="2462" y="965"/>
                </a:cubicBezTo>
                <a:cubicBezTo>
                  <a:pt x="2464" y="964"/>
                  <a:pt x="2464" y="964"/>
                  <a:pt x="2464" y="964"/>
                </a:cubicBezTo>
                <a:cubicBezTo>
                  <a:pt x="2463" y="962"/>
                  <a:pt x="2463" y="962"/>
                  <a:pt x="2463" y="962"/>
                </a:cubicBezTo>
                <a:lnTo>
                  <a:pt x="2463" y="960"/>
                </a:lnTo>
                <a:close/>
                <a:moveTo>
                  <a:pt x="2501" y="1021"/>
                </a:moveTo>
                <a:cubicBezTo>
                  <a:pt x="2500" y="1021"/>
                  <a:pt x="2500" y="1021"/>
                  <a:pt x="2500" y="1021"/>
                </a:cubicBezTo>
                <a:cubicBezTo>
                  <a:pt x="2499" y="1022"/>
                  <a:pt x="2499" y="1022"/>
                  <a:pt x="2499" y="1022"/>
                </a:cubicBezTo>
                <a:cubicBezTo>
                  <a:pt x="2497" y="1022"/>
                  <a:pt x="2497" y="1022"/>
                  <a:pt x="2497" y="1022"/>
                </a:cubicBezTo>
                <a:cubicBezTo>
                  <a:pt x="2499" y="1024"/>
                  <a:pt x="2499" y="1024"/>
                  <a:pt x="2499" y="1024"/>
                </a:cubicBezTo>
                <a:cubicBezTo>
                  <a:pt x="2500" y="1027"/>
                  <a:pt x="2500" y="1027"/>
                  <a:pt x="2500" y="1027"/>
                </a:cubicBezTo>
                <a:cubicBezTo>
                  <a:pt x="2501" y="1027"/>
                  <a:pt x="2501" y="1027"/>
                  <a:pt x="2501" y="1027"/>
                </a:cubicBezTo>
                <a:cubicBezTo>
                  <a:pt x="2503" y="1031"/>
                  <a:pt x="2503" y="1031"/>
                  <a:pt x="2503" y="1031"/>
                </a:cubicBezTo>
                <a:cubicBezTo>
                  <a:pt x="2504" y="1030"/>
                  <a:pt x="2504" y="1030"/>
                  <a:pt x="2504" y="1030"/>
                </a:cubicBezTo>
                <a:cubicBezTo>
                  <a:pt x="2504" y="1028"/>
                  <a:pt x="2504" y="1028"/>
                  <a:pt x="2504" y="1028"/>
                </a:cubicBezTo>
                <a:cubicBezTo>
                  <a:pt x="2505" y="1026"/>
                  <a:pt x="2505" y="1026"/>
                  <a:pt x="2505" y="1026"/>
                </a:cubicBezTo>
                <a:cubicBezTo>
                  <a:pt x="2503" y="1024"/>
                  <a:pt x="2503" y="1024"/>
                  <a:pt x="2503" y="1024"/>
                </a:cubicBezTo>
                <a:lnTo>
                  <a:pt x="2501" y="1021"/>
                </a:lnTo>
                <a:close/>
                <a:moveTo>
                  <a:pt x="2512" y="1042"/>
                </a:moveTo>
                <a:cubicBezTo>
                  <a:pt x="2510" y="1041"/>
                  <a:pt x="2510" y="1041"/>
                  <a:pt x="2510" y="1041"/>
                </a:cubicBezTo>
                <a:cubicBezTo>
                  <a:pt x="2509" y="1043"/>
                  <a:pt x="2509" y="1043"/>
                  <a:pt x="2509" y="1043"/>
                </a:cubicBezTo>
                <a:cubicBezTo>
                  <a:pt x="2510" y="1045"/>
                  <a:pt x="2510" y="1045"/>
                  <a:pt x="2510" y="1045"/>
                </a:cubicBezTo>
                <a:cubicBezTo>
                  <a:pt x="2512" y="1043"/>
                  <a:pt x="2512" y="1043"/>
                  <a:pt x="2512" y="1043"/>
                </a:cubicBezTo>
                <a:lnTo>
                  <a:pt x="2512" y="1042"/>
                </a:lnTo>
                <a:close/>
                <a:moveTo>
                  <a:pt x="2498" y="1014"/>
                </a:moveTo>
                <a:cubicBezTo>
                  <a:pt x="2497" y="1014"/>
                  <a:pt x="2497" y="1014"/>
                  <a:pt x="2497" y="1014"/>
                </a:cubicBezTo>
                <a:cubicBezTo>
                  <a:pt x="2499" y="1015"/>
                  <a:pt x="2499" y="1015"/>
                  <a:pt x="2499" y="1015"/>
                </a:cubicBezTo>
                <a:lnTo>
                  <a:pt x="2498" y="1014"/>
                </a:lnTo>
                <a:close/>
                <a:moveTo>
                  <a:pt x="2483" y="1006"/>
                </a:moveTo>
                <a:cubicBezTo>
                  <a:pt x="2482" y="1006"/>
                  <a:pt x="2482" y="1006"/>
                  <a:pt x="2482" y="1006"/>
                </a:cubicBezTo>
                <a:cubicBezTo>
                  <a:pt x="2482" y="1008"/>
                  <a:pt x="2482" y="1008"/>
                  <a:pt x="2482" y="1008"/>
                </a:cubicBezTo>
                <a:cubicBezTo>
                  <a:pt x="2484" y="1009"/>
                  <a:pt x="2484" y="1009"/>
                  <a:pt x="2484" y="1009"/>
                </a:cubicBezTo>
                <a:cubicBezTo>
                  <a:pt x="2486" y="1009"/>
                  <a:pt x="2486" y="1009"/>
                  <a:pt x="2486" y="1009"/>
                </a:cubicBezTo>
                <a:cubicBezTo>
                  <a:pt x="2485" y="1007"/>
                  <a:pt x="2485" y="1007"/>
                  <a:pt x="2485" y="1007"/>
                </a:cubicBezTo>
                <a:lnTo>
                  <a:pt x="2483" y="1006"/>
                </a:lnTo>
                <a:close/>
                <a:moveTo>
                  <a:pt x="2456" y="952"/>
                </a:moveTo>
                <a:cubicBezTo>
                  <a:pt x="2457" y="953"/>
                  <a:pt x="2457" y="953"/>
                  <a:pt x="2457" y="953"/>
                </a:cubicBezTo>
                <a:cubicBezTo>
                  <a:pt x="2458" y="954"/>
                  <a:pt x="2458" y="954"/>
                  <a:pt x="2458" y="954"/>
                </a:cubicBezTo>
                <a:cubicBezTo>
                  <a:pt x="2459" y="953"/>
                  <a:pt x="2459" y="953"/>
                  <a:pt x="2459" y="953"/>
                </a:cubicBezTo>
                <a:cubicBezTo>
                  <a:pt x="2458" y="951"/>
                  <a:pt x="2458" y="951"/>
                  <a:pt x="2458" y="951"/>
                </a:cubicBezTo>
                <a:lnTo>
                  <a:pt x="2456" y="952"/>
                </a:lnTo>
                <a:close/>
                <a:moveTo>
                  <a:pt x="2454" y="947"/>
                </a:moveTo>
                <a:cubicBezTo>
                  <a:pt x="2454" y="947"/>
                  <a:pt x="2454" y="948"/>
                  <a:pt x="2454" y="948"/>
                </a:cubicBezTo>
                <a:cubicBezTo>
                  <a:pt x="2456" y="950"/>
                  <a:pt x="2456" y="950"/>
                  <a:pt x="2456" y="950"/>
                </a:cubicBezTo>
                <a:cubicBezTo>
                  <a:pt x="2455" y="947"/>
                  <a:pt x="2455" y="947"/>
                  <a:pt x="2455" y="947"/>
                </a:cubicBezTo>
                <a:lnTo>
                  <a:pt x="2454" y="947"/>
                </a:lnTo>
                <a:close/>
                <a:moveTo>
                  <a:pt x="2460" y="949"/>
                </a:moveTo>
                <a:cubicBezTo>
                  <a:pt x="2459" y="948"/>
                  <a:pt x="2459" y="948"/>
                  <a:pt x="2459" y="948"/>
                </a:cubicBezTo>
                <a:cubicBezTo>
                  <a:pt x="2458" y="950"/>
                  <a:pt x="2458" y="950"/>
                  <a:pt x="2458" y="950"/>
                </a:cubicBezTo>
                <a:cubicBezTo>
                  <a:pt x="2459" y="951"/>
                  <a:pt x="2459" y="951"/>
                  <a:pt x="2459" y="951"/>
                </a:cubicBezTo>
                <a:cubicBezTo>
                  <a:pt x="2460" y="950"/>
                  <a:pt x="2460" y="950"/>
                  <a:pt x="2460" y="950"/>
                </a:cubicBezTo>
                <a:lnTo>
                  <a:pt x="2460" y="949"/>
                </a:lnTo>
                <a:close/>
                <a:moveTo>
                  <a:pt x="2461" y="956"/>
                </a:moveTo>
                <a:cubicBezTo>
                  <a:pt x="2460" y="958"/>
                  <a:pt x="2460" y="958"/>
                  <a:pt x="2460" y="958"/>
                </a:cubicBezTo>
                <a:cubicBezTo>
                  <a:pt x="2460" y="958"/>
                  <a:pt x="2460" y="958"/>
                  <a:pt x="2460" y="958"/>
                </a:cubicBezTo>
                <a:cubicBezTo>
                  <a:pt x="2462" y="957"/>
                  <a:pt x="2462" y="957"/>
                  <a:pt x="2462" y="957"/>
                </a:cubicBezTo>
                <a:lnTo>
                  <a:pt x="2461" y="956"/>
                </a:lnTo>
                <a:close/>
                <a:moveTo>
                  <a:pt x="2549" y="1091"/>
                </a:moveTo>
                <a:cubicBezTo>
                  <a:pt x="2548" y="1092"/>
                  <a:pt x="2548" y="1092"/>
                  <a:pt x="2548" y="1092"/>
                </a:cubicBezTo>
                <a:cubicBezTo>
                  <a:pt x="2550" y="1094"/>
                  <a:pt x="2550" y="1094"/>
                  <a:pt x="2550" y="1094"/>
                </a:cubicBezTo>
                <a:cubicBezTo>
                  <a:pt x="2550" y="1092"/>
                  <a:pt x="2550" y="1092"/>
                  <a:pt x="2550" y="1092"/>
                </a:cubicBezTo>
                <a:lnTo>
                  <a:pt x="2549" y="1091"/>
                </a:lnTo>
                <a:close/>
                <a:moveTo>
                  <a:pt x="2531" y="1068"/>
                </a:moveTo>
                <a:cubicBezTo>
                  <a:pt x="2529" y="1066"/>
                  <a:pt x="2529" y="1066"/>
                  <a:pt x="2529" y="1066"/>
                </a:cubicBezTo>
                <a:cubicBezTo>
                  <a:pt x="2528" y="1068"/>
                  <a:pt x="2528" y="1068"/>
                  <a:pt x="2528" y="1068"/>
                </a:cubicBezTo>
                <a:cubicBezTo>
                  <a:pt x="2531" y="1072"/>
                  <a:pt x="2531" y="1072"/>
                  <a:pt x="2531" y="1072"/>
                </a:cubicBezTo>
                <a:cubicBezTo>
                  <a:pt x="2531" y="1070"/>
                  <a:pt x="2531" y="1070"/>
                  <a:pt x="2531" y="1070"/>
                </a:cubicBezTo>
                <a:lnTo>
                  <a:pt x="2531" y="1068"/>
                </a:lnTo>
                <a:close/>
                <a:moveTo>
                  <a:pt x="2515" y="1036"/>
                </a:moveTo>
                <a:cubicBezTo>
                  <a:pt x="2515" y="1035"/>
                  <a:pt x="2515" y="1035"/>
                  <a:pt x="2515" y="1035"/>
                </a:cubicBezTo>
                <a:cubicBezTo>
                  <a:pt x="2512" y="1034"/>
                  <a:pt x="2512" y="1034"/>
                  <a:pt x="2512" y="1034"/>
                </a:cubicBezTo>
                <a:cubicBezTo>
                  <a:pt x="2511" y="1036"/>
                  <a:pt x="2511" y="1036"/>
                  <a:pt x="2511" y="1036"/>
                </a:cubicBezTo>
                <a:cubicBezTo>
                  <a:pt x="2514" y="1036"/>
                  <a:pt x="2514" y="1036"/>
                  <a:pt x="2514" y="1036"/>
                </a:cubicBezTo>
                <a:lnTo>
                  <a:pt x="2515" y="1036"/>
                </a:lnTo>
                <a:close/>
                <a:moveTo>
                  <a:pt x="2581" y="1093"/>
                </a:moveTo>
                <a:cubicBezTo>
                  <a:pt x="2583" y="1096"/>
                  <a:pt x="2583" y="1096"/>
                  <a:pt x="2583" y="1096"/>
                </a:cubicBezTo>
                <a:cubicBezTo>
                  <a:pt x="2584" y="1097"/>
                  <a:pt x="2584" y="1097"/>
                  <a:pt x="2584" y="1097"/>
                </a:cubicBezTo>
                <a:cubicBezTo>
                  <a:pt x="2585" y="1095"/>
                  <a:pt x="2585" y="1095"/>
                  <a:pt x="2585" y="1095"/>
                </a:cubicBezTo>
                <a:cubicBezTo>
                  <a:pt x="2585" y="1091"/>
                  <a:pt x="2585" y="1091"/>
                  <a:pt x="2585" y="1091"/>
                </a:cubicBezTo>
                <a:cubicBezTo>
                  <a:pt x="2586" y="1085"/>
                  <a:pt x="2586" y="1085"/>
                  <a:pt x="2586" y="1085"/>
                </a:cubicBezTo>
                <a:cubicBezTo>
                  <a:pt x="2585" y="1082"/>
                  <a:pt x="2585" y="1082"/>
                  <a:pt x="2585" y="1082"/>
                </a:cubicBezTo>
                <a:cubicBezTo>
                  <a:pt x="2587" y="1078"/>
                  <a:pt x="2587" y="1078"/>
                  <a:pt x="2587" y="1078"/>
                </a:cubicBezTo>
                <a:cubicBezTo>
                  <a:pt x="2586" y="1076"/>
                  <a:pt x="2586" y="1076"/>
                  <a:pt x="2586" y="1076"/>
                </a:cubicBezTo>
                <a:cubicBezTo>
                  <a:pt x="2586" y="1073"/>
                  <a:pt x="2586" y="1073"/>
                  <a:pt x="2586" y="1073"/>
                </a:cubicBezTo>
                <a:cubicBezTo>
                  <a:pt x="2588" y="1072"/>
                  <a:pt x="2588" y="1072"/>
                  <a:pt x="2588" y="1072"/>
                </a:cubicBezTo>
                <a:cubicBezTo>
                  <a:pt x="2589" y="1071"/>
                  <a:pt x="2589" y="1071"/>
                  <a:pt x="2589" y="1071"/>
                </a:cubicBezTo>
                <a:cubicBezTo>
                  <a:pt x="2588" y="1069"/>
                  <a:pt x="2588" y="1069"/>
                  <a:pt x="2588" y="1069"/>
                </a:cubicBezTo>
                <a:cubicBezTo>
                  <a:pt x="2587" y="1068"/>
                  <a:pt x="2587" y="1068"/>
                  <a:pt x="2587" y="1068"/>
                </a:cubicBezTo>
                <a:cubicBezTo>
                  <a:pt x="2585" y="1067"/>
                  <a:pt x="2585" y="1067"/>
                  <a:pt x="2585" y="1067"/>
                </a:cubicBezTo>
                <a:cubicBezTo>
                  <a:pt x="2584" y="1064"/>
                  <a:pt x="2584" y="1064"/>
                  <a:pt x="2584" y="1064"/>
                </a:cubicBezTo>
                <a:cubicBezTo>
                  <a:pt x="2583" y="1064"/>
                  <a:pt x="2583" y="1064"/>
                  <a:pt x="2583" y="1064"/>
                </a:cubicBezTo>
                <a:cubicBezTo>
                  <a:pt x="2582" y="1062"/>
                  <a:pt x="2582" y="1062"/>
                  <a:pt x="2582" y="1062"/>
                </a:cubicBezTo>
                <a:cubicBezTo>
                  <a:pt x="2581" y="1061"/>
                  <a:pt x="2581" y="1061"/>
                  <a:pt x="2581" y="1061"/>
                </a:cubicBezTo>
                <a:cubicBezTo>
                  <a:pt x="2577" y="1062"/>
                  <a:pt x="2577" y="1062"/>
                  <a:pt x="2577" y="1062"/>
                </a:cubicBezTo>
                <a:cubicBezTo>
                  <a:pt x="2576" y="1061"/>
                  <a:pt x="2576" y="1061"/>
                  <a:pt x="2576" y="1061"/>
                </a:cubicBezTo>
                <a:cubicBezTo>
                  <a:pt x="2575" y="1058"/>
                  <a:pt x="2575" y="1058"/>
                  <a:pt x="2575" y="1058"/>
                </a:cubicBezTo>
                <a:cubicBezTo>
                  <a:pt x="2574" y="1056"/>
                  <a:pt x="2574" y="1056"/>
                  <a:pt x="2574" y="1056"/>
                </a:cubicBezTo>
                <a:cubicBezTo>
                  <a:pt x="2572" y="1057"/>
                  <a:pt x="2572" y="1057"/>
                  <a:pt x="2572" y="1057"/>
                </a:cubicBezTo>
                <a:cubicBezTo>
                  <a:pt x="2573" y="1055"/>
                  <a:pt x="2573" y="1055"/>
                  <a:pt x="2573" y="1055"/>
                </a:cubicBezTo>
                <a:cubicBezTo>
                  <a:pt x="2573" y="1053"/>
                  <a:pt x="2573" y="1053"/>
                  <a:pt x="2573" y="1053"/>
                </a:cubicBezTo>
                <a:cubicBezTo>
                  <a:pt x="2572" y="1048"/>
                  <a:pt x="2572" y="1048"/>
                  <a:pt x="2572" y="1048"/>
                </a:cubicBezTo>
                <a:cubicBezTo>
                  <a:pt x="2570" y="1049"/>
                  <a:pt x="2570" y="1049"/>
                  <a:pt x="2570" y="1049"/>
                </a:cubicBezTo>
                <a:cubicBezTo>
                  <a:pt x="2569" y="1048"/>
                  <a:pt x="2569" y="1048"/>
                  <a:pt x="2569" y="1048"/>
                </a:cubicBezTo>
                <a:cubicBezTo>
                  <a:pt x="2565" y="1048"/>
                  <a:pt x="2565" y="1048"/>
                  <a:pt x="2565" y="1048"/>
                </a:cubicBezTo>
                <a:cubicBezTo>
                  <a:pt x="2562" y="1046"/>
                  <a:pt x="2562" y="1046"/>
                  <a:pt x="2562" y="1046"/>
                </a:cubicBezTo>
                <a:cubicBezTo>
                  <a:pt x="2562" y="1044"/>
                  <a:pt x="2562" y="1044"/>
                  <a:pt x="2562" y="1044"/>
                </a:cubicBezTo>
                <a:cubicBezTo>
                  <a:pt x="2564" y="1043"/>
                  <a:pt x="2564" y="1043"/>
                  <a:pt x="2564" y="1043"/>
                </a:cubicBezTo>
                <a:cubicBezTo>
                  <a:pt x="2566" y="1042"/>
                  <a:pt x="2566" y="1042"/>
                  <a:pt x="2566" y="1042"/>
                </a:cubicBezTo>
                <a:cubicBezTo>
                  <a:pt x="2564" y="1041"/>
                  <a:pt x="2564" y="1041"/>
                  <a:pt x="2564" y="1041"/>
                </a:cubicBezTo>
                <a:cubicBezTo>
                  <a:pt x="2562" y="1041"/>
                  <a:pt x="2562" y="1041"/>
                  <a:pt x="2562" y="1041"/>
                </a:cubicBezTo>
                <a:cubicBezTo>
                  <a:pt x="2561" y="1041"/>
                  <a:pt x="2561" y="1041"/>
                  <a:pt x="2561" y="1041"/>
                </a:cubicBezTo>
                <a:cubicBezTo>
                  <a:pt x="2559" y="1041"/>
                  <a:pt x="2559" y="1041"/>
                  <a:pt x="2559" y="1041"/>
                </a:cubicBezTo>
                <a:cubicBezTo>
                  <a:pt x="2560" y="1040"/>
                  <a:pt x="2560" y="1040"/>
                  <a:pt x="2560" y="1040"/>
                </a:cubicBezTo>
                <a:cubicBezTo>
                  <a:pt x="2563" y="1038"/>
                  <a:pt x="2563" y="1038"/>
                  <a:pt x="2563" y="1038"/>
                </a:cubicBezTo>
                <a:cubicBezTo>
                  <a:pt x="2566" y="1038"/>
                  <a:pt x="2566" y="1038"/>
                  <a:pt x="2566" y="1038"/>
                </a:cubicBezTo>
                <a:cubicBezTo>
                  <a:pt x="2565" y="1036"/>
                  <a:pt x="2565" y="1036"/>
                  <a:pt x="2565" y="1036"/>
                </a:cubicBezTo>
                <a:cubicBezTo>
                  <a:pt x="2562" y="1032"/>
                  <a:pt x="2562" y="1032"/>
                  <a:pt x="2562" y="1032"/>
                </a:cubicBezTo>
                <a:cubicBezTo>
                  <a:pt x="2560" y="1032"/>
                  <a:pt x="2560" y="1032"/>
                  <a:pt x="2560" y="1032"/>
                </a:cubicBezTo>
                <a:cubicBezTo>
                  <a:pt x="2558" y="1034"/>
                  <a:pt x="2558" y="1034"/>
                  <a:pt x="2558" y="1034"/>
                </a:cubicBezTo>
                <a:cubicBezTo>
                  <a:pt x="2556" y="1035"/>
                  <a:pt x="2556" y="1035"/>
                  <a:pt x="2556" y="1035"/>
                </a:cubicBezTo>
                <a:cubicBezTo>
                  <a:pt x="2553" y="1035"/>
                  <a:pt x="2553" y="1035"/>
                  <a:pt x="2553" y="1035"/>
                </a:cubicBezTo>
                <a:cubicBezTo>
                  <a:pt x="2555" y="1035"/>
                  <a:pt x="2555" y="1035"/>
                  <a:pt x="2555" y="1035"/>
                </a:cubicBezTo>
                <a:cubicBezTo>
                  <a:pt x="2556" y="1034"/>
                  <a:pt x="2556" y="1034"/>
                  <a:pt x="2556" y="1034"/>
                </a:cubicBezTo>
                <a:cubicBezTo>
                  <a:pt x="2557" y="1034"/>
                  <a:pt x="2557" y="1034"/>
                  <a:pt x="2557" y="1034"/>
                </a:cubicBezTo>
                <a:cubicBezTo>
                  <a:pt x="2558" y="1032"/>
                  <a:pt x="2558" y="1032"/>
                  <a:pt x="2558" y="1032"/>
                </a:cubicBezTo>
                <a:cubicBezTo>
                  <a:pt x="2557" y="1031"/>
                  <a:pt x="2557" y="1031"/>
                  <a:pt x="2557" y="1031"/>
                </a:cubicBezTo>
                <a:cubicBezTo>
                  <a:pt x="2555" y="1030"/>
                  <a:pt x="2555" y="1030"/>
                  <a:pt x="2555" y="1030"/>
                </a:cubicBezTo>
                <a:cubicBezTo>
                  <a:pt x="2551" y="1030"/>
                  <a:pt x="2551" y="1030"/>
                  <a:pt x="2551" y="1030"/>
                </a:cubicBezTo>
                <a:cubicBezTo>
                  <a:pt x="2549" y="1028"/>
                  <a:pt x="2549" y="1028"/>
                  <a:pt x="2549" y="1028"/>
                </a:cubicBezTo>
                <a:cubicBezTo>
                  <a:pt x="2549" y="1027"/>
                  <a:pt x="2549" y="1027"/>
                  <a:pt x="2549" y="1027"/>
                </a:cubicBezTo>
                <a:cubicBezTo>
                  <a:pt x="2549" y="1024"/>
                  <a:pt x="2549" y="1024"/>
                  <a:pt x="2549" y="1024"/>
                </a:cubicBezTo>
                <a:cubicBezTo>
                  <a:pt x="2544" y="1020"/>
                  <a:pt x="2544" y="1020"/>
                  <a:pt x="2544" y="1020"/>
                </a:cubicBezTo>
                <a:cubicBezTo>
                  <a:pt x="2543" y="1019"/>
                  <a:pt x="2543" y="1019"/>
                  <a:pt x="2543" y="1019"/>
                </a:cubicBezTo>
                <a:cubicBezTo>
                  <a:pt x="2542" y="1020"/>
                  <a:pt x="2542" y="1020"/>
                  <a:pt x="2542" y="1020"/>
                </a:cubicBezTo>
                <a:cubicBezTo>
                  <a:pt x="2540" y="1019"/>
                  <a:pt x="2540" y="1019"/>
                  <a:pt x="2540" y="1019"/>
                </a:cubicBezTo>
                <a:cubicBezTo>
                  <a:pt x="2540" y="1015"/>
                  <a:pt x="2540" y="1015"/>
                  <a:pt x="2540" y="1015"/>
                </a:cubicBezTo>
                <a:cubicBezTo>
                  <a:pt x="2537" y="1012"/>
                  <a:pt x="2537" y="1012"/>
                  <a:pt x="2537" y="1012"/>
                </a:cubicBezTo>
                <a:cubicBezTo>
                  <a:pt x="2533" y="1010"/>
                  <a:pt x="2533" y="1010"/>
                  <a:pt x="2533" y="1010"/>
                </a:cubicBezTo>
                <a:cubicBezTo>
                  <a:pt x="2530" y="1010"/>
                  <a:pt x="2530" y="1010"/>
                  <a:pt x="2530" y="1010"/>
                </a:cubicBezTo>
                <a:cubicBezTo>
                  <a:pt x="2530" y="1011"/>
                  <a:pt x="2530" y="1011"/>
                  <a:pt x="2530" y="1011"/>
                </a:cubicBezTo>
                <a:cubicBezTo>
                  <a:pt x="2529" y="1010"/>
                  <a:pt x="2529" y="1010"/>
                  <a:pt x="2529" y="1010"/>
                </a:cubicBezTo>
                <a:cubicBezTo>
                  <a:pt x="2528" y="1007"/>
                  <a:pt x="2528" y="1007"/>
                  <a:pt x="2528" y="1007"/>
                </a:cubicBezTo>
                <a:cubicBezTo>
                  <a:pt x="2527" y="1008"/>
                  <a:pt x="2527" y="1008"/>
                  <a:pt x="2527" y="1008"/>
                </a:cubicBezTo>
                <a:cubicBezTo>
                  <a:pt x="2526" y="1007"/>
                  <a:pt x="2526" y="1007"/>
                  <a:pt x="2526" y="1007"/>
                </a:cubicBezTo>
                <a:cubicBezTo>
                  <a:pt x="2526" y="1004"/>
                  <a:pt x="2526" y="1004"/>
                  <a:pt x="2526" y="1004"/>
                </a:cubicBezTo>
                <a:cubicBezTo>
                  <a:pt x="2524" y="1002"/>
                  <a:pt x="2524" y="1002"/>
                  <a:pt x="2524" y="1002"/>
                </a:cubicBezTo>
                <a:cubicBezTo>
                  <a:pt x="2522" y="1001"/>
                  <a:pt x="2522" y="1001"/>
                  <a:pt x="2522" y="1001"/>
                </a:cubicBezTo>
                <a:cubicBezTo>
                  <a:pt x="2521" y="1000"/>
                  <a:pt x="2521" y="1000"/>
                  <a:pt x="2521" y="1000"/>
                </a:cubicBezTo>
                <a:cubicBezTo>
                  <a:pt x="2515" y="996"/>
                  <a:pt x="2515" y="996"/>
                  <a:pt x="2515" y="996"/>
                </a:cubicBezTo>
                <a:cubicBezTo>
                  <a:pt x="2513" y="996"/>
                  <a:pt x="2513" y="996"/>
                  <a:pt x="2513" y="996"/>
                </a:cubicBezTo>
                <a:cubicBezTo>
                  <a:pt x="2511" y="993"/>
                  <a:pt x="2511" y="993"/>
                  <a:pt x="2511" y="993"/>
                </a:cubicBezTo>
                <a:cubicBezTo>
                  <a:pt x="2508" y="993"/>
                  <a:pt x="2508" y="993"/>
                  <a:pt x="2508" y="993"/>
                </a:cubicBezTo>
                <a:cubicBezTo>
                  <a:pt x="2508" y="991"/>
                  <a:pt x="2508" y="991"/>
                  <a:pt x="2508" y="991"/>
                </a:cubicBezTo>
                <a:cubicBezTo>
                  <a:pt x="2507" y="988"/>
                  <a:pt x="2507" y="988"/>
                  <a:pt x="2507" y="988"/>
                </a:cubicBezTo>
                <a:cubicBezTo>
                  <a:pt x="2505" y="987"/>
                  <a:pt x="2505" y="987"/>
                  <a:pt x="2505" y="987"/>
                </a:cubicBezTo>
                <a:cubicBezTo>
                  <a:pt x="2504" y="984"/>
                  <a:pt x="2504" y="984"/>
                  <a:pt x="2504" y="984"/>
                </a:cubicBezTo>
                <a:cubicBezTo>
                  <a:pt x="2503" y="984"/>
                  <a:pt x="2503" y="984"/>
                  <a:pt x="2503" y="984"/>
                </a:cubicBezTo>
                <a:cubicBezTo>
                  <a:pt x="2501" y="981"/>
                  <a:pt x="2501" y="981"/>
                  <a:pt x="2501" y="981"/>
                </a:cubicBezTo>
                <a:cubicBezTo>
                  <a:pt x="2499" y="981"/>
                  <a:pt x="2499" y="981"/>
                  <a:pt x="2499" y="981"/>
                </a:cubicBezTo>
                <a:cubicBezTo>
                  <a:pt x="2497" y="981"/>
                  <a:pt x="2497" y="981"/>
                  <a:pt x="2497" y="981"/>
                </a:cubicBezTo>
                <a:cubicBezTo>
                  <a:pt x="2496" y="981"/>
                  <a:pt x="2496" y="981"/>
                  <a:pt x="2496" y="981"/>
                </a:cubicBezTo>
                <a:cubicBezTo>
                  <a:pt x="2495" y="980"/>
                  <a:pt x="2495" y="980"/>
                  <a:pt x="2495" y="980"/>
                </a:cubicBezTo>
                <a:cubicBezTo>
                  <a:pt x="2492" y="980"/>
                  <a:pt x="2492" y="980"/>
                  <a:pt x="2492" y="980"/>
                </a:cubicBezTo>
                <a:cubicBezTo>
                  <a:pt x="2489" y="981"/>
                  <a:pt x="2489" y="981"/>
                  <a:pt x="2489" y="981"/>
                </a:cubicBezTo>
                <a:cubicBezTo>
                  <a:pt x="2488" y="980"/>
                  <a:pt x="2488" y="980"/>
                  <a:pt x="2488" y="980"/>
                </a:cubicBezTo>
                <a:cubicBezTo>
                  <a:pt x="2483" y="977"/>
                  <a:pt x="2483" y="977"/>
                  <a:pt x="2483" y="977"/>
                </a:cubicBezTo>
                <a:cubicBezTo>
                  <a:pt x="2479" y="976"/>
                  <a:pt x="2479" y="976"/>
                  <a:pt x="2479" y="976"/>
                </a:cubicBezTo>
                <a:cubicBezTo>
                  <a:pt x="2477" y="977"/>
                  <a:pt x="2477" y="977"/>
                  <a:pt x="2477" y="977"/>
                </a:cubicBezTo>
                <a:cubicBezTo>
                  <a:pt x="2477" y="978"/>
                  <a:pt x="2477" y="978"/>
                  <a:pt x="2477" y="978"/>
                </a:cubicBezTo>
                <a:cubicBezTo>
                  <a:pt x="2477" y="981"/>
                  <a:pt x="2477" y="981"/>
                  <a:pt x="2477" y="981"/>
                </a:cubicBezTo>
                <a:cubicBezTo>
                  <a:pt x="2480" y="987"/>
                  <a:pt x="2480" y="987"/>
                  <a:pt x="2480" y="987"/>
                </a:cubicBezTo>
                <a:cubicBezTo>
                  <a:pt x="2481" y="987"/>
                  <a:pt x="2481" y="987"/>
                  <a:pt x="2481" y="987"/>
                </a:cubicBezTo>
                <a:cubicBezTo>
                  <a:pt x="2486" y="992"/>
                  <a:pt x="2486" y="992"/>
                  <a:pt x="2486" y="992"/>
                </a:cubicBezTo>
                <a:cubicBezTo>
                  <a:pt x="2487" y="992"/>
                  <a:pt x="2487" y="992"/>
                  <a:pt x="2487" y="992"/>
                </a:cubicBezTo>
                <a:cubicBezTo>
                  <a:pt x="2490" y="996"/>
                  <a:pt x="2490" y="996"/>
                  <a:pt x="2490" y="996"/>
                </a:cubicBezTo>
                <a:cubicBezTo>
                  <a:pt x="2491" y="996"/>
                  <a:pt x="2491" y="996"/>
                  <a:pt x="2491" y="996"/>
                </a:cubicBezTo>
                <a:cubicBezTo>
                  <a:pt x="2493" y="996"/>
                  <a:pt x="2493" y="996"/>
                  <a:pt x="2493" y="996"/>
                </a:cubicBezTo>
                <a:cubicBezTo>
                  <a:pt x="2496" y="998"/>
                  <a:pt x="2496" y="998"/>
                  <a:pt x="2496" y="998"/>
                </a:cubicBezTo>
                <a:cubicBezTo>
                  <a:pt x="2500" y="1004"/>
                  <a:pt x="2500" y="1004"/>
                  <a:pt x="2500" y="1004"/>
                </a:cubicBezTo>
                <a:cubicBezTo>
                  <a:pt x="2503" y="1008"/>
                  <a:pt x="2503" y="1008"/>
                  <a:pt x="2503" y="1008"/>
                </a:cubicBezTo>
                <a:cubicBezTo>
                  <a:pt x="2504" y="1008"/>
                  <a:pt x="2504" y="1008"/>
                  <a:pt x="2504" y="1008"/>
                </a:cubicBezTo>
                <a:cubicBezTo>
                  <a:pt x="2504" y="1010"/>
                  <a:pt x="2504" y="1010"/>
                  <a:pt x="2504" y="1010"/>
                </a:cubicBezTo>
                <a:cubicBezTo>
                  <a:pt x="2505" y="1011"/>
                  <a:pt x="2505" y="1011"/>
                  <a:pt x="2505" y="1011"/>
                </a:cubicBezTo>
                <a:cubicBezTo>
                  <a:pt x="2505" y="1014"/>
                  <a:pt x="2505" y="1014"/>
                  <a:pt x="2505" y="1014"/>
                </a:cubicBezTo>
                <a:cubicBezTo>
                  <a:pt x="2507" y="1015"/>
                  <a:pt x="2507" y="1015"/>
                  <a:pt x="2507" y="1015"/>
                </a:cubicBezTo>
                <a:cubicBezTo>
                  <a:pt x="2509" y="1015"/>
                  <a:pt x="2509" y="1015"/>
                  <a:pt x="2509" y="1015"/>
                </a:cubicBezTo>
                <a:cubicBezTo>
                  <a:pt x="2512" y="1018"/>
                  <a:pt x="2512" y="1018"/>
                  <a:pt x="2512" y="1018"/>
                </a:cubicBezTo>
                <a:cubicBezTo>
                  <a:pt x="2513" y="1019"/>
                  <a:pt x="2513" y="1019"/>
                  <a:pt x="2513" y="1019"/>
                </a:cubicBezTo>
                <a:cubicBezTo>
                  <a:pt x="2514" y="1019"/>
                  <a:pt x="2514" y="1019"/>
                  <a:pt x="2514" y="1019"/>
                </a:cubicBezTo>
                <a:cubicBezTo>
                  <a:pt x="2515" y="1020"/>
                  <a:pt x="2515" y="1020"/>
                  <a:pt x="2515" y="1020"/>
                </a:cubicBezTo>
                <a:cubicBezTo>
                  <a:pt x="2514" y="1021"/>
                  <a:pt x="2514" y="1021"/>
                  <a:pt x="2514" y="1021"/>
                </a:cubicBezTo>
                <a:cubicBezTo>
                  <a:pt x="2515" y="1023"/>
                  <a:pt x="2515" y="1023"/>
                  <a:pt x="2515" y="1023"/>
                </a:cubicBezTo>
                <a:cubicBezTo>
                  <a:pt x="2516" y="1025"/>
                  <a:pt x="2516" y="1025"/>
                  <a:pt x="2516" y="1025"/>
                </a:cubicBezTo>
                <a:cubicBezTo>
                  <a:pt x="2516" y="1026"/>
                  <a:pt x="2516" y="1026"/>
                  <a:pt x="2516" y="1026"/>
                </a:cubicBezTo>
                <a:cubicBezTo>
                  <a:pt x="2518" y="1031"/>
                  <a:pt x="2518" y="1031"/>
                  <a:pt x="2518" y="1031"/>
                </a:cubicBezTo>
                <a:cubicBezTo>
                  <a:pt x="2519" y="1034"/>
                  <a:pt x="2519" y="1034"/>
                  <a:pt x="2519" y="1034"/>
                </a:cubicBezTo>
                <a:cubicBezTo>
                  <a:pt x="2521" y="1035"/>
                  <a:pt x="2521" y="1035"/>
                  <a:pt x="2521" y="1035"/>
                </a:cubicBezTo>
                <a:cubicBezTo>
                  <a:pt x="2524" y="1037"/>
                  <a:pt x="2524" y="1037"/>
                  <a:pt x="2524" y="1037"/>
                </a:cubicBezTo>
                <a:cubicBezTo>
                  <a:pt x="2524" y="1039"/>
                  <a:pt x="2524" y="1039"/>
                  <a:pt x="2524" y="1039"/>
                </a:cubicBezTo>
                <a:cubicBezTo>
                  <a:pt x="2527" y="1043"/>
                  <a:pt x="2527" y="1043"/>
                  <a:pt x="2527" y="1043"/>
                </a:cubicBezTo>
                <a:cubicBezTo>
                  <a:pt x="2529" y="1045"/>
                  <a:pt x="2529" y="1045"/>
                  <a:pt x="2529" y="1045"/>
                </a:cubicBezTo>
                <a:cubicBezTo>
                  <a:pt x="2530" y="1050"/>
                  <a:pt x="2530" y="1050"/>
                  <a:pt x="2530" y="1050"/>
                </a:cubicBezTo>
                <a:cubicBezTo>
                  <a:pt x="2534" y="1057"/>
                  <a:pt x="2534" y="1057"/>
                  <a:pt x="2534" y="1057"/>
                </a:cubicBezTo>
                <a:cubicBezTo>
                  <a:pt x="2533" y="1060"/>
                  <a:pt x="2533" y="1060"/>
                  <a:pt x="2533" y="1060"/>
                </a:cubicBezTo>
                <a:cubicBezTo>
                  <a:pt x="2534" y="1062"/>
                  <a:pt x="2534" y="1062"/>
                  <a:pt x="2534" y="1062"/>
                </a:cubicBezTo>
                <a:cubicBezTo>
                  <a:pt x="2538" y="1065"/>
                  <a:pt x="2538" y="1065"/>
                  <a:pt x="2538" y="1065"/>
                </a:cubicBezTo>
                <a:cubicBezTo>
                  <a:pt x="2542" y="1070"/>
                  <a:pt x="2542" y="1070"/>
                  <a:pt x="2542" y="1070"/>
                </a:cubicBezTo>
                <a:cubicBezTo>
                  <a:pt x="2543" y="1072"/>
                  <a:pt x="2543" y="1072"/>
                  <a:pt x="2543" y="1072"/>
                </a:cubicBezTo>
                <a:cubicBezTo>
                  <a:pt x="2545" y="1073"/>
                  <a:pt x="2545" y="1073"/>
                  <a:pt x="2545" y="1073"/>
                </a:cubicBezTo>
                <a:cubicBezTo>
                  <a:pt x="2547" y="1074"/>
                  <a:pt x="2547" y="1074"/>
                  <a:pt x="2547" y="1074"/>
                </a:cubicBezTo>
                <a:cubicBezTo>
                  <a:pt x="2549" y="1075"/>
                  <a:pt x="2549" y="1075"/>
                  <a:pt x="2549" y="1075"/>
                </a:cubicBezTo>
                <a:cubicBezTo>
                  <a:pt x="2549" y="1078"/>
                  <a:pt x="2549" y="1078"/>
                  <a:pt x="2549" y="1078"/>
                </a:cubicBezTo>
                <a:cubicBezTo>
                  <a:pt x="2552" y="1080"/>
                  <a:pt x="2552" y="1080"/>
                  <a:pt x="2552" y="1080"/>
                </a:cubicBezTo>
                <a:cubicBezTo>
                  <a:pt x="2554" y="1083"/>
                  <a:pt x="2554" y="1083"/>
                  <a:pt x="2554" y="1083"/>
                </a:cubicBezTo>
                <a:cubicBezTo>
                  <a:pt x="2559" y="1085"/>
                  <a:pt x="2559" y="1085"/>
                  <a:pt x="2559" y="1085"/>
                </a:cubicBezTo>
                <a:cubicBezTo>
                  <a:pt x="2560" y="1088"/>
                  <a:pt x="2560" y="1088"/>
                  <a:pt x="2560" y="1088"/>
                </a:cubicBezTo>
                <a:cubicBezTo>
                  <a:pt x="2563" y="1088"/>
                  <a:pt x="2563" y="1088"/>
                  <a:pt x="2563" y="1088"/>
                </a:cubicBezTo>
                <a:cubicBezTo>
                  <a:pt x="2569" y="1094"/>
                  <a:pt x="2569" y="1094"/>
                  <a:pt x="2569" y="1094"/>
                </a:cubicBezTo>
                <a:cubicBezTo>
                  <a:pt x="2569" y="1096"/>
                  <a:pt x="2569" y="1096"/>
                  <a:pt x="2569" y="1096"/>
                </a:cubicBezTo>
                <a:cubicBezTo>
                  <a:pt x="2570" y="1096"/>
                  <a:pt x="2570" y="1096"/>
                  <a:pt x="2570" y="1096"/>
                </a:cubicBezTo>
                <a:cubicBezTo>
                  <a:pt x="2572" y="1099"/>
                  <a:pt x="2572" y="1099"/>
                  <a:pt x="2572" y="1099"/>
                </a:cubicBezTo>
                <a:cubicBezTo>
                  <a:pt x="2573" y="1098"/>
                  <a:pt x="2573" y="1098"/>
                  <a:pt x="2573" y="1098"/>
                </a:cubicBezTo>
                <a:cubicBezTo>
                  <a:pt x="2573" y="1096"/>
                  <a:pt x="2573" y="1096"/>
                  <a:pt x="2573" y="1096"/>
                </a:cubicBezTo>
                <a:cubicBezTo>
                  <a:pt x="2572" y="1095"/>
                  <a:pt x="2572" y="1095"/>
                  <a:pt x="2572" y="1095"/>
                </a:cubicBezTo>
                <a:cubicBezTo>
                  <a:pt x="2572" y="1094"/>
                  <a:pt x="2572" y="1094"/>
                  <a:pt x="2572" y="1094"/>
                </a:cubicBezTo>
                <a:cubicBezTo>
                  <a:pt x="2574" y="1094"/>
                  <a:pt x="2574" y="1094"/>
                  <a:pt x="2574" y="1094"/>
                </a:cubicBezTo>
                <a:cubicBezTo>
                  <a:pt x="2578" y="1098"/>
                  <a:pt x="2578" y="1098"/>
                  <a:pt x="2578" y="1098"/>
                </a:cubicBezTo>
                <a:cubicBezTo>
                  <a:pt x="2579" y="1097"/>
                  <a:pt x="2579" y="1097"/>
                  <a:pt x="2579" y="1097"/>
                </a:cubicBezTo>
                <a:cubicBezTo>
                  <a:pt x="2579" y="1094"/>
                  <a:pt x="2579" y="1094"/>
                  <a:pt x="2579" y="1094"/>
                </a:cubicBezTo>
                <a:cubicBezTo>
                  <a:pt x="2579" y="1093"/>
                  <a:pt x="2579" y="1093"/>
                  <a:pt x="2579" y="1093"/>
                </a:cubicBezTo>
                <a:lnTo>
                  <a:pt x="2581" y="1093"/>
                </a:lnTo>
                <a:close/>
                <a:moveTo>
                  <a:pt x="2513" y="1047"/>
                </a:moveTo>
                <a:cubicBezTo>
                  <a:pt x="2511" y="1049"/>
                  <a:pt x="2511" y="1049"/>
                  <a:pt x="2511" y="1049"/>
                </a:cubicBezTo>
                <a:cubicBezTo>
                  <a:pt x="2511" y="1050"/>
                  <a:pt x="2511" y="1050"/>
                  <a:pt x="2511" y="1050"/>
                </a:cubicBezTo>
                <a:cubicBezTo>
                  <a:pt x="2514" y="1051"/>
                  <a:pt x="2514" y="1051"/>
                  <a:pt x="2514" y="1051"/>
                </a:cubicBezTo>
                <a:cubicBezTo>
                  <a:pt x="2516" y="1055"/>
                  <a:pt x="2516" y="1055"/>
                  <a:pt x="2516" y="1055"/>
                </a:cubicBezTo>
                <a:cubicBezTo>
                  <a:pt x="2519" y="1056"/>
                  <a:pt x="2519" y="1056"/>
                  <a:pt x="2519" y="1056"/>
                </a:cubicBezTo>
                <a:cubicBezTo>
                  <a:pt x="2519" y="1052"/>
                  <a:pt x="2519" y="1052"/>
                  <a:pt x="2519" y="1052"/>
                </a:cubicBezTo>
                <a:cubicBezTo>
                  <a:pt x="2516" y="1048"/>
                  <a:pt x="2516" y="1048"/>
                  <a:pt x="2516" y="1048"/>
                </a:cubicBezTo>
                <a:lnTo>
                  <a:pt x="2513" y="1047"/>
                </a:lnTo>
                <a:close/>
                <a:moveTo>
                  <a:pt x="2526" y="1064"/>
                </a:moveTo>
                <a:cubicBezTo>
                  <a:pt x="2526" y="1067"/>
                  <a:pt x="2526" y="1067"/>
                  <a:pt x="2526" y="1067"/>
                </a:cubicBezTo>
                <a:cubicBezTo>
                  <a:pt x="2528" y="1065"/>
                  <a:pt x="2528" y="1065"/>
                  <a:pt x="2528" y="1065"/>
                </a:cubicBezTo>
                <a:lnTo>
                  <a:pt x="2526" y="1064"/>
                </a:lnTo>
                <a:close/>
                <a:moveTo>
                  <a:pt x="2521" y="1059"/>
                </a:moveTo>
                <a:cubicBezTo>
                  <a:pt x="2523" y="1061"/>
                  <a:pt x="2523" y="1061"/>
                  <a:pt x="2523" y="1061"/>
                </a:cubicBezTo>
                <a:cubicBezTo>
                  <a:pt x="2525" y="1061"/>
                  <a:pt x="2525" y="1061"/>
                  <a:pt x="2525" y="1061"/>
                </a:cubicBezTo>
                <a:cubicBezTo>
                  <a:pt x="2522" y="1058"/>
                  <a:pt x="2522" y="1058"/>
                  <a:pt x="2522" y="1058"/>
                </a:cubicBezTo>
                <a:lnTo>
                  <a:pt x="2521" y="1059"/>
                </a:lnTo>
                <a:close/>
                <a:moveTo>
                  <a:pt x="2424" y="794"/>
                </a:moveTo>
                <a:cubicBezTo>
                  <a:pt x="2425" y="796"/>
                  <a:pt x="2425" y="796"/>
                  <a:pt x="2425" y="796"/>
                </a:cubicBezTo>
                <a:cubicBezTo>
                  <a:pt x="2426" y="796"/>
                  <a:pt x="2426" y="796"/>
                  <a:pt x="2426" y="796"/>
                </a:cubicBezTo>
                <a:cubicBezTo>
                  <a:pt x="2426" y="794"/>
                  <a:pt x="2426" y="794"/>
                  <a:pt x="2426" y="794"/>
                </a:cubicBezTo>
                <a:cubicBezTo>
                  <a:pt x="2425" y="794"/>
                  <a:pt x="2425" y="794"/>
                  <a:pt x="2425" y="794"/>
                </a:cubicBezTo>
                <a:lnTo>
                  <a:pt x="2424" y="794"/>
                </a:lnTo>
                <a:close/>
                <a:moveTo>
                  <a:pt x="2394" y="804"/>
                </a:moveTo>
                <a:cubicBezTo>
                  <a:pt x="2395" y="806"/>
                  <a:pt x="2395" y="806"/>
                  <a:pt x="2395" y="806"/>
                </a:cubicBezTo>
                <a:cubicBezTo>
                  <a:pt x="2396" y="807"/>
                  <a:pt x="2396" y="807"/>
                  <a:pt x="2396" y="807"/>
                </a:cubicBezTo>
                <a:cubicBezTo>
                  <a:pt x="2395" y="805"/>
                  <a:pt x="2395" y="805"/>
                  <a:pt x="2395" y="805"/>
                </a:cubicBezTo>
                <a:lnTo>
                  <a:pt x="2394" y="804"/>
                </a:lnTo>
                <a:close/>
                <a:moveTo>
                  <a:pt x="2396" y="804"/>
                </a:moveTo>
                <a:cubicBezTo>
                  <a:pt x="2396" y="806"/>
                  <a:pt x="2396" y="806"/>
                  <a:pt x="2396" y="806"/>
                </a:cubicBezTo>
                <a:cubicBezTo>
                  <a:pt x="2397" y="806"/>
                  <a:pt x="2397" y="806"/>
                  <a:pt x="2397" y="806"/>
                </a:cubicBezTo>
                <a:cubicBezTo>
                  <a:pt x="2397" y="805"/>
                  <a:pt x="2397" y="805"/>
                  <a:pt x="2397" y="805"/>
                </a:cubicBezTo>
                <a:cubicBezTo>
                  <a:pt x="2397" y="804"/>
                  <a:pt x="2397" y="804"/>
                  <a:pt x="2397" y="804"/>
                </a:cubicBezTo>
                <a:lnTo>
                  <a:pt x="2396" y="804"/>
                </a:lnTo>
                <a:close/>
                <a:moveTo>
                  <a:pt x="2398" y="806"/>
                </a:moveTo>
                <a:cubicBezTo>
                  <a:pt x="2399" y="806"/>
                  <a:pt x="2399" y="806"/>
                  <a:pt x="2399" y="806"/>
                </a:cubicBezTo>
                <a:cubicBezTo>
                  <a:pt x="2398" y="804"/>
                  <a:pt x="2398" y="804"/>
                  <a:pt x="2398" y="804"/>
                </a:cubicBezTo>
                <a:lnTo>
                  <a:pt x="2398" y="806"/>
                </a:lnTo>
                <a:close/>
                <a:moveTo>
                  <a:pt x="2449" y="836"/>
                </a:moveTo>
                <a:cubicBezTo>
                  <a:pt x="2449" y="838"/>
                  <a:pt x="2449" y="838"/>
                  <a:pt x="2449" y="838"/>
                </a:cubicBezTo>
                <a:cubicBezTo>
                  <a:pt x="2451" y="839"/>
                  <a:pt x="2451" y="839"/>
                  <a:pt x="2451" y="839"/>
                </a:cubicBezTo>
                <a:cubicBezTo>
                  <a:pt x="2452" y="837"/>
                  <a:pt x="2452" y="837"/>
                  <a:pt x="2452" y="837"/>
                </a:cubicBezTo>
                <a:cubicBezTo>
                  <a:pt x="2450" y="836"/>
                  <a:pt x="2450" y="836"/>
                  <a:pt x="2450" y="836"/>
                </a:cubicBezTo>
                <a:lnTo>
                  <a:pt x="2449" y="836"/>
                </a:lnTo>
                <a:close/>
                <a:moveTo>
                  <a:pt x="2419" y="792"/>
                </a:moveTo>
                <a:cubicBezTo>
                  <a:pt x="2417" y="793"/>
                  <a:pt x="2417" y="793"/>
                  <a:pt x="2417" y="793"/>
                </a:cubicBezTo>
                <a:cubicBezTo>
                  <a:pt x="2417" y="794"/>
                  <a:pt x="2417" y="794"/>
                  <a:pt x="2417" y="794"/>
                </a:cubicBezTo>
                <a:cubicBezTo>
                  <a:pt x="2418" y="797"/>
                  <a:pt x="2418" y="797"/>
                  <a:pt x="2418" y="797"/>
                </a:cubicBezTo>
                <a:cubicBezTo>
                  <a:pt x="2420" y="797"/>
                  <a:pt x="2420" y="797"/>
                  <a:pt x="2420" y="797"/>
                </a:cubicBezTo>
                <a:cubicBezTo>
                  <a:pt x="2420" y="794"/>
                  <a:pt x="2420" y="794"/>
                  <a:pt x="2420" y="794"/>
                </a:cubicBezTo>
                <a:lnTo>
                  <a:pt x="2419" y="792"/>
                </a:lnTo>
                <a:close/>
                <a:moveTo>
                  <a:pt x="2392" y="805"/>
                </a:moveTo>
                <a:cubicBezTo>
                  <a:pt x="2392" y="806"/>
                  <a:pt x="2392" y="806"/>
                  <a:pt x="2392" y="806"/>
                </a:cubicBezTo>
                <a:cubicBezTo>
                  <a:pt x="2392" y="805"/>
                  <a:pt x="2392" y="805"/>
                  <a:pt x="2392" y="805"/>
                </a:cubicBezTo>
                <a:cubicBezTo>
                  <a:pt x="2393" y="803"/>
                  <a:pt x="2393" y="803"/>
                  <a:pt x="2393" y="803"/>
                </a:cubicBezTo>
                <a:cubicBezTo>
                  <a:pt x="2393" y="802"/>
                  <a:pt x="2393" y="802"/>
                  <a:pt x="2393" y="802"/>
                </a:cubicBezTo>
                <a:lnTo>
                  <a:pt x="2392" y="805"/>
                </a:lnTo>
                <a:close/>
                <a:moveTo>
                  <a:pt x="2323" y="935"/>
                </a:moveTo>
                <a:cubicBezTo>
                  <a:pt x="2325" y="936"/>
                  <a:pt x="2325" y="936"/>
                  <a:pt x="2325" y="936"/>
                </a:cubicBezTo>
                <a:cubicBezTo>
                  <a:pt x="2326" y="937"/>
                  <a:pt x="2326" y="937"/>
                  <a:pt x="2326" y="937"/>
                </a:cubicBezTo>
                <a:cubicBezTo>
                  <a:pt x="2328" y="937"/>
                  <a:pt x="2328" y="937"/>
                  <a:pt x="2328" y="937"/>
                </a:cubicBezTo>
                <a:cubicBezTo>
                  <a:pt x="2329" y="938"/>
                  <a:pt x="2329" y="938"/>
                  <a:pt x="2329" y="938"/>
                </a:cubicBezTo>
                <a:cubicBezTo>
                  <a:pt x="2328" y="937"/>
                  <a:pt x="2328" y="937"/>
                  <a:pt x="2328" y="937"/>
                </a:cubicBezTo>
                <a:cubicBezTo>
                  <a:pt x="2326" y="935"/>
                  <a:pt x="2326" y="935"/>
                  <a:pt x="2326" y="935"/>
                </a:cubicBezTo>
                <a:cubicBezTo>
                  <a:pt x="2325" y="934"/>
                  <a:pt x="2325" y="934"/>
                  <a:pt x="2325" y="934"/>
                </a:cubicBezTo>
                <a:cubicBezTo>
                  <a:pt x="2324" y="933"/>
                  <a:pt x="2324" y="933"/>
                  <a:pt x="2324" y="933"/>
                </a:cubicBezTo>
                <a:cubicBezTo>
                  <a:pt x="2324" y="934"/>
                  <a:pt x="2324" y="934"/>
                  <a:pt x="2324" y="934"/>
                </a:cubicBezTo>
                <a:cubicBezTo>
                  <a:pt x="2324" y="934"/>
                  <a:pt x="2324" y="934"/>
                  <a:pt x="2324" y="934"/>
                </a:cubicBezTo>
                <a:cubicBezTo>
                  <a:pt x="2323" y="934"/>
                  <a:pt x="2323" y="934"/>
                  <a:pt x="2323" y="934"/>
                </a:cubicBezTo>
                <a:lnTo>
                  <a:pt x="2323" y="935"/>
                </a:lnTo>
                <a:close/>
                <a:moveTo>
                  <a:pt x="2323" y="933"/>
                </a:moveTo>
                <a:cubicBezTo>
                  <a:pt x="2322" y="932"/>
                  <a:pt x="2322" y="932"/>
                  <a:pt x="2322" y="932"/>
                </a:cubicBezTo>
                <a:cubicBezTo>
                  <a:pt x="2319" y="933"/>
                  <a:pt x="2319" y="933"/>
                  <a:pt x="2319" y="933"/>
                </a:cubicBezTo>
                <a:cubicBezTo>
                  <a:pt x="2319" y="934"/>
                  <a:pt x="2319" y="934"/>
                  <a:pt x="2319" y="934"/>
                </a:cubicBezTo>
                <a:cubicBezTo>
                  <a:pt x="2322" y="936"/>
                  <a:pt x="2322" y="936"/>
                  <a:pt x="2322" y="936"/>
                </a:cubicBezTo>
                <a:cubicBezTo>
                  <a:pt x="2321" y="935"/>
                  <a:pt x="2321" y="935"/>
                  <a:pt x="2321" y="935"/>
                </a:cubicBezTo>
                <a:cubicBezTo>
                  <a:pt x="2322" y="935"/>
                  <a:pt x="2322" y="935"/>
                  <a:pt x="2322" y="935"/>
                </a:cubicBezTo>
                <a:lnTo>
                  <a:pt x="2323" y="933"/>
                </a:lnTo>
                <a:close/>
                <a:moveTo>
                  <a:pt x="2448" y="910"/>
                </a:moveTo>
                <a:cubicBezTo>
                  <a:pt x="2449" y="908"/>
                  <a:pt x="2449" y="908"/>
                  <a:pt x="2449" y="908"/>
                </a:cubicBezTo>
                <a:cubicBezTo>
                  <a:pt x="2450" y="907"/>
                  <a:pt x="2450" y="907"/>
                  <a:pt x="2450" y="907"/>
                </a:cubicBezTo>
                <a:cubicBezTo>
                  <a:pt x="2450" y="906"/>
                  <a:pt x="2450" y="906"/>
                  <a:pt x="2450" y="906"/>
                </a:cubicBezTo>
                <a:cubicBezTo>
                  <a:pt x="2447" y="907"/>
                  <a:pt x="2447" y="907"/>
                  <a:pt x="2447" y="907"/>
                </a:cubicBezTo>
                <a:cubicBezTo>
                  <a:pt x="2447" y="910"/>
                  <a:pt x="2447" y="910"/>
                  <a:pt x="2447" y="910"/>
                </a:cubicBezTo>
                <a:cubicBezTo>
                  <a:pt x="2446" y="911"/>
                  <a:pt x="2446" y="911"/>
                  <a:pt x="2446" y="911"/>
                </a:cubicBezTo>
                <a:cubicBezTo>
                  <a:pt x="2447" y="914"/>
                  <a:pt x="2447" y="914"/>
                  <a:pt x="2447" y="914"/>
                </a:cubicBezTo>
                <a:cubicBezTo>
                  <a:pt x="2447" y="915"/>
                  <a:pt x="2447" y="915"/>
                  <a:pt x="2447" y="915"/>
                </a:cubicBezTo>
                <a:cubicBezTo>
                  <a:pt x="2447" y="917"/>
                  <a:pt x="2447" y="917"/>
                  <a:pt x="2447" y="917"/>
                </a:cubicBezTo>
                <a:cubicBezTo>
                  <a:pt x="2449" y="914"/>
                  <a:pt x="2449" y="914"/>
                  <a:pt x="2449" y="914"/>
                </a:cubicBezTo>
                <a:cubicBezTo>
                  <a:pt x="2449" y="912"/>
                  <a:pt x="2449" y="912"/>
                  <a:pt x="2449" y="912"/>
                </a:cubicBezTo>
                <a:lnTo>
                  <a:pt x="2448" y="910"/>
                </a:lnTo>
                <a:close/>
                <a:moveTo>
                  <a:pt x="2449" y="905"/>
                </a:moveTo>
                <a:cubicBezTo>
                  <a:pt x="2451" y="903"/>
                  <a:pt x="2451" y="903"/>
                  <a:pt x="2451" y="903"/>
                </a:cubicBezTo>
                <a:cubicBezTo>
                  <a:pt x="2451" y="900"/>
                  <a:pt x="2451" y="900"/>
                  <a:pt x="2451" y="900"/>
                </a:cubicBezTo>
                <a:cubicBezTo>
                  <a:pt x="2449" y="900"/>
                  <a:pt x="2449" y="900"/>
                  <a:pt x="2449" y="900"/>
                </a:cubicBezTo>
                <a:cubicBezTo>
                  <a:pt x="2451" y="897"/>
                  <a:pt x="2451" y="897"/>
                  <a:pt x="2451" y="897"/>
                </a:cubicBezTo>
                <a:cubicBezTo>
                  <a:pt x="2451" y="895"/>
                  <a:pt x="2451" y="895"/>
                  <a:pt x="2451" y="895"/>
                </a:cubicBezTo>
                <a:cubicBezTo>
                  <a:pt x="2450" y="894"/>
                  <a:pt x="2450" y="894"/>
                  <a:pt x="2450" y="894"/>
                </a:cubicBezTo>
                <a:cubicBezTo>
                  <a:pt x="2451" y="893"/>
                  <a:pt x="2451" y="893"/>
                  <a:pt x="2451" y="893"/>
                </a:cubicBezTo>
                <a:cubicBezTo>
                  <a:pt x="2451" y="892"/>
                  <a:pt x="2451" y="892"/>
                  <a:pt x="2451" y="892"/>
                </a:cubicBezTo>
                <a:cubicBezTo>
                  <a:pt x="2449" y="894"/>
                  <a:pt x="2449" y="894"/>
                  <a:pt x="2449" y="894"/>
                </a:cubicBezTo>
                <a:cubicBezTo>
                  <a:pt x="2449" y="897"/>
                  <a:pt x="2449" y="897"/>
                  <a:pt x="2449" y="897"/>
                </a:cubicBezTo>
                <a:cubicBezTo>
                  <a:pt x="2448" y="898"/>
                  <a:pt x="2448" y="898"/>
                  <a:pt x="2448" y="898"/>
                </a:cubicBezTo>
                <a:cubicBezTo>
                  <a:pt x="2449" y="900"/>
                  <a:pt x="2449" y="900"/>
                  <a:pt x="2449" y="900"/>
                </a:cubicBezTo>
                <a:cubicBezTo>
                  <a:pt x="2448" y="904"/>
                  <a:pt x="2448" y="904"/>
                  <a:pt x="2448" y="904"/>
                </a:cubicBezTo>
                <a:lnTo>
                  <a:pt x="2449" y="905"/>
                </a:lnTo>
                <a:close/>
                <a:moveTo>
                  <a:pt x="2451" y="940"/>
                </a:moveTo>
                <a:cubicBezTo>
                  <a:pt x="2452" y="938"/>
                  <a:pt x="2452" y="938"/>
                  <a:pt x="2452" y="938"/>
                </a:cubicBezTo>
                <a:cubicBezTo>
                  <a:pt x="2450" y="939"/>
                  <a:pt x="2450" y="939"/>
                  <a:pt x="2450" y="939"/>
                </a:cubicBezTo>
                <a:lnTo>
                  <a:pt x="2451" y="940"/>
                </a:lnTo>
                <a:close/>
                <a:moveTo>
                  <a:pt x="2421" y="793"/>
                </a:moveTo>
                <a:cubicBezTo>
                  <a:pt x="2421" y="793"/>
                  <a:pt x="2421" y="794"/>
                  <a:pt x="2421" y="794"/>
                </a:cubicBezTo>
                <a:cubicBezTo>
                  <a:pt x="2422" y="796"/>
                  <a:pt x="2422" y="796"/>
                  <a:pt x="2422" y="796"/>
                </a:cubicBezTo>
                <a:cubicBezTo>
                  <a:pt x="2421" y="798"/>
                  <a:pt x="2421" y="798"/>
                  <a:pt x="2421" y="798"/>
                </a:cubicBezTo>
                <a:cubicBezTo>
                  <a:pt x="2422" y="799"/>
                  <a:pt x="2422" y="799"/>
                  <a:pt x="2422" y="799"/>
                </a:cubicBezTo>
                <a:cubicBezTo>
                  <a:pt x="2424" y="796"/>
                  <a:pt x="2424" y="796"/>
                  <a:pt x="2424" y="796"/>
                </a:cubicBezTo>
                <a:cubicBezTo>
                  <a:pt x="2423" y="795"/>
                  <a:pt x="2423" y="795"/>
                  <a:pt x="2423" y="795"/>
                </a:cubicBezTo>
                <a:lnTo>
                  <a:pt x="2421" y="793"/>
                </a:lnTo>
                <a:close/>
                <a:moveTo>
                  <a:pt x="2446" y="922"/>
                </a:moveTo>
                <a:cubicBezTo>
                  <a:pt x="2446" y="924"/>
                  <a:pt x="2446" y="924"/>
                  <a:pt x="2446" y="924"/>
                </a:cubicBezTo>
                <a:cubicBezTo>
                  <a:pt x="2446" y="924"/>
                  <a:pt x="2446" y="926"/>
                  <a:pt x="2446" y="926"/>
                </a:cubicBezTo>
                <a:cubicBezTo>
                  <a:pt x="2448" y="926"/>
                  <a:pt x="2448" y="926"/>
                  <a:pt x="2448" y="926"/>
                </a:cubicBezTo>
                <a:cubicBezTo>
                  <a:pt x="2449" y="923"/>
                  <a:pt x="2449" y="923"/>
                  <a:pt x="2449" y="923"/>
                </a:cubicBezTo>
                <a:cubicBezTo>
                  <a:pt x="2448" y="921"/>
                  <a:pt x="2448" y="921"/>
                  <a:pt x="2448" y="921"/>
                </a:cubicBezTo>
                <a:lnTo>
                  <a:pt x="2446" y="922"/>
                </a:lnTo>
                <a:close/>
                <a:moveTo>
                  <a:pt x="2508" y="953"/>
                </a:moveTo>
                <a:cubicBezTo>
                  <a:pt x="2508" y="950"/>
                  <a:pt x="2508" y="950"/>
                  <a:pt x="2508" y="950"/>
                </a:cubicBezTo>
                <a:cubicBezTo>
                  <a:pt x="2508" y="950"/>
                  <a:pt x="2507" y="950"/>
                  <a:pt x="2507" y="950"/>
                </a:cubicBezTo>
                <a:cubicBezTo>
                  <a:pt x="2507" y="951"/>
                  <a:pt x="2507" y="951"/>
                  <a:pt x="2507" y="951"/>
                </a:cubicBezTo>
                <a:cubicBezTo>
                  <a:pt x="2507" y="952"/>
                  <a:pt x="2507" y="952"/>
                  <a:pt x="2507" y="952"/>
                </a:cubicBezTo>
                <a:cubicBezTo>
                  <a:pt x="2507" y="954"/>
                  <a:pt x="2507" y="954"/>
                  <a:pt x="2507" y="954"/>
                </a:cubicBezTo>
                <a:lnTo>
                  <a:pt x="2508" y="953"/>
                </a:lnTo>
                <a:close/>
                <a:moveTo>
                  <a:pt x="2442" y="915"/>
                </a:moveTo>
                <a:cubicBezTo>
                  <a:pt x="2444" y="915"/>
                  <a:pt x="2444" y="915"/>
                  <a:pt x="2444" y="915"/>
                </a:cubicBezTo>
                <a:cubicBezTo>
                  <a:pt x="2443" y="914"/>
                  <a:pt x="2443" y="914"/>
                  <a:pt x="2443" y="914"/>
                </a:cubicBezTo>
                <a:lnTo>
                  <a:pt x="2442" y="915"/>
                </a:lnTo>
                <a:close/>
                <a:moveTo>
                  <a:pt x="2724" y="696"/>
                </a:moveTo>
                <a:cubicBezTo>
                  <a:pt x="2722" y="695"/>
                  <a:pt x="2722" y="695"/>
                  <a:pt x="2722" y="695"/>
                </a:cubicBezTo>
                <a:cubicBezTo>
                  <a:pt x="2721" y="695"/>
                  <a:pt x="2721" y="695"/>
                  <a:pt x="2721" y="695"/>
                </a:cubicBezTo>
                <a:cubicBezTo>
                  <a:pt x="2720" y="695"/>
                  <a:pt x="2720" y="695"/>
                  <a:pt x="2720" y="695"/>
                </a:cubicBezTo>
                <a:cubicBezTo>
                  <a:pt x="2720" y="696"/>
                  <a:pt x="2720" y="696"/>
                  <a:pt x="2720" y="696"/>
                </a:cubicBezTo>
                <a:cubicBezTo>
                  <a:pt x="2722" y="697"/>
                  <a:pt x="2722" y="697"/>
                  <a:pt x="2722" y="697"/>
                </a:cubicBezTo>
                <a:cubicBezTo>
                  <a:pt x="2724" y="698"/>
                  <a:pt x="2724" y="698"/>
                  <a:pt x="2724" y="698"/>
                </a:cubicBezTo>
                <a:lnTo>
                  <a:pt x="2724" y="696"/>
                </a:lnTo>
                <a:close/>
                <a:moveTo>
                  <a:pt x="2607" y="838"/>
                </a:moveTo>
                <a:cubicBezTo>
                  <a:pt x="2609" y="838"/>
                  <a:pt x="2609" y="838"/>
                  <a:pt x="2609" y="838"/>
                </a:cubicBezTo>
                <a:cubicBezTo>
                  <a:pt x="2610" y="839"/>
                  <a:pt x="2610" y="839"/>
                  <a:pt x="2610" y="839"/>
                </a:cubicBezTo>
                <a:cubicBezTo>
                  <a:pt x="2612" y="839"/>
                  <a:pt x="2612" y="839"/>
                  <a:pt x="2612" y="839"/>
                </a:cubicBezTo>
                <a:cubicBezTo>
                  <a:pt x="2614" y="840"/>
                  <a:pt x="2614" y="840"/>
                  <a:pt x="2614" y="840"/>
                </a:cubicBezTo>
                <a:cubicBezTo>
                  <a:pt x="2615" y="839"/>
                  <a:pt x="2615" y="839"/>
                  <a:pt x="2615" y="839"/>
                </a:cubicBezTo>
                <a:cubicBezTo>
                  <a:pt x="2615" y="838"/>
                  <a:pt x="2615" y="838"/>
                  <a:pt x="2615" y="838"/>
                </a:cubicBezTo>
                <a:cubicBezTo>
                  <a:pt x="2617" y="837"/>
                  <a:pt x="2617" y="837"/>
                  <a:pt x="2617" y="837"/>
                </a:cubicBezTo>
                <a:cubicBezTo>
                  <a:pt x="2619" y="838"/>
                  <a:pt x="2619" y="838"/>
                  <a:pt x="2619" y="838"/>
                </a:cubicBezTo>
                <a:cubicBezTo>
                  <a:pt x="2620" y="836"/>
                  <a:pt x="2620" y="836"/>
                  <a:pt x="2620" y="836"/>
                </a:cubicBezTo>
                <a:cubicBezTo>
                  <a:pt x="2620" y="835"/>
                  <a:pt x="2620" y="835"/>
                  <a:pt x="2620" y="835"/>
                </a:cubicBezTo>
                <a:cubicBezTo>
                  <a:pt x="2622" y="835"/>
                  <a:pt x="2622" y="835"/>
                  <a:pt x="2622" y="835"/>
                </a:cubicBezTo>
                <a:cubicBezTo>
                  <a:pt x="2623" y="833"/>
                  <a:pt x="2623" y="833"/>
                  <a:pt x="2623" y="833"/>
                </a:cubicBezTo>
                <a:cubicBezTo>
                  <a:pt x="2623" y="831"/>
                  <a:pt x="2623" y="831"/>
                  <a:pt x="2623" y="831"/>
                </a:cubicBezTo>
                <a:cubicBezTo>
                  <a:pt x="2624" y="828"/>
                  <a:pt x="2624" y="828"/>
                  <a:pt x="2624" y="828"/>
                </a:cubicBezTo>
                <a:cubicBezTo>
                  <a:pt x="2625" y="827"/>
                  <a:pt x="2625" y="827"/>
                  <a:pt x="2625" y="827"/>
                </a:cubicBezTo>
                <a:cubicBezTo>
                  <a:pt x="2626" y="826"/>
                  <a:pt x="2626" y="826"/>
                  <a:pt x="2626" y="826"/>
                </a:cubicBezTo>
                <a:cubicBezTo>
                  <a:pt x="2627" y="823"/>
                  <a:pt x="2627" y="823"/>
                  <a:pt x="2627" y="823"/>
                </a:cubicBezTo>
                <a:cubicBezTo>
                  <a:pt x="2626" y="821"/>
                  <a:pt x="2626" y="821"/>
                  <a:pt x="2626" y="821"/>
                </a:cubicBezTo>
                <a:cubicBezTo>
                  <a:pt x="2624" y="819"/>
                  <a:pt x="2624" y="819"/>
                  <a:pt x="2624" y="819"/>
                </a:cubicBezTo>
                <a:cubicBezTo>
                  <a:pt x="2622" y="819"/>
                  <a:pt x="2622" y="819"/>
                  <a:pt x="2622" y="819"/>
                </a:cubicBezTo>
                <a:cubicBezTo>
                  <a:pt x="2620" y="820"/>
                  <a:pt x="2620" y="820"/>
                  <a:pt x="2620" y="820"/>
                </a:cubicBezTo>
                <a:cubicBezTo>
                  <a:pt x="2620" y="820"/>
                  <a:pt x="2619" y="819"/>
                  <a:pt x="2619" y="819"/>
                </a:cubicBezTo>
                <a:cubicBezTo>
                  <a:pt x="2617" y="819"/>
                  <a:pt x="2617" y="819"/>
                  <a:pt x="2617" y="819"/>
                </a:cubicBezTo>
                <a:cubicBezTo>
                  <a:pt x="2616" y="819"/>
                  <a:pt x="2616" y="819"/>
                  <a:pt x="2616" y="819"/>
                </a:cubicBezTo>
                <a:cubicBezTo>
                  <a:pt x="2615" y="820"/>
                  <a:pt x="2615" y="820"/>
                  <a:pt x="2615" y="820"/>
                </a:cubicBezTo>
                <a:cubicBezTo>
                  <a:pt x="2613" y="820"/>
                  <a:pt x="2613" y="820"/>
                  <a:pt x="2613" y="820"/>
                </a:cubicBezTo>
                <a:cubicBezTo>
                  <a:pt x="2611" y="821"/>
                  <a:pt x="2611" y="821"/>
                  <a:pt x="2611" y="821"/>
                </a:cubicBezTo>
                <a:cubicBezTo>
                  <a:pt x="2609" y="821"/>
                  <a:pt x="2609" y="821"/>
                  <a:pt x="2609" y="821"/>
                </a:cubicBezTo>
                <a:cubicBezTo>
                  <a:pt x="2609" y="823"/>
                  <a:pt x="2609" y="823"/>
                  <a:pt x="2609" y="823"/>
                </a:cubicBezTo>
                <a:cubicBezTo>
                  <a:pt x="2606" y="825"/>
                  <a:pt x="2606" y="825"/>
                  <a:pt x="2606" y="825"/>
                </a:cubicBezTo>
                <a:cubicBezTo>
                  <a:pt x="2603" y="828"/>
                  <a:pt x="2603" y="828"/>
                  <a:pt x="2603" y="828"/>
                </a:cubicBezTo>
                <a:cubicBezTo>
                  <a:pt x="2604" y="829"/>
                  <a:pt x="2604" y="829"/>
                  <a:pt x="2604" y="829"/>
                </a:cubicBezTo>
                <a:cubicBezTo>
                  <a:pt x="2604" y="833"/>
                  <a:pt x="2604" y="833"/>
                  <a:pt x="2604" y="833"/>
                </a:cubicBezTo>
                <a:cubicBezTo>
                  <a:pt x="2605" y="835"/>
                  <a:pt x="2605" y="835"/>
                  <a:pt x="2605" y="835"/>
                </a:cubicBezTo>
                <a:cubicBezTo>
                  <a:pt x="2605" y="836"/>
                  <a:pt x="2605" y="836"/>
                  <a:pt x="2605" y="836"/>
                </a:cubicBezTo>
                <a:lnTo>
                  <a:pt x="2607" y="838"/>
                </a:lnTo>
                <a:close/>
                <a:moveTo>
                  <a:pt x="2691" y="1063"/>
                </a:moveTo>
                <a:cubicBezTo>
                  <a:pt x="2692" y="1063"/>
                  <a:pt x="2692" y="1063"/>
                  <a:pt x="2692" y="1063"/>
                </a:cubicBezTo>
                <a:cubicBezTo>
                  <a:pt x="2693" y="1062"/>
                  <a:pt x="2693" y="1062"/>
                  <a:pt x="2693" y="1062"/>
                </a:cubicBezTo>
                <a:cubicBezTo>
                  <a:pt x="2693" y="1060"/>
                  <a:pt x="2693" y="1060"/>
                  <a:pt x="2693" y="1060"/>
                </a:cubicBezTo>
                <a:cubicBezTo>
                  <a:pt x="2691" y="1060"/>
                  <a:pt x="2691" y="1060"/>
                  <a:pt x="2691" y="1060"/>
                </a:cubicBezTo>
                <a:cubicBezTo>
                  <a:pt x="2691" y="1060"/>
                  <a:pt x="2691" y="1060"/>
                  <a:pt x="2691" y="1060"/>
                </a:cubicBezTo>
                <a:cubicBezTo>
                  <a:pt x="2692" y="1059"/>
                  <a:pt x="2692" y="1059"/>
                  <a:pt x="2692" y="1059"/>
                </a:cubicBezTo>
                <a:cubicBezTo>
                  <a:pt x="2692" y="1057"/>
                  <a:pt x="2692" y="1057"/>
                  <a:pt x="2692" y="1057"/>
                </a:cubicBezTo>
                <a:cubicBezTo>
                  <a:pt x="2692" y="1057"/>
                  <a:pt x="2692" y="1057"/>
                  <a:pt x="2692" y="1057"/>
                </a:cubicBezTo>
                <a:cubicBezTo>
                  <a:pt x="2689" y="1057"/>
                  <a:pt x="2689" y="1057"/>
                  <a:pt x="2689" y="1057"/>
                </a:cubicBezTo>
                <a:cubicBezTo>
                  <a:pt x="2690" y="1056"/>
                  <a:pt x="2690" y="1056"/>
                  <a:pt x="2690" y="1056"/>
                </a:cubicBezTo>
                <a:cubicBezTo>
                  <a:pt x="2690" y="1055"/>
                  <a:pt x="2690" y="1055"/>
                  <a:pt x="2690" y="1055"/>
                </a:cubicBezTo>
                <a:cubicBezTo>
                  <a:pt x="2691" y="1055"/>
                  <a:pt x="2691" y="1055"/>
                  <a:pt x="2691" y="1055"/>
                </a:cubicBezTo>
                <a:cubicBezTo>
                  <a:pt x="2693" y="1054"/>
                  <a:pt x="2693" y="1054"/>
                  <a:pt x="2693" y="1054"/>
                </a:cubicBezTo>
                <a:cubicBezTo>
                  <a:pt x="2693" y="1053"/>
                  <a:pt x="2693" y="1053"/>
                  <a:pt x="2693" y="1053"/>
                </a:cubicBezTo>
                <a:cubicBezTo>
                  <a:pt x="2695" y="1051"/>
                  <a:pt x="2695" y="1051"/>
                  <a:pt x="2695" y="1051"/>
                </a:cubicBezTo>
                <a:cubicBezTo>
                  <a:pt x="2695" y="1049"/>
                  <a:pt x="2695" y="1049"/>
                  <a:pt x="2695" y="1049"/>
                </a:cubicBezTo>
                <a:cubicBezTo>
                  <a:pt x="2695" y="1047"/>
                  <a:pt x="2695" y="1047"/>
                  <a:pt x="2695" y="1047"/>
                </a:cubicBezTo>
                <a:cubicBezTo>
                  <a:pt x="2696" y="1048"/>
                  <a:pt x="2696" y="1048"/>
                  <a:pt x="2696" y="1048"/>
                </a:cubicBezTo>
                <a:cubicBezTo>
                  <a:pt x="2696" y="1050"/>
                  <a:pt x="2696" y="1050"/>
                  <a:pt x="2696" y="1050"/>
                </a:cubicBezTo>
                <a:cubicBezTo>
                  <a:pt x="2698" y="1048"/>
                  <a:pt x="2698" y="1048"/>
                  <a:pt x="2698" y="1048"/>
                </a:cubicBezTo>
                <a:cubicBezTo>
                  <a:pt x="2699" y="1046"/>
                  <a:pt x="2699" y="1046"/>
                  <a:pt x="2699" y="1046"/>
                </a:cubicBezTo>
                <a:cubicBezTo>
                  <a:pt x="2698" y="1043"/>
                  <a:pt x="2698" y="1043"/>
                  <a:pt x="2698" y="1043"/>
                </a:cubicBezTo>
                <a:cubicBezTo>
                  <a:pt x="2701" y="1041"/>
                  <a:pt x="2701" y="1041"/>
                  <a:pt x="2701" y="1041"/>
                </a:cubicBezTo>
                <a:cubicBezTo>
                  <a:pt x="2702" y="1038"/>
                  <a:pt x="2702" y="1038"/>
                  <a:pt x="2702" y="1038"/>
                </a:cubicBezTo>
                <a:cubicBezTo>
                  <a:pt x="2703" y="1036"/>
                  <a:pt x="2703" y="1036"/>
                  <a:pt x="2703" y="1036"/>
                </a:cubicBezTo>
                <a:cubicBezTo>
                  <a:pt x="2703" y="1032"/>
                  <a:pt x="2703" y="1032"/>
                  <a:pt x="2703" y="1032"/>
                </a:cubicBezTo>
                <a:cubicBezTo>
                  <a:pt x="2704" y="1031"/>
                  <a:pt x="2704" y="1031"/>
                  <a:pt x="2704" y="1031"/>
                </a:cubicBezTo>
                <a:cubicBezTo>
                  <a:pt x="2704" y="1030"/>
                  <a:pt x="2704" y="1030"/>
                  <a:pt x="2704" y="1030"/>
                </a:cubicBezTo>
                <a:cubicBezTo>
                  <a:pt x="2706" y="1028"/>
                  <a:pt x="2706" y="1028"/>
                  <a:pt x="2706" y="1028"/>
                </a:cubicBezTo>
                <a:cubicBezTo>
                  <a:pt x="2707" y="1029"/>
                  <a:pt x="2707" y="1029"/>
                  <a:pt x="2707" y="1029"/>
                </a:cubicBezTo>
                <a:cubicBezTo>
                  <a:pt x="2708" y="1028"/>
                  <a:pt x="2708" y="1028"/>
                  <a:pt x="2708" y="1028"/>
                </a:cubicBezTo>
                <a:cubicBezTo>
                  <a:pt x="2707" y="1025"/>
                  <a:pt x="2707" y="1025"/>
                  <a:pt x="2707" y="1025"/>
                </a:cubicBezTo>
                <a:cubicBezTo>
                  <a:pt x="2710" y="1029"/>
                  <a:pt x="2710" y="1029"/>
                  <a:pt x="2710" y="1029"/>
                </a:cubicBezTo>
                <a:cubicBezTo>
                  <a:pt x="2713" y="1029"/>
                  <a:pt x="2713" y="1029"/>
                  <a:pt x="2713" y="1029"/>
                </a:cubicBezTo>
                <a:cubicBezTo>
                  <a:pt x="2714" y="1028"/>
                  <a:pt x="2714" y="1028"/>
                  <a:pt x="2714" y="1028"/>
                </a:cubicBezTo>
                <a:cubicBezTo>
                  <a:pt x="2715" y="1028"/>
                  <a:pt x="2715" y="1028"/>
                  <a:pt x="2715" y="1028"/>
                </a:cubicBezTo>
                <a:cubicBezTo>
                  <a:pt x="2717" y="1028"/>
                  <a:pt x="2717" y="1028"/>
                  <a:pt x="2717" y="1028"/>
                </a:cubicBezTo>
                <a:cubicBezTo>
                  <a:pt x="2717" y="1026"/>
                  <a:pt x="2717" y="1026"/>
                  <a:pt x="2717" y="1026"/>
                </a:cubicBezTo>
                <a:cubicBezTo>
                  <a:pt x="2716" y="1026"/>
                  <a:pt x="2716" y="1026"/>
                  <a:pt x="2716" y="1026"/>
                </a:cubicBezTo>
                <a:cubicBezTo>
                  <a:pt x="2715" y="1024"/>
                  <a:pt x="2715" y="1024"/>
                  <a:pt x="2715" y="1024"/>
                </a:cubicBezTo>
                <a:cubicBezTo>
                  <a:pt x="2713" y="1022"/>
                  <a:pt x="2713" y="1022"/>
                  <a:pt x="2713" y="1022"/>
                </a:cubicBezTo>
                <a:cubicBezTo>
                  <a:pt x="2712" y="1022"/>
                  <a:pt x="2712" y="1022"/>
                  <a:pt x="2712" y="1022"/>
                </a:cubicBezTo>
                <a:cubicBezTo>
                  <a:pt x="2708" y="1018"/>
                  <a:pt x="2708" y="1018"/>
                  <a:pt x="2708" y="1018"/>
                </a:cubicBezTo>
                <a:cubicBezTo>
                  <a:pt x="2706" y="1018"/>
                  <a:pt x="2706" y="1018"/>
                  <a:pt x="2706" y="1018"/>
                </a:cubicBezTo>
                <a:cubicBezTo>
                  <a:pt x="2706" y="1016"/>
                  <a:pt x="2706" y="1016"/>
                  <a:pt x="2706" y="1016"/>
                </a:cubicBezTo>
                <a:cubicBezTo>
                  <a:pt x="2705" y="1015"/>
                  <a:pt x="2705" y="1015"/>
                  <a:pt x="2705" y="1015"/>
                </a:cubicBezTo>
                <a:cubicBezTo>
                  <a:pt x="2705" y="1014"/>
                  <a:pt x="2705" y="1014"/>
                  <a:pt x="2705" y="1014"/>
                </a:cubicBezTo>
                <a:cubicBezTo>
                  <a:pt x="2708" y="1013"/>
                  <a:pt x="2708" y="1013"/>
                  <a:pt x="2708" y="1013"/>
                </a:cubicBezTo>
                <a:cubicBezTo>
                  <a:pt x="2709" y="1011"/>
                  <a:pt x="2709" y="1011"/>
                  <a:pt x="2709" y="1011"/>
                </a:cubicBezTo>
                <a:cubicBezTo>
                  <a:pt x="2707" y="1010"/>
                  <a:pt x="2707" y="1010"/>
                  <a:pt x="2707" y="1010"/>
                </a:cubicBezTo>
                <a:cubicBezTo>
                  <a:pt x="2704" y="1006"/>
                  <a:pt x="2704" y="1006"/>
                  <a:pt x="2704" y="1006"/>
                </a:cubicBezTo>
                <a:cubicBezTo>
                  <a:pt x="2703" y="1004"/>
                  <a:pt x="2703" y="1004"/>
                  <a:pt x="2703" y="1004"/>
                </a:cubicBezTo>
                <a:cubicBezTo>
                  <a:pt x="2702" y="1003"/>
                  <a:pt x="2702" y="1003"/>
                  <a:pt x="2702" y="1003"/>
                </a:cubicBezTo>
                <a:cubicBezTo>
                  <a:pt x="2702" y="1001"/>
                  <a:pt x="2702" y="1001"/>
                  <a:pt x="2702" y="1001"/>
                </a:cubicBezTo>
                <a:cubicBezTo>
                  <a:pt x="2703" y="1001"/>
                  <a:pt x="2703" y="1001"/>
                  <a:pt x="2703" y="1001"/>
                </a:cubicBezTo>
                <a:cubicBezTo>
                  <a:pt x="2703" y="1000"/>
                  <a:pt x="2703" y="1000"/>
                  <a:pt x="2703" y="1000"/>
                </a:cubicBezTo>
                <a:cubicBezTo>
                  <a:pt x="2702" y="1000"/>
                  <a:pt x="2702" y="1000"/>
                  <a:pt x="2702" y="1000"/>
                </a:cubicBezTo>
                <a:cubicBezTo>
                  <a:pt x="2700" y="998"/>
                  <a:pt x="2700" y="998"/>
                  <a:pt x="2700" y="998"/>
                </a:cubicBezTo>
                <a:cubicBezTo>
                  <a:pt x="2701" y="997"/>
                  <a:pt x="2701" y="997"/>
                  <a:pt x="2701" y="997"/>
                </a:cubicBezTo>
                <a:cubicBezTo>
                  <a:pt x="2704" y="997"/>
                  <a:pt x="2704" y="997"/>
                  <a:pt x="2704" y="997"/>
                </a:cubicBezTo>
                <a:cubicBezTo>
                  <a:pt x="2706" y="997"/>
                  <a:pt x="2706" y="997"/>
                  <a:pt x="2706" y="997"/>
                </a:cubicBezTo>
                <a:cubicBezTo>
                  <a:pt x="2704" y="995"/>
                  <a:pt x="2704" y="995"/>
                  <a:pt x="2704" y="995"/>
                </a:cubicBezTo>
                <a:cubicBezTo>
                  <a:pt x="2702" y="994"/>
                  <a:pt x="2702" y="994"/>
                  <a:pt x="2702" y="994"/>
                </a:cubicBezTo>
                <a:cubicBezTo>
                  <a:pt x="2703" y="993"/>
                  <a:pt x="2703" y="993"/>
                  <a:pt x="2703" y="993"/>
                </a:cubicBezTo>
                <a:cubicBezTo>
                  <a:pt x="2702" y="992"/>
                  <a:pt x="2702" y="992"/>
                  <a:pt x="2702" y="992"/>
                </a:cubicBezTo>
                <a:cubicBezTo>
                  <a:pt x="2703" y="992"/>
                  <a:pt x="2703" y="992"/>
                  <a:pt x="2703" y="992"/>
                </a:cubicBezTo>
                <a:cubicBezTo>
                  <a:pt x="2703" y="991"/>
                  <a:pt x="2703" y="991"/>
                  <a:pt x="2703" y="991"/>
                </a:cubicBezTo>
                <a:cubicBezTo>
                  <a:pt x="2704" y="990"/>
                  <a:pt x="2704" y="990"/>
                  <a:pt x="2704" y="990"/>
                </a:cubicBezTo>
                <a:cubicBezTo>
                  <a:pt x="2706" y="992"/>
                  <a:pt x="2706" y="992"/>
                  <a:pt x="2706" y="992"/>
                </a:cubicBezTo>
                <a:cubicBezTo>
                  <a:pt x="2708" y="992"/>
                  <a:pt x="2708" y="992"/>
                  <a:pt x="2708" y="992"/>
                </a:cubicBezTo>
                <a:cubicBezTo>
                  <a:pt x="2710" y="991"/>
                  <a:pt x="2710" y="991"/>
                  <a:pt x="2710" y="991"/>
                </a:cubicBezTo>
                <a:cubicBezTo>
                  <a:pt x="2713" y="990"/>
                  <a:pt x="2713" y="990"/>
                  <a:pt x="2713" y="990"/>
                </a:cubicBezTo>
                <a:cubicBezTo>
                  <a:pt x="2713" y="989"/>
                  <a:pt x="2713" y="989"/>
                  <a:pt x="2713" y="989"/>
                </a:cubicBezTo>
                <a:cubicBezTo>
                  <a:pt x="2710" y="987"/>
                  <a:pt x="2710" y="987"/>
                  <a:pt x="2710" y="987"/>
                </a:cubicBezTo>
                <a:cubicBezTo>
                  <a:pt x="2710" y="984"/>
                  <a:pt x="2710" y="984"/>
                  <a:pt x="2710" y="984"/>
                </a:cubicBezTo>
                <a:cubicBezTo>
                  <a:pt x="2711" y="984"/>
                  <a:pt x="2711" y="984"/>
                  <a:pt x="2711" y="984"/>
                </a:cubicBezTo>
                <a:cubicBezTo>
                  <a:pt x="2715" y="984"/>
                  <a:pt x="2715" y="984"/>
                  <a:pt x="2715" y="984"/>
                </a:cubicBezTo>
                <a:cubicBezTo>
                  <a:pt x="2718" y="983"/>
                  <a:pt x="2718" y="983"/>
                  <a:pt x="2718" y="983"/>
                </a:cubicBezTo>
                <a:cubicBezTo>
                  <a:pt x="2721" y="982"/>
                  <a:pt x="2721" y="982"/>
                  <a:pt x="2721" y="982"/>
                </a:cubicBezTo>
                <a:cubicBezTo>
                  <a:pt x="2720" y="980"/>
                  <a:pt x="2720" y="980"/>
                  <a:pt x="2720" y="980"/>
                </a:cubicBezTo>
                <a:cubicBezTo>
                  <a:pt x="2719" y="980"/>
                  <a:pt x="2719" y="980"/>
                  <a:pt x="2719" y="980"/>
                </a:cubicBezTo>
                <a:cubicBezTo>
                  <a:pt x="2716" y="979"/>
                  <a:pt x="2716" y="979"/>
                  <a:pt x="2716" y="979"/>
                </a:cubicBezTo>
                <a:cubicBezTo>
                  <a:pt x="2714" y="978"/>
                  <a:pt x="2714" y="978"/>
                  <a:pt x="2714" y="978"/>
                </a:cubicBezTo>
                <a:cubicBezTo>
                  <a:pt x="2713" y="978"/>
                  <a:pt x="2713" y="978"/>
                  <a:pt x="2713" y="978"/>
                </a:cubicBezTo>
                <a:cubicBezTo>
                  <a:pt x="2710" y="976"/>
                  <a:pt x="2710" y="976"/>
                  <a:pt x="2710" y="976"/>
                </a:cubicBezTo>
                <a:cubicBezTo>
                  <a:pt x="2709" y="976"/>
                  <a:pt x="2709" y="976"/>
                  <a:pt x="2709" y="976"/>
                </a:cubicBezTo>
                <a:cubicBezTo>
                  <a:pt x="2707" y="977"/>
                  <a:pt x="2707" y="977"/>
                  <a:pt x="2707" y="977"/>
                </a:cubicBezTo>
                <a:cubicBezTo>
                  <a:pt x="2706" y="976"/>
                  <a:pt x="2706" y="976"/>
                  <a:pt x="2706" y="976"/>
                </a:cubicBezTo>
                <a:cubicBezTo>
                  <a:pt x="2708" y="974"/>
                  <a:pt x="2708" y="974"/>
                  <a:pt x="2708" y="974"/>
                </a:cubicBezTo>
                <a:cubicBezTo>
                  <a:pt x="2707" y="973"/>
                  <a:pt x="2707" y="973"/>
                  <a:pt x="2707" y="973"/>
                </a:cubicBezTo>
                <a:cubicBezTo>
                  <a:pt x="2707" y="973"/>
                  <a:pt x="2707" y="973"/>
                  <a:pt x="2707" y="973"/>
                </a:cubicBezTo>
                <a:cubicBezTo>
                  <a:pt x="2705" y="975"/>
                  <a:pt x="2705" y="975"/>
                  <a:pt x="2705" y="975"/>
                </a:cubicBezTo>
                <a:cubicBezTo>
                  <a:pt x="2704" y="974"/>
                  <a:pt x="2704" y="974"/>
                  <a:pt x="2704" y="974"/>
                </a:cubicBezTo>
                <a:cubicBezTo>
                  <a:pt x="2703" y="974"/>
                  <a:pt x="2703" y="974"/>
                  <a:pt x="2703" y="974"/>
                </a:cubicBezTo>
                <a:cubicBezTo>
                  <a:pt x="2704" y="971"/>
                  <a:pt x="2704" y="971"/>
                  <a:pt x="2704" y="971"/>
                </a:cubicBezTo>
                <a:cubicBezTo>
                  <a:pt x="2705" y="970"/>
                  <a:pt x="2705" y="970"/>
                  <a:pt x="2705" y="970"/>
                </a:cubicBezTo>
                <a:cubicBezTo>
                  <a:pt x="2705" y="969"/>
                  <a:pt x="2705" y="969"/>
                  <a:pt x="2705" y="969"/>
                </a:cubicBezTo>
                <a:cubicBezTo>
                  <a:pt x="2703" y="967"/>
                  <a:pt x="2703" y="967"/>
                  <a:pt x="2703" y="967"/>
                </a:cubicBezTo>
                <a:cubicBezTo>
                  <a:pt x="2702" y="968"/>
                  <a:pt x="2702" y="968"/>
                  <a:pt x="2702" y="968"/>
                </a:cubicBezTo>
                <a:cubicBezTo>
                  <a:pt x="2700" y="966"/>
                  <a:pt x="2700" y="966"/>
                  <a:pt x="2700" y="966"/>
                </a:cubicBezTo>
                <a:cubicBezTo>
                  <a:pt x="2700" y="963"/>
                  <a:pt x="2700" y="963"/>
                  <a:pt x="2700" y="963"/>
                </a:cubicBezTo>
                <a:cubicBezTo>
                  <a:pt x="2698" y="962"/>
                  <a:pt x="2698" y="962"/>
                  <a:pt x="2698" y="962"/>
                </a:cubicBezTo>
                <a:cubicBezTo>
                  <a:pt x="2697" y="963"/>
                  <a:pt x="2697" y="963"/>
                  <a:pt x="2697" y="963"/>
                </a:cubicBezTo>
                <a:cubicBezTo>
                  <a:pt x="2698" y="964"/>
                  <a:pt x="2698" y="964"/>
                  <a:pt x="2698" y="964"/>
                </a:cubicBezTo>
                <a:cubicBezTo>
                  <a:pt x="2695" y="967"/>
                  <a:pt x="2695" y="967"/>
                  <a:pt x="2695" y="967"/>
                </a:cubicBezTo>
                <a:cubicBezTo>
                  <a:pt x="2694" y="966"/>
                  <a:pt x="2694" y="966"/>
                  <a:pt x="2694" y="966"/>
                </a:cubicBezTo>
                <a:cubicBezTo>
                  <a:pt x="2695" y="965"/>
                  <a:pt x="2695" y="965"/>
                  <a:pt x="2695" y="965"/>
                </a:cubicBezTo>
                <a:cubicBezTo>
                  <a:pt x="2695" y="963"/>
                  <a:pt x="2695" y="963"/>
                  <a:pt x="2695" y="963"/>
                </a:cubicBezTo>
                <a:cubicBezTo>
                  <a:pt x="2693" y="963"/>
                  <a:pt x="2693" y="963"/>
                  <a:pt x="2693" y="963"/>
                </a:cubicBezTo>
                <a:cubicBezTo>
                  <a:pt x="2692" y="967"/>
                  <a:pt x="2692" y="967"/>
                  <a:pt x="2692" y="967"/>
                </a:cubicBezTo>
                <a:cubicBezTo>
                  <a:pt x="2691" y="968"/>
                  <a:pt x="2691" y="968"/>
                  <a:pt x="2691" y="968"/>
                </a:cubicBezTo>
                <a:cubicBezTo>
                  <a:pt x="2689" y="973"/>
                  <a:pt x="2689" y="973"/>
                  <a:pt x="2689" y="973"/>
                </a:cubicBezTo>
                <a:cubicBezTo>
                  <a:pt x="2688" y="975"/>
                  <a:pt x="2688" y="975"/>
                  <a:pt x="2688" y="975"/>
                </a:cubicBezTo>
                <a:cubicBezTo>
                  <a:pt x="2685" y="979"/>
                  <a:pt x="2685" y="979"/>
                  <a:pt x="2685" y="979"/>
                </a:cubicBezTo>
                <a:cubicBezTo>
                  <a:pt x="2683" y="979"/>
                  <a:pt x="2683" y="979"/>
                  <a:pt x="2683" y="979"/>
                </a:cubicBezTo>
                <a:cubicBezTo>
                  <a:pt x="2680" y="980"/>
                  <a:pt x="2680" y="980"/>
                  <a:pt x="2680" y="980"/>
                </a:cubicBezTo>
                <a:cubicBezTo>
                  <a:pt x="2679" y="981"/>
                  <a:pt x="2679" y="981"/>
                  <a:pt x="2679" y="981"/>
                </a:cubicBezTo>
                <a:cubicBezTo>
                  <a:pt x="2680" y="981"/>
                  <a:pt x="2680" y="981"/>
                  <a:pt x="2680" y="981"/>
                </a:cubicBezTo>
                <a:cubicBezTo>
                  <a:pt x="2679" y="982"/>
                  <a:pt x="2679" y="982"/>
                  <a:pt x="2679" y="982"/>
                </a:cubicBezTo>
                <a:cubicBezTo>
                  <a:pt x="2680" y="983"/>
                  <a:pt x="2680" y="983"/>
                  <a:pt x="2680" y="983"/>
                </a:cubicBezTo>
                <a:cubicBezTo>
                  <a:pt x="2682" y="982"/>
                  <a:pt x="2682" y="982"/>
                  <a:pt x="2682" y="982"/>
                </a:cubicBezTo>
                <a:cubicBezTo>
                  <a:pt x="2682" y="984"/>
                  <a:pt x="2682" y="984"/>
                  <a:pt x="2682" y="984"/>
                </a:cubicBezTo>
                <a:cubicBezTo>
                  <a:pt x="2680" y="984"/>
                  <a:pt x="2680" y="984"/>
                  <a:pt x="2680" y="984"/>
                </a:cubicBezTo>
                <a:cubicBezTo>
                  <a:pt x="2680" y="985"/>
                  <a:pt x="2680" y="985"/>
                  <a:pt x="2680" y="985"/>
                </a:cubicBezTo>
                <a:cubicBezTo>
                  <a:pt x="2679" y="986"/>
                  <a:pt x="2679" y="986"/>
                  <a:pt x="2679" y="986"/>
                </a:cubicBezTo>
                <a:cubicBezTo>
                  <a:pt x="2678" y="986"/>
                  <a:pt x="2678" y="986"/>
                  <a:pt x="2678" y="986"/>
                </a:cubicBezTo>
                <a:cubicBezTo>
                  <a:pt x="2678" y="986"/>
                  <a:pt x="2678" y="986"/>
                  <a:pt x="2678" y="986"/>
                </a:cubicBezTo>
                <a:cubicBezTo>
                  <a:pt x="2678" y="985"/>
                  <a:pt x="2678" y="985"/>
                  <a:pt x="2678" y="985"/>
                </a:cubicBezTo>
                <a:cubicBezTo>
                  <a:pt x="2678" y="985"/>
                  <a:pt x="2678" y="985"/>
                  <a:pt x="2678" y="985"/>
                </a:cubicBezTo>
                <a:cubicBezTo>
                  <a:pt x="2678" y="983"/>
                  <a:pt x="2678" y="983"/>
                  <a:pt x="2678" y="983"/>
                </a:cubicBezTo>
                <a:cubicBezTo>
                  <a:pt x="2676" y="983"/>
                  <a:pt x="2676" y="983"/>
                  <a:pt x="2676" y="983"/>
                </a:cubicBezTo>
                <a:cubicBezTo>
                  <a:pt x="2673" y="985"/>
                  <a:pt x="2673" y="985"/>
                  <a:pt x="2673" y="985"/>
                </a:cubicBezTo>
                <a:cubicBezTo>
                  <a:pt x="2670" y="986"/>
                  <a:pt x="2670" y="986"/>
                  <a:pt x="2670" y="986"/>
                </a:cubicBezTo>
                <a:cubicBezTo>
                  <a:pt x="2669" y="987"/>
                  <a:pt x="2669" y="987"/>
                  <a:pt x="2669" y="987"/>
                </a:cubicBezTo>
                <a:cubicBezTo>
                  <a:pt x="2668" y="989"/>
                  <a:pt x="2668" y="989"/>
                  <a:pt x="2668" y="989"/>
                </a:cubicBezTo>
                <a:cubicBezTo>
                  <a:pt x="2668" y="991"/>
                  <a:pt x="2668" y="991"/>
                  <a:pt x="2668" y="991"/>
                </a:cubicBezTo>
                <a:cubicBezTo>
                  <a:pt x="2665" y="993"/>
                  <a:pt x="2665" y="993"/>
                  <a:pt x="2665" y="993"/>
                </a:cubicBezTo>
                <a:cubicBezTo>
                  <a:pt x="2664" y="995"/>
                  <a:pt x="2664" y="995"/>
                  <a:pt x="2664" y="995"/>
                </a:cubicBezTo>
                <a:cubicBezTo>
                  <a:pt x="2661" y="998"/>
                  <a:pt x="2661" y="998"/>
                  <a:pt x="2661" y="998"/>
                </a:cubicBezTo>
                <a:cubicBezTo>
                  <a:pt x="2661" y="1000"/>
                  <a:pt x="2661" y="1000"/>
                  <a:pt x="2661" y="1000"/>
                </a:cubicBezTo>
                <a:cubicBezTo>
                  <a:pt x="2658" y="1003"/>
                  <a:pt x="2658" y="1003"/>
                  <a:pt x="2658" y="1003"/>
                </a:cubicBezTo>
                <a:cubicBezTo>
                  <a:pt x="2656" y="1005"/>
                  <a:pt x="2656" y="1005"/>
                  <a:pt x="2656" y="1005"/>
                </a:cubicBezTo>
                <a:cubicBezTo>
                  <a:pt x="2647" y="1007"/>
                  <a:pt x="2647" y="1007"/>
                  <a:pt x="2647" y="1007"/>
                </a:cubicBezTo>
                <a:cubicBezTo>
                  <a:pt x="2646" y="1008"/>
                  <a:pt x="2646" y="1008"/>
                  <a:pt x="2646" y="1008"/>
                </a:cubicBezTo>
                <a:cubicBezTo>
                  <a:pt x="2647" y="1010"/>
                  <a:pt x="2647" y="1010"/>
                  <a:pt x="2647" y="1010"/>
                </a:cubicBezTo>
                <a:cubicBezTo>
                  <a:pt x="2648" y="1011"/>
                  <a:pt x="2648" y="1011"/>
                  <a:pt x="2648" y="1011"/>
                </a:cubicBezTo>
                <a:cubicBezTo>
                  <a:pt x="2647" y="1011"/>
                  <a:pt x="2647" y="1011"/>
                  <a:pt x="2647" y="1011"/>
                </a:cubicBezTo>
                <a:cubicBezTo>
                  <a:pt x="2645" y="1012"/>
                  <a:pt x="2645" y="1012"/>
                  <a:pt x="2645" y="1012"/>
                </a:cubicBezTo>
                <a:cubicBezTo>
                  <a:pt x="2643" y="1012"/>
                  <a:pt x="2643" y="1012"/>
                  <a:pt x="2643" y="1012"/>
                </a:cubicBezTo>
                <a:cubicBezTo>
                  <a:pt x="2642" y="1013"/>
                  <a:pt x="2642" y="1013"/>
                  <a:pt x="2642" y="1013"/>
                </a:cubicBezTo>
                <a:cubicBezTo>
                  <a:pt x="2641" y="1015"/>
                  <a:pt x="2641" y="1015"/>
                  <a:pt x="2641" y="1015"/>
                </a:cubicBezTo>
                <a:cubicBezTo>
                  <a:pt x="2641" y="1018"/>
                  <a:pt x="2641" y="1018"/>
                  <a:pt x="2641" y="1018"/>
                </a:cubicBezTo>
                <a:cubicBezTo>
                  <a:pt x="2639" y="1021"/>
                  <a:pt x="2639" y="1021"/>
                  <a:pt x="2639" y="1021"/>
                </a:cubicBezTo>
                <a:cubicBezTo>
                  <a:pt x="2639" y="1021"/>
                  <a:pt x="2639" y="1021"/>
                  <a:pt x="2639" y="1021"/>
                </a:cubicBezTo>
                <a:cubicBezTo>
                  <a:pt x="2635" y="1021"/>
                  <a:pt x="2635" y="1021"/>
                  <a:pt x="2635" y="1021"/>
                </a:cubicBezTo>
                <a:cubicBezTo>
                  <a:pt x="2631" y="1019"/>
                  <a:pt x="2631" y="1019"/>
                  <a:pt x="2631" y="1019"/>
                </a:cubicBezTo>
                <a:cubicBezTo>
                  <a:pt x="2628" y="1020"/>
                  <a:pt x="2628" y="1020"/>
                  <a:pt x="2628" y="1020"/>
                </a:cubicBezTo>
                <a:cubicBezTo>
                  <a:pt x="2627" y="1018"/>
                  <a:pt x="2627" y="1018"/>
                  <a:pt x="2627" y="1018"/>
                </a:cubicBezTo>
                <a:cubicBezTo>
                  <a:pt x="2625" y="1016"/>
                  <a:pt x="2625" y="1016"/>
                  <a:pt x="2625" y="1016"/>
                </a:cubicBezTo>
                <a:cubicBezTo>
                  <a:pt x="2625" y="1016"/>
                  <a:pt x="2625" y="1016"/>
                  <a:pt x="2625" y="1016"/>
                </a:cubicBezTo>
                <a:cubicBezTo>
                  <a:pt x="2623" y="1017"/>
                  <a:pt x="2623" y="1017"/>
                  <a:pt x="2623" y="1017"/>
                </a:cubicBezTo>
                <a:cubicBezTo>
                  <a:pt x="2622" y="1018"/>
                  <a:pt x="2622" y="1018"/>
                  <a:pt x="2622" y="1018"/>
                </a:cubicBezTo>
                <a:cubicBezTo>
                  <a:pt x="2620" y="1021"/>
                  <a:pt x="2620" y="1021"/>
                  <a:pt x="2620" y="1021"/>
                </a:cubicBezTo>
                <a:cubicBezTo>
                  <a:pt x="2618" y="1024"/>
                  <a:pt x="2618" y="1024"/>
                  <a:pt x="2618" y="1024"/>
                </a:cubicBezTo>
                <a:cubicBezTo>
                  <a:pt x="2618" y="1026"/>
                  <a:pt x="2618" y="1026"/>
                  <a:pt x="2618" y="1026"/>
                </a:cubicBezTo>
                <a:cubicBezTo>
                  <a:pt x="2618" y="1027"/>
                  <a:pt x="2618" y="1027"/>
                  <a:pt x="2618" y="1027"/>
                </a:cubicBezTo>
                <a:cubicBezTo>
                  <a:pt x="2618" y="1028"/>
                  <a:pt x="2618" y="1028"/>
                  <a:pt x="2618" y="1028"/>
                </a:cubicBezTo>
                <a:cubicBezTo>
                  <a:pt x="2617" y="1029"/>
                  <a:pt x="2617" y="1029"/>
                  <a:pt x="2617" y="1029"/>
                </a:cubicBezTo>
                <a:cubicBezTo>
                  <a:pt x="2617" y="1033"/>
                  <a:pt x="2617" y="1033"/>
                  <a:pt x="2617" y="1033"/>
                </a:cubicBezTo>
                <a:cubicBezTo>
                  <a:pt x="2620" y="1037"/>
                  <a:pt x="2620" y="1037"/>
                  <a:pt x="2620" y="1037"/>
                </a:cubicBezTo>
                <a:cubicBezTo>
                  <a:pt x="2621" y="1038"/>
                  <a:pt x="2621" y="1038"/>
                  <a:pt x="2621" y="1038"/>
                </a:cubicBezTo>
                <a:cubicBezTo>
                  <a:pt x="2620" y="1038"/>
                  <a:pt x="2620" y="1038"/>
                  <a:pt x="2620" y="1038"/>
                </a:cubicBezTo>
                <a:cubicBezTo>
                  <a:pt x="2619" y="1038"/>
                  <a:pt x="2619" y="1038"/>
                  <a:pt x="2619" y="1038"/>
                </a:cubicBezTo>
                <a:cubicBezTo>
                  <a:pt x="2621" y="1040"/>
                  <a:pt x="2621" y="1040"/>
                  <a:pt x="2621" y="1040"/>
                </a:cubicBezTo>
                <a:cubicBezTo>
                  <a:pt x="2623" y="1041"/>
                  <a:pt x="2623" y="1041"/>
                  <a:pt x="2623" y="1041"/>
                </a:cubicBezTo>
                <a:cubicBezTo>
                  <a:pt x="2624" y="1041"/>
                  <a:pt x="2624" y="1041"/>
                  <a:pt x="2624" y="1041"/>
                </a:cubicBezTo>
                <a:cubicBezTo>
                  <a:pt x="2627" y="1040"/>
                  <a:pt x="2627" y="1040"/>
                  <a:pt x="2627" y="1040"/>
                </a:cubicBezTo>
                <a:cubicBezTo>
                  <a:pt x="2630" y="1039"/>
                  <a:pt x="2630" y="1039"/>
                  <a:pt x="2630" y="1039"/>
                </a:cubicBezTo>
                <a:cubicBezTo>
                  <a:pt x="2632" y="1039"/>
                  <a:pt x="2632" y="1039"/>
                  <a:pt x="2632" y="1039"/>
                </a:cubicBezTo>
                <a:cubicBezTo>
                  <a:pt x="2630" y="1039"/>
                  <a:pt x="2630" y="1039"/>
                  <a:pt x="2630" y="1039"/>
                </a:cubicBezTo>
                <a:cubicBezTo>
                  <a:pt x="2627" y="1041"/>
                  <a:pt x="2627" y="1041"/>
                  <a:pt x="2627" y="1041"/>
                </a:cubicBezTo>
                <a:cubicBezTo>
                  <a:pt x="2624" y="1042"/>
                  <a:pt x="2624" y="1042"/>
                  <a:pt x="2624" y="1042"/>
                </a:cubicBezTo>
                <a:cubicBezTo>
                  <a:pt x="2622" y="1043"/>
                  <a:pt x="2622" y="1043"/>
                  <a:pt x="2622" y="1043"/>
                </a:cubicBezTo>
                <a:cubicBezTo>
                  <a:pt x="2620" y="1043"/>
                  <a:pt x="2620" y="1043"/>
                  <a:pt x="2620" y="1043"/>
                </a:cubicBezTo>
                <a:cubicBezTo>
                  <a:pt x="2620" y="1044"/>
                  <a:pt x="2620" y="1044"/>
                  <a:pt x="2620" y="1044"/>
                </a:cubicBezTo>
                <a:cubicBezTo>
                  <a:pt x="2623" y="1045"/>
                  <a:pt x="2623" y="1045"/>
                  <a:pt x="2623" y="1045"/>
                </a:cubicBezTo>
                <a:cubicBezTo>
                  <a:pt x="2625" y="1046"/>
                  <a:pt x="2625" y="1046"/>
                  <a:pt x="2625" y="1046"/>
                </a:cubicBezTo>
                <a:cubicBezTo>
                  <a:pt x="2628" y="1049"/>
                  <a:pt x="2628" y="1049"/>
                  <a:pt x="2628" y="1049"/>
                </a:cubicBezTo>
                <a:cubicBezTo>
                  <a:pt x="2629" y="1051"/>
                  <a:pt x="2629" y="1051"/>
                  <a:pt x="2629" y="1051"/>
                </a:cubicBezTo>
                <a:cubicBezTo>
                  <a:pt x="2629" y="1053"/>
                  <a:pt x="2629" y="1053"/>
                  <a:pt x="2629" y="1053"/>
                </a:cubicBezTo>
                <a:cubicBezTo>
                  <a:pt x="2628" y="1055"/>
                  <a:pt x="2628" y="1055"/>
                  <a:pt x="2628" y="1055"/>
                </a:cubicBezTo>
                <a:cubicBezTo>
                  <a:pt x="2627" y="1056"/>
                  <a:pt x="2627" y="1056"/>
                  <a:pt x="2627" y="1056"/>
                </a:cubicBezTo>
                <a:cubicBezTo>
                  <a:pt x="2627" y="1057"/>
                  <a:pt x="2627" y="1057"/>
                  <a:pt x="2627" y="1057"/>
                </a:cubicBezTo>
                <a:cubicBezTo>
                  <a:pt x="2629" y="1058"/>
                  <a:pt x="2629" y="1058"/>
                  <a:pt x="2629" y="1058"/>
                </a:cubicBezTo>
                <a:cubicBezTo>
                  <a:pt x="2630" y="1063"/>
                  <a:pt x="2630" y="1063"/>
                  <a:pt x="2630" y="1063"/>
                </a:cubicBezTo>
                <a:cubicBezTo>
                  <a:pt x="2630" y="1065"/>
                  <a:pt x="2630" y="1065"/>
                  <a:pt x="2630" y="1065"/>
                </a:cubicBezTo>
                <a:cubicBezTo>
                  <a:pt x="2631" y="1068"/>
                  <a:pt x="2631" y="1068"/>
                  <a:pt x="2631" y="1068"/>
                </a:cubicBezTo>
                <a:cubicBezTo>
                  <a:pt x="2632" y="1068"/>
                  <a:pt x="2632" y="1068"/>
                  <a:pt x="2632" y="1068"/>
                </a:cubicBezTo>
                <a:cubicBezTo>
                  <a:pt x="2634" y="1067"/>
                  <a:pt x="2634" y="1067"/>
                  <a:pt x="2634" y="1067"/>
                </a:cubicBezTo>
                <a:cubicBezTo>
                  <a:pt x="2634" y="1068"/>
                  <a:pt x="2634" y="1068"/>
                  <a:pt x="2634" y="1068"/>
                </a:cubicBezTo>
                <a:cubicBezTo>
                  <a:pt x="2636" y="1068"/>
                  <a:pt x="2636" y="1068"/>
                  <a:pt x="2636" y="1068"/>
                </a:cubicBezTo>
                <a:cubicBezTo>
                  <a:pt x="2638" y="1069"/>
                  <a:pt x="2638" y="1069"/>
                  <a:pt x="2638" y="1069"/>
                </a:cubicBezTo>
                <a:cubicBezTo>
                  <a:pt x="2640" y="1069"/>
                  <a:pt x="2640" y="1069"/>
                  <a:pt x="2640" y="1069"/>
                </a:cubicBezTo>
                <a:cubicBezTo>
                  <a:pt x="2642" y="1067"/>
                  <a:pt x="2642" y="1067"/>
                  <a:pt x="2642" y="1067"/>
                </a:cubicBezTo>
                <a:cubicBezTo>
                  <a:pt x="2643" y="1068"/>
                  <a:pt x="2643" y="1068"/>
                  <a:pt x="2643" y="1068"/>
                </a:cubicBezTo>
                <a:cubicBezTo>
                  <a:pt x="2645" y="1067"/>
                  <a:pt x="2645" y="1067"/>
                  <a:pt x="2645" y="1067"/>
                </a:cubicBezTo>
                <a:cubicBezTo>
                  <a:pt x="2646" y="1065"/>
                  <a:pt x="2646" y="1065"/>
                  <a:pt x="2646" y="1065"/>
                </a:cubicBezTo>
                <a:cubicBezTo>
                  <a:pt x="2645" y="1064"/>
                  <a:pt x="2645" y="1064"/>
                  <a:pt x="2645" y="1064"/>
                </a:cubicBezTo>
                <a:cubicBezTo>
                  <a:pt x="2646" y="1066"/>
                  <a:pt x="2646" y="1066"/>
                  <a:pt x="2646" y="1066"/>
                </a:cubicBezTo>
                <a:cubicBezTo>
                  <a:pt x="2646" y="1067"/>
                  <a:pt x="2646" y="1067"/>
                  <a:pt x="2646" y="1067"/>
                </a:cubicBezTo>
                <a:cubicBezTo>
                  <a:pt x="2647" y="1070"/>
                  <a:pt x="2647" y="1070"/>
                  <a:pt x="2647" y="1070"/>
                </a:cubicBezTo>
                <a:cubicBezTo>
                  <a:pt x="2647" y="1073"/>
                  <a:pt x="2647" y="1073"/>
                  <a:pt x="2647" y="1073"/>
                </a:cubicBezTo>
                <a:cubicBezTo>
                  <a:pt x="2647" y="1075"/>
                  <a:pt x="2647" y="1075"/>
                  <a:pt x="2647" y="1075"/>
                </a:cubicBezTo>
                <a:cubicBezTo>
                  <a:pt x="2648" y="1075"/>
                  <a:pt x="2648" y="1075"/>
                  <a:pt x="2648" y="1075"/>
                </a:cubicBezTo>
                <a:cubicBezTo>
                  <a:pt x="2650" y="1072"/>
                  <a:pt x="2650" y="1072"/>
                  <a:pt x="2650" y="1072"/>
                </a:cubicBezTo>
                <a:cubicBezTo>
                  <a:pt x="2652" y="1072"/>
                  <a:pt x="2652" y="1072"/>
                  <a:pt x="2652" y="1072"/>
                </a:cubicBezTo>
                <a:cubicBezTo>
                  <a:pt x="2653" y="1073"/>
                  <a:pt x="2653" y="1073"/>
                  <a:pt x="2653" y="1073"/>
                </a:cubicBezTo>
                <a:cubicBezTo>
                  <a:pt x="2654" y="1072"/>
                  <a:pt x="2654" y="1072"/>
                  <a:pt x="2654" y="1072"/>
                </a:cubicBezTo>
                <a:cubicBezTo>
                  <a:pt x="2655" y="1071"/>
                  <a:pt x="2655" y="1071"/>
                  <a:pt x="2655" y="1071"/>
                </a:cubicBezTo>
                <a:cubicBezTo>
                  <a:pt x="2657" y="1071"/>
                  <a:pt x="2657" y="1071"/>
                  <a:pt x="2657" y="1071"/>
                </a:cubicBezTo>
                <a:cubicBezTo>
                  <a:pt x="2659" y="1069"/>
                  <a:pt x="2659" y="1069"/>
                  <a:pt x="2659" y="1069"/>
                </a:cubicBezTo>
                <a:cubicBezTo>
                  <a:pt x="2660" y="1069"/>
                  <a:pt x="2660" y="1069"/>
                  <a:pt x="2660" y="1069"/>
                </a:cubicBezTo>
                <a:cubicBezTo>
                  <a:pt x="2661" y="1070"/>
                  <a:pt x="2661" y="1070"/>
                  <a:pt x="2661" y="1070"/>
                </a:cubicBezTo>
                <a:cubicBezTo>
                  <a:pt x="2663" y="1070"/>
                  <a:pt x="2663" y="1070"/>
                  <a:pt x="2663" y="1070"/>
                </a:cubicBezTo>
                <a:cubicBezTo>
                  <a:pt x="2664" y="1071"/>
                  <a:pt x="2664" y="1071"/>
                  <a:pt x="2664" y="1071"/>
                </a:cubicBezTo>
                <a:cubicBezTo>
                  <a:pt x="2664" y="1072"/>
                  <a:pt x="2664" y="1072"/>
                  <a:pt x="2664" y="1072"/>
                </a:cubicBezTo>
                <a:cubicBezTo>
                  <a:pt x="2665" y="1073"/>
                  <a:pt x="2665" y="1073"/>
                  <a:pt x="2665" y="1073"/>
                </a:cubicBezTo>
                <a:cubicBezTo>
                  <a:pt x="2666" y="1074"/>
                  <a:pt x="2666" y="1074"/>
                  <a:pt x="2666" y="1074"/>
                </a:cubicBezTo>
                <a:cubicBezTo>
                  <a:pt x="2666" y="1072"/>
                  <a:pt x="2666" y="1072"/>
                  <a:pt x="2666" y="1072"/>
                </a:cubicBezTo>
                <a:cubicBezTo>
                  <a:pt x="2666" y="1071"/>
                  <a:pt x="2666" y="1071"/>
                  <a:pt x="2666" y="1071"/>
                </a:cubicBezTo>
                <a:cubicBezTo>
                  <a:pt x="2667" y="1072"/>
                  <a:pt x="2667" y="1072"/>
                  <a:pt x="2667" y="1072"/>
                </a:cubicBezTo>
                <a:cubicBezTo>
                  <a:pt x="2669" y="1073"/>
                  <a:pt x="2669" y="1073"/>
                  <a:pt x="2669" y="1073"/>
                </a:cubicBezTo>
                <a:cubicBezTo>
                  <a:pt x="2670" y="1072"/>
                  <a:pt x="2670" y="1072"/>
                  <a:pt x="2670" y="1072"/>
                </a:cubicBezTo>
                <a:cubicBezTo>
                  <a:pt x="2671" y="1074"/>
                  <a:pt x="2671" y="1074"/>
                  <a:pt x="2671" y="1074"/>
                </a:cubicBezTo>
                <a:cubicBezTo>
                  <a:pt x="2672" y="1073"/>
                  <a:pt x="2672" y="1073"/>
                  <a:pt x="2672" y="1073"/>
                </a:cubicBezTo>
                <a:cubicBezTo>
                  <a:pt x="2672" y="1074"/>
                  <a:pt x="2672" y="1074"/>
                  <a:pt x="2672" y="1074"/>
                </a:cubicBezTo>
                <a:cubicBezTo>
                  <a:pt x="2673" y="1076"/>
                  <a:pt x="2673" y="1076"/>
                  <a:pt x="2673" y="1076"/>
                </a:cubicBezTo>
                <a:cubicBezTo>
                  <a:pt x="2673" y="1077"/>
                  <a:pt x="2673" y="1077"/>
                  <a:pt x="2673" y="1077"/>
                </a:cubicBezTo>
                <a:cubicBezTo>
                  <a:pt x="2674" y="1080"/>
                  <a:pt x="2674" y="1080"/>
                  <a:pt x="2674" y="1080"/>
                </a:cubicBezTo>
                <a:cubicBezTo>
                  <a:pt x="2675" y="1080"/>
                  <a:pt x="2675" y="1080"/>
                  <a:pt x="2675" y="1080"/>
                </a:cubicBezTo>
                <a:cubicBezTo>
                  <a:pt x="2680" y="1078"/>
                  <a:pt x="2680" y="1078"/>
                  <a:pt x="2680" y="1078"/>
                </a:cubicBezTo>
                <a:cubicBezTo>
                  <a:pt x="2683" y="1077"/>
                  <a:pt x="2683" y="1077"/>
                  <a:pt x="2683" y="1077"/>
                </a:cubicBezTo>
                <a:cubicBezTo>
                  <a:pt x="2686" y="1075"/>
                  <a:pt x="2686" y="1075"/>
                  <a:pt x="2686" y="1075"/>
                </a:cubicBezTo>
                <a:cubicBezTo>
                  <a:pt x="2688" y="1071"/>
                  <a:pt x="2688" y="1071"/>
                  <a:pt x="2688" y="1071"/>
                </a:cubicBezTo>
                <a:cubicBezTo>
                  <a:pt x="2688" y="1070"/>
                  <a:pt x="2688" y="1070"/>
                  <a:pt x="2688" y="1070"/>
                </a:cubicBezTo>
                <a:cubicBezTo>
                  <a:pt x="2689" y="1067"/>
                  <a:pt x="2689" y="1067"/>
                  <a:pt x="2689" y="1067"/>
                </a:cubicBezTo>
                <a:cubicBezTo>
                  <a:pt x="2689" y="1068"/>
                  <a:pt x="2689" y="1068"/>
                  <a:pt x="2689" y="1068"/>
                </a:cubicBezTo>
                <a:cubicBezTo>
                  <a:pt x="2690" y="1068"/>
                  <a:pt x="2690" y="1068"/>
                  <a:pt x="2690" y="1068"/>
                </a:cubicBezTo>
                <a:cubicBezTo>
                  <a:pt x="2692" y="1065"/>
                  <a:pt x="2692" y="1065"/>
                  <a:pt x="2692" y="1065"/>
                </a:cubicBezTo>
                <a:cubicBezTo>
                  <a:pt x="2691" y="1064"/>
                  <a:pt x="2691" y="1064"/>
                  <a:pt x="2691" y="1064"/>
                </a:cubicBezTo>
                <a:cubicBezTo>
                  <a:pt x="2690" y="1063"/>
                  <a:pt x="2690" y="1063"/>
                  <a:pt x="2690" y="1063"/>
                </a:cubicBezTo>
                <a:cubicBezTo>
                  <a:pt x="2690" y="1062"/>
                  <a:pt x="2690" y="1062"/>
                  <a:pt x="2690" y="1062"/>
                </a:cubicBezTo>
                <a:lnTo>
                  <a:pt x="2691" y="1063"/>
                </a:lnTo>
                <a:close/>
                <a:moveTo>
                  <a:pt x="2643" y="1011"/>
                </a:moveTo>
                <a:cubicBezTo>
                  <a:pt x="2644" y="1011"/>
                  <a:pt x="2644" y="1011"/>
                  <a:pt x="2644" y="1011"/>
                </a:cubicBezTo>
                <a:cubicBezTo>
                  <a:pt x="2645" y="1011"/>
                  <a:pt x="2645" y="1011"/>
                  <a:pt x="2645" y="1011"/>
                </a:cubicBezTo>
                <a:cubicBezTo>
                  <a:pt x="2644" y="1010"/>
                  <a:pt x="2644" y="1010"/>
                  <a:pt x="2644" y="1010"/>
                </a:cubicBezTo>
                <a:lnTo>
                  <a:pt x="2643" y="1011"/>
                </a:lnTo>
                <a:close/>
                <a:moveTo>
                  <a:pt x="2623" y="809"/>
                </a:moveTo>
                <a:cubicBezTo>
                  <a:pt x="2621" y="808"/>
                  <a:pt x="2621" y="808"/>
                  <a:pt x="2621" y="808"/>
                </a:cubicBezTo>
                <a:cubicBezTo>
                  <a:pt x="2619" y="809"/>
                  <a:pt x="2619" y="809"/>
                  <a:pt x="2619" y="809"/>
                </a:cubicBezTo>
                <a:cubicBezTo>
                  <a:pt x="2620" y="810"/>
                  <a:pt x="2620" y="810"/>
                  <a:pt x="2620" y="810"/>
                </a:cubicBezTo>
                <a:cubicBezTo>
                  <a:pt x="2621" y="809"/>
                  <a:pt x="2621" y="809"/>
                  <a:pt x="2621" y="809"/>
                </a:cubicBezTo>
                <a:cubicBezTo>
                  <a:pt x="2623" y="810"/>
                  <a:pt x="2623" y="810"/>
                  <a:pt x="2623" y="810"/>
                </a:cubicBezTo>
                <a:lnTo>
                  <a:pt x="2623" y="809"/>
                </a:lnTo>
                <a:close/>
                <a:moveTo>
                  <a:pt x="2609" y="990"/>
                </a:moveTo>
                <a:cubicBezTo>
                  <a:pt x="2608" y="991"/>
                  <a:pt x="2608" y="991"/>
                  <a:pt x="2608" y="991"/>
                </a:cubicBezTo>
                <a:cubicBezTo>
                  <a:pt x="2607" y="993"/>
                  <a:pt x="2607" y="993"/>
                  <a:pt x="2607" y="993"/>
                </a:cubicBezTo>
                <a:cubicBezTo>
                  <a:pt x="2609" y="994"/>
                  <a:pt x="2609" y="994"/>
                  <a:pt x="2609" y="994"/>
                </a:cubicBezTo>
                <a:cubicBezTo>
                  <a:pt x="2610" y="994"/>
                  <a:pt x="2610" y="994"/>
                  <a:pt x="2610" y="994"/>
                </a:cubicBezTo>
                <a:cubicBezTo>
                  <a:pt x="2609" y="996"/>
                  <a:pt x="2609" y="996"/>
                  <a:pt x="2609" y="996"/>
                </a:cubicBezTo>
                <a:cubicBezTo>
                  <a:pt x="2611" y="996"/>
                  <a:pt x="2611" y="996"/>
                  <a:pt x="2611" y="996"/>
                </a:cubicBezTo>
                <a:cubicBezTo>
                  <a:pt x="2612" y="993"/>
                  <a:pt x="2612" y="993"/>
                  <a:pt x="2612" y="993"/>
                </a:cubicBezTo>
                <a:lnTo>
                  <a:pt x="2609" y="990"/>
                </a:lnTo>
                <a:close/>
                <a:moveTo>
                  <a:pt x="2597" y="1068"/>
                </a:moveTo>
                <a:cubicBezTo>
                  <a:pt x="2596" y="1067"/>
                  <a:pt x="2596" y="1067"/>
                  <a:pt x="2596" y="1067"/>
                </a:cubicBezTo>
                <a:cubicBezTo>
                  <a:pt x="2596" y="1069"/>
                  <a:pt x="2596" y="1069"/>
                  <a:pt x="2596" y="1069"/>
                </a:cubicBezTo>
                <a:lnTo>
                  <a:pt x="2597" y="1068"/>
                </a:lnTo>
                <a:close/>
                <a:moveTo>
                  <a:pt x="2605" y="1071"/>
                </a:moveTo>
                <a:cubicBezTo>
                  <a:pt x="2607" y="1068"/>
                  <a:pt x="2607" y="1068"/>
                  <a:pt x="2607" y="1068"/>
                </a:cubicBezTo>
                <a:cubicBezTo>
                  <a:pt x="2608" y="1070"/>
                  <a:pt x="2608" y="1070"/>
                  <a:pt x="2608" y="1070"/>
                </a:cubicBezTo>
                <a:cubicBezTo>
                  <a:pt x="2609" y="1070"/>
                  <a:pt x="2609" y="1070"/>
                  <a:pt x="2609" y="1070"/>
                </a:cubicBezTo>
                <a:cubicBezTo>
                  <a:pt x="2610" y="1069"/>
                  <a:pt x="2610" y="1069"/>
                  <a:pt x="2610" y="1069"/>
                </a:cubicBezTo>
                <a:cubicBezTo>
                  <a:pt x="2612" y="1068"/>
                  <a:pt x="2612" y="1068"/>
                  <a:pt x="2612" y="1068"/>
                </a:cubicBezTo>
                <a:cubicBezTo>
                  <a:pt x="2611" y="1066"/>
                  <a:pt x="2611" y="1066"/>
                  <a:pt x="2611" y="1066"/>
                </a:cubicBezTo>
                <a:cubicBezTo>
                  <a:pt x="2607" y="1064"/>
                  <a:pt x="2607" y="1064"/>
                  <a:pt x="2607" y="1064"/>
                </a:cubicBezTo>
                <a:cubicBezTo>
                  <a:pt x="2604" y="1063"/>
                  <a:pt x="2604" y="1063"/>
                  <a:pt x="2604" y="1063"/>
                </a:cubicBezTo>
                <a:cubicBezTo>
                  <a:pt x="2603" y="1064"/>
                  <a:pt x="2603" y="1064"/>
                  <a:pt x="2603" y="1064"/>
                </a:cubicBezTo>
                <a:cubicBezTo>
                  <a:pt x="2604" y="1065"/>
                  <a:pt x="2604" y="1065"/>
                  <a:pt x="2604" y="1065"/>
                </a:cubicBezTo>
                <a:cubicBezTo>
                  <a:pt x="2604" y="1066"/>
                  <a:pt x="2604" y="1066"/>
                  <a:pt x="2604" y="1066"/>
                </a:cubicBezTo>
                <a:cubicBezTo>
                  <a:pt x="2601" y="1067"/>
                  <a:pt x="2601" y="1067"/>
                  <a:pt x="2601" y="1067"/>
                </a:cubicBezTo>
                <a:cubicBezTo>
                  <a:pt x="2601" y="1068"/>
                  <a:pt x="2601" y="1068"/>
                  <a:pt x="2601" y="1068"/>
                </a:cubicBezTo>
                <a:cubicBezTo>
                  <a:pt x="2602" y="1068"/>
                  <a:pt x="2602" y="1068"/>
                  <a:pt x="2602" y="1068"/>
                </a:cubicBezTo>
                <a:cubicBezTo>
                  <a:pt x="2602" y="1067"/>
                  <a:pt x="2602" y="1067"/>
                  <a:pt x="2602" y="1067"/>
                </a:cubicBezTo>
                <a:cubicBezTo>
                  <a:pt x="2604" y="1067"/>
                  <a:pt x="2604" y="1067"/>
                  <a:pt x="2604" y="1067"/>
                </a:cubicBezTo>
                <a:cubicBezTo>
                  <a:pt x="2604" y="1069"/>
                  <a:pt x="2604" y="1069"/>
                  <a:pt x="2604" y="1069"/>
                </a:cubicBezTo>
                <a:lnTo>
                  <a:pt x="2605" y="1071"/>
                </a:lnTo>
                <a:close/>
                <a:moveTo>
                  <a:pt x="2647" y="1010"/>
                </a:moveTo>
                <a:cubicBezTo>
                  <a:pt x="2646" y="1008"/>
                  <a:pt x="2646" y="1008"/>
                  <a:pt x="2646" y="1008"/>
                </a:cubicBezTo>
                <a:cubicBezTo>
                  <a:pt x="2645" y="1008"/>
                  <a:pt x="2645" y="1008"/>
                  <a:pt x="2645" y="1008"/>
                </a:cubicBezTo>
                <a:cubicBezTo>
                  <a:pt x="2644" y="1008"/>
                  <a:pt x="2644" y="1008"/>
                  <a:pt x="2644" y="1008"/>
                </a:cubicBezTo>
                <a:cubicBezTo>
                  <a:pt x="2644" y="1008"/>
                  <a:pt x="2644" y="1008"/>
                  <a:pt x="2644" y="1008"/>
                </a:cubicBezTo>
                <a:cubicBezTo>
                  <a:pt x="2644" y="1009"/>
                  <a:pt x="2644" y="1009"/>
                  <a:pt x="2644" y="1009"/>
                </a:cubicBezTo>
                <a:cubicBezTo>
                  <a:pt x="2645" y="1011"/>
                  <a:pt x="2645" y="1011"/>
                  <a:pt x="2645" y="1011"/>
                </a:cubicBezTo>
                <a:lnTo>
                  <a:pt x="2647" y="1010"/>
                </a:lnTo>
                <a:close/>
                <a:moveTo>
                  <a:pt x="2706" y="755"/>
                </a:moveTo>
                <a:cubicBezTo>
                  <a:pt x="2706" y="754"/>
                  <a:pt x="2706" y="754"/>
                  <a:pt x="2706" y="754"/>
                </a:cubicBezTo>
                <a:cubicBezTo>
                  <a:pt x="2705" y="753"/>
                  <a:pt x="2705" y="753"/>
                  <a:pt x="2705" y="753"/>
                </a:cubicBezTo>
                <a:cubicBezTo>
                  <a:pt x="2704" y="753"/>
                  <a:pt x="2704" y="753"/>
                  <a:pt x="2704" y="753"/>
                </a:cubicBezTo>
                <a:cubicBezTo>
                  <a:pt x="2705" y="756"/>
                  <a:pt x="2705" y="756"/>
                  <a:pt x="2705" y="756"/>
                </a:cubicBezTo>
                <a:lnTo>
                  <a:pt x="2706" y="755"/>
                </a:lnTo>
                <a:close/>
                <a:moveTo>
                  <a:pt x="2702" y="941"/>
                </a:moveTo>
                <a:cubicBezTo>
                  <a:pt x="2699" y="944"/>
                  <a:pt x="2699" y="944"/>
                  <a:pt x="2699" y="944"/>
                </a:cubicBezTo>
                <a:cubicBezTo>
                  <a:pt x="2698" y="945"/>
                  <a:pt x="2698" y="945"/>
                  <a:pt x="2698" y="945"/>
                </a:cubicBezTo>
                <a:cubicBezTo>
                  <a:pt x="2699" y="946"/>
                  <a:pt x="2699" y="946"/>
                  <a:pt x="2699" y="946"/>
                </a:cubicBezTo>
                <a:cubicBezTo>
                  <a:pt x="2701" y="945"/>
                  <a:pt x="2701" y="945"/>
                  <a:pt x="2701" y="945"/>
                </a:cubicBezTo>
                <a:cubicBezTo>
                  <a:pt x="2702" y="944"/>
                  <a:pt x="2702" y="944"/>
                  <a:pt x="2702" y="944"/>
                </a:cubicBezTo>
                <a:cubicBezTo>
                  <a:pt x="2703" y="943"/>
                  <a:pt x="2703" y="943"/>
                  <a:pt x="2703" y="943"/>
                </a:cubicBezTo>
                <a:cubicBezTo>
                  <a:pt x="2705" y="942"/>
                  <a:pt x="2705" y="942"/>
                  <a:pt x="2705" y="942"/>
                </a:cubicBezTo>
                <a:cubicBezTo>
                  <a:pt x="2708" y="939"/>
                  <a:pt x="2708" y="939"/>
                  <a:pt x="2708" y="939"/>
                </a:cubicBezTo>
                <a:cubicBezTo>
                  <a:pt x="2710" y="938"/>
                  <a:pt x="2710" y="938"/>
                  <a:pt x="2710" y="938"/>
                </a:cubicBezTo>
                <a:cubicBezTo>
                  <a:pt x="2712" y="936"/>
                  <a:pt x="2712" y="936"/>
                  <a:pt x="2712" y="936"/>
                </a:cubicBezTo>
                <a:cubicBezTo>
                  <a:pt x="2712" y="935"/>
                  <a:pt x="2712" y="935"/>
                  <a:pt x="2712" y="935"/>
                </a:cubicBezTo>
                <a:cubicBezTo>
                  <a:pt x="2713" y="934"/>
                  <a:pt x="2713" y="934"/>
                  <a:pt x="2713" y="934"/>
                </a:cubicBezTo>
                <a:cubicBezTo>
                  <a:pt x="2713" y="931"/>
                  <a:pt x="2713" y="931"/>
                  <a:pt x="2713" y="931"/>
                </a:cubicBezTo>
                <a:cubicBezTo>
                  <a:pt x="2714" y="929"/>
                  <a:pt x="2714" y="929"/>
                  <a:pt x="2714" y="929"/>
                </a:cubicBezTo>
                <a:cubicBezTo>
                  <a:pt x="2717" y="929"/>
                  <a:pt x="2717" y="929"/>
                  <a:pt x="2717" y="929"/>
                </a:cubicBezTo>
                <a:cubicBezTo>
                  <a:pt x="2718" y="927"/>
                  <a:pt x="2718" y="927"/>
                  <a:pt x="2718" y="927"/>
                </a:cubicBezTo>
                <a:cubicBezTo>
                  <a:pt x="2720" y="926"/>
                  <a:pt x="2720" y="926"/>
                  <a:pt x="2720" y="926"/>
                </a:cubicBezTo>
                <a:cubicBezTo>
                  <a:pt x="2721" y="925"/>
                  <a:pt x="2721" y="925"/>
                  <a:pt x="2721" y="925"/>
                </a:cubicBezTo>
                <a:cubicBezTo>
                  <a:pt x="2722" y="924"/>
                  <a:pt x="2722" y="924"/>
                  <a:pt x="2722" y="924"/>
                </a:cubicBezTo>
                <a:cubicBezTo>
                  <a:pt x="2721" y="921"/>
                  <a:pt x="2721" y="921"/>
                  <a:pt x="2721" y="921"/>
                </a:cubicBezTo>
                <a:cubicBezTo>
                  <a:pt x="2719" y="919"/>
                  <a:pt x="2719" y="919"/>
                  <a:pt x="2719" y="919"/>
                </a:cubicBezTo>
                <a:cubicBezTo>
                  <a:pt x="2720" y="917"/>
                  <a:pt x="2720" y="917"/>
                  <a:pt x="2720" y="917"/>
                </a:cubicBezTo>
                <a:cubicBezTo>
                  <a:pt x="2719" y="915"/>
                  <a:pt x="2719" y="915"/>
                  <a:pt x="2719" y="915"/>
                </a:cubicBezTo>
                <a:cubicBezTo>
                  <a:pt x="2718" y="915"/>
                  <a:pt x="2718" y="915"/>
                  <a:pt x="2718" y="915"/>
                </a:cubicBezTo>
                <a:cubicBezTo>
                  <a:pt x="2718" y="918"/>
                  <a:pt x="2718" y="918"/>
                  <a:pt x="2718" y="918"/>
                </a:cubicBezTo>
                <a:cubicBezTo>
                  <a:pt x="2718" y="921"/>
                  <a:pt x="2718" y="921"/>
                  <a:pt x="2718" y="921"/>
                </a:cubicBezTo>
                <a:cubicBezTo>
                  <a:pt x="2717" y="920"/>
                  <a:pt x="2717" y="920"/>
                  <a:pt x="2717" y="920"/>
                </a:cubicBezTo>
                <a:cubicBezTo>
                  <a:pt x="2718" y="922"/>
                  <a:pt x="2718" y="922"/>
                  <a:pt x="2718" y="922"/>
                </a:cubicBezTo>
                <a:cubicBezTo>
                  <a:pt x="2718" y="923"/>
                  <a:pt x="2718" y="923"/>
                  <a:pt x="2718" y="923"/>
                </a:cubicBezTo>
                <a:cubicBezTo>
                  <a:pt x="2716" y="925"/>
                  <a:pt x="2716" y="925"/>
                  <a:pt x="2716" y="925"/>
                </a:cubicBezTo>
                <a:cubicBezTo>
                  <a:pt x="2715" y="925"/>
                  <a:pt x="2715" y="925"/>
                  <a:pt x="2715" y="925"/>
                </a:cubicBezTo>
                <a:cubicBezTo>
                  <a:pt x="2713" y="927"/>
                  <a:pt x="2713" y="927"/>
                  <a:pt x="2713" y="927"/>
                </a:cubicBezTo>
                <a:cubicBezTo>
                  <a:pt x="2713" y="929"/>
                  <a:pt x="2713" y="929"/>
                  <a:pt x="2713" y="929"/>
                </a:cubicBezTo>
                <a:cubicBezTo>
                  <a:pt x="2711" y="930"/>
                  <a:pt x="2711" y="930"/>
                  <a:pt x="2711" y="930"/>
                </a:cubicBezTo>
                <a:cubicBezTo>
                  <a:pt x="2709" y="934"/>
                  <a:pt x="2709" y="934"/>
                  <a:pt x="2709" y="934"/>
                </a:cubicBezTo>
                <a:cubicBezTo>
                  <a:pt x="2706" y="937"/>
                  <a:pt x="2706" y="937"/>
                  <a:pt x="2706" y="937"/>
                </a:cubicBezTo>
                <a:cubicBezTo>
                  <a:pt x="2704" y="937"/>
                  <a:pt x="2704" y="937"/>
                  <a:pt x="2704" y="937"/>
                </a:cubicBezTo>
                <a:cubicBezTo>
                  <a:pt x="2703" y="940"/>
                  <a:pt x="2703" y="940"/>
                  <a:pt x="2703" y="940"/>
                </a:cubicBezTo>
                <a:lnTo>
                  <a:pt x="2702" y="941"/>
                </a:lnTo>
                <a:close/>
                <a:moveTo>
                  <a:pt x="2515" y="957"/>
                </a:moveTo>
                <a:cubicBezTo>
                  <a:pt x="2515" y="956"/>
                  <a:pt x="2515" y="956"/>
                  <a:pt x="2515" y="956"/>
                </a:cubicBezTo>
                <a:cubicBezTo>
                  <a:pt x="2515" y="955"/>
                  <a:pt x="2515" y="955"/>
                  <a:pt x="2515" y="955"/>
                </a:cubicBezTo>
                <a:cubicBezTo>
                  <a:pt x="2514" y="955"/>
                  <a:pt x="2514" y="955"/>
                  <a:pt x="2514" y="955"/>
                </a:cubicBezTo>
                <a:lnTo>
                  <a:pt x="2515" y="957"/>
                </a:lnTo>
                <a:close/>
                <a:moveTo>
                  <a:pt x="2643" y="1010"/>
                </a:moveTo>
                <a:cubicBezTo>
                  <a:pt x="2643" y="1010"/>
                  <a:pt x="2643" y="1010"/>
                  <a:pt x="2643" y="1010"/>
                </a:cubicBezTo>
                <a:cubicBezTo>
                  <a:pt x="2643" y="1008"/>
                  <a:pt x="2643" y="1008"/>
                  <a:pt x="2643" y="1008"/>
                </a:cubicBezTo>
                <a:cubicBezTo>
                  <a:pt x="2644" y="1008"/>
                  <a:pt x="2644" y="1008"/>
                  <a:pt x="2644" y="1008"/>
                </a:cubicBezTo>
                <a:cubicBezTo>
                  <a:pt x="2643" y="1009"/>
                  <a:pt x="2643" y="1009"/>
                  <a:pt x="2643" y="1009"/>
                </a:cubicBezTo>
                <a:lnTo>
                  <a:pt x="2643" y="1010"/>
                </a:lnTo>
                <a:close/>
                <a:moveTo>
                  <a:pt x="2685" y="781"/>
                </a:moveTo>
                <a:cubicBezTo>
                  <a:pt x="2685" y="780"/>
                  <a:pt x="2685" y="780"/>
                  <a:pt x="2685" y="780"/>
                </a:cubicBezTo>
                <a:cubicBezTo>
                  <a:pt x="2684" y="779"/>
                  <a:pt x="2684" y="779"/>
                  <a:pt x="2684" y="779"/>
                </a:cubicBezTo>
                <a:cubicBezTo>
                  <a:pt x="2682" y="779"/>
                  <a:pt x="2682" y="779"/>
                  <a:pt x="2682" y="779"/>
                </a:cubicBezTo>
                <a:cubicBezTo>
                  <a:pt x="2683" y="780"/>
                  <a:pt x="2683" y="780"/>
                  <a:pt x="2683" y="780"/>
                </a:cubicBezTo>
                <a:lnTo>
                  <a:pt x="2685" y="781"/>
                </a:lnTo>
                <a:close/>
                <a:moveTo>
                  <a:pt x="2641" y="1123"/>
                </a:moveTo>
                <a:cubicBezTo>
                  <a:pt x="2643" y="1124"/>
                  <a:pt x="2643" y="1124"/>
                  <a:pt x="2643" y="1124"/>
                </a:cubicBezTo>
                <a:cubicBezTo>
                  <a:pt x="2646" y="1122"/>
                  <a:pt x="2646" y="1122"/>
                  <a:pt x="2646" y="1122"/>
                </a:cubicBezTo>
                <a:cubicBezTo>
                  <a:pt x="2648" y="1123"/>
                  <a:pt x="2648" y="1123"/>
                  <a:pt x="2648" y="1123"/>
                </a:cubicBezTo>
                <a:cubicBezTo>
                  <a:pt x="2651" y="1124"/>
                  <a:pt x="2651" y="1124"/>
                  <a:pt x="2651" y="1124"/>
                </a:cubicBezTo>
                <a:cubicBezTo>
                  <a:pt x="2654" y="1124"/>
                  <a:pt x="2654" y="1124"/>
                  <a:pt x="2654" y="1124"/>
                </a:cubicBezTo>
                <a:cubicBezTo>
                  <a:pt x="2657" y="1123"/>
                  <a:pt x="2657" y="1123"/>
                  <a:pt x="2657" y="1123"/>
                </a:cubicBezTo>
                <a:cubicBezTo>
                  <a:pt x="2658" y="1123"/>
                  <a:pt x="2658" y="1123"/>
                  <a:pt x="2658" y="1123"/>
                </a:cubicBezTo>
                <a:cubicBezTo>
                  <a:pt x="2660" y="1125"/>
                  <a:pt x="2660" y="1125"/>
                  <a:pt x="2660" y="1125"/>
                </a:cubicBezTo>
                <a:cubicBezTo>
                  <a:pt x="2662" y="1125"/>
                  <a:pt x="2662" y="1125"/>
                  <a:pt x="2662" y="1125"/>
                </a:cubicBezTo>
                <a:cubicBezTo>
                  <a:pt x="2665" y="1128"/>
                  <a:pt x="2665" y="1128"/>
                  <a:pt x="2665" y="1128"/>
                </a:cubicBezTo>
                <a:cubicBezTo>
                  <a:pt x="2667" y="1127"/>
                  <a:pt x="2667" y="1127"/>
                  <a:pt x="2667" y="1127"/>
                </a:cubicBezTo>
                <a:cubicBezTo>
                  <a:pt x="2669" y="1129"/>
                  <a:pt x="2669" y="1129"/>
                  <a:pt x="2669" y="1129"/>
                </a:cubicBezTo>
                <a:cubicBezTo>
                  <a:pt x="2670" y="1129"/>
                  <a:pt x="2670" y="1129"/>
                  <a:pt x="2670" y="1129"/>
                </a:cubicBezTo>
                <a:cubicBezTo>
                  <a:pt x="2669" y="1126"/>
                  <a:pt x="2669" y="1126"/>
                  <a:pt x="2669" y="1126"/>
                </a:cubicBezTo>
                <a:cubicBezTo>
                  <a:pt x="2668" y="1125"/>
                  <a:pt x="2668" y="1125"/>
                  <a:pt x="2668" y="1125"/>
                </a:cubicBezTo>
                <a:cubicBezTo>
                  <a:pt x="2669" y="1123"/>
                  <a:pt x="2669" y="1123"/>
                  <a:pt x="2669" y="1123"/>
                </a:cubicBezTo>
                <a:cubicBezTo>
                  <a:pt x="2670" y="1119"/>
                  <a:pt x="2670" y="1119"/>
                  <a:pt x="2670" y="1119"/>
                </a:cubicBezTo>
                <a:cubicBezTo>
                  <a:pt x="2669" y="1118"/>
                  <a:pt x="2669" y="1118"/>
                  <a:pt x="2669" y="1118"/>
                </a:cubicBezTo>
                <a:cubicBezTo>
                  <a:pt x="2667" y="1118"/>
                  <a:pt x="2667" y="1118"/>
                  <a:pt x="2667" y="1118"/>
                </a:cubicBezTo>
                <a:cubicBezTo>
                  <a:pt x="2667" y="1117"/>
                  <a:pt x="2667" y="1117"/>
                  <a:pt x="2667" y="1117"/>
                </a:cubicBezTo>
                <a:cubicBezTo>
                  <a:pt x="2665" y="1117"/>
                  <a:pt x="2665" y="1117"/>
                  <a:pt x="2665" y="1117"/>
                </a:cubicBezTo>
                <a:cubicBezTo>
                  <a:pt x="2664" y="1118"/>
                  <a:pt x="2664" y="1118"/>
                  <a:pt x="2664" y="1118"/>
                </a:cubicBezTo>
                <a:cubicBezTo>
                  <a:pt x="2662" y="1118"/>
                  <a:pt x="2662" y="1118"/>
                  <a:pt x="2662" y="1118"/>
                </a:cubicBezTo>
                <a:cubicBezTo>
                  <a:pt x="2660" y="1117"/>
                  <a:pt x="2660" y="1117"/>
                  <a:pt x="2660" y="1117"/>
                </a:cubicBezTo>
                <a:cubicBezTo>
                  <a:pt x="2658" y="1118"/>
                  <a:pt x="2658" y="1118"/>
                  <a:pt x="2658" y="1118"/>
                </a:cubicBezTo>
                <a:cubicBezTo>
                  <a:pt x="2656" y="1117"/>
                  <a:pt x="2656" y="1117"/>
                  <a:pt x="2656" y="1117"/>
                </a:cubicBezTo>
                <a:cubicBezTo>
                  <a:pt x="2655" y="1115"/>
                  <a:pt x="2655" y="1115"/>
                  <a:pt x="2655" y="1115"/>
                </a:cubicBezTo>
                <a:cubicBezTo>
                  <a:pt x="2654" y="1114"/>
                  <a:pt x="2654" y="1114"/>
                  <a:pt x="2654" y="1114"/>
                </a:cubicBezTo>
                <a:cubicBezTo>
                  <a:pt x="2652" y="1111"/>
                  <a:pt x="2652" y="1111"/>
                  <a:pt x="2652" y="1111"/>
                </a:cubicBezTo>
                <a:cubicBezTo>
                  <a:pt x="2652" y="1108"/>
                  <a:pt x="2652" y="1108"/>
                  <a:pt x="2652" y="1108"/>
                </a:cubicBezTo>
                <a:cubicBezTo>
                  <a:pt x="2650" y="1108"/>
                  <a:pt x="2650" y="1108"/>
                  <a:pt x="2650" y="1108"/>
                </a:cubicBezTo>
                <a:cubicBezTo>
                  <a:pt x="2648" y="1109"/>
                  <a:pt x="2648" y="1109"/>
                  <a:pt x="2648" y="1109"/>
                </a:cubicBezTo>
                <a:cubicBezTo>
                  <a:pt x="2647" y="1107"/>
                  <a:pt x="2647" y="1107"/>
                  <a:pt x="2647" y="1107"/>
                </a:cubicBezTo>
                <a:cubicBezTo>
                  <a:pt x="2645" y="1107"/>
                  <a:pt x="2645" y="1107"/>
                  <a:pt x="2645" y="1107"/>
                </a:cubicBezTo>
                <a:cubicBezTo>
                  <a:pt x="2643" y="1106"/>
                  <a:pt x="2643" y="1106"/>
                  <a:pt x="2643" y="1106"/>
                </a:cubicBezTo>
                <a:cubicBezTo>
                  <a:pt x="2642" y="1105"/>
                  <a:pt x="2642" y="1105"/>
                  <a:pt x="2642" y="1105"/>
                </a:cubicBezTo>
                <a:cubicBezTo>
                  <a:pt x="2640" y="1105"/>
                  <a:pt x="2640" y="1105"/>
                  <a:pt x="2640" y="1105"/>
                </a:cubicBezTo>
                <a:cubicBezTo>
                  <a:pt x="2638" y="1105"/>
                  <a:pt x="2638" y="1105"/>
                  <a:pt x="2638" y="1105"/>
                </a:cubicBezTo>
                <a:cubicBezTo>
                  <a:pt x="2636" y="1102"/>
                  <a:pt x="2636" y="1102"/>
                  <a:pt x="2636" y="1102"/>
                </a:cubicBezTo>
                <a:cubicBezTo>
                  <a:pt x="2634" y="1103"/>
                  <a:pt x="2634" y="1103"/>
                  <a:pt x="2634" y="1103"/>
                </a:cubicBezTo>
                <a:cubicBezTo>
                  <a:pt x="2633" y="1107"/>
                  <a:pt x="2633" y="1107"/>
                  <a:pt x="2633" y="1107"/>
                </a:cubicBezTo>
                <a:cubicBezTo>
                  <a:pt x="2632" y="1108"/>
                  <a:pt x="2632" y="1108"/>
                  <a:pt x="2632" y="1108"/>
                </a:cubicBezTo>
                <a:cubicBezTo>
                  <a:pt x="2627" y="1109"/>
                  <a:pt x="2627" y="1109"/>
                  <a:pt x="2627" y="1109"/>
                </a:cubicBezTo>
                <a:cubicBezTo>
                  <a:pt x="2622" y="1108"/>
                  <a:pt x="2622" y="1108"/>
                  <a:pt x="2622" y="1108"/>
                </a:cubicBezTo>
                <a:cubicBezTo>
                  <a:pt x="2616" y="1108"/>
                  <a:pt x="2616" y="1108"/>
                  <a:pt x="2616" y="1108"/>
                </a:cubicBezTo>
                <a:cubicBezTo>
                  <a:pt x="2612" y="1107"/>
                  <a:pt x="2612" y="1107"/>
                  <a:pt x="2612" y="1107"/>
                </a:cubicBezTo>
                <a:cubicBezTo>
                  <a:pt x="2612" y="1106"/>
                  <a:pt x="2612" y="1106"/>
                  <a:pt x="2612" y="1106"/>
                </a:cubicBezTo>
                <a:cubicBezTo>
                  <a:pt x="2612" y="1104"/>
                  <a:pt x="2612" y="1104"/>
                  <a:pt x="2612" y="1104"/>
                </a:cubicBezTo>
                <a:cubicBezTo>
                  <a:pt x="2611" y="1102"/>
                  <a:pt x="2611" y="1102"/>
                  <a:pt x="2611" y="1102"/>
                </a:cubicBezTo>
                <a:cubicBezTo>
                  <a:pt x="2606" y="1101"/>
                  <a:pt x="2606" y="1101"/>
                  <a:pt x="2606" y="1101"/>
                </a:cubicBezTo>
                <a:cubicBezTo>
                  <a:pt x="2603" y="1100"/>
                  <a:pt x="2603" y="1100"/>
                  <a:pt x="2603" y="1100"/>
                </a:cubicBezTo>
                <a:cubicBezTo>
                  <a:pt x="2601" y="1099"/>
                  <a:pt x="2601" y="1099"/>
                  <a:pt x="2601" y="1099"/>
                </a:cubicBezTo>
                <a:cubicBezTo>
                  <a:pt x="2598" y="1099"/>
                  <a:pt x="2598" y="1099"/>
                  <a:pt x="2598" y="1099"/>
                </a:cubicBezTo>
                <a:cubicBezTo>
                  <a:pt x="2597" y="1100"/>
                  <a:pt x="2597" y="1100"/>
                  <a:pt x="2597" y="1100"/>
                </a:cubicBezTo>
                <a:cubicBezTo>
                  <a:pt x="2596" y="1100"/>
                  <a:pt x="2596" y="1100"/>
                  <a:pt x="2596" y="1100"/>
                </a:cubicBezTo>
                <a:cubicBezTo>
                  <a:pt x="2594" y="1099"/>
                  <a:pt x="2594" y="1099"/>
                  <a:pt x="2594" y="1099"/>
                </a:cubicBezTo>
                <a:cubicBezTo>
                  <a:pt x="2591" y="1099"/>
                  <a:pt x="2591" y="1099"/>
                  <a:pt x="2591" y="1099"/>
                </a:cubicBezTo>
                <a:cubicBezTo>
                  <a:pt x="2589" y="1099"/>
                  <a:pt x="2589" y="1099"/>
                  <a:pt x="2589" y="1099"/>
                </a:cubicBezTo>
                <a:cubicBezTo>
                  <a:pt x="2588" y="1098"/>
                  <a:pt x="2588" y="1098"/>
                  <a:pt x="2588" y="1098"/>
                </a:cubicBezTo>
                <a:cubicBezTo>
                  <a:pt x="2586" y="1100"/>
                  <a:pt x="2586" y="1100"/>
                  <a:pt x="2586" y="1100"/>
                </a:cubicBezTo>
                <a:cubicBezTo>
                  <a:pt x="2586" y="1102"/>
                  <a:pt x="2586" y="1102"/>
                  <a:pt x="2586" y="1102"/>
                </a:cubicBezTo>
                <a:cubicBezTo>
                  <a:pt x="2585" y="1104"/>
                  <a:pt x="2585" y="1104"/>
                  <a:pt x="2585" y="1104"/>
                </a:cubicBezTo>
                <a:cubicBezTo>
                  <a:pt x="2583" y="1105"/>
                  <a:pt x="2583" y="1105"/>
                  <a:pt x="2583" y="1105"/>
                </a:cubicBezTo>
                <a:cubicBezTo>
                  <a:pt x="2583" y="1107"/>
                  <a:pt x="2583" y="1107"/>
                  <a:pt x="2583" y="1107"/>
                </a:cubicBezTo>
                <a:cubicBezTo>
                  <a:pt x="2581" y="1107"/>
                  <a:pt x="2581" y="1107"/>
                  <a:pt x="2581" y="1107"/>
                </a:cubicBezTo>
                <a:cubicBezTo>
                  <a:pt x="2580" y="1106"/>
                  <a:pt x="2580" y="1106"/>
                  <a:pt x="2580" y="1106"/>
                </a:cubicBezTo>
                <a:cubicBezTo>
                  <a:pt x="2580" y="1106"/>
                  <a:pt x="2580" y="1106"/>
                  <a:pt x="2580" y="1106"/>
                </a:cubicBezTo>
                <a:cubicBezTo>
                  <a:pt x="2580" y="1108"/>
                  <a:pt x="2580" y="1108"/>
                  <a:pt x="2580" y="1108"/>
                </a:cubicBezTo>
                <a:cubicBezTo>
                  <a:pt x="2581" y="1108"/>
                  <a:pt x="2581" y="1108"/>
                  <a:pt x="2581" y="1108"/>
                </a:cubicBezTo>
                <a:cubicBezTo>
                  <a:pt x="2585" y="1108"/>
                  <a:pt x="2585" y="1108"/>
                  <a:pt x="2585" y="1108"/>
                </a:cubicBezTo>
                <a:cubicBezTo>
                  <a:pt x="2587" y="1108"/>
                  <a:pt x="2587" y="1108"/>
                  <a:pt x="2587" y="1108"/>
                </a:cubicBezTo>
                <a:cubicBezTo>
                  <a:pt x="2588" y="1109"/>
                  <a:pt x="2588" y="1109"/>
                  <a:pt x="2588" y="1109"/>
                </a:cubicBezTo>
                <a:cubicBezTo>
                  <a:pt x="2590" y="1110"/>
                  <a:pt x="2590" y="1110"/>
                  <a:pt x="2590" y="1110"/>
                </a:cubicBezTo>
                <a:cubicBezTo>
                  <a:pt x="2591" y="1109"/>
                  <a:pt x="2591" y="1109"/>
                  <a:pt x="2591" y="1109"/>
                </a:cubicBezTo>
                <a:cubicBezTo>
                  <a:pt x="2592" y="1110"/>
                  <a:pt x="2592" y="1110"/>
                  <a:pt x="2592" y="1110"/>
                </a:cubicBezTo>
                <a:cubicBezTo>
                  <a:pt x="2591" y="1110"/>
                  <a:pt x="2591" y="1110"/>
                  <a:pt x="2591" y="1110"/>
                </a:cubicBezTo>
                <a:cubicBezTo>
                  <a:pt x="2590" y="1113"/>
                  <a:pt x="2590" y="1113"/>
                  <a:pt x="2590" y="1113"/>
                </a:cubicBezTo>
                <a:cubicBezTo>
                  <a:pt x="2591" y="1114"/>
                  <a:pt x="2591" y="1114"/>
                  <a:pt x="2591" y="1114"/>
                </a:cubicBezTo>
                <a:cubicBezTo>
                  <a:pt x="2594" y="1114"/>
                  <a:pt x="2594" y="1114"/>
                  <a:pt x="2594" y="1114"/>
                </a:cubicBezTo>
                <a:cubicBezTo>
                  <a:pt x="2596" y="1115"/>
                  <a:pt x="2596" y="1115"/>
                  <a:pt x="2596" y="1115"/>
                </a:cubicBezTo>
                <a:cubicBezTo>
                  <a:pt x="2598" y="1114"/>
                  <a:pt x="2598" y="1114"/>
                  <a:pt x="2598" y="1114"/>
                </a:cubicBezTo>
                <a:cubicBezTo>
                  <a:pt x="2599" y="1115"/>
                  <a:pt x="2599" y="1115"/>
                  <a:pt x="2599" y="1115"/>
                </a:cubicBezTo>
                <a:cubicBezTo>
                  <a:pt x="2602" y="1115"/>
                  <a:pt x="2602" y="1115"/>
                  <a:pt x="2602" y="1115"/>
                </a:cubicBezTo>
                <a:cubicBezTo>
                  <a:pt x="2605" y="1117"/>
                  <a:pt x="2605" y="1117"/>
                  <a:pt x="2605" y="1117"/>
                </a:cubicBezTo>
                <a:cubicBezTo>
                  <a:pt x="2610" y="1119"/>
                  <a:pt x="2610" y="1119"/>
                  <a:pt x="2610" y="1119"/>
                </a:cubicBezTo>
                <a:cubicBezTo>
                  <a:pt x="2612" y="1116"/>
                  <a:pt x="2612" y="1116"/>
                  <a:pt x="2612" y="1116"/>
                </a:cubicBezTo>
                <a:cubicBezTo>
                  <a:pt x="2613" y="1116"/>
                  <a:pt x="2613" y="1116"/>
                  <a:pt x="2613" y="1116"/>
                </a:cubicBezTo>
                <a:cubicBezTo>
                  <a:pt x="2615" y="1118"/>
                  <a:pt x="2615" y="1118"/>
                  <a:pt x="2615" y="1118"/>
                </a:cubicBezTo>
                <a:cubicBezTo>
                  <a:pt x="2617" y="1118"/>
                  <a:pt x="2617" y="1118"/>
                  <a:pt x="2617" y="1118"/>
                </a:cubicBezTo>
                <a:cubicBezTo>
                  <a:pt x="2618" y="1117"/>
                  <a:pt x="2618" y="1117"/>
                  <a:pt x="2618" y="1117"/>
                </a:cubicBezTo>
                <a:cubicBezTo>
                  <a:pt x="2619" y="1117"/>
                  <a:pt x="2619" y="1117"/>
                  <a:pt x="2619" y="1117"/>
                </a:cubicBezTo>
                <a:cubicBezTo>
                  <a:pt x="2622" y="1118"/>
                  <a:pt x="2622" y="1118"/>
                  <a:pt x="2622" y="1118"/>
                </a:cubicBezTo>
                <a:cubicBezTo>
                  <a:pt x="2625" y="1118"/>
                  <a:pt x="2625" y="1118"/>
                  <a:pt x="2625" y="1118"/>
                </a:cubicBezTo>
                <a:cubicBezTo>
                  <a:pt x="2630" y="1121"/>
                  <a:pt x="2630" y="1121"/>
                  <a:pt x="2630" y="1121"/>
                </a:cubicBezTo>
                <a:cubicBezTo>
                  <a:pt x="2635" y="1124"/>
                  <a:pt x="2635" y="1124"/>
                  <a:pt x="2635" y="1124"/>
                </a:cubicBezTo>
                <a:cubicBezTo>
                  <a:pt x="2637" y="1122"/>
                  <a:pt x="2637" y="1122"/>
                  <a:pt x="2637" y="1122"/>
                </a:cubicBezTo>
                <a:lnTo>
                  <a:pt x="2641" y="1123"/>
                </a:lnTo>
                <a:close/>
                <a:moveTo>
                  <a:pt x="2642" y="1012"/>
                </a:moveTo>
                <a:cubicBezTo>
                  <a:pt x="2643" y="1011"/>
                  <a:pt x="2643" y="1011"/>
                  <a:pt x="2643" y="1011"/>
                </a:cubicBezTo>
                <a:cubicBezTo>
                  <a:pt x="2643" y="1010"/>
                  <a:pt x="2643" y="1010"/>
                  <a:pt x="2643" y="1010"/>
                </a:cubicBezTo>
                <a:lnTo>
                  <a:pt x="2642" y="1012"/>
                </a:lnTo>
                <a:close/>
                <a:moveTo>
                  <a:pt x="2716" y="766"/>
                </a:moveTo>
                <a:cubicBezTo>
                  <a:pt x="2714" y="770"/>
                  <a:pt x="2714" y="770"/>
                  <a:pt x="2714" y="770"/>
                </a:cubicBezTo>
                <a:cubicBezTo>
                  <a:pt x="2713" y="774"/>
                  <a:pt x="2713" y="774"/>
                  <a:pt x="2713" y="774"/>
                </a:cubicBezTo>
                <a:cubicBezTo>
                  <a:pt x="2712" y="775"/>
                  <a:pt x="2712" y="775"/>
                  <a:pt x="2712" y="775"/>
                </a:cubicBezTo>
                <a:cubicBezTo>
                  <a:pt x="2713" y="776"/>
                  <a:pt x="2713" y="776"/>
                  <a:pt x="2713" y="776"/>
                </a:cubicBezTo>
                <a:cubicBezTo>
                  <a:pt x="2713" y="780"/>
                  <a:pt x="2713" y="780"/>
                  <a:pt x="2713" y="780"/>
                </a:cubicBezTo>
                <a:cubicBezTo>
                  <a:pt x="2713" y="784"/>
                  <a:pt x="2713" y="784"/>
                  <a:pt x="2713" y="784"/>
                </a:cubicBezTo>
                <a:cubicBezTo>
                  <a:pt x="2715" y="784"/>
                  <a:pt x="2715" y="784"/>
                  <a:pt x="2715" y="784"/>
                </a:cubicBezTo>
                <a:cubicBezTo>
                  <a:pt x="2715" y="786"/>
                  <a:pt x="2715" y="786"/>
                  <a:pt x="2715" y="786"/>
                </a:cubicBezTo>
                <a:cubicBezTo>
                  <a:pt x="2714" y="786"/>
                  <a:pt x="2714" y="786"/>
                  <a:pt x="2714" y="786"/>
                </a:cubicBezTo>
                <a:cubicBezTo>
                  <a:pt x="2714" y="787"/>
                  <a:pt x="2714" y="787"/>
                  <a:pt x="2714" y="787"/>
                </a:cubicBezTo>
                <a:cubicBezTo>
                  <a:pt x="2715" y="789"/>
                  <a:pt x="2715" y="789"/>
                  <a:pt x="2715" y="789"/>
                </a:cubicBezTo>
                <a:cubicBezTo>
                  <a:pt x="2716" y="789"/>
                  <a:pt x="2716" y="789"/>
                  <a:pt x="2716" y="789"/>
                </a:cubicBezTo>
                <a:cubicBezTo>
                  <a:pt x="2717" y="790"/>
                  <a:pt x="2717" y="790"/>
                  <a:pt x="2717" y="790"/>
                </a:cubicBezTo>
                <a:cubicBezTo>
                  <a:pt x="2720" y="791"/>
                  <a:pt x="2720" y="791"/>
                  <a:pt x="2720" y="791"/>
                </a:cubicBezTo>
                <a:cubicBezTo>
                  <a:pt x="2721" y="793"/>
                  <a:pt x="2721" y="793"/>
                  <a:pt x="2721" y="793"/>
                </a:cubicBezTo>
                <a:cubicBezTo>
                  <a:pt x="2721" y="796"/>
                  <a:pt x="2721" y="796"/>
                  <a:pt x="2721" y="796"/>
                </a:cubicBezTo>
                <a:cubicBezTo>
                  <a:pt x="2721" y="797"/>
                  <a:pt x="2721" y="797"/>
                  <a:pt x="2721" y="797"/>
                </a:cubicBezTo>
                <a:cubicBezTo>
                  <a:pt x="2723" y="797"/>
                  <a:pt x="2723" y="797"/>
                  <a:pt x="2723" y="797"/>
                </a:cubicBezTo>
                <a:cubicBezTo>
                  <a:pt x="2724" y="797"/>
                  <a:pt x="2724" y="797"/>
                  <a:pt x="2724" y="797"/>
                </a:cubicBezTo>
                <a:cubicBezTo>
                  <a:pt x="2724" y="795"/>
                  <a:pt x="2724" y="795"/>
                  <a:pt x="2724" y="795"/>
                </a:cubicBezTo>
                <a:cubicBezTo>
                  <a:pt x="2724" y="793"/>
                  <a:pt x="2724" y="793"/>
                  <a:pt x="2724" y="793"/>
                </a:cubicBezTo>
                <a:cubicBezTo>
                  <a:pt x="2723" y="790"/>
                  <a:pt x="2723" y="790"/>
                  <a:pt x="2723" y="790"/>
                </a:cubicBezTo>
                <a:cubicBezTo>
                  <a:pt x="2725" y="788"/>
                  <a:pt x="2725" y="788"/>
                  <a:pt x="2725" y="788"/>
                </a:cubicBezTo>
                <a:cubicBezTo>
                  <a:pt x="2727" y="784"/>
                  <a:pt x="2727" y="784"/>
                  <a:pt x="2727" y="784"/>
                </a:cubicBezTo>
                <a:cubicBezTo>
                  <a:pt x="2727" y="781"/>
                  <a:pt x="2727" y="781"/>
                  <a:pt x="2727" y="781"/>
                </a:cubicBezTo>
                <a:cubicBezTo>
                  <a:pt x="2728" y="781"/>
                  <a:pt x="2728" y="781"/>
                  <a:pt x="2728" y="781"/>
                </a:cubicBezTo>
                <a:cubicBezTo>
                  <a:pt x="2727" y="780"/>
                  <a:pt x="2727" y="780"/>
                  <a:pt x="2727" y="780"/>
                </a:cubicBezTo>
                <a:cubicBezTo>
                  <a:pt x="2728" y="776"/>
                  <a:pt x="2728" y="776"/>
                  <a:pt x="2728" y="776"/>
                </a:cubicBezTo>
                <a:cubicBezTo>
                  <a:pt x="2728" y="774"/>
                  <a:pt x="2728" y="774"/>
                  <a:pt x="2728" y="774"/>
                </a:cubicBezTo>
                <a:cubicBezTo>
                  <a:pt x="2727" y="771"/>
                  <a:pt x="2727" y="771"/>
                  <a:pt x="2727" y="771"/>
                </a:cubicBezTo>
                <a:cubicBezTo>
                  <a:pt x="2729" y="769"/>
                  <a:pt x="2729" y="769"/>
                  <a:pt x="2729" y="769"/>
                </a:cubicBezTo>
                <a:cubicBezTo>
                  <a:pt x="2729" y="763"/>
                  <a:pt x="2729" y="763"/>
                  <a:pt x="2729" y="763"/>
                </a:cubicBezTo>
                <a:cubicBezTo>
                  <a:pt x="2730" y="761"/>
                  <a:pt x="2730" y="761"/>
                  <a:pt x="2730" y="761"/>
                </a:cubicBezTo>
                <a:cubicBezTo>
                  <a:pt x="2730" y="761"/>
                  <a:pt x="2730" y="761"/>
                  <a:pt x="2730" y="761"/>
                </a:cubicBezTo>
                <a:cubicBezTo>
                  <a:pt x="2730" y="759"/>
                  <a:pt x="2730" y="759"/>
                  <a:pt x="2730" y="759"/>
                </a:cubicBezTo>
                <a:cubicBezTo>
                  <a:pt x="2728" y="758"/>
                  <a:pt x="2728" y="758"/>
                  <a:pt x="2728" y="758"/>
                </a:cubicBezTo>
                <a:cubicBezTo>
                  <a:pt x="2728" y="758"/>
                  <a:pt x="2728" y="758"/>
                  <a:pt x="2728" y="758"/>
                </a:cubicBezTo>
                <a:cubicBezTo>
                  <a:pt x="2727" y="755"/>
                  <a:pt x="2727" y="755"/>
                  <a:pt x="2727" y="755"/>
                </a:cubicBezTo>
                <a:cubicBezTo>
                  <a:pt x="2724" y="755"/>
                  <a:pt x="2724" y="755"/>
                  <a:pt x="2724" y="755"/>
                </a:cubicBezTo>
                <a:cubicBezTo>
                  <a:pt x="2723" y="755"/>
                  <a:pt x="2723" y="755"/>
                  <a:pt x="2723" y="755"/>
                </a:cubicBezTo>
                <a:cubicBezTo>
                  <a:pt x="2723" y="757"/>
                  <a:pt x="2723" y="757"/>
                  <a:pt x="2723" y="757"/>
                </a:cubicBezTo>
                <a:cubicBezTo>
                  <a:pt x="2721" y="757"/>
                  <a:pt x="2721" y="757"/>
                  <a:pt x="2721" y="757"/>
                </a:cubicBezTo>
                <a:cubicBezTo>
                  <a:pt x="2719" y="760"/>
                  <a:pt x="2719" y="760"/>
                  <a:pt x="2719" y="760"/>
                </a:cubicBezTo>
                <a:cubicBezTo>
                  <a:pt x="2717" y="763"/>
                  <a:pt x="2717" y="763"/>
                  <a:pt x="2717" y="763"/>
                </a:cubicBezTo>
                <a:cubicBezTo>
                  <a:pt x="2718" y="764"/>
                  <a:pt x="2718" y="764"/>
                  <a:pt x="2718" y="764"/>
                </a:cubicBezTo>
                <a:cubicBezTo>
                  <a:pt x="2717" y="766"/>
                  <a:pt x="2717" y="766"/>
                  <a:pt x="2717" y="766"/>
                </a:cubicBezTo>
                <a:lnTo>
                  <a:pt x="2716" y="766"/>
                </a:lnTo>
                <a:close/>
                <a:moveTo>
                  <a:pt x="2556" y="1029"/>
                </a:moveTo>
                <a:cubicBezTo>
                  <a:pt x="2558" y="1030"/>
                  <a:pt x="2558" y="1030"/>
                  <a:pt x="2558" y="1030"/>
                </a:cubicBezTo>
                <a:cubicBezTo>
                  <a:pt x="2559" y="1029"/>
                  <a:pt x="2559" y="1029"/>
                  <a:pt x="2559" y="1029"/>
                </a:cubicBezTo>
                <a:cubicBezTo>
                  <a:pt x="2558" y="1026"/>
                  <a:pt x="2558" y="1026"/>
                  <a:pt x="2558" y="1026"/>
                </a:cubicBezTo>
                <a:cubicBezTo>
                  <a:pt x="2556" y="1025"/>
                  <a:pt x="2556" y="1025"/>
                  <a:pt x="2556" y="1025"/>
                </a:cubicBezTo>
                <a:cubicBezTo>
                  <a:pt x="2553" y="1024"/>
                  <a:pt x="2553" y="1024"/>
                  <a:pt x="2553" y="1024"/>
                </a:cubicBezTo>
                <a:cubicBezTo>
                  <a:pt x="2552" y="1027"/>
                  <a:pt x="2552" y="1027"/>
                  <a:pt x="2552" y="1027"/>
                </a:cubicBezTo>
                <a:cubicBezTo>
                  <a:pt x="2552" y="1029"/>
                  <a:pt x="2552" y="1029"/>
                  <a:pt x="2552" y="1029"/>
                </a:cubicBezTo>
                <a:lnTo>
                  <a:pt x="2556" y="1029"/>
                </a:lnTo>
                <a:close/>
                <a:moveTo>
                  <a:pt x="2569" y="1026"/>
                </a:moveTo>
                <a:cubicBezTo>
                  <a:pt x="2569" y="1024"/>
                  <a:pt x="2569" y="1024"/>
                  <a:pt x="2569" y="1024"/>
                </a:cubicBezTo>
                <a:cubicBezTo>
                  <a:pt x="2569" y="1023"/>
                  <a:pt x="2569" y="1023"/>
                  <a:pt x="2569" y="1023"/>
                </a:cubicBezTo>
                <a:cubicBezTo>
                  <a:pt x="2566" y="1026"/>
                  <a:pt x="2566" y="1026"/>
                  <a:pt x="2566" y="1026"/>
                </a:cubicBezTo>
                <a:lnTo>
                  <a:pt x="2569" y="1026"/>
                </a:lnTo>
                <a:close/>
                <a:moveTo>
                  <a:pt x="2549" y="1021"/>
                </a:moveTo>
                <a:cubicBezTo>
                  <a:pt x="2548" y="1021"/>
                  <a:pt x="2548" y="1021"/>
                  <a:pt x="2548" y="1021"/>
                </a:cubicBezTo>
                <a:cubicBezTo>
                  <a:pt x="2550" y="1025"/>
                  <a:pt x="2550" y="1025"/>
                  <a:pt x="2550" y="1025"/>
                </a:cubicBezTo>
                <a:cubicBezTo>
                  <a:pt x="2551" y="1026"/>
                  <a:pt x="2551" y="1026"/>
                  <a:pt x="2551" y="1026"/>
                </a:cubicBezTo>
                <a:cubicBezTo>
                  <a:pt x="2553" y="1023"/>
                  <a:pt x="2553" y="1023"/>
                  <a:pt x="2553" y="1023"/>
                </a:cubicBezTo>
                <a:cubicBezTo>
                  <a:pt x="2551" y="1022"/>
                  <a:pt x="2551" y="1022"/>
                  <a:pt x="2551" y="1022"/>
                </a:cubicBezTo>
                <a:lnTo>
                  <a:pt x="2549" y="1021"/>
                </a:lnTo>
                <a:close/>
                <a:moveTo>
                  <a:pt x="2542" y="1016"/>
                </a:moveTo>
                <a:cubicBezTo>
                  <a:pt x="2541" y="1016"/>
                  <a:pt x="2541" y="1016"/>
                  <a:pt x="2541" y="1016"/>
                </a:cubicBezTo>
                <a:cubicBezTo>
                  <a:pt x="2542" y="1019"/>
                  <a:pt x="2542" y="1019"/>
                  <a:pt x="2542" y="1019"/>
                </a:cubicBezTo>
                <a:cubicBezTo>
                  <a:pt x="2544" y="1019"/>
                  <a:pt x="2544" y="1019"/>
                  <a:pt x="2544" y="1019"/>
                </a:cubicBezTo>
                <a:cubicBezTo>
                  <a:pt x="2546" y="1017"/>
                  <a:pt x="2546" y="1017"/>
                  <a:pt x="2546" y="1017"/>
                </a:cubicBezTo>
                <a:cubicBezTo>
                  <a:pt x="2544" y="1015"/>
                  <a:pt x="2544" y="1015"/>
                  <a:pt x="2544" y="1015"/>
                </a:cubicBezTo>
                <a:lnTo>
                  <a:pt x="2542" y="1016"/>
                </a:lnTo>
                <a:close/>
                <a:moveTo>
                  <a:pt x="2574" y="1023"/>
                </a:moveTo>
                <a:cubicBezTo>
                  <a:pt x="2573" y="1024"/>
                  <a:pt x="2573" y="1024"/>
                  <a:pt x="2573" y="1024"/>
                </a:cubicBezTo>
                <a:cubicBezTo>
                  <a:pt x="2571" y="1024"/>
                  <a:pt x="2571" y="1024"/>
                  <a:pt x="2571" y="1024"/>
                </a:cubicBezTo>
                <a:cubicBezTo>
                  <a:pt x="2570" y="1026"/>
                  <a:pt x="2570" y="1026"/>
                  <a:pt x="2570" y="1026"/>
                </a:cubicBezTo>
                <a:cubicBezTo>
                  <a:pt x="2573" y="1026"/>
                  <a:pt x="2573" y="1026"/>
                  <a:pt x="2573" y="1026"/>
                </a:cubicBezTo>
                <a:cubicBezTo>
                  <a:pt x="2573" y="1029"/>
                  <a:pt x="2573" y="1029"/>
                  <a:pt x="2573" y="1029"/>
                </a:cubicBezTo>
                <a:cubicBezTo>
                  <a:pt x="2575" y="1029"/>
                  <a:pt x="2575" y="1029"/>
                  <a:pt x="2575" y="1029"/>
                </a:cubicBezTo>
                <a:cubicBezTo>
                  <a:pt x="2575" y="1025"/>
                  <a:pt x="2575" y="1025"/>
                  <a:pt x="2575" y="1025"/>
                </a:cubicBezTo>
                <a:cubicBezTo>
                  <a:pt x="2574" y="1024"/>
                  <a:pt x="2574" y="1024"/>
                  <a:pt x="2574" y="1024"/>
                </a:cubicBezTo>
                <a:cubicBezTo>
                  <a:pt x="2575" y="1023"/>
                  <a:pt x="2575" y="1023"/>
                  <a:pt x="2575" y="1023"/>
                </a:cubicBezTo>
                <a:lnTo>
                  <a:pt x="2574" y="1023"/>
                </a:lnTo>
                <a:close/>
                <a:moveTo>
                  <a:pt x="2521" y="965"/>
                </a:moveTo>
                <a:cubicBezTo>
                  <a:pt x="2521" y="967"/>
                  <a:pt x="2521" y="967"/>
                  <a:pt x="2521" y="967"/>
                </a:cubicBezTo>
                <a:cubicBezTo>
                  <a:pt x="2522" y="967"/>
                  <a:pt x="2522" y="967"/>
                  <a:pt x="2522" y="967"/>
                </a:cubicBezTo>
                <a:cubicBezTo>
                  <a:pt x="2522" y="965"/>
                  <a:pt x="2522" y="965"/>
                  <a:pt x="2522" y="965"/>
                </a:cubicBezTo>
                <a:cubicBezTo>
                  <a:pt x="2521" y="965"/>
                  <a:pt x="2521" y="965"/>
                  <a:pt x="2521" y="965"/>
                </a:cubicBezTo>
                <a:close/>
                <a:moveTo>
                  <a:pt x="2580" y="1105"/>
                </a:moveTo>
                <a:cubicBezTo>
                  <a:pt x="2579" y="1105"/>
                  <a:pt x="2579" y="1105"/>
                  <a:pt x="2579" y="1105"/>
                </a:cubicBezTo>
                <a:cubicBezTo>
                  <a:pt x="2579" y="1106"/>
                  <a:pt x="2579" y="1106"/>
                  <a:pt x="2579" y="1106"/>
                </a:cubicBezTo>
                <a:cubicBezTo>
                  <a:pt x="2580" y="1106"/>
                  <a:pt x="2580" y="1106"/>
                  <a:pt x="2580" y="1106"/>
                </a:cubicBezTo>
                <a:lnTo>
                  <a:pt x="2580" y="1105"/>
                </a:lnTo>
                <a:close/>
                <a:moveTo>
                  <a:pt x="2526" y="977"/>
                </a:moveTo>
                <a:cubicBezTo>
                  <a:pt x="2526" y="979"/>
                  <a:pt x="2526" y="979"/>
                  <a:pt x="2526" y="979"/>
                </a:cubicBezTo>
                <a:cubicBezTo>
                  <a:pt x="2528" y="980"/>
                  <a:pt x="2528" y="980"/>
                  <a:pt x="2528" y="980"/>
                </a:cubicBezTo>
                <a:cubicBezTo>
                  <a:pt x="2528" y="980"/>
                  <a:pt x="2528" y="980"/>
                  <a:pt x="2528" y="980"/>
                </a:cubicBezTo>
                <a:cubicBezTo>
                  <a:pt x="2528" y="978"/>
                  <a:pt x="2528" y="978"/>
                  <a:pt x="2528" y="978"/>
                </a:cubicBezTo>
                <a:cubicBezTo>
                  <a:pt x="2527" y="977"/>
                  <a:pt x="2527" y="977"/>
                  <a:pt x="2527" y="977"/>
                </a:cubicBezTo>
                <a:lnTo>
                  <a:pt x="2526" y="977"/>
                </a:lnTo>
                <a:close/>
                <a:moveTo>
                  <a:pt x="2591" y="1003"/>
                </a:moveTo>
                <a:cubicBezTo>
                  <a:pt x="2590" y="1002"/>
                  <a:pt x="2590" y="1002"/>
                  <a:pt x="2590" y="1002"/>
                </a:cubicBezTo>
                <a:cubicBezTo>
                  <a:pt x="2589" y="1003"/>
                  <a:pt x="2589" y="1003"/>
                  <a:pt x="2589" y="1003"/>
                </a:cubicBezTo>
                <a:lnTo>
                  <a:pt x="2591" y="1003"/>
                </a:lnTo>
                <a:close/>
                <a:moveTo>
                  <a:pt x="2590" y="999"/>
                </a:moveTo>
                <a:cubicBezTo>
                  <a:pt x="2590" y="1001"/>
                  <a:pt x="2590" y="1001"/>
                  <a:pt x="2590" y="1001"/>
                </a:cubicBezTo>
                <a:cubicBezTo>
                  <a:pt x="2591" y="999"/>
                  <a:pt x="2591" y="999"/>
                  <a:pt x="2591" y="999"/>
                </a:cubicBezTo>
                <a:lnTo>
                  <a:pt x="2590" y="999"/>
                </a:lnTo>
                <a:close/>
                <a:moveTo>
                  <a:pt x="2590" y="1007"/>
                </a:moveTo>
                <a:cubicBezTo>
                  <a:pt x="2591" y="1006"/>
                  <a:pt x="2591" y="1006"/>
                  <a:pt x="2591" y="1006"/>
                </a:cubicBezTo>
                <a:cubicBezTo>
                  <a:pt x="2590" y="1005"/>
                  <a:pt x="2590" y="1005"/>
                  <a:pt x="2590" y="1005"/>
                </a:cubicBezTo>
                <a:lnTo>
                  <a:pt x="2590" y="1007"/>
                </a:lnTo>
                <a:close/>
                <a:moveTo>
                  <a:pt x="2592" y="1063"/>
                </a:moveTo>
                <a:cubicBezTo>
                  <a:pt x="2589" y="1061"/>
                  <a:pt x="2589" y="1061"/>
                  <a:pt x="2589" y="1061"/>
                </a:cubicBezTo>
                <a:cubicBezTo>
                  <a:pt x="2589" y="1056"/>
                  <a:pt x="2589" y="1056"/>
                  <a:pt x="2589" y="1056"/>
                </a:cubicBezTo>
                <a:cubicBezTo>
                  <a:pt x="2588" y="1055"/>
                  <a:pt x="2588" y="1055"/>
                  <a:pt x="2588" y="1055"/>
                </a:cubicBezTo>
                <a:cubicBezTo>
                  <a:pt x="2588" y="1054"/>
                  <a:pt x="2588" y="1054"/>
                  <a:pt x="2588" y="1054"/>
                </a:cubicBezTo>
                <a:cubicBezTo>
                  <a:pt x="2586" y="1053"/>
                  <a:pt x="2586" y="1053"/>
                  <a:pt x="2586" y="1053"/>
                </a:cubicBezTo>
                <a:cubicBezTo>
                  <a:pt x="2585" y="1053"/>
                  <a:pt x="2585" y="1053"/>
                  <a:pt x="2585" y="1053"/>
                </a:cubicBezTo>
                <a:cubicBezTo>
                  <a:pt x="2585" y="1055"/>
                  <a:pt x="2585" y="1055"/>
                  <a:pt x="2585" y="1055"/>
                </a:cubicBezTo>
                <a:cubicBezTo>
                  <a:pt x="2586" y="1056"/>
                  <a:pt x="2586" y="1056"/>
                  <a:pt x="2586" y="1056"/>
                </a:cubicBezTo>
                <a:cubicBezTo>
                  <a:pt x="2584" y="1055"/>
                  <a:pt x="2584" y="1055"/>
                  <a:pt x="2584" y="1055"/>
                </a:cubicBezTo>
                <a:cubicBezTo>
                  <a:pt x="2582" y="1054"/>
                  <a:pt x="2582" y="1054"/>
                  <a:pt x="2582" y="1054"/>
                </a:cubicBezTo>
                <a:cubicBezTo>
                  <a:pt x="2582" y="1054"/>
                  <a:pt x="2582" y="1054"/>
                  <a:pt x="2582" y="1054"/>
                </a:cubicBezTo>
                <a:cubicBezTo>
                  <a:pt x="2582" y="1056"/>
                  <a:pt x="2582" y="1056"/>
                  <a:pt x="2582" y="1056"/>
                </a:cubicBezTo>
                <a:cubicBezTo>
                  <a:pt x="2580" y="1058"/>
                  <a:pt x="2580" y="1058"/>
                  <a:pt x="2580" y="1058"/>
                </a:cubicBezTo>
                <a:cubicBezTo>
                  <a:pt x="2581" y="1059"/>
                  <a:pt x="2581" y="1059"/>
                  <a:pt x="2581" y="1059"/>
                </a:cubicBezTo>
                <a:cubicBezTo>
                  <a:pt x="2585" y="1059"/>
                  <a:pt x="2585" y="1059"/>
                  <a:pt x="2585" y="1059"/>
                </a:cubicBezTo>
                <a:cubicBezTo>
                  <a:pt x="2586" y="1060"/>
                  <a:pt x="2586" y="1060"/>
                  <a:pt x="2586" y="1060"/>
                </a:cubicBezTo>
                <a:cubicBezTo>
                  <a:pt x="2586" y="1062"/>
                  <a:pt x="2586" y="1062"/>
                  <a:pt x="2586" y="1062"/>
                </a:cubicBezTo>
                <a:cubicBezTo>
                  <a:pt x="2587" y="1063"/>
                  <a:pt x="2587" y="1063"/>
                  <a:pt x="2587" y="1063"/>
                </a:cubicBezTo>
                <a:cubicBezTo>
                  <a:pt x="2588" y="1066"/>
                  <a:pt x="2588" y="1066"/>
                  <a:pt x="2588" y="1066"/>
                </a:cubicBezTo>
                <a:cubicBezTo>
                  <a:pt x="2590" y="1067"/>
                  <a:pt x="2590" y="1067"/>
                  <a:pt x="2590" y="1067"/>
                </a:cubicBezTo>
                <a:cubicBezTo>
                  <a:pt x="2592" y="1067"/>
                  <a:pt x="2592" y="1067"/>
                  <a:pt x="2592" y="1067"/>
                </a:cubicBezTo>
                <a:cubicBezTo>
                  <a:pt x="2593" y="1069"/>
                  <a:pt x="2593" y="1069"/>
                  <a:pt x="2593" y="1069"/>
                </a:cubicBezTo>
                <a:cubicBezTo>
                  <a:pt x="2594" y="1070"/>
                  <a:pt x="2594" y="1070"/>
                  <a:pt x="2594" y="1070"/>
                </a:cubicBezTo>
                <a:cubicBezTo>
                  <a:pt x="2595" y="1068"/>
                  <a:pt x="2595" y="1068"/>
                  <a:pt x="2595" y="1068"/>
                </a:cubicBezTo>
                <a:cubicBezTo>
                  <a:pt x="2594" y="1066"/>
                  <a:pt x="2594" y="1066"/>
                  <a:pt x="2594" y="1066"/>
                </a:cubicBezTo>
                <a:cubicBezTo>
                  <a:pt x="2595" y="1064"/>
                  <a:pt x="2595" y="1064"/>
                  <a:pt x="2595" y="1064"/>
                </a:cubicBezTo>
                <a:lnTo>
                  <a:pt x="2592" y="1063"/>
                </a:lnTo>
                <a:close/>
                <a:moveTo>
                  <a:pt x="2587" y="1004"/>
                </a:moveTo>
                <a:cubicBezTo>
                  <a:pt x="2585" y="1003"/>
                  <a:pt x="2585" y="1003"/>
                  <a:pt x="2585" y="1003"/>
                </a:cubicBezTo>
                <a:cubicBezTo>
                  <a:pt x="2584" y="1003"/>
                  <a:pt x="2584" y="1003"/>
                  <a:pt x="2584" y="1003"/>
                </a:cubicBezTo>
                <a:cubicBezTo>
                  <a:pt x="2584" y="1005"/>
                  <a:pt x="2584" y="1005"/>
                  <a:pt x="2584" y="1005"/>
                </a:cubicBezTo>
                <a:cubicBezTo>
                  <a:pt x="2585" y="1006"/>
                  <a:pt x="2585" y="1006"/>
                  <a:pt x="2585" y="1006"/>
                </a:cubicBezTo>
                <a:lnTo>
                  <a:pt x="2587" y="1004"/>
                </a:lnTo>
                <a:close/>
                <a:moveTo>
                  <a:pt x="2574" y="1044"/>
                </a:moveTo>
                <a:cubicBezTo>
                  <a:pt x="2574" y="1042"/>
                  <a:pt x="2574" y="1042"/>
                  <a:pt x="2574" y="1042"/>
                </a:cubicBezTo>
                <a:cubicBezTo>
                  <a:pt x="2572" y="1042"/>
                  <a:pt x="2572" y="1042"/>
                  <a:pt x="2572" y="1042"/>
                </a:cubicBezTo>
                <a:cubicBezTo>
                  <a:pt x="2571" y="1043"/>
                  <a:pt x="2571" y="1043"/>
                  <a:pt x="2571" y="1043"/>
                </a:cubicBezTo>
                <a:cubicBezTo>
                  <a:pt x="2573" y="1045"/>
                  <a:pt x="2573" y="1045"/>
                  <a:pt x="2573" y="1045"/>
                </a:cubicBezTo>
                <a:lnTo>
                  <a:pt x="2574" y="1044"/>
                </a:lnTo>
                <a:close/>
                <a:moveTo>
                  <a:pt x="2578" y="1042"/>
                </a:moveTo>
                <a:cubicBezTo>
                  <a:pt x="2578" y="1041"/>
                  <a:pt x="2578" y="1041"/>
                  <a:pt x="2578" y="1041"/>
                </a:cubicBezTo>
                <a:cubicBezTo>
                  <a:pt x="2575" y="1038"/>
                  <a:pt x="2575" y="1038"/>
                  <a:pt x="2575" y="1038"/>
                </a:cubicBezTo>
                <a:cubicBezTo>
                  <a:pt x="2574" y="1038"/>
                  <a:pt x="2574" y="1038"/>
                  <a:pt x="2574" y="1038"/>
                </a:cubicBezTo>
                <a:cubicBezTo>
                  <a:pt x="2573" y="1040"/>
                  <a:pt x="2573" y="1040"/>
                  <a:pt x="2573" y="1040"/>
                </a:cubicBezTo>
                <a:cubicBezTo>
                  <a:pt x="2574" y="1041"/>
                  <a:pt x="2574" y="1041"/>
                  <a:pt x="2574" y="1041"/>
                </a:cubicBezTo>
                <a:cubicBezTo>
                  <a:pt x="2575" y="1040"/>
                  <a:pt x="2575" y="1040"/>
                  <a:pt x="2575" y="1040"/>
                </a:cubicBezTo>
                <a:lnTo>
                  <a:pt x="2578" y="1042"/>
                </a:lnTo>
                <a:close/>
                <a:moveTo>
                  <a:pt x="2764" y="903"/>
                </a:moveTo>
                <a:cubicBezTo>
                  <a:pt x="2765" y="903"/>
                  <a:pt x="2765" y="903"/>
                  <a:pt x="2765" y="903"/>
                </a:cubicBezTo>
                <a:cubicBezTo>
                  <a:pt x="2763" y="901"/>
                  <a:pt x="2763" y="901"/>
                  <a:pt x="2763" y="901"/>
                </a:cubicBezTo>
                <a:cubicBezTo>
                  <a:pt x="2761" y="901"/>
                  <a:pt x="2761" y="901"/>
                  <a:pt x="2761" y="901"/>
                </a:cubicBezTo>
                <a:cubicBezTo>
                  <a:pt x="2762" y="902"/>
                  <a:pt x="2762" y="902"/>
                  <a:pt x="2762" y="902"/>
                </a:cubicBezTo>
                <a:lnTo>
                  <a:pt x="2764" y="903"/>
                </a:lnTo>
                <a:close/>
                <a:moveTo>
                  <a:pt x="1616" y="399"/>
                </a:moveTo>
                <a:cubicBezTo>
                  <a:pt x="1615" y="401"/>
                  <a:pt x="1615" y="401"/>
                  <a:pt x="1615" y="401"/>
                </a:cubicBezTo>
                <a:cubicBezTo>
                  <a:pt x="1617" y="402"/>
                  <a:pt x="1617" y="402"/>
                  <a:pt x="1617" y="402"/>
                </a:cubicBezTo>
                <a:lnTo>
                  <a:pt x="1616" y="399"/>
                </a:lnTo>
                <a:close/>
                <a:moveTo>
                  <a:pt x="1612" y="410"/>
                </a:moveTo>
                <a:cubicBezTo>
                  <a:pt x="1613" y="410"/>
                  <a:pt x="1613" y="410"/>
                  <a:pt x="1613" y="410"/>
                </a:cubicBezTo>
                <a:cubicBezTo>
                  <a:pt x="1614" y="409"/>
                  <a:pt x="1614" y="409"/>
                  <a:pt x="1614" y="409"/>
                </a:cubicBezTo>
                <a:cubicBezTo>
                  <a:pt x="1615" y="409"/>
                  <a:pt x="1615" y="409"/>
                  <a:pt x="1615" y="409"/>
                </a:cubicBezTo>
                <a:cubicBezTo>
                  <a:pt x="1615" y="408"/>
                  <a:pt x="1615" y="408"/>
                  <a:pt x="1615" y="408"/>
                </a:cubicBezTo>
                <a:cubicBezTo>
                  <a:pt x="1613" y="408"/>
                  <a:pt x="1613" y="408"/>
                  <a:pt x="1613" y="408"/>
                </a:cubicBezTo>
                <a:lnTo>
                  <a:pt x="1612" y="410"/>
                </a:lnTo>
                <a:close/>
                <a:moveTo>
                  <a:pt x="1600" y="376"/>
                </a:moveTo>
                <a:cubicBezTo>
                  <a:pt x="1601" y="376"/>
                  <a:pt x="1601" y="376"/>
                  <a:pt x="1601" y="376"/>
                </a:cubicBezTo>
                <a:cubicBezTo>
                  <a:pt x="1603" y="375"/>
                  <a:pt x="1603" y="375"/>
                  <a:pt x="1603" y="375"/>
                </a:cubicBezTo>
                <a:cubicBezTo>
                  <a:pt x="1601" y="375"/>
                  <a:pt x="1601" y="375"/>
                  <a:pt x="1601" y="375"/>
                </a:cubicBezTo>
                <a:lnTo>
                  <a:pt x="1600" y="376"/>
                </a:lnTo>
                <a:close/>
                <a:moveTo>
                  <a:pt x="1604" y="412"/>
                </a:moveTo>
                <a:cubicBezTo>
                  <a:pt x="1603" y="412"/>
                  <a:pt x="1603" y="412"/>
                  <a:pt x="1603" y="412"/>
                </a:cubicBezTo>
                <a:cubicBezTo>
                  <a:pt x="1603" y="413"/>
                  <a:pt x="1603" y="413"/>
                  <a:pt x="1603" y="413"/>
                </a:cubicBezTo>
                <a:cubicBezTo>
                  <a:pt x="1606" y="414"/>
                  <a:pt x="1606" y="414"/>
                  <a:pt x="1606" y="414"/>
                </a:cubicBezTo>
                <a:cubicBezTo>
                  <a:pt x="1609" y="414"/>
                  <a:pt x="1609" y="414"/>
                  <a:pt x="1609" y="414"/>
                </a:cubicBezTo>
                <a:cubicBezTo>
                  <a:pt x="1610" y="413"/>
                  <a:pt x="1610" y="413"/>
                  <a:pt x="1610" y="413"/>
                </a:cubicBezTo>
                <a:cubicBezTo>
                  <a:pt x="1611" y="414"/>
                  <a:pt x="1611" y="414"/>
                  <a:pt x="1611" y="414"/>
                </a:cubicBezTo>
                <a:cubicBezTo>
                  <a:pt x="1611" y="415"/>
                  <a:pt x="1611" y="415"/>
                  <a:pt x="1611" y="415"/>
                </a:cubicBezTo>
                <a:cubicBezTo>
                  <a:pt x="1611" y="413"/>
                  <a:pt x="1611" y="413"/>
                  <a:pt x="1611" y="413"/>
                </a:cubicBezTo>
                <a:cubicBezTo>
                  <a:pt x="1612" y="411"/>
                  <a:pt x="1612" y="411"/>
                  <a:pt x="1612" y="411"/>
                </a:cubicBezTo>
                <a:cubicBezTo>
                  <a:pt x="1612" y="410"/>
                  <a:pt x="1612" y="410"/>
                  <a:pt x="1612" y="410"/>
                </a:cubicBezTo>
                <a:cubicBezTo>
                  <a:pt x="1611" y="410"/>
                  <a:pt x="1611" y="410"/>
                  <a:pt x="1611" y="410"/>
                </a:cubicBezTo>
                <a:cubicBezTo>
                  <a:pt x="1610" y="410"/>
                  <a:pt x="1610" y="410"/>
                  <a:pt x="1610" y="410"/>
                </a:cubicBezTo>
                <a:cubicBezTo>
                  <a:pt x="1609" y="412"/>
                  <a:pt x="1609" y="412"/>
                  <a:pt x="1609" y="412"/>
                </a:cubicBezTo>
                <a:cubicBezTo>
                  <a:pt x="1608" y="412"/>
                  <a:pt x="1608" y="412"/>
                  <a:pt x="1608" y="412"/>
                </a:cubicBezTo>
                <a:cubicBezTo>
                  <a:pt x="1607" y="412"/>
                  <a:pt x="1607" y="412"/>
                  <a:pt x="1607" y="412"/>
                </a:cubicBezTo>
                <a:cubicBezTo>
                  <a:pt x="1605" y="409"/>
                  <a:pt x="1605" y="409"/>
                  <a:pt x="1605" y="409"/>
                </a:cubicBezTo>
                <a:cubicBezTo>
                  <a:pt x="1604" y="410"/>
                  <a:pt x="1604" y="410"/>
                  <a:pt x="1604" y="410"/>
                </a:cubicBezTo>
                <a:cubicBezTo>
                  <a:pt x="1603" y="411"/>
                  <a:pt x="1603" y="411"/>
                  <a:pt x="1603" y="411"/>
                </a:cubicBezTo>
                <a:lnTo>
                  <a:pt x="1604" y="412"/>
                </a:lnTo>
                <a:close/>
                <a:moveTo>
                  <a:pt x="1582" y="384"/>
                </a:moveTo>
                <a:cubicBezTo>
                  <a:pt x="1582" y="386"/>
                  <a:pt x="1582" y="386"/>
                  <a:pt x="1582" y="386"/>
                </a:cubicBezTo>
                <a:cubicBezTo>
                  <a:pt x="1583" y="385"/>
                  <a:pt x="1583" y="385"/>
                  <a:pt x="1583" y="385"/>
                </a:cubicBezTo>
                <a:cubicBezTo>
                  <a:pt x="1585" y="384"/>
                  <a:pt x="1585" y="384"/>
                  <a:pt x="1585" y="384"/>
                </a:cubicBezTo>
                <a:cubicBezTo>
                  <a:pt x="1585" y="382"/>
                  <a:pt x="1585" y="382"/>
                  <a:pt x="1585" y="382"/>
                </a:cubicBezTo>
                <a:cubicBezTo>
                  <a:pt x="1583" y="382"/>
                  <a:pt x="1583" y="382"/>
                  <a:pt x="1583" y="382"/>
                </a:cubicBezTo>
                <a:lnTo>
                  <a:pt x="1582" y="384"/>
                </a:lnTo>
                <a:close/>
                <a:moveTo>
                  <a:pt x="1604" y="401"/>
                </a:moveTo>
                <a:cubicBezTo>
                  <a:pt x="1605" y="402"/>
                  <a:pt x="1605" y="402"/>
                  <a:pt x="1605" y="402"/>
                </a:cubicBezTo>
                <a:cubicBezTo>
                  <a:pt x="1605" y="404"/>
                  <a:pt x="1605" y="404"/>
                  <a:pt x="1605" y="404"/>
                </a:cubicBezTo>
                <a:cubicBezTo>
                  <a:pt x="1606" y="406"/>
                  <a:pt x="1606" y="406"/>
                  <a:pt x="1606" y="406"/>
                </a:cubicBezTo>
                <a:cubicBezTo>
                  <a:pt x="1607" y="406"/>
                  <a:pt x="1607" y="406"/>
                  <a:pt x="1607" y="406"/>
                </a:cubicBezTo>
                <a:cubicBezTo>
                  <a:pt x="1609" y="406"/>
                  <a:pt x="1609" y="406"/>
                  <a:pt x="1609" y="406"/>
                </a:cubicBezTo>
                <a:cubicBezTo>
                  <a:pt x="1610" y="407"/>
                  <a:pt x="1610" y="407"/>
                  <a:pt x="1610" y="407"/>
                </a:cubicBezTo>
                <a:cubicBezTo>
                  <a:pt x="1609" y="408"/>
                  <a:pt x="1609" y="408"/>
                  <a:pt x="1609" y="408"/>
                </a:cubicBezTo>
                <a:cubicBezTo>
                  <a:pt x="1610" y="409"/>
                  <a:pt x="1610" y="409"/>
                  <a:pt x="1610" y="409"/>
                </a:cubicBezTo>
                <a:cubicBezTo>
                  <a:pt x="1611" y="409"/>
                  <a:pt x="1611" y="409"/>
                  <a:pt x="1611" y="409"/>
                </a:cubicBezTo>
                <a:cubicBezTo>
                  <a:pt x="1612" y="408"/>
                  <a:pt x="1612" y="408"/>
                  <a:pt x="1612" y="408"/>
                </a:cubicBezTo>
                <a:cubicBezTo>
                  <a:pt x="1612" y="407"/>
                  <a:pt x="1612" y="407"/>
                  <a:pt x="1612" y="407"/>
                </a:cubicBezTo>
                <a:cubicBezTo>
                  <a:pt x="1614" y="406"/>
                  <a:pt x="1614" y="406"/>
                  <a:pt x="1614" y="406"/>
                </a:cubicBezTo>
                <a:cubicBezTo>
                  <a:pt x="1615" y="405"/>
                  <a:pt x="1615" y="405"/>
                  <a:pt x="1615" y="405"/>
                </a:cubicBezTo>
                <a:cubicBezTo>
                  <a:pt x="1615" y="404"/>
                  <a:pt x="1615" y="404"/>
                  <a:pt x="1615" y="404"/>
                </a:cubicBezTo>
                <a:cubicBezTo>
                  <a:pt x="1613" y="402"/>
                  <a:pt x="1613" y="402"/>
                  <a:pt x="1613" y="402"/>
                </a:cubicBezTo>
                <a:cubicBezTo>
                  <a:pt x="1613" y="402"/>
                  <a:pt x="1613" y="402"/>
                  <a:pt x="1613" y="402"/>
                </a:cubicBezTo>
                <a:cubicBezTo>
                  <a:pt x="1615" y="401"/>
                  <a:pt x="1615" y="401"/>
                  <a:pt x="1615" y="401"/>
                </a:cubicBezTo>
                <a:cubicBezTo>
                  <a:pt x="1616" y="398"/>
                  <a:pt x="1616" y="398"/>
                  <a:pt x="1616" y="398"/>
                </a:cubicBezTo>
                <a:cubicBezTo>
                  <a:pt x="1615" y="396"/>
                  <a:pt x="1615" y="396"/>
                  <a:pt x="1615" y="396"/>
                </a:cubicBezTo>
                <a:cubicBezTo>
                  <a:pt x="1615" y="394"/>
                  <a:pt x="1615" y="394"/>
                  <a:pt x="1615" y="394"/>
                </a:cubicBezTo>
                <a:cubicBezTo>
                  <a:pt x="1612" y="394"/>
                  <a:pt x="1612" y="394"/>
                  <a:pt x="1612" y="394"/>
                </a:cubicBezTo>
                <a:cubicBezTo>
                  <a:pt x="1610" y="395"/>
                  <a:pt x="1610" y="395"/>
                  <a:pt x="1610" y="395"/>
                </a:cubicBezTo>
                <a:cubicBezTo>
                  <a:pt x="1609" y="397"/>
                  <a:pt x="1609" y="397"/>
                  <a:pt x="1609" y="397"/>
                </a:cubicBezTo>
                <a:cubicBezTo>
                  <a:pt x="1610" y="398"/>
                  <a:pt x="1610" y="398"/>
                  <a:pt x="1610" y="398"/>
                </a:cubicBezTo>
                <a:cubicBezTo>
                  <a:pt x="1611" y="399"/>
                  <a:pt x="1611" y="399"/>
                  <a:pt x="1611" y="399"/>
                </a:cubicBezTo>
                <a:cubicBezTo>
                  <a:pt x="1611" y="400"/>
                  <a:pt x="1611" y="400"/>
                  <a:pt x="1611" y="400"/>
                </a:cubicBezTo>
                <a:cubicBezTo>
                  <a:pt x="1610" y="400"/>
                  <a:pt x="1610" y="400"/>
                  <a:pt x="1610" y="400"/>
                </a:cubicBezTo>
                <a:cubicBezTo>
                  <a:pt x="1609" y="400"/>
                  <a:pt x="1609" y="400"/>
                  <a:pt x="1609" y="400"/>
                </a:cubicBezTo>
                <a:cubicBezTo>
                  <a:pt x="1608" y="399"/>
                  <a:pt x="1608" y="399"/>
                  <a:pt x="1608" y="399"/>
                </a:cubicBezTo>
                <a:cubicBezTo>
                  <a:pt x="1608" y="398"/>
                  <a:pt x="1608" y="398"/>
                  <a:pt x="1608" y="398"/>
                </a:cubicBezTo>
                <a:cubicBezTo>
                  <a:pt x="1607" y="397"/>
                  <a:pt x="1607" y="397"/>
                  <a:pt x="1607" y="397"/>
                </a:cubicBezTo>
                <a:cubicBezTo>
                  <a:pt x="1606" y="397"/>
                  <a:pt x="1606" y="397"/>
                  <a:pt x="1606" y="397"/>
                </a:cubicBezTo>
                <a:cubicBezTo>
                  <a:pt x="1605" y="399"/>
                  <a:pt x="1605" y="399"/>
                  <a:pt x="1605" y="399"/>
                </a:cubicBezTo>
                <a:cubicBezTo>
                  <a:pt x="1604" y="399"/>
                  <a:pt x="1604" y="399"/>
                  <a:pt x="1604" y="399"/>
                </a:cubicBezTo>
                <a:lnTo>
                  <a:pt x="1604" y="401"/>
                </a:lnTo>
                <a:close/>
                <a:moveTo>
                  <a:pt x="1606" y="363"/>
                </a:moveTo>
                <a:cubicBezTo>
                  <a:pt x="1604" y="364"/>
                  <a:pt x="1604" y="364"/>
                  <a:pt x="1604" y="364"/>
                </a:cubicBezTo>
                <a:cubicBezTo>
                  <a:pt x="1604" y="365"/>
                  <a:pt x="1604" y="365"/>
                  <a:pt x="1604" y="365"/>
                </a:cubicBezTo>
                <a:cubicBezTo>
                  <a:pt x="1605" y="365"/>
                  <a:pt x="1605" y="365"/>
                  <a:pt x="1605" y="365"/>
                </a:cubicBezTo>
                <a:lnTo>
                  <a:pt x="1606" y="363"/>
                </a:lnTo>
                <a:close/>
                <a:moveTo>
                  <a:pt x="1622" y="416"/>
                </a:moveTo>
                <a:cubicBezTo>
                  <a:pt x="1621" y="418"/>
                  <a:pt x="1621" y="418"/>
                  <a:pt x="1621" y="418"/>
                </a:cubicBezTo>
                <a:cubicBezTo>
                  <a:pt x="1622" y="418"/>
                  <a:pt x="1622" y="418"/>
                  <a:pt x="1622" y="418"/>
                </a:cubicBezTo>
                <a:cubicBezTo>
                  <a:pt x="1624" y="419"/>
                  <a:pt x="1624" y="419"/>
                  <a:pt x="1624" y="419"/>
                </a:cubicBezTo>
                <a:cubicBezTo>
                  <a:pt x="1625" y="417"/>
                  <a:pt x="1625" y="417"/>
                  <a:pt x="1625" y="417"/>
                </a:cubicBezTo>
                <a:cubicBezTo>
                  <a:pt x="1627" y="418"/>
                  <a:pt x="1627" y="418"/>
                  <a:pt x="1627" y="418"/>
                </a:cubicBezTo>
                <a:cubicBezTo>
                  <a:pt x="1627" y="417"/>
                  <a:pt x="1627" y="417"/>
                  <a:pt x="1627" y="417"/>
                </a:cubicBezTo>
                <a:cubicBezTo>
                  <a:pt x="1626" y="415"/>
                  <a:pt x="1626" y="415"/>
                  <a:pt x="1626" y="415"/>
                </a:cubicBezTo>
                <a:cubicBezTo>
                  <a:pt x="1626" y="414"/>
                  <a:pt x="1626" y="414"/>
                  <a:pt x="1626" y="414"/>
                </a:cubicBezTo>
                <a:cubicBezTo>
                  <a:pt x="1625" y="413"/>
                  <a:pt x="1625" y="413"/>
                  <a:pt x="1625" y="413"/>
                </a:cubicBezTo>
                <a:cubicBezTo>
                  <a:pt x="1624" y="414"/>
                  <a:pt x="1624" y="414"/>
                  <a:pt x="1624" y="414"/>
                </a:cubicBezTo>
                <a:cubicBezTo>
                  <a:pt x="1623" y="413"/>
                  <a:pt x="1623" y="413"/>
                  <a:pt x="1623" y="413"/>
                </a:cubicBezTo>
                <a:cubicBezTo>
                  <a:pt x="1622" y="414"/>
                  <a:pt x="1622" y="414"/>
                  <a:pt x="1622" y="414"/>
                </a:cubicBezTo>
                <a:cubicBezTo>
                  <a:pt x="1622" y="415"/>
                  <a:pt x="1622" y="415"/>
                  <a:pt x="1622" y="415"/>
                </a:cubicBezTo>
                <a:cubicBezTo>
                  <a:pt x="1624" y="415"/>
                  <a:pt x="1624" y="415"/>
                  <a:pt x="1624" y="415"/>
                </a:cubicBezTo>
                <a:cubicBezTo>
                  <a:pt x="1623" y="416"/>
                  <a:pt x="1623" y="416"/>
                  <a:pt x="1623" y="416"/>
                </a:cubicBezTo>
                <a:lnTo>
                  <a:pt x="1622" y="416"/>
                </a:lnTo>
                <a:close/>
                <a:moveTo>
                  <a:pt x="1600" y="407"/>
                </a:moveTo>
                <a:cubicBezTo>
                  <a:pt x="1600" y="405"/>
                  <a:pt x="1600" y="405"/>
                  <a:pt x="1600" y="405"/>
                </a:cubicBezTo>
                <a:cubicBezTo>
                  <a:pt x="1599" y="402"/>
                  <a:pt x="1599" y="402"/>
                  <a:pt x="1599" y="402"/>
                </a:cubicBezTo>
                <a:cubicBezTo>
                  <a:pt x="1597" y="402"/>
                  <a:pt x="1597" y="402"/>
                  <a:pt x="1597" y="402"/>
                </a:cubicBezTo>
                <a:cubicBezTo>
                  <a:pt x="1595" y="401"/>
                  <a:pt x="1595" y="401"/>
                  <a:pt x="1595" y="401"/>
                </a:cubicBezTo>
                <a:cubicBezTo>
                  <a:pt x="1592" y="402"/>
                  <a:pt x="1592" y="402"/>
                  <a:pt x="1592" y="402"/>
                </a:cubicBezTo>
                <a:cubicBezTo>
                  <a:pt x="1591" y="404"/>
                  <a:pt x="1591" y="404"/>
                  <a:pt x="1591" y="404"/>
                </a:cubicBezTo>
                <a:cubicBezTo>
                  <a:pt x="1592" y="406"/>
                  <a:pt x="1592" y="406"/>
                  <a:pt x="1592" y="406"/>
                </a:cubicBezTo>
                <a:cubicBezTo>
                  <a:pt x="1594" y="408"/>
                  <a:pt x="1594" y="408"/>
                  <a:pt x="1594" y="408"/>
                </a:cubicBezTo>
                <a:cubicBezTo>
                  <a:pt x="1596" y="409"/>
                  <a:pt x="1596" y="409"/>
                  <a:pt x="1596" y="409"/>
                </a:cubicBezTo>
                <a:cubicBezTo>
                  <a:pt x="1597" y="409"/>
                  <a:pt x="1597" y="409"/>
                  <a:pt x="1597" y="409"/>
                </a:cubicBezTo>
                <a:cubicBezTo>
                  <a:pt x="1599" y="409"/>
                  <a:pt x="1599" y="409"/>
                  <a:pt x="1599" y="409"/>
                </a:cubicBezTo>
                <a:lnTo>
                  <a:pt x="1600" y="407"/>
                </a:lnTo>
                <a:close/>
                <a:moveTo>
                  <a:pt x="1640" y="408"/>
                </a:moveTo>
                <a:cubicBezTo>
                  <a:pt x="1638" y="405"/>
                  <a:pt x="1638" y="405"/>
                  <a:pt x="1638" y="405"/>
                </a:cubicBezTo>
                <a:cubicBezTo>
                  <a:pt x="1636" y="404"/>
                  <a:pt x="1636" y="404"/>
                  <a:pt x="1636" y="404"/>
                </a:cubicBezTo>
                <a:cubicBezTo>
                  <a:pt x="1635" y="406"/>
                  <a:pt x="1635" y="406"/>
                  <a:pt x="1635" y="406"/>
                </a:cubicBezTo>
                <a:cubicBezTo>
                  <a:pt x="1636" y="408"/>
                  <a:pt x="1636" y="408"/>
                  <a:pt x="1636" y="408"/>
                </a:cubicBezTo>
                <a:cubicBezTo>
                  <a:pt x="1639" y="409"/>
                  <a:pt x="1639" y="409"/>
                  <a:pt x="1639" y="409"/>
                </a:cubicBezTo>
                <a:lnTo>
                  <a:pt x="1640" y="408"/>
                </a:lnTo>
                <a:close/>
                <a:moveTo>
                  <a:pt x="1601" y="411"/>
                </a:moveTo>
                <a:cubicBezTo>
                  <a:pt x="1602" y="408"/>
                  <a:pt x="1602" y="408"/>
                  <a:pt x="1602" y="408"/>
                </a:cubicBezTo>
                <a:cubicBezTo>
                  <a:pt x="1602" y="408"/>
                  <a:pt x="1601" y="407"/>
                  <a:pt x="1601" y="407"/>
                </a:cubicBezTo>
                <a:cubicBezTo>
                  <a:pt x="1601" y="410"/>
                  <a:pt x="1601" y="410"/>
                  <a:pt x="1601" y="410"/>
                </a:cubicBezTo>
                <a:cubicBezTo>
                  <a:pt x="1600" y="411"/>
                  <a:pt x="1600" y="411"/>
                  <a:pt x="1600" y="411"/>
                </a:cubicBezTo>
                <a:cubicBezTo>
                  <a:pt x="1600" y="412"/>
                  <a:pt x="1600" y="412"/>
                  <a:pt x="1600" y="412"/>
                </a:cubicBezTo>
                <a:lnTo>
                  <a:pt x="1601" y="411"/>
                </a:lnTo>
                <a:close/>
                <a:moveTo>
                  <a:pt x="1651" y="383"/>
                </a:moveTo>
                <a:cubicBezTo>
                  <a:pt x="1650" y="388"/>
                  <a:pt x="1650" y="388"/>
                  <a:pt x="1650" y="388"/>
                </a:cubicBezTo>
                <a:cubicBezTo>
                  <a:pt x="1651" y="390"/>
                  <a:pt x="1651" y="390"/>
                  <a:pt x="1651" y="390"/>
                </a:cubicBezTo>
                <a:cubicBezTo>
                  <a:pt x="1651" y="392"/>
                  <a:pt x="1651" y="392"/>
                  <a:pt x="1651" y="392"/>
                </a:cubicBezTo>
                <a:cubicBezTo>
                  <a:pt x="1651" y="392"/>
                  <a:pt x="1651" y="392"/>
                  <a:pt x="1651" y="392"/>
                </a:cubicBezTo>
                <a:cubicBezTo>
                  <a:pt x="1652" y="391"/>
                  <a:pt x="1652" y="391"/>
                  <a:pt x="1652" y="391"/>
                </a:cubicBezTo>
                <a:cubicBezTo>
                  <a:pt x="1653" y="387"/>
                  <a:pt x="1653" y="387"/>
                  <a:pt x="1653" y="387"/>
                </a:cubicBezTo>
                <a:cubicBezTo>
                  <a:pt x="1653" y="384"/>
                  <a:pt x="1653" y="384"/>
                  <a:pt x="1653" y="384"/>
                </a:cubicBezTo>
                <a:cubicBezTo>
                  <a:pt x="1655" y="381"/>
                  <a:pt x="1655" y="381"/>
                  <a:pt x="1655" y="381"/>
                </a:cubicBezTo>
                <a:cubicBezTo>
                  <a:pt x="1655" y="378"/>
                  <a:pt x="1655" y="378"/>
                  <a:pt x="1655" y="378"/>
                </a:cubicBezTo>
                <a:cubicBezTo>
                  <a:pt x="1654" y="377"/>
                  <a:pt x="1654" y="377"/>
                  <a:pt x="1654" y="377"/>
                </a:cubicBezTo>
                <a:cubicBezTo>
                  <a:pt x="1653" y="378"/>
                  <a:pt x="1653" y="378"/>
                  <a:pt x="1653" y="378"/>
                </a:cubicBezTo>
                <a:cubicBezTo>
                  <a:pt x="1653" y="379"/>
                  <a:pt x="1653" y="379"/>
                  <a:pt x="1653" y="379"/>
                </a:cubicBezTo>
                <a:cubicBezTo>
                  <a:pt x="1652" y="382"/>
                  <a:pt x="1652" y="382"/>
                  <a:pt x="1652" y="382"/>
                </a:cubicBezTo>
                <a:lnTo>
                  <a:pt x="1651" y="383"/>
                </a:lnTo>
                <a:close/>
                <a:moveTo>
                  <a:pt x="1598" y="412"/>
                </a:moveTo>
                <a:cubicBezTo>
                  <a:pt x="1599" y="411"/>
                  <a:pt x="1599" y="411"/>
                  <a:pt x="1599" y="411"/>
                </a:cubicBezTo>
                <a:cubicBezTo>
                  <a:pt x="1597" y="410"/>
                  <a:pt x="1597" y="410"/>
                  <a:pt x="1597" y="410"/>
                </a:cubicBezTo>
                <a:lnTo>
                  <a:pt x="1598" y="412"/>
                </a:lnTo>
                <a:close/>
                <a:moveTo>
                  <a:pt x="1599" y="398"/>
                </a:moveTo>
                <a:cubicBezTo>
                  <a:pt x="1599" y="395"/>
                  <a:pt x="1599" y="395"/>
                  <a:pt x="1599" y="395"/>
                </a:cubicBezTo>
                <a:cubicBezTo>
                  <a:pt x="1599" y="398"/>
                  <a:pt x="1599" y="398"/>
                  <a:pt x="1599" y="398"/>
                </a:cubicBezTo>
                <a:cubicBezTo>
                  <a:pt x="1598" y="399"/>
                  <a:pt x="1598" y="399"/>
                  <a:pt x="1598" y="399"/>
                </a:cubicBezTo>
                <a:cubicBezTo>
                  <a:pt x="1599" y="399"/>
                  <a:pt x="1599" y="399"/>
                  <a:pt x="1599" y="399"/>
                </a:cubicBezTo>
                <a:lnTo>
                  <a:pt x="1599" y="398"/>
                </a:lnTo>
                <a:close/>
                <a:moveTo>
                  <a:pt x="1545" y="301"/>
                </a:moveTo>
                <a:cubicBezTo>
                  <a:pt x="1546" y="303"/>
                  <a:pt x="1546" y="303"/>
                  <a:pt x="1546" y="303"/>
                </a:cubicBezTo>
                <a:cubicBezTo>
                  <a:pt x="1547" y="302"/>
                  <a:pt x="1547" y="302"/>
                  <a:pt x="1547" y="302"/>
                </a:cubicBezTo>
                <a:lnTo>
                  <a:pt x="1545" y="301"/>
                </a:lnTo>
                <a:close/>
                <a:moveTo>
                  <a:pt x="1546" y="320"/>
                </a:moveTo>
                <a:cubicBezTo>
                  <a:pt x="1545" y="319"/>
                  <a:pt x="1545" y="319"/>
                  <a:pt x="1545" y="319"/>
                </a:cubicBezTo>
                <a:cubicBezTo>
                  <a:pt x="1543" y="320"/>
                  <a:pt x="1543" y="320"/>
                  <a:pt x="1543" y="320"/>
                </a:cubicBezTo>
                <a:cubicBezTo>
                  <a:pt x="1544" y="321"/>
                  <a:pt x="1544" y="321"/>
                  <a:pt x="1544" y="321"/>
                </a:cubicBezTo>
                <a:lnTo>
                  <a:pt x="1546" y="320"/>
                </a:lnTo>
                <a:close/>
                <a:moveTo>
                  <a:pt x="1546" y="330"/>
                </a:moveTo>
                <a:cubicBezTo>
                  <a:pt x="1547" y="328"/>
                  <a:pt x="1547" y="328"/>
                  <a:pt x="1547" y="328"/>
                </a:cubicBezTo>
                <a:cubicBezTo>
                  <a:pt x="1545" y="329"/>
                  <a:pt x="1545" y="329"/>
                  <a:pt x="1545" y="329"/>
                </a:cubicBezTo>
                <a:lnTo>
                  <a:pt x="1546" y="330"/>
                </a:lnTo>
                <a:close/>
                <a:moveTo>
                  <a:pt x="1452" y="382"/>
                </a:moveTo>
                <a:cubicBezTo>
                  <a:pt x="1453" y="383"/>
                  <a:pt x="1453" y="383"/>
                  <a:pt x="1453" y="383"/>
                </a:cubicBezTo>
                <a:cubicBezTo>
                  <a:pt x="1453" y="382"/>
                  <a:pt x="1453" y="382"/>
                  <a:pt x="1453" y="382"/>
                </a:cubicBezTo>
                <a:lnTo>
                  <a:pt x="1452" y="382"/>
                </a:lnTo>
                <a:close/>
                <a:moveTo>
                  <a:pt x="1598" y="369"/>
                </a:moveTo>
                <a:cubicBezTo>
                  <a:pt x="1595" y="372"/>
                  <a:pt x="1595" y="372"/>
                  <a:pt x="1595" y="372"/>
                </a:cubicBezTo>
                <a:cubicBezTo>
                  <a:pt x="1593" y="373"/>
                  <a:pt x="1593" y="373"/>
                  <a:pt x="1593" y="373"/>
                </a:cubicBezTo>
                <a:cubicBezTo>
                  <a:pt x="1591" y="373"/>
                  <a:pt x="1591" y="373"/>
                  <a:pt x="1591" y="373"/>
                </a:cubicBezTo>
                <a:cubicBezTo>
                  <a:pt x="1589" y="375"/>
                  <a:pt x="1589" y="375"/>
                  <a:pt x="1589" y="375"/>
                </a:cubicBezTo>
                <a:cubicBezTo>
                  <a:pt x="1588" y="377"/>
                  <a:pt x="1588" y="377"/>
                  <a:pt x="1588" y="377"/>
                </a:cubicBezTo>
                <a:cubicBezTo>
                  <a:pt x="1586" y="379"/>
                  <a:pt x="1586" y="379"/>
                  <a:pt x="1586" y="379"/>
                </a:cubicBezTo>
                <a:cubicBezTo>
                  <a:pt x="1584" y="379"/>
                  <a:pt x="1584" y="379"/>
                  <a:pt x="1584" y="379"/>
                </a:cubicBezTo>
                <a:cubicBezTo>
                  <a:pt x="1582" y="381"/>
                  <a:pt x="1582" y="381"/>
                  <a:pt x="1582" y="381"/>
                </a:cubicBezTo>
                <a:cubicBezTo>
                  <a:pt x="1581" y="380"/>
                  <a:pt x="1581" y="380"/>
                  <a:pt x="1581" y="380"/>
                </a:cubicBezTo>
                <a:cubicBezTo>
                  <a:pt x="1580" y="380"/>
                  <a:pt x="1580" y="380"/>
                  <a:pt x="1580" y="380"/>
                </a:cubicBezTo>
                <a:cubicBezTo>
                  <a:pt x="1579" y="383"/>
                  <a:pt x="1579" y="383"/>
                  <a:pt x="1579" y="383"/>
                </a:cubicBezTo>
                <a:cubicBezTo>
                  <a:pt x="1577" y="384"/>
                  <a:pt x="1577" y="384"/>
                  <a:pt x="1577" y="384"/>
                </a:cubicBezTo>
                <a:cubicBezTo>
                  <a:pt x="1578" y="385"/>
                  <a:pt x="1578" y="385"/>
                  <a:pt x="1578" y="385"/>
                </a:cubicBezTo>
                <a:cubicBezTo>
                  <a:pt x="1579" y="384"/>
                  <a:pt x="1579" y="384"/>
                  <a:pt x="1579" y="384"/>
                </a:cubicBezTo>
                <a:cubicBezTo>
                  <a:pt x="1581" y="387"/>
                  <a:pt x="1581" y="387"/>
                  <a:pt x="1581" y="387"/>
                </a:cubicBezTo>
                <a:cubicBezTo>
                  <a:pt x="1581" y="384"/>
                  <a:pt x="1581" y="384"/>
                  <a:pt x="1581" y="384"/>
                </a:cubicBezTo>
                <a:cubicBezTo>
                  <a:pt x="1581" y="383"/>
                  <a:pt x="1581" y="383"/>
                  <a:pt x="1581" y="383"/>
                </a:cubicBezTo>
                <a:cubicBezTo>
                  <a:pt x="1585" y="381"/>
                  <a:pt x="1585" y="381"/>
                  <a:pt x="1585" y="381"/>
                </a:cubicBezTo>
                <a:cubicBezTo>
                  <a:pt x="1585" y="381"/>
                  <a:pt x="1585" y="381"/>
                  <a:pt x="1585" y="381"/>
                </a:cubicBezTo>
                <a:cubicBezTo>
                  <a:pt x="1587" y="381"/>
                  <a:pt x="1587" y="381"/>
                  <a:pt x="1587" y="381"/>
                </a:cubicBezTo>
                <a:cubicBezTo>
                  <a:pt x="1589" y="381"/>
                  <a:pt x="1589" y="381"/>
                  <a:pt x="1589" y="381"/>
                </a:cubicBezTo>
                <a:cubicBezTo>
                  <a:pt x="1590" y="381"/>
                  <a:pt x="1590" y="381"/>
                  <a:pt x="1590" y="381"/>
                </a:cubicBezTo>
                <a:cubicBezTo>
                  <a:pt x="1592" y="381"/>
                  <a:pt x="1592" y="381"/>
                  <a:pt x="1592" y="381"/>
                </a:cubicBezTo>
                <a:cubicBezTo>
                  <a:pt x="1594" y="381"/>
                  <a:pt x="1594" y="381"/>
                  <a:pt x="1594" y="381"/>
                </a:cubicBezTo>
                <a:cubicBezTo>
                  <a:pt x="1595" y="381"/>
                  <a:pt x="1595" y="381"/>
                  <a:pt x="1595" y="381"/>
                </a:cubicBezTo>
                <a:cubicBezTo>
                  <a:pt x="1597" y="378"/>
                  <a:pt x="1597" y="378"/>
                  <a:pt x="1597" y="378"/>
                </a:cubicBezTo>
                <a:cubicBezTo>
                  <a:pt x="1597" y="375"/>
                  <a:pt x="1597" y="375"/>
                  <a:pt x="1597" y="375"/>
                </a:cubicBezTo>
                <a:cubicBezTo>
                  <a:pt x="1597" y="375"/>
                  <a:pt x="1597" y="375"/>
                  <a:pt x="1597" y="375"/>
                </a:cubicBezTo>
                <a:cubicBezTo>
                  <a:pt x="1597" y="373"/>
                  <a:pt x="1597" y="373"/>
                  <a:pt x="1597" y="373"/>
                </a:cubicBezTo>
                <a:cubicBezTo>
                  <a:pt x="1598" y="370"/>
                  <a:pt x="1598" y="370"/>
                  <a:pt x="1598" y="370"/>
                </a:cubicBezTo>
                <a:lnTo>
                  <a:pt x="1598" y="369"/>
                </a:lnTo>
                <a:close/>
                <a:moveTo>
                  <a:pt x="1547" y="306"/>
                </a:moveTo>
                <a:cubicBezTo>
                  <a:pt x="1544" y="304"/>
                  <a:pt x="1544" y="304"/>
                  <a:pt x="1544" y="304"/>
                </a:cubicBezTo>
                <a:cubicBezTo>
                  <a:pt x="1545" y="306"/>
                  <a:pt x="1545" y="306"/>
                  <a:pt x="1545" y="306"/>
                </a:cubicBezTo>
                <a:lnTo>
                  <a:pt x="1547" y="306"/>
                </a:lnTo>
                <a:close/>
                <a:moveTo>
                  <a:pt x="1541" y="455"/>
                </a:moveTo>
                <a:cubicBezTo>
                  <a:pt x="1541" y="455"/>
                  <a:pt x="1541" y="455"/>
                  <a:pt x="1541" y="455"/>
                </a:cubicBezTo>
                <a:cubicBezTo>
                  <a:pt x="1542" y="455"/>
                  <a:pt x="1542" y="455"/>
                  <a:pt x="1542" y="455"/>
                </a:cubicBezTo>
                <a:cubicBezTo>
                  <a:pt x="1542" y="455"/>
                  <a:pt x="1542" y="455"/>
                  <a:pt x="1542" y="455"/>
                </a:cubicBezTo>
                <a:cubicBezTo>
                  <a:pt x="1541" y="454"/>
                  <a:pt x="1541" y="454"/>
                  <a:pt x="1541" y="454"/>
                </a:cubicBezTo>
                <a:cubicBezTo>
                  <a:pt x="1539" y="454"/>
                  <a:pt x="1539" y="454"/>
                  <a:pt x="1539" y="454"/>
                </a:cubicBezTo>
                <a:cubicBezTo>
                  <a:pt x="1539" y="455"/>
                  <a:pt x="1539" y="455"/>
                  <a:pt x="1539" y="455"/>
                </a:cubicBezTo>
                <a:lnTo>
                  <a:pt x="1541" y="455"/>
                </a:lnTo>
                <a:close/>
                <a:moveTo>
                  <a:pt x="1549" y="334"/>
                </a:moveTo>
                <a:cubicBezTo>
                  <a:pt x="1550" y="332"/>
                  <a:pt x="1550" y="332"/>
                  <a:pt x="1550" y="332"/>
                </a:cubicBezTo>
                <a:cubicBezTo>
                  <a:pt x="1548" y="333"/>
                  <a:pt x="1548" y="333"/>
                  <a:pt x="1548" y="333"/>
                </a:cubicBezTo>
                <a:lnTo>
                  <a:pt x="1549" y="334"/>
                </a:lnTo>
                <a:close/>
                <a:moveTo>
                  <a:pt x="1545" y="323"/>
                </a:moveTo>
                <a:cubicBezTo>
                  <a:pt x="1546" y="324"/>
                  <a:pt x="1546" y="324"/>
                  <a:pt x="1546" y="324"/>
                </a:cubicBezTo>
                <a:cubicBezTo>
                  <a:pt x="1546" y="324"/>
                  <a:pt x="1546" y="322"/>
                  <a:pt x="1546" y="322"/>
                </a:cubicBezTo>
                <a:lnTo>
                  <a:pt x="1545" y="323"/>
                </a:lnTo>
                <a:close/>
                <a:moveTo>
                  <a:pt x="1548" y="337"/>
                </a:moveTo>
                <a:cubicBezTo>
                  <a:pt x="1550" y="339"/>
                  <a:pt x="1550" y="339"/>
                  <a:pt x="1550" y="339"/>
                </a:cubicBezTo>
                <a:cubicBezTo>
                  <a:pt x="1550" y="338"/>
                  <a:pt x="1550" y="338"/>
                  <a:pt x="1550" y="338"/>
                </a:cubicBezTo>
                <a:cubicBezTo>
                  <a:pt x="1549" y="337"/>
                  <a:pt x="1549" y="337"/>
                  <a:pt x="1549" y="337"/>
                </a:cubicBezTo>
                <a:cubicBezTo>
                  <a:pt x="1549" y="337"/>
                  <a:pt x="1548" y="337"/>
                  <a:pt x="1548" y="337"/>
                </a:cubicBezTo>
                <a:close/>
                <a:moveTo>
                  <a:pt x="1551" y="333"/>
                </a:moveTo>
                <a:cubicBezTo>
                  <a:pt x="1551" y="335"/>
                  <a:pt x="1551" y="335"/>
                  <a:pt x="1551" y="335"/>
                </a:cubicBezTo>
                <a:cubicBezTo>
                  <a:pt x="1551" y="335"/>
                  <a:pt x="1551" y="335"/>
                  <a:pt x="1551" y="335"/>
                </a:cubicBezTo>
                <a:lnTo>
                  <a:pt x="1551" y="333"/>
                </a:lnTo>
                <a:close/>
                <a:moveTo>
                  <a:pt x="1550" y="332"/>
                </a:moveTo>
                <a:cubicBezTo>
                  <a:pt x="1551" y="330"/>
                  <a:pt x="1551" y="330"/>
                  <a:pt x="1551" y="330"/>
                </a:cubicBezTo>
                <a:cubicBezTo>
                  <a:pt x="1551" y="330"/>
                  <a:pt x="1549" y="328"/>
                  <a:pt x="1549" y="328"/>
                </a:cubicBezTo>
                <a:lnTo>
                  <a:pt x="1550" y="332"/>
                </a:lnTo>
                <a:close/>
                <a:moveTo>
                  <a:pt x="1540" y="457"/>
                </a:moveTo>
                <a:cubicBezTo>
                  <a:pt x="1541" y="456"/>
                  <a:pt x="1541" y="456"/>
                  <a:pt x="1541" y="456"/>
                </a:cubicBezTo>
                <a:cubicBezTo>
                  <a:pt x="1540" y="455"/>
                  <a:pt x="1540" y="455"/>
                  <a:pt x="1540" y="455"/>
                </a:cubicBezTo>
                <a:cubicBezTo>
                  <a:pt x="1538" y="456"/>
                  <a:pt x="1538" y="456"/>
                  <a:pt x="1538" y="456"/>
                </a:cubicBezTo>
                <a:cubicBezTo>
                  <a:pt x="1539" y="456"/>
                  <a:pt x="1539" y="456"/>
                  <a:pt x="1539" y="456"/>
                </a:cubicBezTo>
                <a:lnTo>
                  <a:pt x="1540" y="457"/>
                </a:lnTo>
                <a:close/>
                <a:moveTo>
                  <a:pt x="1753" y="326"/>
                </a:moveTo>
                <a:cubicBezTo>
                  <a:pt x="1751" y="325"/>
                  <a:pt x="1751" y="325"/>
                  <a:pt x="1751" y="325"/>
                </a:cubicBezTo>
                <a:cubicBezTo>
                  <a:pt x="1751" y="325"/>
                  <a:pt x="1750" y="326"/>
                  <a:pt x="1750" y="326"/>
                </a:cubicBezTo>
                <a:cubicBezTo>
                  <a:pt x="1752" y="327"/>
                  <a:pt x="1752" y="327"/>
                  <a:pt x="1752" y="327"/>
                </a:cubicBezTo>
                <a:lnTo>
                  <a:pt x="1753" y="326"/>
                </a:lnTo>
                <a:close/>
                <a:moveTo>
                  <a:pt x="1551" y="297"/>
                </a:moveTo>
                <a:cubicBezTo>
                  <a:pt x="1549" y="299"/>
                  <a:pt x="1549" y="299"/>
                  <a:pt x="1549" y="299"/>
                </a:cubicBezTo>
                <a:cubicBezTo>
                  <a:pt x="1551" y="298"/>
                  <a:pt x="1551" y="298"/>
                  <a:pt x="1551" y="298"/>
                </a:cubicBezTo>
                <a:lnTo>
                  <a:pt x="1551" y="297"/>
                </a:lnTo>
                <a:close/>
                <a:moveTo>
                  <a:pt x="1553" y="348"/>
                </a:moveTo>
                <a:cubicBezTo>
                  <a:pt x="1552" y="350"/>
                  <a:pt x="1552" y="350"/>
                  <a:pt x="1552" y="350"/>
                </a:cubicBezTo>
                <a:cubicBezTo>
                  <a:pt x="1554" y="349"/>
                  <a:pt x="1554" y="349"/>
                  <a:pt x="1554" y="349"/>
                </a:cubicBezTo>
                <a:lnTo>
                  <a:pt x="1553" y="348"/>
                </a:lnTo>
                <a:close/>
                <a:moveTo>
                  <a:pt x="1708" y="348"/>
                </a:moveTo>
                <a:cubicBezTo>
                  <a:pt x="1706" y="348"/>
                  <a:pt x="1706" y="348"/>
                  <a:pt x="1706" y="348"/>
                </a:cubicBezTo>
                <a:cubicBezTo>
                  <a:pt x="1706" y="349"/>
                  <a:pt x="1706" y="349"/>
                  <a:pt x="1706" y="349"/>
                </a:cubicBezTo>
                <a:cubicBezTo>
                  <a:pt x="1708" y="349"/>
                  <a:pt x="1708" y="349"/>
                  <a:pt x="1708" y="349"/>
                </a:cubicBezTo>
                <a:lnTo>
                  <a:pt x="1708" y="348"/>
                </a:lnTo>
                <a:close/>
                <a:moveTo>
                  <a:pt x="1702" y="354"/>
                </a:moveTo>
                <a:cubicBezTo>
                  <a:pt x="1701" y="354"/>
                  <a:pt x="1701" y="354"/>
                  <a:pt x="1701" y="354"/>
                </a:cubicBezTo>
                <a:cubicBezTo>
                  <a:pt x="1700" y="355"/>
                  <a:pt x="1700" y="355"/>
                  <a:pt x="1700" y="355"/>
                </a:cubicBezTo>
                <a:cubicBezTo>
                  <a:pt x="1699" y="355"/>
                  <a:pt x="1699" y="355"/>
                  <a:pt x="1699" y="355"/>
                </a:cubicBezTo>
                <a:cubicBezTo>
                  <a:pt x="1698" y="357"/>
                  <a:pt x="1698" y="357"/>
                  <a:pt x="1698" y="357"/>
                </a:cubicBezTo>
                <a:cubicBezTo>
                  <a:pt x="1698" y="356"/>
                  <a:pt x="1698" y="356"/>
                  <a:pt x="1698" y="356"/>
                </a:cubicBezTo>
                <a:cubicBezTo>
                  <a:pt x="1697" y="355"/>
                  <a:pt x="1697" y="355"/>
                  <a:pt x="1697" y="355"/>
                </a:cubicBezTo>
                <a:cubicBezTo>
                  <a:pt x="1697" y="356"/>
                  <a:pt x="1697" y="356"/>
                  <a:pt x="1697" y="356"/>
                </a:cubicBezTo>
                <a:cubicBezTo>
                  <a:pt x="1696" y="357"/>
                  <a:pt x="1696" y="357"/>
                  <a:pt x="1696" y="357"/>
                </a:cubicBezTo>
                <a:cubicBezTo>
                  <a:pt x="1697" y="357"/>
                  <a:pt x="1697" y="357"/>
                  <a:pt x="1697" y="357"/>
                </a:cubicBezTo>
                <a:cubicBezTo>
                  <a:pt x="1697" y="358"/>
                  <a:pt x="1697" y="358"/>
                  <a:pt x="1697" y="358"/>
                </a:cubicBezTo>
                <a:cubicBezTo>
                  <a:pt x="1696" y="359"/>
                  <a:pt x="1696" y="359"/>
                  <a:pt x="1696" y="359"/>
                </a:cubicBezTo>
                <a:cubicBezTo>
                  <a:pt x="1696" y="360"/>
                  <a:pt x="1696" y="360"/>
                  <a:pt x="1696" y="360"/>
                </a:cubicBezTo>
                <a:cubicBezTo>
                  <a:pt x="1698" y="360"/>
                  <a:pt x="1698" y="360"/>
                  <a:pt x="1698" y="360"/>
                </a:cubicBezTo>
                <a:cubicBezTo>
                  <a:pt x="1699" y="362"/>
                  <a:pt x="1699" y="362"/>
                  <a:pt x="1699" y="362"/>
                </a:cubicBezTo>
                <a:cubicBezTo>
                  <a:pt x="1699" y="363"/>
                  <a:pt x="1699" y="363"/>
                  <a:pt x="1699" y="363"/>
                </a:cubicBezTo>
                <a:cubicBezTo>
                  <a:pt x="1698" y="363"/>
                  <a:pt x="1698" y="363"/>
                  <a:pt x="1698" y="363"/>
                </a:cubicBezTo>
                <a:cubicBezTo>
                  <a:pt x="1697" y="366"/>
                  <a:pt x="1697" y="366"/>
                  <a:pt x="1697" y="366"/>
                </a:cubicBezTo>
                <a:cubicBezTo>
                  <a:pt x="1698" y="366"/>
                  <a:pt x="1698" y="366"/>
                  <a:pt x="1698" y="366"/>
                </a:cubicBezTo>
                <a:cubicBezTo>
                  <a:pt x="1700" y="365"/>
                  <a:pt x="1700" y="365"/>
                  <a:pt x="1700" y="365"/>
                </a:cubicBezTo>
                <a:cubicBezTo>
                  <a:pt x="1700" y="364"/>
                  <a:pt x="1700" y="364"/>
                  <a:pt x="1700" y="364"/>
                </a:cubicBezTo>
                <a:cubicBezTo>
                  <a:pt x="1701" y="361"/>
                  <a:pt x="1701" y="361"/>
                  <a:pt x="1701" y="361"/>
                </a:cubicBezTo>
                <a:cubicBezTo>
                  <a:pt x="1704" y="360"/>
                  <a:pt x="1704" y="360"/>
                  <a:pt x="1704" y="360"/>
                </a:cubicBezTo>
                <a:cubicBezTo>
                  <a:pt x="1705" y="359"/>
                  <a:pt x="1705" y="359"/>
                  <a:pt x="1705" y="359"/>
                </a:cubicBezTo>
                <a:cubicBezTo>
                  <a:pt x="1706" y="357"/>
                  <a:pt x="1706" y="357"/>
                  <a:pt x="1706" y="357"/>
                </a:cubicBezTo>
                <a:cubicBezTo>
                  <a:pt x="1708" y="357"/>
                  <a:pt x="1708" y="357"/>
                  <a:pt x="1708" y="357"/>
                </a:cubicBezTo>
                <a:cubicBezTo>
                  <a:pt x="1708" y="357"/>
                  <a:pt x="1708" y="357"/>
                  <a:pt x="1708" y="357"/>
                </a:cubicBezTo>
                <a:cubicBezTo>
                  <a:pt x="1708" y="356"/>
                  <a:pt x="1708" y="356"/>
                  <a:pt x="1708" y="356"/>
                </a:cubicBezTo>
                <a:cubicBezTo>
                  <a:pt x="1707" y="356"/>
                  <a:pt x="1707" y="356"/>
                  <a:pt x="1707" y="356"/>
                </a:cubicBezTo>
                <a:cubicBezTo>
                  <a:pt x="1705" y="355"/>
                  <a:pt x="1705" y="355"/>
                  <a:pt x="1705" y="355"/>
                </a:cubicBezTo>
                <a:lnTo>
                  <a:pt x="1702" y="354"/>
                </a:lnTo>
                <a:close/>
                <a:moveTo>
                  <a:pt x="1695" y="328"/>
                </a:moveTo>
                <a:cubicBezTo>
                  <a:pt x="1697" y="328"/>
                  <a:pt x="1697" y="328"/>
                  <a:pt x="1697" y="328"/>
                </a:cubicBezTo>
                <a:cubicBezTo>
                  <a:pt x="1698" y="327"/>
                  <a:pt x="1698" y="327"/>
                  <a:pt x="1698" y="327"/>
                </a:cubicBezTo>
                <a:cubicBezTo>
                  <a:pt x="1699" y="326"/>
                  <a:pt x="1699" y="326"/>
                  <a:pt x="1699" y="326"/>
                </a:cubicBezTo>
                <a:cubicBezTo>
                  <a:pt x="1696" y="326"/>
                  <a:pt x="1696" y="326"/>
                  <a:pt x="1696" y="326"/>
                </a:cubicBezTo>
                <a:lnTo>
                  <a:pt x="1695" y="328"/>
                </a:lnTo>
                <a:close/>
                <a:moveTo>
                  <a:pt x="1712" y="245"/>
                </a:moveTo>
                <a:cubicBezTo>
                  <a:pt x="1709" y="245"/>
                  <a:pt x="1709" y="245"/>
                  <a:pt x="1709" y="245"/>
                </a:cubicBezTo>
                <a:cubicBezTo>
                  <a:pt x="1707" y="246"/>
                  <a:pt x="1707" y="246"/>
                  <a:pt x="1707" y="246"/>
                </a:cubicBezTo>
                <a:cubicBezTo>
                  <a:pt x="1708" y="248"/>
                  <a:pt x="1708" y="248"/>
                  <a:pt x="1708" y="248"/>
                </a:cubicBezTo>
                <a:cubicBezTo>
                  <a:pt x="1710" y="248"/>
                  <a:pt x="1710" y="248"/>
                  <a:pt x="1710" y="248"/>
                </a:cubicBezTo>
                <a:cubicBezTo>
                  <a:pt x="1711" y="247"/>
                  <a:pt x="1711" y="247"/>
                  <a:pt x="1711" y="247"/>
                </a:cubicBezTo>
                <a:cubicBezTo>
                  <a:pt x="1710" y="246"/>
                  <a:pt x="1710" y="246"/>
                  <a:pt x="1710" y="246"/>
                </a:cubicBezTo>
                <a:cubicBezTo>
                  <a:pt x="1712" y="246"/>
                  <a:pt x="1712" y="246"/>
                  <a:pt x="1712" y="246"/>
                </a:cubicBezTo>
                <a:lnTo>
                  <a:pt x="1712" y="245"/>
                </a:lnTo>
                <a:close/>
                <a:moveTo>
                  <a:pt x="1578" y="274"/>
                </a:moveTo>
                <a:cubicBezTo>
                  <a:pt x="1576" y="273"/>
                  <a:pt x="1576" y="273"/>
                  <a:pt x="1576" y="273"/>
                </a:cubicBezTo>
                <a:cubicBezTo>
                  <a:pt x="1573" y="275"/>
                  <a:pt x="1573" y="275"/>
                  <a:pt x="1573" y="275"/>
                </a:cubicBezTo>
                <a:cubicBezTo>
                  <a:pt x="1576" y="275"/>
                  <a:pt x="1576" y="275"/>
                  <a:pt x="1576" y="275"/>
                </a:cubicBezTo>
                <a:lnTo>
                  <a:pt x="1578" y="274"/>
                </a:lnTo>
                <a:close/>
                <a:moveTo>
                  <a:pt x="1555" y="297"/>
                </a:moveTo>
                <a:cubicBezTo>
                  <a:pt x="1554" y="296"/>
                  <a:pt x="1554" y="296"/>
                  <a:pt x="1554" y="296"/>
                </a:cubicBezTo>
                <a:cubicBezTo>
                  <a:pt x="1553" y="296"/>
                  <a:pt x="1553" y="296"/>
                  <a:pt x="1553" y="296"/>
                </a:cubicBezTo>
                <a:cubicBezTo>
                  <a:pt x="1553" y="298"/>
                  <a:pt x="1553" y="298"/>
                  <a:pt x="1553" y="298"/>
                </a:cubicBezTo>
                <a:lnTo>
                  <a:pt x="1555" y="297"/>
                </a:lnTo>
                <a:close/>
                <a:moveTo>
                  <a:pt x="1577" y="277"/>
                </a:moveTo>
                <a:cubicBezTo>
                  <a:pt x="1575" y="277"/>
                  <a:pt x="1575" y="277"/>
                  <a:pt x="1575" y="277"/>
                </a:cubicBezTo>
                <a:cubicBezTo>
                  <a:pt x="1574" y="279"/>
                  <a:pt x="1574" y="279"/>
                  <a:pt x="1574" y="279"/>
                </a:cubicBezTo>
                <a:cubicBezTo>
                  <a:pt x="1575" y="279"/>
                  <a:pt x="1575" y="279"/>
                  <a:pt x="1575" y="279"/>
                </a:cubicBezTo>
                <a:cubicBezTo>
                  <a:pt x="1576" y="279"/>
                  <a:pt x="1576" y="279"/>
                  <a:pt x="1576" y="279"/>
                </a:cubicBezTo>
                <a:cubicBezTo>
                  <a:pt x="1579" y="279"/>
                  <a:pt x="1579" y="279"/>
                  <a:pt x="1579" y="279"/>
                </a:cubicBezTo>
                <a:cubicBezTo>
                  <a:pt x="1580" y="277"/>
                  <a:pt x="1580" y="277"/>
                  <a:pt x="1580" y="277"/>
                </a:cubicBezTo>
                <a:cubicBezTo>
                  <a:pt x="1579" y="276"/>
                  <a:pt x="1579" y="276"/>
                  <a:pt x="1579" y="276"/>
                </a:cubicBezTo>
                <a:cubicBezTo>
                  <a:pt x="1577" y="276"/>
                  <a:pt x="1577" y="276"/>
                  <a:pt x="1577" y="276"/>
                </a:cubicBezTo>
                <a:lnTo>
                  <a:pt x="1577" y="277"/>
                </a:lnTo>
                <a:close/>
                <a:moveTo>
                  <a:pt x="1571" y="280"/>
                </a:moveTo>
                <a:cubicBezTo>
                  <a:pt x="1571" y="278"/>
                  <a:pt x="1571" y="278"/>
                  <a:pt x="1571" y="278"/>
                </a:cubicBezTo>
                <a:cubicBezTo>
                  <a:pt x="1568" y="278"/>
                  <a:pt x="1568" y="278"/>
                  <a:pt x="1568" y="278"/>
                </a:cubicBezTo>
                <a:cubicBezTo>
                  <a:pt x="1570" y="281"/>
                  <a:pt x="1570" y="281"/>
                  <a:pt x="1570" y="281"/>
                </a:cubicBezTo>
                <a:cubicBezTo>
                  <a:pt x="1570" y="281"/>
                  <a:pt x="1571" y="280"/>
                  <a:pt x="1571" y="280"/>
                </a:cubicBezTo>
                <a:close/>
                <a:moveTo>
                  <a:pt x="1666" y="379"/>
                </a:moveTo>
                <a:cubicBezTo>
                  <a:pt x="1667" y="378"/>
                  <a:pt x="1667" y="378"/>
                  <a:pt x="1667" y="378"/>
                </a:cubicBezTo>
                <a:cubicBezTo>
                  <a:pt x="1666" y="380"/>
                  <a:pt x="1666" y="380"/>
                  <a:pt x="1666" y="380"/>
                </a:cubicBezTo>
                <a:cubicBezTo>
                  <a:pt x="1665" y="382"/>
                  <a:pt x="1665" y="382"/>
                  <a:pt x="1665" y="382"/>
                </a:cubicBezTo>
                <a:cubicBezTo>
                  <a:pt x="1665" y="382"/>
                  <a:pt x="1665" y="382"/>
                  <a:pt x="1665" y="382"/>
                </a:cubicBezTo>
                <a:cubicBezTo>
                  <a:pt x="1668" y="382"/>
                  <a:pt x="1668" y="382"/>
                  <a:pt x="1668" y="382"/>
                </a:cubicBezTo>
                <a:cubicBezTo>
                  <a:pt x="1668" y="381"/>
                  <a:pt x="1668" y="381"/>
                  <a:pt x="1668" y="381"/>
                </a:cubicBezTo>
                <a:cubicBezTo>
                  <a:pt x="1668" y="380"/>
                  <a:pt x="1668" y="380"/>
                  <a:pt x="1668" y="380"/>
                </a:cubicBezTo>
                <a:cubicBezTo>
                  <a:pt x="1668" y="379"/>
                  <a:pt x="1668" y="379"/>
                  <a:pt x="1668" y="379"/>
                </a:cubicBezTo>
                <a:cubicBezTo>
                  <a:pt x="1670" y="377"/>
                  <a:pt x="1670" y="377"/>
                  <a:pt x="1670" y="377"/>
                </a:cubicBezTo>
                <a:cubicBezTo>
                  <a:pt x="1671" y="376"/>
                  <a:pt x="1671" y="376"/>
                  <a:pt x="1671" y="376"/>
                </a:cubicBezTo>
                <a:cubicBezTo>
                  <a:pt x="1672" y="374"/>
                  <a:pt x="1672" y="374"/>
                  <a:pt x="1672" y="374"/>
                </a:cubicBezTo>
                <a:cubicBezTo>
                  <a:pt x="1672" y="373"/>
                  <a:pt x="1672" y="373"/>
                  <a:pt x="1672" y="373"/>
                </a:cubicBezTo>
                <a:cubicBezTo>
                  <a:pt x="1670" y="372"/>
                  <a:pt x="1670" y="372"/>
                  <a:pt x="1670" y="372"/>
                </a:cubicBezTo>
                <a:cubicBezTo>
                  <a:pt x="1671" y="370"/>
                  <a:pt x="1671" y="370"/>
                  <a:pt x="1671" y="370"/>
                </a:cubicBezTo>
                <a:cubicBezTo>
                  <a:pt x="1671" y="369"/>
                  <a:pt x="1671" y="369"/>
                  <a:pt x="1671" y="369"/>
                </a:cubicBezTo>
                <a:cubicBezTo>
                  <a:pt x="1672" y="368"/>
                  <a:pt x="1672" y="368"/>
                  <a:pt x="1672" y="368"/>
                </a:cubicBezTo>
                <a:cubicBezTo>
                  <a:pt x="1671" y="367"/>
                  <a:pt x="1671" y="367"/>
                  <a:pt x="1671" y="367"/>
                </a:cubicBezTo>
                <a:cubicBezTo>
                  <a:pt x="1670" y="368"/>
                  <a:pt x="1670" y="368"/>
                  <a:pt x="1670" y="368"/>
                </a:cubicBezTo>
                <a:cubicBezTo>
                  <a:pt x="1668" y="368"/>
                  <a:pt x="1668" y="368"/>
                  <a:pt x="1668" y="368"/>
                </a:cubicBezTo>
                <a:cubicBezTo>
                  <a:pt x="1666" y="370"/>
                  <a:pt x="1666" y="370"/>
                  <a:pt x="1666" y="370"/>
                </a:cubicBezTo>
                <a:cubicBezTo>
                  <a:pt x="1666" y="372"/>
                  <a:pt x="1666" y="372"/>
                  <a:pt x="1666" y="372"/>
                </a:cubicBezTo>
                <a:cubicBezTo>
                  <a:pt x="1664" y="373"/>
                  <a:pt x="1664" y="373"/>
                  <a:pt x="1664" y="373"/>
                </a:cubicBezTo>
                <a:cubicBezTo>
                  <a:pt x="1665" y="375"/>
                  <a:pt x="1665" y="375"/>
                  <a:pt x="1665" y="375"/>
                </a:cubicBezTo>
                <a:cubicBezTo>
                  <a:pt x="1664" y="376"/>
                  <a:pt x="1664" y="376"/>
                  <a:pt x="1664" y="376"/>
                </a:cubicBezTo>
                <a:lnTo>
                  <a:pt x="1666" y="379"/>
                </a:lnTo>
                <a:close/>
                <a:moveTo>
                  <a:pt x="1572" y="284"/>
                </a:moveTo>
                <a:cubicBezTo>
                  <a:pt x="1573" y="283"/>
                  <a:pt x="1573" y="283"/>
                  <a:pt x="1573" y="283"/>
                </a:cubicBezTo>
                <a:cubicBezTo>
                  <a:pt x="1572" y="281"/>
                  <a:pt x="1572" y="281"/>
                  <a:pt x="1572" y="281"/>
                </a:cubicBezTo>
                <a:cubicBezTo>
                  <a:pt x="1572" y="281"/>
                  <a:pt x="1571" y="283"/>
                  <a:pt x="1571" y="283"/>
                </a:cubicBezTo>
                <a:lnTo>
                  <a:pt x="1572" y="284"/>
                </a:lnTo>
                <a:close/>
                <a:moveTo>
                  <a:pt x="1706" y="354"/>
                </a:moveTo>
                <a:cubicBezTo>
                  <a:pt x="1709" y="356"/>
                  <a:pt x="1709" y="356"/>
                  <a:pt x="1709" y="356"/>
                </a:cubicBezTo>
                <a:cubicBezTo>
                  <a:pt x="1710" y="355"/>
                  <a:pt x="1710" y="355"/>
                  <a:pt x="1710" y="355"/>
                </a:cubicBezTo>
                <a:cubicBezTo>
                  <a:pt x="1709" y="353"/>
                  <a:pt x="1709" y="353"/>
                  <a:pt x="1709" y="353"/>
                </a:cubicBezTo>
                <a:cubicBezTo>
                  <a:pt x="1706" y="353"/>
                  <a:pt x="1706" y="353"/>
                  <a:pt x="1706" y="353"/>
                </a:cubicBezTo>
                <a:lnTo>
                  <a:pt x="1706" y="354"/>
                </a:lnTo>
                <a:close/>
                <a:moveTo>
                  <a:pt x="1672" y="357"/>
                </a:moveTo>
                <a:cubicBezTo>
                  <a:pt x="1672" y="359"/>
                  <a:pt x="1672" y="359"/>
                  <a:pt x="1672" y="359"/>
                </a:cubicBezTo>
                <a:cubicBezTo>
                  <a:pt x="1674" y="358"/>
                  <a:pt x="1674" y="358"/>
                  <a:pt x="1674" y="358"/>
                </a:cubicBezTo>
                <a:cubicBezTo>
                  <a:pt x="1672" y="357"/>
                  <a:pt x="1672" y="357"/>
                  <a:pt x="1672" y="357"/>
                </a:cubicBezTo>
                <a:close/>
                <a:moveTo>
                  <a:pt x="1681" y="279"/>
                </a:moveTo>
                <a:cubicBezTo>
                  <a:pt x="1682" y="280"/>
                  <a:pt x="1682" y="280"/>
                  <a:pt x="1682" y="280"/>
                </a:cubicBezTo>
                <a:cubicBezTo>
                  <a:pt x="1684" y="279"/>
                  <a:pt x="1684" y="279"/>
                  <a:pt x="1684" y="279"/>
                </a:cubicBezTo>
                <a:cubicBezTo>
                  <a:pt x="1684" y="278"/>
                  <a:pt x="1684" y="278"/>
                  <a:pt x="1684" y="278"/>
                </a:cubicBezTo>
                <a:cubicBezTo>
                  <a:pt x="1683" y="278"/>
                  <a:pt x="1683" y="278"/>
                  <a:pt x="1683" y="278"/>
                </a:cubicBezTo>
                <a:cubicBezTo>
                  <a:pt x="1681" y="277"/>
                  <a:pt x="1681" y="277"/>
                  <a:pt x="1681" y="277"/>
                </a:cubicBezTo>
                <a:lnTo>
                  <a:pt x="1681" y="279"/>
                </a:lnTo>
                <a:close/>
                <a:moveTo>
                  <a:pt x="1672" y="367"/>
                </a:moveTo>
                <a:cubicBezTo>
                  <a:pt x="1673" y="368"/>
                  <a:pt x="1673" y="368"/>
                  <a:pt x="1673" y="368"/>
                </a:cubicBezTo>
                <a:cubicBezTo>
                  <a:pt x="1674" y="367"/>
                  <a:pt x="1674" y="367"/>
                  <a:pt x="1674" y="367"/>
                </a:cubicBezTo>
                <a:cubicBezTo>
                  <a:pt x="1676" y="366"/>
                  <a:pt x="1676" y="366"/>
                  <a:pt x="1676" y="366"/>
                </a:cubicBezTo>
                <a:cubicBezTo>
                  <a:pt x="1676" y="366"/>
                  <a:pt x="1676" y="366"/>
                  <a:pt x="1676" y="366"/>
                </a:cubicBezTo>
                <a:cubicBezTo>
                  <a:pt x="1673" y="366"/>
                  <a:pt x="1673" y="366"/>
                  <a:pt x="1673" y="366"/>
                </a:cubicBezTo>
                <a:lnTo>
                  <a:pt x="1672" y="367"/>
                </a:lnTo>
                <a:close/>
                <a:moveTo>
                  <a:pt x="1665" y="347"/>
                </a:moveTo>
                <a:cubicBezTo>
                  <a:pt x="1665" y="344"/>
                  <a:pt x="1665" y="344"/>
                  <a:pt x="1665" y="344"/>
                </a:cubicBezTo>
                <a:cubicBezTo>
                  <a:pt x="1667" y="342"/>
                  <a:pt x="1667" y="342"/>
                  <a:pt x="1667" y="342"/>
                </a:cubicBezTo>
                <a:cubicBezTo>
                  <a:pt x="1667" y="341"/>
                  <a:pt x="1667" y="341"/>
                  <a:pt x="1667" y="341"/>
                </a:cubicBezTo>
                <a:cubicBezTo>
                  <a:pt x="1665" y="341"/>
                  <a:pt x="1665" y="341"/>
                  <a:pt x="1665" y="341"/>
                </a:cubicBezTo>
                <a:cubicBezTo>
                  <a:pt x="1663" y="343"/>
                  <a:pt x="1663" y="343"/>
                  <a:pt x="1663" y="343"/>
                </a:cubicBezTo>
                <a:cubicBezTo>
                  <a:pt x="1664" y="346"/>
                  <a:pt x="1664" y="346"/>
                  <a:pt x="1664" y="346"/>
                </a:cubicBezTo>
                <a:lnTo>
                  <a:pt x="1665" y="347"/>
                </a:lnTo>
                <a:close/>
                <a:moveTo>
                  <a:pt x="1673" y="327"/>
                </a:moveTo>
                <a:cubicBezTo>
                  <a:pt x="1673" y="328"/>
                  <a:pt x="1673" y="328"/>
                  <a:pt x="1673" y="328"/>
                </a:cubicBezTo>
                <a:cubicBezTo>
                  <a:pt x="1674" y="329"/>
                  <a:pt x="1674" y="329"/>
                  <a:pt x="1674" y="329"/>
                </a:cubicBezTo>
                <a:cubicBezTo>
                  <a:pt x="1675" y="330"/>
                  <a:pt x="1675" y="330"/>
                  <a:pt x="1675" y="330"/>
                </a:cubicBezTo>
                <a:cubicBezTo>
                  <a:pt x="1677" y="331"/>
                  <a:pt x="1677" y="331"/>
                  <a:pt x="1677" y="331"/>
                </a:cubicBezTo>
                <a:cubicBezTo>
                  <a:pt x="1679" y="332"/>
                  <a:pt x="1679" y="332"/>
                  <a:pt x="1679" y="332"/>
                </a:cubicBezTo>
                <a:cubicBezTo>
                  <a:pt x="1680" y="331"/>
                  <a:pt x="1680" y="331"/>
                  <a:pt x="1680" y="331"/>
                </a:cubicBezTo>
                <a:cubicBezTo>
                  <a:pt x="1680" y="330"/>
                  <a:pt x="1680" y="330"/>
                  <a:pt x="1680" y="330"/>
                </a:cubicBezTo>
                <a:cubicBezTo>
                  <a:pt x="1678" y="330"/>
                  <a:pt x="1678" y="330"/>
                  <a:pt x="1678" y="330"/>
                </a:cubicBezTo>
                <a:cubicBezTo>
                  <a:pt x="1677" y="328"/>
                  <a:pt x="1677" y="328"/>
                  <a:pt x="1677" y="328"/>
                </a:cubicBezTo>
                <a:cubicBezTo>
                  <a:pt x="1678" y="327"/>
                  <a:pt x="1678" y="327"/>
                  <a:pt x="1678" y="327"/>
                </a:cubicBezTo>
                <a:cubicBezTo>
                  <a:pt x="1679" y="328"/>
                  <a:pt x="1679" y="328"/>
                  <a:pt x="1679" y="328"/>
                </a:cubicBezTo>
                <a:cubicBezTo>
                  <a:pt x="1679" y="326"/>
                  <a:pt x="1679" y="326"/>
                  <a:pt x="1679" y="326"/>
                </a:cubicBezTo>
                <a:cubicBezTo>
                  <a:pt x="1676" y="324"/>
                  <a:pt x="1676" y="324"/>
                  <a:pt x="1676" y="324"/>
                </a:cubicBezTo>
                <a:cubicBezTo>
                  <a:pt x="1675" y="324"/>
                  <a:pt x="1675" y="324"/>
                  <a:pt x="1675" y="324"/>
                </a:cubicBezTo>
                <a:cubicBezTo>
                  <a:pt x="1675" y="326"/>
                  <a:pt x="1675" y="326"/>
                  <a:pt x="1675" y="326"/>
                </a:cubicBezTo>
                <a:cubicBezTo>
                  <a:pt x="1676" y="327"/>
                  <a:pt x="1676" y="327"/>
                  <a:pt x="1676" y="327"/>
                </a:cubicBezTo>
                <a:cubicBezTo>
                  <a:pt x="1676" y="328"/>
                  <a:pt x="1676" y="328"/>
                  <a:pt x="1676" y="328"/>
                </a:cubicBezTo>
                <a:lnTo>
                  <a:pt x="1673" y="327"/>
                </a:lnTo>
                <a:close/>
                <a:moveTo>
                  <a:pt x="1684" y="276"/>
                </a:moveTo>
                <a:cubicBezTo>
                  <a:pt x="1682" y="275"/>
                  <a:pt x="1682" y="275"/>
                  <a:pt x="1682" y="275"/>
                </a:cubicBezTo>
                <a:cubicBezTo>
                  <a:pt x="1682" y="276"/>
                  <a:pt x="1682" y="276"/>
                  <a:pt x="1682" y="276"/>
                </a:cubicBezTo>
                <a:cubicBezTo>
                  <a:pt x="1683" y="277"/>
                  <a:pt x="1683" y="277"/>
                  <a:pt x="1683" y="277"/>
                </a:cubicBezTo>
                <a:lnTo>
                  <a:pt x="1684" y="276"/>
                </a:lnTo>
                <a:close/>
                <a:moveTo>
                  <a:pt x="1687" y="324"/>
                </a:moveTo>
                <a:cubicBezTo>
                  <a:pt x="1687" y="324"/>
                  <a:pt x="1688" y="325"/>
                  <a:pt x="1688" y="325"/>
                </a:cubicBezTo>
                <a:cubicBezTo>
                  <a:pt x="1689" y="324"/>
                  <a:pt x="1689" y="324"/>
                  <a:pt x="1689" y="324"/>
                </a:cubicBezTo>
                <a:lnTo>
                  <a:pt x="1687" y="324"/>
                </a:lnTo>
                <a:close/>
                <a:moveTo>
                  <a:pt x="1703" y="332"/>
                </a:moveTo>
                <a:cubicBezTo>
                  <a:pt x="1702" y="331"/>
                  <a:pt x="1702" y="331"/>
                  <a:pt x="1702" y="331"/>
                </a:cubicBezTo>
                <a:cubicBezTo>
                  <a:pt x="1702" y="332"/>
                  <a:pt x="1702" y="332"/>
                  <a:pt x="1702" y="332"/>
                </a:cubicBezTo>
                <a:cubicBezTo>
                  <a:pt x="1701" y="332"/>
                  <a:pt x="1701" y="332"/>
                  <a:pt x="1701" y="332"/>
                </a:cubicBezTo>
                <a:cubicBezTo>
                  <a:pt x="1701" y="333"/>
                  <a:pt x="1701" y="333"/>
                  <a:pt x="1701" y="333"/>
                </a:cubicBezTo>
                <a:lnTo>
                  <a:pt x="1703" y="332"/>
                </a:lnTo>
                <a:close/>
                <a:moveTo>
                  <a:pt x="1699" y="330"/>
                </a:moveTo>
                <a:cubicBezTo>
                  <a:pt x="1700" y="330"/>
                  <a:pt x="1700" y="330"/>
                  <a:pt x="1700" y="330"/>
                </a:cubicBezTo>
                <a:cubicBezTo>
                  <a:pt x="1700" y="330"/>
                  <a:pt x="1700" y="328"/>
                  <a:pt x="1700" y="328"/>
                </a:cubicBezTo>
                <a:lnTo>
                  <a:pt x="1699" y="330"/>
                </a:lnTo>
                <a:close/>
                <a:moveTo>
                  <a:pt x="1693" y="325"/>
                </a:moveTo>
                <a:cubicBezTo>
                  <a:pt x="1691" y="323"/>
                  <a:pt x="1691" y="323"/>
                  <a:pt x="1691" y="323"/>
                </a:cubicBezTo>
                <a:cubicBezTo>
                  <a:pt x="1691" y="325"/>
                  <a:pt x="1691" y="325"/>
                  <a:pt x="1691" y="325"/>
                </a:cubicBezTo>
                <a:cubicBezTo>
                  <a:pt x="1692" y="326"/>
                  <a:pt x="1692" y="326"/>
                  <a:pt x="1692" y="326"/>
                </a:cubicBezTo>
                <a:lnTo>
                  <a:pt x="1693" y="325"/>
                </a:lnTo>
                <a:close/>
                <a:moveTo>
                  <a:pt x="1698" y="352"/>
                </a:moveTo>
                <a:cubicBezTo>
                  <a:pt x="1700" y="351"/>
                  <a:pt x="1700" y="351"/>
                  <a:pt x="1700" y="351"/>
                </a:cubicBezTo>
                <a:cubicBezTo>
                  <a:pt x="1701" y="351"/>
                  <a:pt x="1701" y="351"/>
                  <a:pt x="1701" y="351"/>
                </a:cubicBezTo>
                <a:cubicBezTo>
                  <a:pt x="1703" y="353"/>
                  <a:pt x="1703" y="353"/>
                  <a:pt x="1703" y="353"/>
                </a:cubicBezTo>
                <a:cubicBezTo>
                  <a:pt x="1703" y="351"/>
                  <a:pt x="1703" y="351"/>
                  <a:pt x="1703" y="351"/>
                </a:cubicBezTo>
                <a:cubicBezTo>
                  <a:pt x="1705" y="350"/>
                  <a:pt x="1705" y="350"/>
                  <a:pt x="1705" y="350"/>
                </a:cubicBezTo>
                <a:cubicBezTo>
                  <a:pt x="1706" y="351"/>
                  <a:pt x="1706" y="351"/>
                  <a:pt x="1706" y="351"/>
                </a:cubicBezTo>
                <a:cubicBezTo>
                  <a:pt x="1705" y="349"/>
                  <a:pt x="1705" y="349"/>
                  <a:pt x="1705" y="349"/>
                </a:cubicBezTo>
                <a:cubicBezTo>
                  <a:pt x="1703" y="349"/>
                  <a:pt x="1703" y="349"/>
                  <a:pt x="1703" y="349"/>
                </a:cubicBezTo>
                <a:cubicBezTo>
                  <a:pt x="1703" y="348"/>
                  <a:pt x="1703" y="348"/>
                  <a:pt x="1703" y="348"/>
                </a:cubicBezTo>
                <a:cubicBezTo>
                  <a:pt x="1701" y="347"/>
                  <a:pt x="1701" y="347"/>
                  <a:pt x="1701" y="347"/>
                </a:cubicBezTo>
                <a:cubicBezTo>
                  <a:pt x="1701" y="348"/>
                  <a:pt x="1701" y="348"/>
                  <a:pt x="1701" y="348"/>
                </a:cubicBezTo>
                <a:cubicBezTo>
                  <a:pt x="1700" y="349"/>
                  <a:pt x="1700" y="349"/>
                  <a:pt x="1700" y="349"/>
                </a:cubicBezTo>
                <a:cubicBezTo>
                  <a:pt x="1697" y="351"/>
                  <a:pt x="1697" y="351"/>
                  <a:pt x="1697" y="351"/>
                </a:cubicBezTo>
                <a:lnTo>
                  <a:pt x="1698" y="352"/>
                </a:lnTo>
                <a:close/>
                <a:moveTo>
                  <a:pt x="1655" y="629"/>
                </a:moveTo>
                <a:cubicBezTo>
                  <a:pt x="1656" y="627"/>
                  <a:pt x="1656" y="627"/>
                  <a:pt x="1656" y="627"/>
                </a:cubicBezTo>
                <a:cubicBezTo>
                  <a:pt x="1654" y="625"/>
                  <a:pt x="1654" y="625"/>
                  <a:pt x="1654" y="625"/>
                </a:cubicBezTo>
                <a:cubicBezTo>
                  <a:pt x="1652" y="627"/>
                  <a:pt x="1652" y="627"/>
                  <a:pt x="1652" y="627"/>
                </a:cubicBezTo>
                <a:cubicBezTo>
                  <a:pt x="1650" y="627"/>
                  <a:pt x="1650" y="627"/>
                  <a:pt x="1650" y="627"/>
                </a:cubicBezTo>
                <a:cubicBezTo>
                  <a:pt x="1648" y="626"/>
                  <a:pt x="1648" y="626"/>
                  <a:pt x="1648" y="626"/>
                </a:cubicBezTo>
                <a:cubicBezTo>
                  <a:pt x="1646" y="628"/>
                  <a:pt x="1646" y="628"/>
                  <a:pt x="1646" y="628"/>
                </a:cubicBezTo>
                <a:cubicBezTo>
                  <a:pt x="1642" y="628"/>
                  <a:pt x="1642" y="628"/>
                  <a:pt x="1642" y="628"/>
                </a:cubicBezTo>
                <a:cubicBezTo>
                  <a:pt x="1638" y="629"/>
                  <a:pt x="1638" y="629"/>
                  <a:pt x="1638" y="629"/>
                </a:cubicBezTo>
                <a:cubicBezTo>
                  <a:pt x="1635" y="628"/>
                  <a:pt x="1635" y="628"/>
                  <a:pt x="1635" y="628"/>
                </a:cubicBezTo>
                <a:cubicBezTo>
                  <a:pt x="1633" y="627"/>
                  <a:pt x="1633" y="627"/>
                  <a:pt x="1633" y="627"/>
                </a:cubicBezTo>
                <a:cubicBezTo>
                  <a:pt x="1631" y="627"/>
                  <a:pt x="1631" y="627"/>
                  <a:pt x="1631" y="627"/>
                </a:cubicBezTo>
                <a:cubicBezTo>
                  <a:pt x="1630" y="628"/>
                  <a:pt x="1630" y="628"/>
                  <a:pt x="1630" y="628"/>
                </a:cubicBezTo>
                <a:cubicBezTo>
                  <a:pt x="1629" y="627"/>
                  <a:pt x="1629" y="627"/>
                  <a:pt x="1629" y="627"/>
                </a:cubicBezTo>
                <a:cubicBezTo>
                  <a:pt x="1627" y="629"/>
                  <a:pt x="1627" y="629"/>
                  <a:pt x="1627" y="629"/>
                </a:cubicBezTo>
                <a:cubicBezTo>
                  <a:pt x="1626" y="632"/>
                  <a:pt x="1626" y="632"/>
                  <a:pt x="1626" y="632"/>
                </a:cubicBezTo>
                <a:cubicBezTo>
                  <a:pt x="1628" y="634"/>
                  <a:pt x="1628" y="634"/>
                  <a:pt x="1628" y="634"/>
                </a:cubicBezTo>
                <a:cubicBezTo>
                  <a:pt x="1631" y="633"/>
                  <a:pt x="1631" y="633"/>
                  <a:pt x="1631" y="633"/>
                </a:cubicBezTo>
                <a:cubicBezTo>
                  <a:pt x="1634" y="636"/>
                  <a:pt x="1634" y="636"/>
                  <a:pt x="1634" y="636"/>
                </a:cubicBezTo>
                <a:cubicBezTo>
                  <a:pt x="1636" y="637"/>
                  <a:pt x="1636" y="637"/>
                  <a:pt x="1636" y="637"/>
                </a:cubicBezTo>
                <a:cubicBezTo>
                  <a:pt x="1638" y="639"/>
                  <a:pt x="1638" y="639"/>
                  <a:pt x="1638" y="639"/>
                </a:cubicBezTo>
                <a:cubicBezTo>
                  <a:pt x="1643" y="640"/>
                  <a:pt x="1643" y="640"/>
                  <a:pt x="1643" y="640"/>
                </a:cubicBezTo>
                <a:cubicBezTo>
                  <a:pt x="1644" y="640"/>
                  <a:pt x="1644" y="640"/>
                  <a:pt x="1644" y="640"/>
                </a:cubicBezTo>
                <a:cubicBezTo>
                  <a:pt x="1646" y="641"/>
                  <a:pt x="1646" y="641"/>
                  <a:pt x="1646" y="641"/>
                </a:cubicBezTo>
                <a:cubicBezTo>
                  <a:pt x="1646" y="643"/>
                  <a:pt x="1646" y="643"/>
                  <a:pt x="1646" y="643"/>
                </a:cubicBezTo>
                <a:cubicBezTo>
                  <a:pt x="1651" y="645"/>
                  <a:pt x="1651" y="645"/>
                  <a:pt x="1651" y="645"/>
                </a:cubicBezTo>
                <a:cubicBezTo>
                  <a:pt x="1653" y="644"/>
                  <a:pt x="1653" y="644"/>
                  <a:pt x="1653" y="644"/>
                </a:cubicBezTo>
                <a:cubicBezTo>
                  <a:pt x="1653" y="642"/>
                  <a:pt x="1653" y="642"/>
                  <a:pt x="1653" y="642"/>
                </a:cubicBezTo>
                <a:cubicBezTo>
                  <a:pt x="1654" y="641"/>
                  <a:pt x="1654" y="641"/>
                  <a:pt x="1654" y="641"/>
                </a:cubicBezTo>
                <a:cubicBezTo>
                  <a:pt x="1653" y="638"/>
                  <a:pt x="1653" y="638"/>
                  <a:pt x="1653" y="638"/>
                </a:cubicBezTo>
                <a:cubicBezTo>
                  <a:pt x="1652" y="636"/>
                  <a:pt x="1652" y="636"/>
                  <a:pt x="1652" y="636"/>
                </a:cubicBezTo>
                <a:cubicBezTo>
                  <a:pt x="1653" y="631"/>
                  <a:pt x="1653" y="631"/>
                  <a:pt x="1653" y="631"/>
                </a:cubicBezTo>
                <a:lnTo>
                  <a:pt x="1655" y="629"/>
                </a:lnTo>
                <a:close/>
                <a:moveTo>
                  <a:pt x="1728" y="616"/>
                </a:moveTo>
                <a:cubicBezTo>
                  <a:pt x="1726" y="617"/>
                  <a:pt x="1726" y="617"/>
                  <a:pt x="1726" y="617"/>
                </a:cubicBezTo>
                <a:cubicBezTo>
                  <a:pt x="1727" y="617"/>
                  <a:pt x="1727" y="617"/>
                  <a:pt x="1727" y="617"/>
                </a:cubicBezTo>
                <a:cubicBezTo>
                  <a:pt x="1729" y="617"/>
                  <a:pt x="1729" y="617"/>
                  <a:pt x="1729" y="617"/>
                </a:cubicBezTo>
                <a:cubicBezTo>
                  <a:pt x="1730" y="618"/>
                  <a:pt x="1730" y="618"/>
                  <a:pt x="1730" y="618"/>
                </a:cubicBezTo>
                <a:cubicBezTo>
                  <a:pt x="1730" y="619"/>
                  <a:pt x="1730" y="619"/>
                  <a:pt x="1730" y="619"/>
                </a:cubicBezTo>
                <a:cubicBezTo>
                  <a:pt x="1731" y="619"/>
                  <a:pt x="1731" y="619"/>
                  <a:pt x="1731" y="619"/>
                </a:cubicBezTo>
                <a:cubicBezTo>
                  <a:pt x="1732" y="620"/>
                  <a:pt x="1732" y="620"/>
                  <a:pt x="1732" y="620"/>
                </a:cubicBezTo>
                <a:cubicBezTo>
                  <a:pt x="1733" y="621"/>
                  <a:pt x="1733" y="621"/>
                  <a:pt x="1733" y="621"/>
                </a:cubicBezTo>
                <a:cubicBezTo>
                  <a:pt x="1734" y="622"/>
                  <a:pt x="1734" y="622"/>
                  <a:pt x="1734" y="622"/>
                </a:cubicBezTo>
                <a:cubicBezTo>
                  <a:pt x="1736" y="623"/>
                  <a:pt x="1736" y="623"/>
                  <a:pt x="1736" y="623"/>
                </a:cubicBezTo>
                <a:cubicBezTo>
                  <a:pt x="1737" y="623"/>
                  <a:pt x="1737" y="623"/>
                  <a:pt x="1737" y="623"/>
                </a:cubicBezTo>
                <a:cubicBezTo>
                  <a:pt x="1738" y="624"/>
                  <a:pt x="1738" y="624"/>
                  <a:pt x="1738" y="624"/>
                </a:cubicBezTo>
                <a:cubicBezTo>
                  <a:pt x="1739" y="626"/>
                  <a:pt x="1739" y="626"/>
                  <a:pt x="1739" y="626"/>
                </a:cubicBezTo>
                <a:cubicBezTo>
                  <a:pt x="1740" y="626"/>
                  <a:pt x="1740" y="626"/>
                  <a:pt x="1740" y="626"/>
                </a:cubicBezTo>
                <a:cubicBezTo>
                  <a:pt x="1739" y="627"/>
                  <a:pt x="1739" y="627"/>
                  <a:pt x="1739" y="627"/>
                </a:cubicBezTo>
                <a:cubicBezTo>
                  <a:pt x="1740" y="628"/>
                  <a:pt x="1740" y="628"/>
                  <a:pt x="1740" y="628"/>
                </a:cubicBezTo>
                <a:cubicBezTo>
                  <a:pt x="1741" y="629"/>
                  <a:pt x="1741" y="629"/>
                  <a:pt x="1741" y="629"/>
                </a:cubicBezTo>
                <a:cubicBezTo>
                  <a:pt x="1742" y="629"/>
                  <a:pt x="1742" y="629"/>
                  <a:pt x="1742" y="629"/>
                </a:cubicBezTo>
                <a:cubicBezTo>
                  <a:pt x="1743" y="629"/>
                  <a:pt x="1743" y="629"/>
                  <a:pt x="1743" y="629"/>
                </a:cubicBezTo>
                <a:cubicBezTo>
                  <a:pt x="1744" y="627"/>
                  <a:pt x="1744" y="627"/>
                  <a:pt x="1744" y="627"/>
                </a:cubicBezTo>
                <a:cubicBezTo>
                  <a:pt x="1742" y="627"/>
                  <a:pt x="1742" y="627"/>
                  <a:pt x="1742" y="627"/>
                </a:cubicBezTo>
                <a:cubicBezTo>
                  <a:pt x="1742" y="628"/>
                  <a:pt x="1742" y="628"/>
                  <a:pt x="1742" y="628"/>
                </a:cubicBezTo>
                <a:cubicBezTo>
                  <a:pt x="1740" y="626"/>
                  <a:pt x="1740" y="626"/>
                  <a:pt x="1740" y="626"/>
                </a:cubicBezTo>
                <a:cubicBezTo>
                  <a:pt x="1740" y="625"/>
                  <a:pt x="1740" y="625"/>
                  <a:pt x="1740" y="625"/>
                </a:cubicBezTo>
                <a:cubicBezTo>
                  <a:pt x="1740" y="624"/>
                  <a:pt x="1740" y="624"/>
                  <a:pt x="1740" y="624"/>
                </a:cubicBezTo>
                <a:cubicBezTo>
                  <a:pt x="1740" y="623"/>
                  <a:pt x="1740" y="623"/>
                  <a:pt x="1740" y="623"/>
                </a:cubicBezTo>
                <a:cubicBezTo>
                  <a:pt x="1739" y="621"/>
                  <a:pt x="1739" y="621"/>
                  <a:pt x="1739" y="621"/>
                </a:cubicBezTo>
                <a:cubicBezTo>
                  <a:pt x="1737" y="619"/>
                  <a:pt x="1737" y="619"/>
                  <a:pt x="1737" y="619"/>
                </a:cubicBezTo>
                <a:cubicBezTo>
                  <a:pt x="1737" y="619"/>
                  <a:pt x="1737" y="619"/>
                  <a:pt x="1737" y="619"/>
                </a:cubicBezTo>
                <a:cubicBezTo>
                  <a:pt x="1735" y="619"/>
                  <a:pt x="1735" y="619"/>
                  <a:pt x="1735" y="619"/>
                </a:cubicBezTo>
                <a:cubicBezTo>
                  <a:pt x="1735" y="619"/>
                  <a:pt x="1735" y="619"/>
                  <a:pt x="1735" y="619"/>
                </a:cubicBezTo>
                <a:cubicBezTo>
                  <a:pt x="1733" y="618"/>
                  <a:pt x="1733" y="618"/>
                  <a:pt x="1733" y="618"/>
                </a:cubicBezTo>
                <a:cubicBezTo>
                  <a:pt x="1732" y="617"/>
                  <a:pt x="1732" y="617"/>
                  <a:pt x="1732" y="617"/>
                </a:cubicBezTo>
                <a:cubicBezTo>
                  <a:pt x="1730" y="616"/>
                  <a:pt x="1730" y="616"/>
                  <a:pt x="1730" y="616"/>
                </a:cubicBezTo>
                <a:lnTo>
                  <a:pt x="1728" y="616"/>
                </a:lnTo>
                <a:close/>
                <a:moveTo>
                  <a:pt x="1736" y="656"/>
                </a:moveTo>
                <a:cubicBezTo>
                  <a:pt x="1736" y="658"/>
                  <a:pt x="1736" y="658"/>
                  <a:pt x="1736" y="658"/>
                </a:cubicBezTo>
                <a:cubicBezTo>
                  <a:pt x="1736" y="659"/>
                  <a:pt x="1736" y="659"/>
                  <a:pt x="1736" y="659"/>
                </a:cubicBezTo>
                <a:cubicBezTo>
                  <a:pt x="1736" y="661"/>
                  <a:pt x="1736" y="661"/>
                  <a:pt x="1736" y="661"/>
                </a:cubicBezTo>
                <a:cubicBezTo>
                  <a:pt x="1737" y="661"/>
                  <a:pt x="1737" y="661"/>
                  <a:pt x="1737" y="661"/>
                </a:cubicBezTo>
                <a:cubicBezTo>
                  <a:pt x="1741" y="661"/>
                  <a:pt x="1741" y="661"/>
                  <a:pt x="1741" y="661"/>
                </a:cubicBezTo>
                <a:cubicBezTo>
                  <a:pt x="1742" y="661"/>
                  <a:pt x="1742" y="661"/>
                  <a:pt x="1742" y="661"/>
                </a:cubicBezTo>
                <a:cubicBezTo>
                  <a:pt x="1743" y="661"/>
                  <a:pt x="1743" y="661"/>
                  <a:pt x="1743" y="661"/>
                </a:cubicBezTo>
                <a:cubicBezTo>
                  <a:pt x="1745" y="661"/>
                  <a:pt x="1745" y="661"/>
                  <a:pt x="1745" y="661"/>
                </a:cubicBezTo>
                <a:cubicBezTo>
                  <a:pt x="1747" y="663"/>
                  <a:pt x="1747" y="663"/>
                  <a:pt x="1747" y="663"/>
                </a:cubicBezTo>
                <a:cubicBezTo>
                  <a:pt x="1748" y="664"/>
                  <a:pt x="1748" y="664"/>
                  <a:pt x="1748" y="664"/>
                </a:cubicBezTo>
                <a:cubicBezTo>
                  <a:pt x="1750" y="664"/>
                  <a:pt x="1750" y="664"/>
                  <a:pt x="1750" y="664"/>
                </a:cubicBezTo>
                <a:cubicBezTo>
                  <a:pt x="1752" y="662"/>
                  <a:pt x="1752" y="662"/>
                  <a:pt x="1752" y="662"/>
                </a:cubicBezTo>
                <a:cubicBezTo>
                  <a:pt x="1755" y="663"/>
                  <a:pt x="1755" y="663"/>
                  <a:pt x="1755" y="663"/>
                </a:cubicBezTo>
                <a:cubicBezTo>
                  <a:pt x="1758" y="663"/>
                  <a:pt x="1758" y="663"/>
                  <a:pt x="1758" y="663"/>
                </a:cubicBezTo>
                <a:cubicBezTo>
                  <a:pt x="1761" y="663"/>
                  <a:pt x="1761" y="663"/>
                  <a:pt x="1761" y="663"/>
                </a:cubicBezTo>
                <a:cubicBezTo>
                  <a:pt x="1762" y="662"/>
                  <a:pt x="1762" y="662"/>
                  <a:pt x="1762" y="662"/>
                </a:cubicBezTo>
                <a:cubicBezTo>
                  <a:pt x="1763" y="660"/>
                  <a:pt x="1763" y="660"/>
                  <a:pt x="1763" y="660"/>
                </a:cubicBezTo>
                <a:cubicBezTo>
                  <a:pt x="1763" y="659"/>
                  <a:pt x="1763" y="659"/>
                  <a:pt x="1763" y="659"/>
                </a:cubicBezTo>
                <a:cubicBezTo>
                  <a:pt x="1763" y="658"/>
                  <a:pt x="1763" y="658"/>
                  <a:pt x="1763" y="658"/>
                </a:cubicBezTo>
                <a:cubicBezTo>
                  <a:pt x="1762" y="659"/>
                  <a:pt x="1762" y="659"/>
                  <a:pt x="1762" y="659"/>
                </a:cubicBezTo>
                <a:cubicBezTo>
                  <a:pt x="1762" y="660"/>
                  <a:pt x="1762" y="660"/>
                  <a:pt x="1762" y="660"/>
                </a:cubicBezTo>
                <a:cubicBezTo>
                  <a:pt x="1761" y="661"/>
                  <a:pt x="1761" y="661"/>
                  <a:pt x="1761" y="661"/>
                </a:cubicBezTo>
                <a:cubicBezTo>
                  <a:pt x="1760" y="660"/>
                  <a:pt x="1760" y="660"/>
                  <a:pt x="1760" y="660"/>
                </a:cubicBezTo>
                <a:cubicBezTo>
                  <a:pt x="1759" y="660"/>
                  <a:pt x="1759" y="660"/>
                  <a:pt x="1759" y="660"/>
                </a:cubicBezTo>
                <a:cubicBezTo>
                  <a:pt x="1758" y="660"/>
                  <a:pt x="1758" y="660"/>
                  <a:pt x="1758" y="660"/>
                </a:cubicBezTo>
                <a:cubicBezTo>
                  <a:pt x="1758" y="659"/>
                  <a:pt x="1758" y="659"/>
                  <a:pt x="1758" y="659"/>
                </a:cubicBezTo>
                <a:cubicBezTo>
                  <a:pt x="1758" y="658"/>
                  <a:pt x="1758" y="658"/>
                  <a:pt x="1758" y="658"/>
                </a:cubicBezTo>
                <a:cubicBezTo>
                  <a:pt x="1757" y="658"/>
                  <a:pt x="1757" y="658"/>
                  <a:pt x="1757" y="658"/>
                </a:cubicBezTo>
                <a:cubicBezTo>
                  <a:pt x="1754" y="658"/>
                  <a:pt x="1754" y="658"/>
                  <a:pt x="1754" y="658"/>
                </a:cubicBezTo>
                <a:cubicBezTo>
                  <a:pt x="1752" y="657"/>
                  <a:pt x="1752" y="657"/>
                  <a:pt x="1752" y="657"/>
                </a:cubicBezTo>
                <a:cubicBezTo>
                  <a:pt x="1749" y="657"/>
                  <a:pt x="1749" y="657"/>
                  <a:pt x="1749" y="657"/>
                </a:cubicBezTo>
                <a:cubicBezTo>
                  <a:pt x="1746" y="658"/>
                  <a:pt x="1746" y="658"/>
                  <a:pt x="1746" y="658"/>
                </a:cubicBezTo>
                <a:cubicBezTo>
                  <a:pt x="1745" y="659"/>
                  <a:pt x="1745" y="659"/>
                  <a:pt x="1745" y="659"/>
                </a:cubicBezTo>
                <a:cubicBezTo>
                  <a:pt x="1743" y="658"/>
                  <a:pt x="1743" y="658"/>
                  <a:pt x="1743" y="658"/>
                </a:cubicBezTo>
                <a:cubicBezTo>
                  <a:pt x="1742" y="657"/>
                  <a:pt x="1742" y="657"/>
                  <a:pt x="1742" y="657"/>
                </a:cubicBezTo>
                <a:cubicBezTo>
                  <a:pt x="1741" y="657"/>
                  <a:pt x="1741" y="657"/>
                  <a:pt x="1741" y="657"/>
                </a:cubicBezTo>
                <a:cubicBezTo>
                  <a:pt x="1742" y="657"/>
                  <a:pt x="1742" y="657"/>
                  <a:pt x="1742" y="657"/>
                </a:cubicBezTo>
                <a:cubicBezTo>
                  <a:pt x="1741" y="655"/>
                  <a:pt x="1741" y="655"/>
                  <a:pt x="1741" y="655"/>
                </a:cubicBezTo>
                <a:cubicBezTo>
                  <a:pt x="1740" y="656"/>
                  <a:pt x="1740" y="656"/>
                  <a:pt x="1740" y="656"/>
                </a:cubicBezTo>
                <a:cubicBezTo>
                  <a:pt x="1740" y="656"/>
                  <a:pt x="1740" y="656"/>
                  <a:pt x="1740" y="656"/>
                </a:cubicBezTo>
                <a:cubicBezTo>
                  <a:pt x="1741" y="656"/>
                  <a:pt x="1741" y="656"/>
                  <a:pt x="1741" y="656"/>
                </a:cubicBezTo>
                <a:cubicBezTo>
                  <a:pt x="1740" y="657"/>
                  <a:pt x="1740" y="657"/>
                  <a:pt x="1740" y="657"/>
                </a:cubicBezTo>
                <a:cubicBezTo>
                  <a:pt x="1738" y="657"/>
                  <a:pt x="1738" y="657"/>
                  <a:pt x="1738" y="657"/>
                </a:cubicBezTo>
                <a:cubicBezTo>
                  <a:pt x="1738" y="656"/>
                  <a:pt x="1738" y="656"/>
                  <a:pt x="1738" y="656"/>
                </a:cubicBezTo>
                <a:cubicBezTo>
                  <a:pt x="1738" y="655"/>
                  <a:pt x="1738" y="655"/>
                  <a:pt x="1738" y="655"/>
                </a:cubicBezTo>
                <a:cubicBezTo>
                  <a:pt x="1737" y="656"/>
                  <a:pt x="1737" y="656"/>
                  <a:pt x="1737" y="656"/>
                </a:cubicBezTo>
                <a:cubicBezTo>
                  <a:pt x="1738" y="657"/>
                  <a:pt x="1738" y="657"/>
                  <a:pt x="1738" y="657"/>
                </a:cubicBezTo>
                <a:cubicBezTo>
                  <a:pt x="1737" y="658"/>
                  <a:pt x="1737" y="658"/>
                  <a:pt x="1737" y="658"/>
                </a:cubicBezTo>
                <a:lnTo>
                  <a:pt x="1736" y="656"/>
                </a:lnTo>
                <a:close/>
                <a:moveTo>
                  <a:pt x="1735" y="615"/>
                </a:moveTo>
                <a:cubicBezTo>
                  <a:pt x="1734" y="614"/>
                  <a:pt x="1734" y="614"/>
                  <a:pt x="1734" y="614"/>
                </a:cubicBezTo>
                <a:cubicBezTo>
                  <a:pt x="1733" y="613"/>
                  <a:pt x="1733" y="613"/>
                  <a:pt x="1733" y="613"/>
                </a:cubicBezTo>
                <a:cubicBezTo>
                  <a:pt x="1733" y="614"/>
                  <a:pt x="1733" y="614"/>
                  <a:pt x="1733" y="614"/>
                </a:cubicBezTo>
                <a:cubicBezTo>
                  <a:pt x="1734" y="616"/>
                  <a:pt x="1734" y="616"/>
                  <a:pt x="1734" y="616"/>
                </a:cubicBezTo>
                <a:lnTo>
                  <a:pt x="1735" y="615"/>
                </a:lnTo>
                <a:close/>
                <a:moveTo>
                  <a:pt x="1705" y="630"/>
                </a:moveTo>
                <a:cubicBezTo>
                  <a:pt x="1705" y="631"/>
                  <a:pt x="1705" y="631"/>
                  <a:pt x="1705" y="631"/>
                </a:cubicBezTo>
                <a:cubicBezTo>
                  <a:pt x="1706" y="632"/>
                  <a:pt x="1706" y="632"/>
                  <a:pt x="1706" y="632"/>
                </a:cubicBezTo>
                <a:cubicBezTo>
                  <a:pt x="1707" y="633"/>
                  <a:pt x="1707" y="633"/>
                  <a:pt x="1707" y="633"/>
                </a:cubicBezTo>
                <a:cubicBezTo>
                  <a:pt x="1708" y="632"/>
                  <a:pt x="1708" y="632"/>
                  <a:pt x="1708" y="632"/>
                </a:cubicBezTo>
                <a:cubicBezTo>
                  <a:pt x="1709" y="632"/>
                  <a:pt x="1709" y="632"/>
                  <a:pt x="1709" y="632"/>
                </a:cubicBezTo>
                <a:cubicBezTo>
                  <a:pt x="1708" y="631"/>
                  <a:pt x="1708" y="631"/>
                  <a:pt x="1708" y="631"/>
                </a:cubicBezTo>
                <a:cubicBezTo>
                  <a:pt x="1707" y="630"/>
                  <a:pt x="1707" y="630"/>
                  <a:pt x="1707" y="630"/>
                </a:cubicBezTo>
                <a:cubicBezTo>
                  <a:pt x="1706" y="630"/>
                  <a:pt x="1706" y="630"/>
                  <a:pt x="1706" y="630"/>
                </a:cubicBezTo>
                <a:lnTo>
                  <a:pt x="1705" y="630"/>
                </a:lnTo>
                <a:close/>
                <a:moveTo>
                  <a:pt x="1729" y="645"/>
                </a:moveTo>
                <a:cubicBezTo>
                  <a:pt x="1729" y="646"/>
                  <a:pt x="1729" y="646"/>
                  <a:pt x="1729" y="646"/>
                </a:cubicBezTo>
                <a:cubicBezTo>
                  <a:pt x="1729" y="646"/>
                  <a:pt x="1729" y="646"/>
                  <a:pt x="1729" y="646"/>
                </a:cubicBezTo>
                <a:lnTo>
                  <a:pt x="1729" y="645"/>
                </a:lnTo>
                <a:close/>
                <a:moveTo>
                  <a:pt x="1729" y="649"/>
                </a:moveTo>
                <a:cubicBezTo>
                  <a:pt x="1729" y="650"/>
                  <a:pt x="1729" y="650"/>
                  <a:pt x="1729" y="650"/>
                </a:cubicBezTo>
                <a:cubicBezTo>
                  <a:pt x="1730" y="651"/>
                  <a:pt x="1730" y="651"/>
                  <a:pt x="1730" y="651"/>
                </a:cubicBezTo>
                <a:cubicBezTo>
                  <a:pt x="1731" y="649"/>
                  <a:pt x="1731" y="649"/>
                  <a:pt x="1731" y="649"/>
                </a:cubicBezTo>
                <a:cubicBezTo>
                  <a:pt x="1730" y="648"/>
                  <a:pt x="1730" y="648"/>
                  <a:pt x="1730" y="648"/>
                </a:cubicBezTo>
                <a:cubicBezTo>
                  <a:pt x="1729" y="647"/>
                  <a:pt x="1729" y="647"/>
                  <a:pt x="1729" y="647"/>
                </a:cubicBezTo>
                <a:cubicBezTo>
                  <a:pt x="1729" y="647"/>
                  <a:pt x="1729" y="647"/>
                  <a:pt x="1729" y="647"/>
                </a:cubicBezTo>
                <a:cubicBezTo>
                  <a:pt x="1728" y="648"/>
                  <a:pt x="1728" y="648"/>
                  <a:pt x="1728" y="648"/>
                </a:cubicBezTo>
                <a:lnTo>
                  <a:pt x="1729" y="649"/>
                </a:lnTo>
                <a:close/>
                <a:moveTo>
                  <a:pt x="1731" y="613"/>
                </a:moveTo>
                <a:cubicBezTo>
                  <a:pt x="1731" y="614"/>
                  <a:pt x="1731" y="614"/>
                  <a:pt x="1731" y="614"/>
                </a:cubicBezTo>
                <a:cubicBezTo>
                  <a:pt x="1731" y="615"/>
                  <a:pt x="1731" y="615"/>
                  <a:pt x="1731" y="615"/>
                </a:cubicBezTo>
                <a:cubicBezTo>
                  <a:pt x="1732" y="614"/>
                  <a:pt x="1732" y="614"/>
                  <a:pt x="1732" y="614"/>
                </a:cubicBezTo>
                <a:lnTo>
                  <a:pt x="1731" y="613"/>
                </a:lnTo>
                <a:close/>
                <a:moveTo>
                  <a:pt x="1753" y="641"/>
                </a:moveTo>
                <a:cubicBezTo>
                  <a:pt x="1754" y="641"/>
                  <a:pt x="1754" y="641"/>
                  <a:pt x="1754" y="641"/>
                </a:cubicBezTo>
                <a:cubicBezTo>
                  <a:pt x="1755" y="639"/>
                  <a:pt x="1755" y="639"/>
                  <a:pt x="1755" y="639"/>
                </a:cubicBezTo>
                <a:cubicBezTo>
                  <a:pt x="1755" y="638"/>
                  <a:pt x="1755" y="638"/>
                  <a:pt x="1755" y="638"/>
                </a:cubicBezTo>
                <a:cubicBezTo>
                  <a:pt x="1754" y="638"/>
                  <a:pt x="1754" y="638"/>
                  <a:pt x="1754" y="638"/>
                </a:cubicBezTo>
                <a:cubicBezTo>
                  <a:pt x="1752" y="639"/>
                  <a:pt x="1752" y="639"/>
                  <a:pt x="1752" y="639"/>
                </a:cubicBezTo>
                <a:lnTo>
                  <a:pt x="1753" y="641"/>
                </a:lnTo>
                <a:close/>
                <a:moveTo>
                  <a:pt x="1752" y="636"/>
                </a:moveTo>
                <a:cubicBezTo>
                  <a:pt x="1753" y="636"/>
                  <a:pt x="1753" y="636"/>
                  <a:pt x="1753" y="636"/>
                </a:cubicBezTo>
                <a:cubicBezTo>
                  <a:pt x="1752" y="635"/>
                  <a:pt x="1752" y="635"/>
                  <a:pt x="1752" y="635"/>
                </a:cubicBezTo>
                <a:lnTo>
                  <a:pt x="1752" y="636"/>
                </a:lnTo>
                <a:close/>
                <a:moveTo>
                  <a:pt x="1761" y="611"/>
                </a:moveTo>
                <a:cubicBezTo>
                  <a:pt x="1759" y="611"/>
                  <a:pt x="1759" y="611"/>
                  <a:pt x="1759" y="611"/>
                </a:cubicBezTo>
                <a:cubicBezTo>
                  <a:pt x="1758" y="612"/>
                  <a:pt x="1758" y="612"/>
                  <a:pt x="1758" y="612"/>
                </a:cubicBezTo>
                <a:cubicBezTo>
                  <a:pt x="1755" y="612"/>
                  <a:pt x="1755" y="612"/>
                  <a:pt x="1755" y="612"/>
                </a:cubicBezTo>
                <a:cubicBezTo>
                  <a:pt x="1755" y="614"/>
                  <a:pt x="1755" y="614"/>
                  <a:pt x="1755" y="614"/>
                </a:cubicBezTo>
                <a:cubicBezTo>
                  <a:pt x="1756" y="615"/>
                  <a:pt x="1756" y="615"/>
                  <a:pt x="1756" y="615"/>
                </a:cubicBezTo>
                <a:cubicBezTo>
                  <a:pt x="1757" y="615"/>
                  <a:pt x="1757" y="615"/>
                  <a:pt x="1757" y="615"/>
                </a:cubicBezTo>
                <a:cubicBezTo>
                  <a:pt x="1758" y="615"/>
                  <a:pt x="1758" y="615"/>
                  <a:pt x="1758" y="615"/>
                </a:cubicBezTo>
                <a:cubicBezTo>
                  <a:pt x="1758" y="614"/>
                  <a:pt x="1758" y="614"/>
                  <a:pt x="1758" y="614"/>
                </a:cubicBezTo>
                <a:cubicBezTo>
                  <a:pt x="1758" y="613"/>
                  <a:pt x="1758" y="613"/>
                  <a:pt x="1758" y="613"/>
                </a:cubicBezTo>
                <a:cubicBezTo>
                  <a:pt x="1760" y="613"/>
                  <a:pt x="1760" y="613"/>
                  <a:pt x="1760" y="613"/>
                </a:cubicBezTo>
                <a:cubicBezTo>
                  <a:pt x="1760" y="614"/>
                  <a:pt x="1760" y="614"/>
                  <a:pt x="1760" y="614"/>
                </a:cubicBezTo>
                <a:cubicBezTo>
                  <a:pt x="1759" y="615"/>
                  <a:pt x="1759" y="615"/>
                  <a:pt x="1759" y="615"/>
                </a:cubicBezTo>
                <a:cubicBezTo>
                  <a:pt x="1758" y="615"/>
                  <a:pt x="1758" y="615"/>
                  <a:pt x="1758" y="615"/>
                </a:cubicBezTo>
                <a:cubicBezTo>
                  <a:pt x="1760" y="616"/>
                  <a:pt x="1760" y="616"/>
                  <a:pt x="1760" y="616"/>
                </a:cubicBezTo>
                <a:cubicBezTo>
                  <a:pt x="1762" y="616"/>
                  <a:pt x="1762" y="616"/>
                  <a:pt x="1762" y="616"/>
                </a:cubicBezTo>
                <a:cubicBezTo>
                  <a:pt x="1762" y="614"/>
                  <a:pt x="1762" y="614"/>
                  <a:pt x="1762" y="614"/>
                </a:cubicBezTo>
                <a:cubicBezTo>
                  <a:pt x="1761" y="612"/>
                  <a:pt x="1761" y="612"/>
                  <a:pt x="1761" y="612"/>
                </a:cubicBezTo>
                <a:cubicBezTo>
                  <a:pt x="1761" y="612"/>
                  <a:pt x="1761" y="612"/>
                  <a:pt x="1761" y="612"/>
                </a:cubicBezTo>
                <a:cubicBezTo>
                  <a:pt x="1761" y="611"/>
                  <a:pt x="1761" y="611"/>
                  <a:pt x="1761" y="611"/>
                </a:cubicBezTo>
                <a:close/>
                <a:moveTo>
                  <a:pt x="1754" y="599"/>
                </a:moveTo>
                <a:cubicBezTo>
                  <a:pt x="1753" y="599"/>
                  <a:pt x="1753" y="599"/>
                  <a:pt x="1753" y="599"/>
                </a:cubicBezTo>
                <a:cubicBezTo>
                  <a:pt x="1752" y="600"/>
                  <a:pt x="1752" y="600"/>
                  <a:pt x="1752" y="600"/>
                </a:cubicBezTo>
                <a:cubicBezTo>
                  <a:pt x="1754" y="600"/>
                  <a:pt x="1754" y="600"/>
                  <a:pt x="1754" y="600"/>
                </a:cubicBezTo>
                <a:cubicBezTo>
                  <a:pt x="1756" y="600"/>
                  <a:pt x="1756" y="600"/>
                  <a:pt x="1756" y="600"/>
                </a:cubicBezTo>
                <a:cubicBezTo>
                  <a:pt x="1756" y="599"/>
                  <a:pt x="1756" y="599"/>
                  <a:pt x="1756" y="599"/>
                </a:cubicBezTo>
                <a:cubicBezTo>
                  <a:pt x="1755" y="598"/>
                  <a:pt x="1755" y="598"/>
                  <a:pt x="1755" y="598"/>
                </a:cubicBezTo>
                <a:lnTo>
                  <a:pt x="1754" y="599"/>
                </a:lnTo>
                <a:close/>
                <a:moveTo>
                  <a:pt x="1760" y="634"/>
                </a:moveTo>
                <a:cubicBezTo>
                  <a:pt x="1760" y="633"/>
                  <a:pt x="1760" y="633"/>
                  <a:pt x="1760" y="633"/>
                </a:cubicBezTo>
                <a:cubicBezTo>
                  <a:pt x="1758" y="633"/>
                  <a:pt x="1758" y="633"/>
                  <a:pt x="1758" y="633"/>
                </a:cubicBezTo>
                <a:cubicBezTo>
                  <a:pt x="1758" y="634"/>
                  <a:pt x="1758" y="634"/>
                  <a:pt x="1758" y="634"/>
                </a:cubicBezTo>
                <a:cubicBezTo>
                  <a:pt x="1759" y="635"/>
                  <a:pt x="1759" y="635"/>
                  <a:pt x="1759" y="635"/>
                </a:cubicBezTo>
                <a:lnTo>
                  <a:pt x="1760" y="634"/>
                </a:lnTo>
                <a:close/>
                <a:moveTo>
                  <a:pt x="1753" y="596"/>
                </a:moveTo>
                <a:cubicBezTo>
                  <a:pt x="1751" y="596"/>
                  <a:pt x="1751" y="596"/>
                  <a:pt x="1751" y="596"/>
                </a:cubicBezTo>
                <a:cubicBezTo>
                  <a:pt x="1751" y="597"/>
                  <a:pt x="1751" y="597"/>
                  <a:pt x="1751" y="597"/>
                </a:cubicBezTo>
                <a:cubicBezTo>
                  <a:pt x="1753" y="597"/>
                  <a:pt x="1753" y="597"/>
                  <a:pt x="1753" y="597"/>
                </a:cubicBezTo>
                <a:cubicBezTo>
                  <a:pt x="1754" y="597"/>
                  <a:pt x="1754" y="597"/>
                  <a:pt x="1754" y="597"/>
                </a:cubicBezTo>
                <a:cubicBezTo>
                  <a:pt x="1754" y="596"/>
                  <a:pt x="1754" y="596"/>
                  <a:pt x="1754" y="596"/>
                </a:cubicBezTo>
                <a:lnTo>
                  <a:pt x="1753" y="596"/>
                </a:lnTo>
                <a:close/>
                <a:moveTo>
                  <a:pt x="1756" y="625"/>
                </a:moveTo>
                <a:cubicBezTo>
                  <a:pt x="1757" y="626"/>
                  <a:pt x="1757" y="626"/>
                  <a:pt x="1757" y="626"/>
                </a:cubicBezTo>
                <a:cubicBezTo>
                  <a:pt x="1759" y="625"/>
                  <a:pt x="1759" y="625"/>
                  <a:pt x="1759" y="625"/>
                </a:cubicBezTo>
                <a:cubicBezTo>
                  <a:pt x="1759" y="623"/>
                  <a:pt x="1759" y="623"/>
                  <a:pt x="1759" y="623"/>
                </a:cubicBezTo>
                <a:cubicBezTo>
                  <a:pt x="1759" y="621"/>
                  <a:pt x="1759" y="621"/>
                  <a:pt x="1759" y="621"/>
                </a:cubicBezTo>
                <a:cubicBezTo>
                  <a:pt x="1758" y="621"/>
                  <a:pt x="1758" y="621"/>
                  <a:pt x="1758" y="621"/>
                </a:cubicBezTo>
                <a:cubicBezTo>
                  <a:pt x="1757" y="620"/>
                  <a:pt x="1757" y="620"/>
                  <a:pt x="1757" y="620"/>
                </a:cubicBezTo>
                <a:cubicBezTo>
                  <a:pt x="1756" y="621"/>
                  <a:pt x="1756" y="621"/>
                  <a:pt x="1756" y="621"/>
                </a:cubicBezTo>
                <a:cubicBezTo>
                  <a:pt x="1756" y="621"/>
                  <a:pt x="1756" y="621"/>
                  <a:pt x="1756" y="621"/>
                </a:cubicBezTo>
                <a:cubicBezTo>
                  <a:pt x="1757" y="622"/>
                  <a:pt x="1757" y="622"/>
                  <a:pt x="1757" y="622"/>
                </a:cubicBezTo>
                <a:cubicBezTo>
                  <a:pt x="1757" y="624"/>
                  <a:pt x="1757" y="624"/>
                  <a:pt x="1757" y="624"/>
                </a:cubicBezTo>
                <a:cubicBezTo>
                  <a:pt x="1756" y="624"/>
                  <a:pt x="1756" y="624"/>
                  <a:pt x="1756" y="624"/>
                </a:cubicBezTo>
                <a:lnTo>
                  <a:pt x="1756" y="625"/>
                </a:lnTo>
                <a:close/>
                <a:moveTo>
                  <a:pt x="1584" y="590"/>
                </a:moveTo>
                <a:cubicBezTo>
                  <a:pt x="1584" y="589"/>
                  <a:pt x="1584" y="589"/>
                  <a:pt x="1584" y="589"/>
                </a:cubicBezTo>
                <a:cubicBezTo>
                  <a:pt x="1585" y="588"/>
                  <a:pt x="1585" y="588"/>
                  <a:pt x="1585" y="588"/>
                </a:cubicBezTo>
                <a:cubicBezTo>
                  <a:pt x="1584" y="588"/>
                  <a:pt x="1584" y="588"/>
                  <a:pt x="1584" y="588"/>
                </a:cubicBezTo>
                <a:cubicBezTo>
                  <a:pt x="1584" y="589"/>
                  <a:pt x="1584" y="589"/>
                  <a:pt x="1584" y="589"/>
                </a:cubicBezTo>
                <a:cubicBezTo>
                  <a:pt x="1583" y="589"/>
                  <a:pt x="1583" y="589"/>
                  <a:pt x="1583" y="589"/>
                </a:cubicBezTo>
                <a:cubicBezTo>
                  <a:pt x="1583" y="590"/>
                  <a:pt x="1583" y="590"/>
                  <a:pt x="1583" y="590"/>
                </a:cubicBezTo>
                <a:lnTo>
                  <a:pt x="1584" y="590"/>
                </a:lnTo>
                <a:close/>
                <a:moveTo>
                  <a:pt x="1585" y="575"/>
                </a:moveTo>
                <a:cubicBezTo>
                  <a:pt x="1586" y="577"/>
                  <a:pt x="1586" y="577"/>
                  <a:pt x="1586" y="577"/>
                </a:cubicBezTo>
                <a:cubicBezTo>
                  <a:pt x="1587" y="578"/>
                  <a:pt x="1587" y="578"/>
                  <a:pt x="1587" y="578"/>
                </a:cubicBezTo>
                <a:cubicBezTo>
                  <a:pt x="1587" y="578"/>
                  <a:pt x="1587" y="578"/>
                  <a:pt x="1587" y="578"/>
                </a:cubicBezTo>
                <a:cubicBezTo>
                  <a:pt x="1587" y="579"/>
                  <a:pt x="1587" y="579"/>
                  <a:pt x="1587" y="579"/>
                </a:cubicBezTo>
                <a:cubicBezTo>
                  <a:pt x="1587" y="580"/>
                  <a:pt x="1587" y="580"/>
                  <a:pt x="1587" y="580"/>
                </a:cubicBezTo>
                <a:cubicBezTo>
                  <a:pt x="1589" y="581"/>
                  <a:pt x="1589" y="581"/>
                  <a:pt x="1589" y="581"/>
                </a:cubicBezTo>
                <a:cubicBezTo>
                  <a:pt x="1588" y="582"/>
                  <a:pt x="1588" y="582"/>
                  <a:pt x="1588" y="582"/>
                </a:cubicBezTo>
                <a:cubicBezTo>
                  <a:pt x="1589" y="582"/>
                  <a:pt x="1589" y="582"/>
                  <a:pt x="1589" y="582"/>
                </a:cubicBezTo>
                <a:cubicBezTo>
                  <a:pt x="1590" y="583"/>
                  <a:pt x="1590" y="583"/>
                  <a:pt x="1590" y="583"/>
                </a:cubicBezTo>
                <a:cubicBezTo>
                  <a:pt x="1589" y="583"/>
                  <a:pt x="1589" y="583"/>
                  <a:pt x="1589" y="583"/>
                </a:cubicBezTo>
                <a:cubicBezTo>
                  <a:pt x="1588" y="584"/>
                  <a:pt x="1588" y="584"/>
                  <a:pt x="1588" y="584"/>
                </a:cubicBezTo>
                <a:cubicBezTo>
                  <a:pt x="1589" y="585"/>
                  <a:pt x="1589" y="585"/>
                  <a:pt x="1589" y="585"/>
                </a:cubicBezTo>
                <a:cubicBezTo>
                  <a:pt x="1592" y="586"/>
                  <a:pt x="1592" y="586"/>
                  <a:pt x="1592" y="586"/>
                </a:cubicBezTo>
                <a:cubicBezTo>
                  <a:pt x="1594" y="585"/>
                  <a:pt x="1594" y="585"/>
                  <a:pt x="1594" y="585"/>
                </a:cubicBezTo>
                <a:cubicBezTo>
                  <a:pt x="1595" y="582"/>
                  <a:pt x="1595" y="582"/>
                  <a:pt x="1595" y="582"/>
                </a:cubicBezTo>
                <a:cubicBezTo>
                  <a:pt x="1595" y="579"/>
                  <a:pt x="1595" y="579"/>
                  <a:pt x="1595" y="579"/>
                </a:cubicBezTo>
                <a:cubicBezTo>
                  <a:pt x="1596" y="575"/>
                  <a:pt x="1596" y="575"/>
                  <a:pt x="1596" y="575"/>
                </a:cubicBezTo>
                <a:cubicBezTo>
                  <a:pt x="1595" y="571"/>
                  <a:pt x="1595" y="571"/>
                  <a:pt x="1595" y="571"/>
                </a:cubicBezTo>
                <a:cubicBezTo>
                  <a:pt x="1595" y="568"/>
                  <a:pt x="1595" y="568"/>
                  <a:pt x="1595" y="568"/>
                </a:cubicBezTo>
                <a:cubicBezTo>
                  <a:pt x="1595" y="565"/>
                  <a:pt x="1595" y="565"/>
                  <a:pt x="1595" y="565"/>
                </a:cubicBezTo>
                <a:cubicBezTo>
                  <a:pt x="1594" y="565"/>
                  <a:pt x="1594" y="565"/>
                  <a:pt x="1594" y="565"/>
                </a:cubicBezTo>
                <a:cubicBezTo>
                  <a:pt x="1593" y="567"/>
                  <a:pt x="1593" y="567"/>
                  <a:pt x="1593" y="567"/>
                </a:cubicBezTo>
                <a:cubicBezTo>
                  <a:pt x="1594" y="568"/>
                  <a:pt x="1594" y="568"/>
                  <a:pt x="1594" y="568"/>
                </a:cubicBezTo>
                <a:cubicBezTo>
                  <a:pt x="1594" y="570"/>
                  <a:pt x="1594" y="570"/>
                  <a:pt x="1594" y="570"/>
                </a:cubicBezTo>
                <a:cubicBezTo>
                  <a:pt x="1593" y="570"/>
                  <a:pt x="1593" y="570"/>
                  <a:pt x="1593" y="570"/>
                </a:cubicBezTo>
                <a:cubicBezTo>
                  <a:pt x="1592" y="569"/>
                  <a:pt x="1592" y="569"/>
                  <a:pt x="1592" y="569"/>
                </a:cubicBezTo>
                <a:cubicBezTo>
                  <a:pt x="1590" y="570"/>
                  <a:pt x="1590" y="570"/>
                  <a:pt x="1590" y="570"/>
                </a:cubicBezTo>
                <a:cubicBezTo>
                  <a:pt x="1587" y="571"/>
                  <a:pt x="1587" y="571"/>
                  <a:pt x="1587" y="571"/>
                </a:cubicBezTo>
                <a:cubicBezTo>
                  <a:pt x="1586" y="573"/>
                  <a:pt x="1586" y="573"/>
                  <a:pt x="1586" y="573"/>
                </a:cubicBezTo>
                <a:cubicBezTo>
                  <a:pt x="1587" y="575"/>
                  <a:pt x="1587" y="575"/>
                  <a:pt x="1587" y="575"/>
                </a:cubicBezTo>
                <a:cubicBezTo>
                  <a:pt x="1587" y="575"/>
                  <a:pt x="1587" y="575"/>
                  <a:pt x="1587" y="575"/>
                </a:cubicBezTo>
                <a:lnTo>
                  <a:pt x="1585" y="575"/>
                </a:lnTo>
                <a:close/>
                <a:moveTo>
                  <a:pt x="1585" y="597"/>
                </a:moveTo>
                <a:cubicBezTo>
                  <a:pt x="1585" y="598"/>
                  <a:pt x="1585" y="598"/>
                  <a:pt x="1585" y="598"/>
                </a:cubicBezTo>
                <a:cubicBezTo>
                  <a:pt x="1586" y="600"/>
                  <a:pt x="1586" y="600"/>
                  <a:pt x="1586" y="600"/>
                </a:cubicBezTo>
                <a:cubicBezTo>
                  <a:pt x="1586" y="602"/>
                  <a:pt x="1586" y="602"/>
                  <a:pt x="1586" y="602"/>
                </a:cubicBezTo>
                <a:cubicBezTo>
                  <a:pt x="1585" y="603"/>
                  <a:pt x="1585" y="603"/>
                  <a:pt x="1585" y="603"/>
                </a:cubicBezTo>
                <a:cubicBezTo>
                  <a:pt x="1585" y="605"/>
                  <a:pt x="1585" y="605"/>
                  <a:pt x="1585" y="605"/>
                </a:cubicBezTo>
                <a:cubicBezTo>
                  <a:pt x="1587" y="605"/>
                  <a:pt x="1587" y="605"/>
                  <a:pt x="1587" y="605"/>
                </a:cubicBezTo>
                <a:cubicBezTo>
                  <a:pt x="1587" y="606"/>
                  <a:pt x="1587" y="606"/>
                  <a:pt x="1587" y="606"/>
                </a:cubicBezTo>
                <a:cubicBezTo>
                  <a:pt x="1586" y="607"/>
                  <a:pt x="1586" y="607"/>
                  <a:pt x="1586" y="607"/>
                </a:cubicBezTo>
                <a:cubicBezTo>
                  <a:pt x="1585" y="611"/>
                  <a:pt x="1585" y="611"/>
                  <a:pt x="1585" y="611"/>
                </a:cubicBezTo>
                <a:cubicBezTo>
                  <a:pt x="1586" y="612"/>
                  <a:pt x="1586" y="612"/>
                  <a:pt x="1586" y="612"/>
                </a:cubicBezTo>
                <a:cubicBezTo>
                  <a:pt x="1587" y="616"/>
                  <a:pt x="1587" y="616"/>
                  <a:pt x="1587" y="616"/>
                </a:cubicBezTo>
                <a:cubicBezTo>
                  <a:pt x="1589" y="618"/>
                  <a:pt x="1589" y="618"/>
                  <a:pt x="1589" y="618"/>
                </a:cubicBezTo>
                <a:cubicBezTo>
                  <a:pt x="1589" y="617"/>
                  <a:pt x="1589" y="617"/>
                  <a:pt x="1589" y="617"/>
                </a:cubicBezTo>
                <a:cubicBezTo>
                  <a:pt x="1590" y="618"/>
                  <a:pt x="1590" y="618"/>
                  <a:pt x="1590" y="618"/>
                </a:cubicBezTo>
                <a:cubicBezTo>
                  <a:pt x="1592" y="617"/>
                  <a:pt x="1592" y="617"/>
                  <a:pt x="1592" y="617"/>
                </a:cubicBezTo>
                <a:cubicBezTo>
                  <a:pt x="1592" y="615"/>
                  <a:pt x="1592" y="615"/>
                  <a:pt x="1592" y="615"/>
                </a:cubicBezTo>
                <a:cubicBezTo>
                  <a:pt x="1593" y="613"/>
                  <a:pt x="1593" y="613"/>
                  <a:pt x="1593" y="613"/>
                </a:cubicBezTo>
                <a:cubicBezTo>
                  <a:pt x="1595" y="614"/>
                  <a:pt x="1595" y="614"/>
                  <a:pt x="1595" y="614"/>
                </a:cubicBezTo>
                <a:cubicBezTo>
                  <a:pt x="1596" y="615"/>
                  <a:pt x="1596" y="615"/>
                  <a:pt x="1596" y="615"/>
                </a:cubicBezTo>
                <a:cubicBezTo>
                  <a:pt x="1597" y="615"/>
                  <a:pt x="1597" y="615"/>
                  <a:pt x="1597" y="615"/>
                </a:cubicBezTo>
                <a:cubicBezTo>
                  <a:pt x="1598" y="613"/>
                  <a:pt x="1598" y="613"/>
                  <a:pt x="1598" y="613"/>
                </a:cubicBezTo>
                <a:cubicBezTo>
                  <a:pt x="1598" y="610"/>
                  <a:pt x="1598" y="610"/>
                  <a:pt x="1598" y="610"/>
                </a:cubicBezTo>
                <a:cubicBezTo>
                  <a:pt x="1598" y="608"/>
                  <a:pt x="1598" y="608"/>
                  <a:pt x="1598" y="608"/>
                </a:cubicBezTo>
                <a:cubicBezTo>
                  <a:pt x="1598" y="604"/>
                  <a:pt x="1598" y="604"/>
                  <a:pt x="1598" y="604"/>
                </a:cubicBezTo>
                <a:cubicBezTo>
                  <a:pt x="1598" y="601"/>
                  <a:pt x="1598" y="601"/>
                  <a:pt x="1598" y="601"/>
                </a:cubicBezTo>
                <a:cubicBezTo>
                  <a:pt x="1596" y="598"/>
                  <a:pt x="1596" y="598"/>
                  <a:pt x="1596" y="598"/>
                </a:cubicBezTo>
                <a:cubicBezTo>
                  <a:pt x="1598" y="597"/>
                  <a:pt x="1598" y="597"/>
                  <a:pt x="1598" y="597"/>
                </a:cubicBezTo>
                <a:cubicBezTo>
                  <a:pt x="1598" y="595"/>
                  <a:pt x="1598" y="595"/>
                  <a:pt x="1598" y="595"/>
                </a:cubicBezTo>
                <a:cubicBezTo>
                  <a:pt x="1598" y="593"/>
                  <a:pt x="1598" y="593"/>
                  <a:pt x="1598" y="593"/>
                </a:cubicBezTo>
                <a:cubicBezTo>
                  <a:pt x="1597" y="592"/>
                  <a:pt x="1597" y="592"/>
                  <a:pt x="1597" y="592"/>
                </a:cubicBezTo>
                <a:cubicBezTo>
                  <a:pt x="1595" y="589"/>
                  <a:pt x="1595" y="589"/>
                  <a:pt x="1595" y="589"/>
                </a:cubicBezTo>
                <a:cubicBezTo>
                  <a:pt x="1594" y="590"/>
                  <a:pt x="1594" y="590"/>
                  <a:pt x="1594" y="590"/>
                </a:cubicBezTo>
                <a:cubicBezTo>
                  <a:pt x="1593" y="588"/>
                  <a:pt x="1593" y="588"/>
                  <a:pt x="1593" y="588"/>
                </a:cubicBezTo>
                <a:cubicBezTo>
                  <a:pt x="1591" y="588"/>
                  <a:pt x="1591" y="588"/>
                  <a:pt x="1591" y="588"/>
                </a:cubicBezTo>
                <a:cubicBezTo>
                  <a:pt x="1587" y="593"/>
                  <a:pt x="1587" y="593"/>
                  <a:pt x="1587" y="593"/>
                </a:cubicBezTo>
                <a:cubicBezTo>
                  <a:pt x="1586" y="593"/>
                  <a:pt x="1586" y="593"/>
                  <a:pt x="1586" y="593"/>
                </a:cubicBezTo>
                <a:cubicBezTo>
                  <a:pt x="1583" y="592"/>
                  <a:pt x="1583" y="592"/>
                  <a:pt x="1583" y="592"/>
                </a:cubicBezTo>
                <a:cubicBezTo>
                  <a:pt x="1583" y="594"/>
                  <a:pt x="1583" y="594"/>
                  <a:pt x="1583" y="594"/>
                </a:cubicBezTo>
                <a:cubicBezTo>
                  <a:pt x="1583" y="595"/>
                  <a:pt x="1583" y="595"/>
                  <a:pt x="1583" y="595"/>
                </a:cubicBezTo>
                <a:lnTo>
                  <a:pt x="1585" y="597"/>
                </a:lnTo>
                <a:close/>
                <a:moveTo>
                  <a:pt x="1448" y="367"/>
                </a:moveTo>
                <a:cubicBezTo>
                  <a:pt x="1447" y="368"/>
                  <a:pt x="1447" y="368"/>
                  <a:pt x="1447" y="368"/>
                </a:cubicBezTo>
                <a:cubicBezTo>
                  <a:pt x="1446" y="369"/>
                  <a:pt x="1446" y="369"/>
                  <a:pt x="1446" y="369"/>
                </a:cubicBezTo>
                <a:cubicBezTo>
                  <a:pt x="1446" y="369"/>
                  <a:pt x="1446" y="369"/>
                  <a:pt x="1446" y="369"/>
                </a:cubicBezTo>
                <a:cubicBezTo>
                  <a:pt x="1447" y="370"/>
                  <a:pt x="1447" y="370"/>
                  <a:pt x="1447" y="370"/>
                </a:cubicBezTo>
                <a:cubicBezTo>
                  <a:pt x="1449" y="368"/>
                  <a:pt x="1449" y="368"/>
                  <a:pt x="1449" y="368"/>
                </a:cubicBezTo>
                <a:lnTo>
                  <a:pt x="1448" y="367"/>
                </a:lnTo>
                <a:close/>
                <a:moveTo>
                  <a:pt x="1605" y="569"/>
                </a:moveTo>
                <a:cubicBezTo>
                  <a:pt x="1605" y="568"/>
                  <a:pt x="1605" y="568"/>
                  <a:pt x="1605" y="568"/>
                </a:cubicBezTo>
                <a:cubicBezTo>
                  <a:pt x="1604" y="567"/>
                  <a:pt x="1604" y="567"/>
                  <a:pt x="1604" y="567"/>
                </a:cubicBezTo>
                <a:cubicBezTo>
                  <a:pt x="1603" y="567"/>
                  <a:pt x="1603" y="567"/>
                  <a:pt x="1603" y="567"/>
                </a:cubicBezTo>
                <a:cubicBezTo>
                  <a:pt x="1601" y="568"/>
                  <a:pt x="1601" y="568"/>
                  <a:pt x="1601" y="568"/>
                </a:cubicBezTo>
                <a:cubicBezTo>
                  <a:pt x="1600" y="569"/>
                  <a:pt x="1600" y="569"/>
                  <a:pt x="1600" y="569"/>
                </a:cubicBezTo>
                <a:cubicBezTo>
                  <a:pt x="1601" y="569"/>
                  <a:pt x="1601" y="569"/>
                  <a:pt x="1601" y="569"/>
                </a:cubicBezTo>
                <a:cubicBezTo>
                  <a:pt x="1603" y="569"/>
                  <a:pt x="1603" y="569"/>
                  <a:pt x="1603" y="569"/>
                </a:cubicBezTo>
                <a:lnTo>
                  <a:pt x="1605" y="569"/>
                </a:lnTo>
                <a:close/>
                <a:moveTo>
                  <a:pt x="1446" y="389"/>
                </a:moveTo>
                <a:cubicBezTo>
                  <a:pt x="1448" y="387"/>
                  <a:pt x="1448" y="387"/>
                  <a:pt x="1448" y="387"/>
                </a:cubicBezTo>
                <a:cubicBezTo>
                  <a:pt x="1446" y="387"/>
                  <a:pt x="1446" y="387"/>
                  <a:pt x="1446" y="387"/>
                </a:cubicBezTo>
                <a:lnTo>
                  <a:pt x="1446" y="389"/>
                </a:lnTo>
                <a:close/>
                <a:moveTo>
                  <a:pt x="1705" y="621"/>
                </a:moveTo>
                <a:cubicBezTo>
                  <a:pt x="1706" y="620"/>
                  <a:pt x="1706" y="620"/>
                  <a:pt x="1706" y="620"/>
                </a:cubicBezTo>
                <a:cubicBezTo>
                  <a:pt x="1706" y="618"/>
                  <a:pt x="1706" y="618"/>
                  <a:pt x="1706" y="618"/>
                </a:cubicBezTo>
                <a:cubicBezTo>
                  <a:pt x="1705" y="619"/>
                  <a:pt x="1705" y="619"/>
                  <a:pt x="1705" y="619"/>
                </a:cubicBezTo>
                <a:cubicBezTo>
                  <a:pt x="1704" y="620"/>
                  <a:pt x="1704" y="620"/>
                  <a:pt x="1704" y="620"/>
                </a:cubicBezTo>
                <a:cubicBezTo>
                  <a:pt x="1704" y="621"/>
                  <a:pt x="1704" y="621"/>
                  <a:pt x="1704" y="621"/>
                </a:cubicBezTo>
                <a:cubicBezTo>
                  <a:pt x="1705" y="621"/>
                  <a:pt x="1705" y="621"/>
                  <a:pt x="1705" y="621"/>
                </a:cubicBezTo>
                <a:close/>
                <a:moveTo>
                  <a:pt x="1696" y="606"/>
                </a:moveTo>
                <a:cubicBezTo>
                  <a:pt x="1694" y="607"/>
                  <a:pt x="1694" y="607"/>
                  <a:pt x="1694" y="607"/>
                </a:cubicBezTo>
                <a:cubicBezTo>
                  <a:pt x="1694" y="608"/>
                  <a:pt x="1694" y="608"/>
                  <a:pt x="1694" y="608"/>
                </a:cubicBezTo>
                <a:cubicBezTo>
                  <a:pt x="1695" y="608"/>
                  <a:pt x="1695" y="608"/>
                  <a:pt x="1695" y="608"/>
                </a:cubicBezTo>
                <a:cubicBezTo>
                  <a:pt x="1695" y="609"/>
                  <a:pt x="1695" y="609"/>
                  <a:pt x="1695" y="609"/>
                </a:cubicBezTo>
                <a:cubicBezTo>
                  <a:pt x="1697" y="611"/>
                  <a:pt x="1697" y="611"/>
                  <a:pt x="1697" y="611"/>
                </a:cubicBezTo>
                <a:cubicBezTo>
                  <a:pt x="1699" y="611"/>
                  <a:pt x="1699" y="611"/>
                  <a:pt x="1699" y="611"/>
                </a:cubicBezTo>
                <a:cubicBezTo>
                  <a:pt x="1699" y="611"/>
                  <a:pt x="1699" y="611"/>
                  <a:pt x="1699" y="611"/>
                </a:cubicBezTo>
                <a:cubicBezTo>
                  <a:pt x="1699" y="610"/>
                  <a:pt x="1699" y="610"/>
                  <a:pt x="1699" y="610"/>
                </a:cubicBezTo>
                <a:cubicBezTo>
                  <a:pt x="1697" y="610"/>
                  <a:pt x="1697" y="610"/>
                  <a:pt x="1697" y="610"/>
                </a:cubicBezTo>
                <a:cubicBezTo>
                  <a:pt x="1696" y="608"/>
                  <a:pt x="1696" y="608"/>
                  <a:pt x="1696" y="608"/>
                </a:cubicBezTo>
                <a:cubicBezTo>
                  <a:pt x="1696" y="606"/>
                  <a:pt x="1696" y="606"/>
                  <a:pt x="1696" y="606"/>
                </a:cubicBezTo>
                <a:close/>
                <a:moveTo>
                  <a:pt x="1702" y="624"/>
                </a:moveTo>
                <a:cubicBezTo>
                  <a:pt x="1702" y="626"/>
                  <a:pt x="1702" y="626"/>
                  <a:pt x="1702" y="626"/>
                </a:cubicBezTo>
                <a:cubicBezTo>
                  <a:pt x="1703" y="627"/>
                  <a:pt x="1703" y="627"/>
                  <a:pt x="1703" y="627"/>
                </a:cubicBezTo>
                <a:cubicBezTo>
                  <a:pt x="1704" y="627"/>
                  <a:pt x="1704" y="627"/>
                  <a:pt x="1704" y="627"/>
                </a:cubicBezTo>
                <a:cubicBezTo>
                  <a:pt x="1704" y="626"/>
                  <a:pt x="1704" y="626"/>
                  <a:pt x="1704" y="626"/>
                </a:cubicBezTo>
                <a:cubicBezTo>
                  <a:pt x="1704" y="626"/>
                  <a:pt x="1704" y="626"/>
                  <a:pt x="1704" y="626"/>
                </a:cubicBezTo>
                <a:cubicBezTo>
                  <a:pt x="1704" y="627"/>
                  <a:pt x="1704" y="627"/>
                  <a:pt x="1704" y="627"/>
                </a:cubicBezTo>
                <a:cubicBezTo>
                  <a:pt x="1706" y="628"/>
                  <a:pt x="1706" y="628"/>
                  <a:pt x="1706" y="628"/>
                </a:cubicBezTo>
                <a:cubicBezTo>
                  <a:pt x="1707" y="628"/>
                  <a:pt x="1707" y="628"/>
                  <a:pt x="1707" y="628"/>
                </a:cubicBezTo>
                <a:cubicBezTo>
                  <a:pt x="1707" y="627"/>
                  <a:pt x="1707" y="627"/>
                  <a:pt x="1707" y="627"/>
                </a:cubicBezTo>
                <a:cubicBezTo>
                  <a:pt x="1707" y="627"/>
                  <a:pt x="1707" y="627"/>
                  <a:pt x="1707" y="627"/>
                </a:cubicBezTo>
                <a:cubicBezTo>
                  <a:pt x="1707" y="626"/>
                  <a:pt x="1707" y="626"/>
                  <a:pt x="1707" y="626"/>
                </a:cubicBezTo>
                <a:cubicBezTo>
                  <a:pt x="1706" y="625"/>
                  <a:pt x="1706" y="625"/>
                  <a:pt x="1706" y="625"/>
                </a:cubicBezTo>
                <a:cubicBezTo>
                  <a:pt x="1706" y="624"/>
                  <a:pt x="1706" y="624"/>
                  <a:pt x="1706" y="624"/>
                </a:cubicBezTo>
                <a:cubicBezTo>
                  <a:pt x="1706" y="623"/>
                  <a:pt x="1706" y="623"/>
                  <a:pt x="1706" y="623"/>
                </a:cubicBezTo>
                <a:cubicBezTo>
                  <a:pt x="1704" y="622"/>
                  <a:pt x="1704" y="622"/>
                  <a:pt x="1704" y="622"/>
                </a:cubicBezTo>
                <a:cubicBezTo>
                  <a:pt x="1704" y="624"/>
                  <a:pt x="1704" y="624"/>
                  <a:pt x="1704" y="624"/>
                </a:cubicBezTo>
                <a:cubicBezTo>
                  <a:pt x="1704" y="624"/>
                  <a:pt x="1704" y="624"/>
                  <a:pt x="1704" y="624"/>
                </a:cubicBezTo>
                <a:lnTo>
                  <a:pt x="1702" y="624"/>
                </a:lnTo>
                <a:close/>
                <a:moveTo>
                  <a:pt x="1609" y="574"/>
                </a:moveTo>
                <a:cubicBezTo>
                  <a:pt x="1610" y="574"/>
                  <a:pt x="1610" y="574"/>
                  <a:pt x="1610" y="574"/>
                </a:cubicBezTo>
                <a:cubicBezTo>
                  <a:pt x="1610" y="574"/>
                  <a:pt x="1610" y="574"/>
                  <a:pt x="1610" y="574"/>
                </a:cubicBezTo>
                <a:lnTo>
                  <a:pt x="1609" y="574"/>
                </a:lnTo>
                <a:close/>
                <a:moveTo>
                  <a:pt x="1645" y="549"/>
                </a:moveTo>
                <a:cubicBezTo>
                  <a:pt x="1643" y="549"/>
                  <a:pt x="1643" y="549"/>
                  <a:pt x="1643" y="549"/>
                </a:cubicBezTo>
                <a:cubicBezTo>
                  <a:pt x="1645" y="551"/>
                  <a:pt x="1645" y="551"/>
                  <a:pt x="1645" y="551"/>
                </a:cubicBezTo>
                <a:lnTo>
                  <a:pt x="1645" y="549"/>
                </a:lnTo>
                <a:close/>
                <a:moveTo>
                  <a:pt x="1603" y="249"/>
                </a:moveTo>
                <a:cubicBezTo>
                  <a:pt x="1601" y="249"/>
                  <a:pt x="1601" y="249"/>
                  <a:pt x="1601" y="249"/>
                </a:cubicBezTo>
                <a:cubicBezTo>
                  <a:pt x="1600" y="251"/>
                  <a:pt x="1600" y="251"/>
                  <a:pt x="1600" y="251"/>
                </a:cubicBezTo>
                <a:cubicBezTo>
                  <a:pt x="1601" y="251"/>
                  <a:pt x="1601" y="251"/>
                  <a:pt x="1601" y="251"/>
                </a:cubicBezTo>
                <a:lnTo>
                  <a:pt x="1603" y="249"/>
                </a:lnTo>
                <a:close/>
                <a:moveTo>
                  <a:pt x="1611" y="677"/>
                </a:moveTo>
                <a:cubicBezTo>
                  <a:pt x="1611" y="677"/>
                  <a:pt x="1611" y="677"/>
                  <a:pt x="1611" y="677"/>
                </a:cubicBezTo>
                <a:cubicBezTo>
                  <a:pt x="1612" y="679"/>
                  <a:pt x="1612" y="679"/>
                  <a:pt x="1612" y="679"/>
                </a:cubicBezTo>
                <a:cubicBezTo>
                  <a:pt x="1614" y="678"/>
                  <a:pt x="1614" y="678"/>
                  <a:pt x="1614" y="678"/>
                </a:cubicBezTo>
                <a:cubicBezTo>
                  <a:pt x="1613" y="677"/>
                  <a:pt x="1613" y="677"/>
                  <a:pt x="1613" y="677"/>
                </a:cubicBezTo>
                <a:lnTo>
                  <a:pt x="1611" y="677"/>
                </a:lnTo>
                <a:close/>
                <a:moveTo>
                  <a:pt x="1669" y="567"/>
                </a:moveTo>
                <a:cubicBezTo>
                  <a:pt x="1667" y="566"/>
                  <a:pt x="1667" y="566"/>
                  <a:pt x="1667" y="566"/>
                </a:cubicBezTo>
                <a:cubicBezTo>
                  <a:pt x="1667" y="566"/>
                  <a:pt x="1664" y="566"/>
                  <a:pt x="1664" y="566"/>
                </a:cubicBezTo>
                <a:cubicBezTo>
                  <a:pt x="1666" y="567"/>
                  <a:pt x="1666" y="567"/>
                  <a:pt x="1666" y="567"/>
                </a:cubicBezTo>
                <a:lnTo>
                  <a:pt x="1669" y="567"/>
                </a:lnTo>
                <a:close/>
                <a:moveTo>
                  <a:pt x="1665" y="565"/>
                </a:moveTo>
                <a:cubicBezTo>
                  <a:pt x="1667" y="564"/>
                  <a:pt x="1667" y="564"/>
                  <a:pt x="1667" y="564"/>
                </a:cubicBezTo>
                <a:cubicBezTo>
                  <a:pt x="1662" y="564"/>
                  <a:pt x="1662" y="564"/>
                  <a:pt x="1662" y="564"/>
                </a:cubicBezTo>
                <a:lnTo>
                  <a:pt x="1665" y="565"/>
                </a:lnTo>
                <a:close/>
                <a:moveTo>
                  <a:pt x="1667" y="562"/>
                </a:moveTo>
                <a:cubicBezTo>
                  <a:pt x="1666" y="562"/>
                  <a:pt x="1666" y="562"/>
                  <a:pt x="1666" y="562"/>
                </a:cubicBezTo>
                <a:cubicBezTo>
                  <a:pt x="1662" y="562"/>
                  <a:pt x="1662" y="562"/>
                  <a:pt x="1662" y="562"/>
                </a:cubicBezTo>
                <a:cubicBezTo>
                  <a:pt x="1663" y="563"/>
                  <a:pt x="1663" y="563"/>
                  <a:pt x="1663" y="563"/>
                </a:cubicBezTo>
                <a:cubicBezTo>
                  <a:pt x="1665" y="563"/>
                  <a:pt x="1665" y="563"/>
                  <a:pt x="1665" y="563"/>
                </a:cubicBezTo>
                <a:lnTo>
                  <a:pt x="1667" y="562"/>
                </a:lnTo>
                <a:close/>
                <a:moveTo>
                  <a:pt x="1843" y="656"/>
                </a:moveTo>
                <a:cubicBezTo>
                  <a:pt x="1844" y="655"/>
                  <a:pt x="1844" y="655"/>
                  <a:pt x="1844" y="655"/>
                </a:cubicBezTo>
                <a:cubicBezTo>
                  <a:pt x="1844" y="654"/>
                  <a:pt x="1844" y="654"/>
                  <a:pt x="1844" y="654"/>
                </a:cubicBezTo>
                <a:cubicBezTo>
                  <a:pt x="1843" y="654"/>
                  <a:pt x="1843" y="654"/>
                  <a:pt x="1843" y="654"/>
                </a:cubicBezTo>
                <a:cubicBezTo>
                  <a:pt x="1839" y="656"/>
                  <a:pt x="1839" y="656"/>
                  <a:pt x="1839" y="656"/>
                </a:cubicBezTo>
                <a:cubicBezTo>
                  <a:pt x="1835" y="658"/>
                  <a:pt x="1835" y="658"/>
                  <a:pt x="1835" y="658"/>
                </a:cubicBezTo>
                <a:cubicBezTo>
                  <a:pt x="1832" y="658"/>
                  <a:pt x="1832" y="658"/>
                  <a:pt x="1832" y="658"/>
                </a:cubicBezTo>
                <a:cubicBezTo>
                  <a:pt x="1830" y="657"/>
                  <a:pt x="1830" y="657"/>
                  <a:pt x="1830" y="657"/>
                </a:cubicBezTo>
                <a:cubicBezTo>
                  <a:pt x="1828" y="657"/>
                  <a:pt x="1828" y="657"/>
                  <a:pt x="1828" y="657"/>
                </a:cubicBezTo>
                <a:cubicBezTo>
                  <a:pt x="1828" y="658"/>
                  <a:pt x="1828" y="658"/>
                  <a:pt x="1828" y="658"/>
                </a:cubicBezTo>
                <a:cubicBezTo>
                  <a:pt x="1828" y="660"/>
                  <a:pt x="1828" y="660"/>
                  <a:pt x="1828" y="660"/>
                </a:cubicBezTo>
                <a:cubicBezTo>
                  <a:pt x="1826" y="660"/>
                  <a:pt x="1826" y="660"/>
                  <a:pt x="1826" y="660"/>
                </a:cubicBezTo>
                <a:cubicBezTo>
                  <a:pt x="1824" y="659"/>
                  <a:pt x="1824" y="659"/>
                  <a:pt x="1824" y="659"/>
                </a:cubicBezTo>
                <a:cubicBezTo>
                  <a:pt x="1823" y="661"/>
                  <a:pt x="1823" y="661"/>
                  <a:pt x="1823" y="661"/>
                </a:cubicBezTo>
                <a:cubicBezTo>
                  <a:pt x="1822" y="661"/>
                  <a:pt x="1822" y="661"/>
                  <a:pt x="1822" y="661"/>
                </a:cubicBezTo>
                <a:cubicBezTo>
                  <a:pt x="1822" y="663"/>
                  <a:pt x="1822" y="663"/>
                  <a:pt x="1822" y="663"/>
                </a:cubicBezTo>
                <a:cubicBezTo>
                  <a:pt x="1823" y="665"/>
                  <a:pt x="1823" y="665"/>
                  <a:pt x="1823" y="665"/>
                </a:cubicBezTo>
                <a:cubicBezTo>
                  <a:pt x="1826" y="667"/>
                  <a:pt x="1826" y="667"/>
                  <a:pt x="1826" y="667"/>
                </a:cubicBezTo>
                <a:cubicBezTo>
                  <a:pt x="1828" y="667"/>
                  <a:pt x="1828" y="667"/>
                  <a:pt x="1828" y="667"/>
                </a:cubicBezTo>
                <a:cubicBezTo>
                  <a:pt x="1829" y="667"/>
                  <a:pt x="1829" y="667"/>
                  <a:pt x="1829" y="667"/>
                </a:cubicBezTo>
                <a:cubicBezTo>
                  <a:pt x="1831" y="666"/>
                  <a:pt x="1831" y="666"/>
                  <a:pt x="1831" y="666"/>
                </a:cubicBezTo>
                <a:cubicBezTo>
                  <a:pt x="1833" y="666"/>
                  <a:pt x="1833" y="666"/>
                  <a:pt x="1833" y="666"/>
                </a:cubicBezTo>
                <a:cubicBezTo>
                  <a:pt x="1835" y="664"/>
                  <a:pt x="1835" y="664"/>
                  <a:pt x="1835" y="664"/>
                </a:cubicBezTo>
                <a:cubicBezTo>
                  <a:pt x="1837" y="663"/>
                  <a:pt x="1837" y="663"/>
                  <a:pt x="1837" y="663"/>
                </a:cubicBezTo>
                <a:cubicBezTo>
                  <a:pt x="1839" y="663"/>
                  <a:pt x="1839" y="663"/>
                  <a:pt x="1839" y="663"/>
                </a:cubicBezTo>
                <a:cubicBezTo>
                  <a:pt x="1839" y="661"/>
                  <a:pt x="1839" y="661"/>
                  <a:pt x="1839" y="661"/>
                </a:cubicBezTo>
                <a:cubicBezTo>
                  <a:pt x="1839" y="660"/>
                  <a:pt x="1839" y="660"/>
                  <a:pt x="1839" y="660"/>
                </a:cubicBezTo>
                <a:cubicBezTo>
                  <a:pt x="1841" y="657"/>
                  <a:pt x="1841" y="657"/>
                  <a:pt x="1841" y="657"/>
                </a:cubicBezTo>
                <a:lnTo>
                  <a:pt x="1843" y="656"/>
                </a:lnTo>
                <a:close/>
                <a:moveTo>
                  <a:pt x="1776" y="644"/>
                </a:moveTo>
                <a:cubicBezTo>
                  <a:pt x="1775" y="645"/>
                  <a:pt x="1775" y="645"/>
                  <a:pt x="1775" y="645"/>
                </a:cubicBezTo>
                <a:cubicBezTo>
                  <a:pt x="1776" y="645"/>
                  <a:pt x="1776" y="645"/>
                  <a:pt x="1776" y="645"/>
                </a:cubicBezTo>
                <a:cubicBezTo>
                  <a:pt x="1777" y="645"/>
                  <a:pt x="1777" y="645"/>
                  <a:pt x="1777" y="645"/>
                </a:cubicBezTo>
                <a:cubicBezTo>
                  <a:pt x="1776" y="644"/>
                  <a:pt x="1776" y="644"/>
                  <a:pt x="1776" y="644"/>
                </a:cubicBezTo>
                <a:close/>
                <a:moveTo>
                  <a:pt x="1749" y="634"/>
                </a:moveTo>
                <a:cubicBezTo>
                  <a:pt x="1750" y="634"/>
                  <a:pt x="1750" y="634"/>
                  <a:pt x="1750" y="634"/>
                </a:cubicBezTo>
                <a:cubicBezTo>
                  <a:pt x="1751" y="635"/>
                  <a:pt x="1751" y="635"/>
                  <a:pt x="1751" y="635"/>
                </a:cubicBezTo>
                <a:cubicBezTo>
                  <a:pt x="1751" y="634"/>
                  <a:pt x="1751" y="634"/>
                  <a:pt x="1751" y="634"/>
                </a:cubicBezTo>
                <a:cubicBezTo>
                  <a:pt x="1750" y="633"/>
                  <a:pt x="1750" y="633"/>
                  <a:pt x="1750" y="633"/>
                </a:cubicBezTo>
                <a:lnTo>
                  <a:pt x="1749" y="634"/>
                </a:lnTo>
                <a:close/>
                <a:moveTo>
                  <a:pt x="1649" y="556"/>
                </a:moveTo>
                <a:cubicBezTo>
                  <a:pt x="1648" y="554"/>
                  <a:pt x="1648" y="554"/>
                  <a:pt x="1648" y="554"/>
                </a:cubicBezTo>
                <a:cubicBezTo>
                  <a:pt x="1646" y="552"/>
                  <a:pt x="1646" y="552"/>
                  <a:pt x="1646" y="552"/>
                </a:cubicBezTo>
                <a:lnTo>
                  <a:pt x="1649" y="556"/>
                </a:lnTo>
                <a:close/>
                <a:moveTo>
                  <a:pt x="1642" y="539"/>
                </a:moveTo>
                <a:cubicBezTo>
                  <a:pt x="1641" y="539"/>
                  <a:pt x="1641" y="540"/>
                  <a:pt x="1641" y="540"/>
                </a:cubicBezTo>
                <a:cubicBezTo>
                  <a:pt x="1641" y="543"/>
                  <a:pt x="1641" y="543"/>
                  <a:pt x="1641" y="543"/>
                </a:cubicBezTo>
                <a:cubicBezTo>
                  <a:pt x="1642" y="543"/>
                  <a:pt x="1642" y="543"/>
                  <a:pt x="1642" y="543"/>
                </a:cubicBezTo>
                <a:cubicBezTo>
                  <a:pt x="1643" y="544"/>
                  <a:pt x="1643" y="544"/>
                  <a:pt x="1643" y="544"/>
                </a:cubicBezTo>
                <a:cubicBezTo>
                  <a:pt x="1645" y="544"/>
                  <a:pt x="1645" y="544"/>
                  <a:pt x="1645" y="544"/>
                </a:cubicBezTo>
                <a:lnTo>
                  <a:pt x="1642" y="539"/>
                </a:lnTo>
                <a:close/>
                <a:moveTo>
                  <a:pt x="1650" y="551"/>
                </a:moveTo>
                <a:cubicBezTo>
                  <a:pt x="1648" y="549"/>
                  <a:pt x="1648" y="549"/>
                  <a:pt x="1648" y="549"/>
                </a:cubicBezTo>
                <a:cubicBezTo>
                  <a:pt x="1647" y="549"/>
                  <a:pt x="1647" y="549"/>
                  <a:pt x="1647" y="549"/>
                </a:cubicBezTo>
                <a:cubicBezTo>
                  <a:pt x="1649" y="551"/>
                  <a:pt x="1649" y="551"/>
                  <a:pt x="1649" y="551"/>
                </a:cubicBezTo>
                <a:lnTo>
                  <a:pt x="1650" y="551"/>
                </a:lnTo>
                <a:close/>
                <a:moveTo>
                  <a:pt x="1643" y="548"/>
                </a:moveTo>
                <a:cubicBezTo>
                  <a:pt x="1643" y="548"/>
                  <a:pt x="1643" y="548"/>
                  <a:pt x="1643" y="548"/>
                </a:cubicBezTo>
                <a:cubicBezTo>
                  <a:pt x="1642" y="545"/>
                  <a:pt x="1642" y="545"/>
                  <a:pt x="1642" y="545"/>
                </a:cubicBezTo>
                <a:cubicBezTo>
                  <a:pt x="1640" y="543"/>
                  <a:pt x="1640" y="543"/>
                  <a:pt x="1640" y="543"/>
                </a:cubicBezTo>
                <a:cubicBezTo>
                  <a:pt x="1641" y="545"/>
                  <a:pt x="1641" y="545"/>
                  <a:pt x="1641" y="545"/>
                </a:cubicBezTo>
                <a:cubicBezTo>
                  <a:pt x="1641" y="546"/>
                  <a:pt x="1641" y="546"/>
                  <a:pt x="1641" y="546"/>
                </a:cubicBezTo>
                <a:lnTo>
                  <a:pt x="1643" y="548"/>
                </a:lnTo>
                <a:close/>
                <a:moveTo>
                  <a:pt x="1646" y="546"/>
                </a:moveTo>
                <a:cubicBezTo>
                  <a:pt x="1646" y="547"/>
                  <a:pt x="1646" y="547"/>
                  <a:pt x="1646" y="547"/>
                </a:cubicBezTo>
                <a:cubicBezTo>
                  <a:pt x="1647" y="548"/>
                  <a:pt x="1647" y="548"/>
                  <a:pt x="1647" y="548"/>
                </a:cubicBezTo>
                <a:lnTo>
                  <a:pt x="1646" y="546"/>
                </a:lnTo>
                <a:close/>
                <a:moveTo>
                  <a:pt x="1771" y="653"/>
                </a:moveTo>
                <a:cubicBezTo>
                  <a:pt x="1771" y="652"/>
                  <a:pt x="1771" y="652"/>
                  <a:pt x="1771" y="652"/>
                </a:cubicBezTo>
                <a:cubicBezTo>
                  <a:pt x="1771" y="653"/>
                  <a:pt x="1771" y="653"/>
                  <a:pt x="1771" y="653"/>
                </a:cubicBezTo>
                <a:cubicBezTo>
                  <a:pt x="1771" y="654"/>
                  <a:pt x="1771" y="654"/>
                  <a:pt x="1771" y="654"/>
                </a:cubicBezTo>
                <a:lnTo>
                  <a:pt x="1771" y="653"/>
                </a:lnTo>
                <a:close/>
                <a:moveTo>
                  <a:pt x="1781" y="648"/>
                </a:moveTo>
                <a:cubicBezTo>
                  <a:pt x="1781" y="647"/>
                  <a:pt x="1781" y="647"/>
                  <a:pt x="1781" y="647"/>
                </a:cubicBezTo>
                <a:cubicBezTo>
                  <a:pt x="1781" y="646"/>
                  <a:pt x="1781" y="646"/>
                  <a:pt x="1781" y="646"/>
                </a:cubicBezTo>
                <a:cubicBezTo>
                  <a:pt x="1780" y="647"/>
                  <a:pt x="1780" y="647"/>
                  <a:pt x="1780" y="647"/>
                </a:cubicBezTo>
                <a:cubicBezTo>
                  <a:pt x="1778" y="648"/>
                  <a:pt x="1778" y="648"/>
                  <a:pt x="1778" y="648"/>
                </a:cubicBezTo>
                <a:cubicBezTo>
                  <a:pt x="1776" y="649"/>
                  <a:pt x="1776" y="649"/>
                  <a:pt x="1776" y="649"/>
                </a:cubicBezTo>
                <a:cubicBezTo>
                  <a:pt x="1775" y="651"/>
                  <a:pt x="1775" y="651"/>
                  <a:pt x="1775" y="651"/>
                </a:cubicBezTo>
                <a:cubicBezTo>
                  <a:pt x="1776" y="651"/>
                  <a:pt x="1776" y="651"/>
                  <a:pt x="1776" y="651"/>
                </a:cubicBezTo>
                <a:cubicBezTo>
                  <a:pt x="1775" y="652"/>
                  <a:pt x="1775" y="652"/>
                  <a:pt x="1775" y="652"/>
                </a:cubicBezTo>
                <a:cubicBezTo>
                  <a:pt x="1776" y="653"/>
                  <a:pt x="1776" y="653"/>
                  <a:pt x="1776" y="653"/>
                </a:cubicBezTo>
                <a:cubicBezTo>
                  <a:pt x="1777" y="653"/>
                  <a:pt x="1777" y="653"/>
                  <a:pt x="1777" y="653"/>
                </a:cubicBezTo>
                <a:cubicBezTo>
                  <a:pt x="1778" y="651"/>
                  <a:pt x="1778" y="651"/>
                  <a:pt x="1778" y="651"/>
                </a:cubicBezTo>
                <a:cubicBezTo>
                  <a:pt x="1779" y="650"/>
                  <a:pt x="1779" y="650"/>
                  <a:pt x="1779" y="650"/>
                </a:cubicBezTo>
                <a:cubicBezTo>
                  <a:pt x="1780" y="650"/>
                  <a:pt x="1780" y="650"/>
                  <a:pt x="1780" y="650"/>
                </a:cubicBezTo>
                <a:cubicBezTo>
                  <a:pt x="1780" y="650"/>
                  <a:pt x="1780" y="650"/>
                  <a:pt x="1780" y="650"/>
                </a:cubicBezTo>
                <a:cubicBezTo>
                  <a:pt x="1780" y="649"/>
                  <a:pt x="1780" y="649"/>
                  <a:pt x="1780" y="649"/>
                </a:cubicBezTo>
                <a:lnTo>
                  <a:pt x="1781" y="648"/>
                </a:lnTo>
                <a:close/>
                <a:moveTo>
                  <a:pt x="1744" y="640"/>
                </a:moveTo>
                <a:cubicBezTo>
                  <a:pt x="1744" y="638"/>
                  <a:pt x="1744" y="638"/>
                  <a:pt x="1744" y="638"/>
                </a:cubicBezTo>
                <a:cubicBezTo>
                  <a:pt x="1743" y="639"/>
                  <a:pt x="1743" y="639"/>
                  <a:pt x="1743" y="639"/>
                </a:cubicBezTo>
                <a:lnTo>
                  <a:pt x="1744" y="640"/>
                </a:lnTo>
                <a:close/>
                <a:moveTo>
                  <a:pt x="1744" y="617"/>
                </a:moveTo>
                <a:cubicBezTo>
                  <a:pt x="1743" y="616"/>
                  <a:pt x="1743" y="616"/>
                  <a:pt x="1743" y="616"/>
                </a:cubicBezTo>
                <a:cubicBezTo>
                  <a:pt x="1742" y="616"/>
                  <a:pt x="1742" y="616"/>
                  <a:pt x="1742" y="616"/>
                </a:cubicBezTo>
                <a:cubicBezTo>
                  <a:pt x="1743" y="618"/>
                  <a:pt x="1743" y="618"/>
                  <a:pt x="1743" y="618"/>
                </a:cubicBezTo>
                <a:cubicBezTo>
                  <a:pt x="1744" y="618"/>
                  <a:pt x="1744" y="618"/>
                  <a:pt x="1744" y="618"/>
                </a:cubicBezTo>
                <a:cubicBezTo>
                  <a:pt x="1744" y="619"/>
                  <a:pt x="1744" y="619"/>
                  <a:pt x="1744" y="619"/>
                </a:cubicBezTo>
                <a:cubicBezTo>
                  <a:pt x="1745" y="619"/>
                  <a:pt x="1745" y="619"/>
                  <a:pt x="1745" y="619"/>
                </a:cubicBezTo>
                <a:cubicBezTo>
                  <a:pt x="1745" y="617"/>
                  <a:pt x="1745" y="617"/>
                  <a:pt x="1745" y="617"/>
                </a:cubicBezTo>
                <a:lnTo>
                  <a:pt x="1744" y="617"/>
                </a:lnTo>
                <a:close/>
                <a:moveTo>
                  <a:pt x="1742" y="637"/>
                </a:moveTo>
                <a:cubicBezTo>
                  <a:pt x="1742" y="637"/>
                  <a:pt x="1743" y="637"/>
                  <a:pt x="1743" y="637"/>
                </a:cubicBezTo>
                <a:cubicBezTo>
                  <a:pt x="1743" y="636"/>
                  <a:pt x="1743" y="636"/>
                  <a:pt x="1743" y="636"/>
                </a:cubicBezTo>
                <a:cubicBezTo>
                  <a:pt x="1742" y="636"/>
                  <a:pt x="1742" y="636"/>
                  <a:pt x="1742" y="636"/>
                </a:cubicBezTo>
                <a:lnTo>
                  <a:pt x="1742" y="637"/>
                </a:lnTo>
                <a:close/>
                <a:moveTo>
                  <a:pt x="1745" y="630"/>
                </a:moveTo>
                <a:cubicBezTo>
                  <a:pt x="1745" y="630"/>
                  <a:pt x="1745" y="630"/>
                  <a:pt x="1745" y="630"/>
                </a:cubicBezTo>
                <a:cubicBezTo>
                  <a:pt x="1745" y="631"/>
                  <a:pt x="1745" y="631"/>
                  <a:pt x="1745" y="631"/>
                </a:cubicBezTo>
                <a:cubicBezTo>
                  <a:pt x="1748" y="633"/>
                  <a:pt x="1748" y="633"/>
                  <a:pt x="1748" y="633"/>
                </a:cubicBezTo>
                <a:cubicBezTo>
                  <a:pt x="1748" y="633"/>
                  <a:pt x="1748" y="633"/>
                  <a:pt x="1748" y="633"/>
                </a:cubicBezTo>
                <a:cubicBezTo>
                  <a:pt x="1748" y="632"/>
                  <a:pt x="1748" y="632"/>
                  <a:pt x="1748" y="632"/>
                </a:cubicBezTo>
                <a:cubicBezTo>
                  <a:pt x="1747" y="631"/>
                  <a:pt x="1747" y="631"/>
                  <a:pt x="1747" y="631"/>
                </a:cubicBezTo>
                <a:cubicBezTo>
                  <a:pt x="1746" y="629"/>
                  <a:pt x="1746" y="629"/>
                  <a:pt x="1746" y="629"/>
                </a:cubicBezTo>
                <a:lnTo>
                  <a:pt x="1745" y="630"/>
                </a:lnTo>
                <a:close/>
                <a:moveTo>
                  <a:pt x="1749" y="602"/>
                </a:moveTo>
                <a:cubicBezTo>
                  <a:pt x="1748" y="602"/>
                  <a:pt x="1748" y="602"/>
                  <a:pt x="1748" y="602"/>
                </a:cubicBezTo>
                <a:cubicBezTo>
                  <a:pt x="1747" y="602"/>
                  <a:pt x="1747" y="602"/>
                  <a:pt x="1747" y="602"/>
                </a:cubicBezTo>
                <a:cubicBezTo>
                  <a:pt x="1746" y="603"/>
                  <a:pt x="1746" y="603"/>
                  <a:pt x="1746" y="603"/>
                </a:cubicBezTo>
                <a:cubicBezTo>
                  <a:pt x="1746" y="604"/>
                  <a:pt x="1746" y="604"/>
                  <a:pt x="1746" y="604"/>
                </a:cubicBezTo>
                <a:cubicBezTo>
                  <a:pt x="1747" y="605"/>
                  <a:pt x="1747" y="605"/>
                  <a:pt x="1747" y="605"/>
                </a:cubicBezTo>
                <a:cubicBezTo>
                  <a:pt x="1748" y="605"/>
                  <a:pt x="1748" y="605"/>
                  <a:pt x="1748" y="605"/>
                </a:cubicBezTo>
                <a:cubicBezTo>
                  <a:pt x="1749" y="605"/>
                  <a:pt x="1749" y="605"/>
                  <a:pt x="1749" y="605"/>
                </a:cubicBezTo>
                <a:cubicBezTo>
                  <a:pt x="1750" y="603"/>
                  <a:pt x="1750" y="603"/>
                  <a:pt x="1750" y="603"/>
                </a:cubicBezTo>
                <a:cubicBezTo>
                  <a:pt x="1751" y="602"/>
                  <a:pt x="1751" y="602"/>
                  <a:pt x="1751" y="602"/>
                </a:cubicBezTo>
                <a:cubicBezTo>
                  <a:pt x="1750" y="602"/>
                  <a:pt x="1750" y="602"/>
                  <a:pt x="1750" y="602"/>
                </a:cubicBezTo>
                <a:lnTo>
                  <a:pt x="1749" y="602"/>
                </a:lnTo>
                <a:close/>
                <a:moveTo>
                  <a:pt x="1750" y="640"/>
                </a:moveTo>
                <a:cubicBezTo>
                  <a:pt x="1751" y="641"/>
                  <a:pt x="1751" y="641"/>
                  <a:pt x="1751" y="641"/>
                </a:cubicBezTo>
                <a:cubicBezTo>
                  <a:pt x="1751" y="640"/>
                  <a:pt x="1751" y="640"/>
                  <a:pt x="1751" y="640"/>
                </a:cubicBezTo>
                <a:cubicBezTo>
                  <a:pt x="1751" y="639"/>
                  <a:pt x="1751" y="639"/>
                  <a:pt x="1751" y="639"/>
                </a:cubicBezTo>
                <a:cubicBezTo>
                  <a:pt x="1750" y="639"/>
                  <a:pt x="1750" y="639"/>
                  <a:pt x="1750" y="639"/>
                </a:cubicBezTo>
                <a:lnTo>
                  <a:pt x="1750" y="640"/>
                </a:lnTo>
                <a:close/>
                <a:moveTo>
                  <a:pt x="1744" y="645"/>
                </a:moveTo>
                <a:cubicBezTo>
                  <a:pt x="1744" y="644"/>
                  <a:pt x="1744" y="644"/>
                  <a:pt x="1744" y="644"/>
                </a:cubicBezTo>
                <a:cubicBezTo>
                  <a:pt x="1743" y="644"/>
                  <a:pt x="1743" y="644"/>
                  <a:pt x="1743" y="644"/>
                </a:cubicBezTo>
                <a:cubicBezTo>
                  <a:pt x="1742" y="645"/>
                  <a:pt x="1742" y="645"/>
                  <a:pt x="1742" y="645"/>
                </a:cubicBezTo>
                <a:cubicBezTo>
                  <a:pt x="1743" y="645"/>
                  <a:pt x="1743" y="645"/>
                  <a:pt x="1743" y="645"/>
                </a:cubicBezTo>
                <a:lnTo>
                  <a:pt x="1744" y="645"/>
                </a:lnTo>
                <a:close/>
                <a:moveTo>
                  <a:pt x="1741" y="634"/>
                </a:moveTo>
                <a:cubicBezTo>
                  <a:pt x="1741" y="635"/>
                  <a:pt x="1741" y="635"/>
                  <a:pt x="1741" y="635"/>
                </a:cubicBezTo>
                <a:cubicBezTo>
                  <a:pt x="1742" y="634"/>
                  <a:pt x="1742" y="634"/>
                  <a:pt x="1742" y="634"/>
                </a:cubicBezTo>
                <a:cubicBezTo>
                  <a:pt x="1742" y="633"/>
                  <a:pt x="1742" y="633"/>
                  <a:pt x="1742" y="633"/>
                </a:cubicBezTo>
                <a:lnTo>
                  <a:pt x="1741" y="634"/>
                </a:lnTo>
                <a:close/>
                <a:moveTo>
                  <a:pt x="1764" y="632"/>
                </a:moveTo>
                <a:cubicBezTo>
                  <a:pt x="1765" y="633"/>
                  <a:pt x="1765" y="633"/>
                  <a:pt x="1765" y="633"/>
                </a:cubicBezTo>
                <a:cubicBezTo>
                  <a:pt x="1766" y="633"/>
                  <a:pt x="1766" y="633"/>
                  <a:pt x="1766" y="633"/>
                </a:cubicBezTo>
                <a:cubicBezTo>
                  <a:pt x="1766" y="632"/>
                  <a:pt x="1766" y="632"/>
                  <a:pt x="1766" y="632"/>
                </a:cubicBezTo>
                <a:cubicBezTo>
                  <a:pt x="1767" y="632"/>
                  <a:pt x="1767" y="632"/>
                  <a:pt x="1767" y="632"/>
                </a:cubicBezTo>
                <a:cubicBezTo>
                  <a:pt x="1767" y="631"/>
                  <a:pt x="1767" y="631"/>
                  <a:pt x="1767" y="631"/>
                </a:cubicBezTo>
                <a:cubicBezTo>
                  <a:pt x="1767" y="631"/>
                  <a:pt x="1767" y="631"/>
                  <a:pt x="1767" y="631"/>
                </a:cubicBezTo>
                <a:cubicBezTo>
                  <a:pt x="1766" y="631"/>
                  <a:pt x="1766" y="631"/>
                  <a:pt x="1766" y="631"/>
                </a:cubicBezTo>
                <a:cubicBezTo>
                  <a:pt x="1765" y="630"/>
                  <a:pt x="1765" y="630"/>
                  <a:pt x="1765" y="630"/>
                </a:cubicBezTo>
                <a:cubicBezTo>
                  <a:pt x="1764" y="630"/>
                  <a:pt x="1764" y="630"/>
                  <a:pt x="1764" y="630"/>
                </a:cubicBezTo>
                <a:cubicBezTo>
                  <a:pt x="1762" y="632"/>
                  <a:pt x="1762" y="632"/>
                  <a:pt x="1762" y="632"/>
                </a:cubicBezTo>
                <a:cubicBezTo>
                  <a:pt x="1762" y="632"/>
                  <a:pt x="1762" y="632"/>
                  <a:pt x="1762" y="632"/>
                </a:cubicBezTo>
                <a:cubicBezTo>
                  <a:pt x="1763" y="632"/>
                  <a:pt x="1763" y="632"/>
                  <a:pt x="1763" y="632"/>
                </a:cubicBezTo>
                <a:lnTo>
                  <a:pt x="1764" y="632"/>
                </a:lnTo>
                <a:close/>
                <a:moveTo>
                  <a:pt x="1762" y="646"/>
                </a:moveTo>
                <a:cubicBezTo>
                  <a:pt x="1762" y="646"/>
                  <a:pt x="1764" y="645"/>
                  <a:pt x="1764" y="645"/>
                </a:cubicBezTo>
                <a:cubicBezTo>
                  <a:pt x="1764" y="644"/>
                  <a:pt x="1764" y="644"/>
                  <a:pt x="1764" y="644"/>
                </a:cubicBezTo>
                <a:cubicBezTo>
                  <a:pt x="1763" y="644"/>
                  <a:pt x="1763" y="644"/>
                  <a:pt x="1763" y="644"/>
                </a:cubicBezTo>
                <a:cubicBezTo>
                  <a:pt x="1762" y="645"/>
                  <a:pt x="1762" y="645"/>
                  <a:pt x="1762" y="645"/>
                </a:cubicBezTo>
                <a:cubicBezTo>
                  <a:pt x="1761" y="645"/>
                  <a:pt x="1761" y="645"/>
                  <a:pt x="1761" y="645"/>
                </a:cubicBezTo>
                <a:lnTo>
                  <a:pt x="1762" y="646"/>
                </a:lnTo>
                <a:close/>
                <a:moveTo>
                  <a:pt x="1770" y="655"/>
                </a:moveTo>
                <a:cubicBezTo>
                  <a:pt x="1770" y="657"/>
                  <a:pt x="1770" y="657"/>
                  <a:pt x="1770" y="657"/>
                </a:cubicBezTo>
                <a:cubicBezTo>
                  <a:pt x="1771" y="659"/>
                  <a:pt x="1771" y="659"/>
                  <a:pt x="1771" y="659"/>
                </a:cubicBezTo>
                <a:cubicBezTo>
                  <a:pt x="1771" y="658"/>
                  <a:pt x="1771" y="658"/>
                  <a:pt x="1771" y="658"/>
                </a:cubicBezTo>
                <a:cubicBezTo>
                  <a:pt x="1772" y="657"/>
                  <a:pt x="1772" y="657"/>
                  <a:pt x="1772" y="657"/>
                </a:cubicBezTo>
                <a:cubicBezTo>
                  <a:pt x="1771" y="655"/>
                  <a:pt x="1771" y="655"/>
                  <a:pt x="1771" y="655"/>
                </a:cubicBezTo>
                <a:cubicBezTo>
                  <a:pt x="1771" y="654"/>
                  <a:pt x="1771" y="654"/>
                  <a:pt x="1771" y="654"/>
                </a:cubicBezTo>
                <a:lnTo>
                  <a:pt x="1770" y="655"/>
                </a:lnTo>
                <a:close/>
                <a:moveTo>
                  <a:pt x="1742" y="593"/>
                </a:moveTo>
                <a:cubicBezTo>
                  <a:pt x="1742" y="593"/>
                  <a:pt x="1742" y="593"/>
                  <a:pt x="1742" y="593"/>
                </a:cubicBezTo>
                <a:cubicBezTo>
                  <a:pt x="1741" y="595"/>
                  <a:pt x="1741" y="595"/>
                  <a:pt x="1741" y="595"/>
                </a:cubicBezTo>
                <a:cubicBezTo>
                  <a:pt x="1742" y="595"/>
                  <a:pt x="1742" y="595"/>
                  <a:pt x="1742" y="595"/>
                </a:cubicBezTo>
                <a:cubicBezTo>
                  <a:pt x="1743" y="595"/>
                  <a:pt x="1743" y="595"/>
                  <a:pt x="1743" y="595"/>
                </a:cubicBezTo>
                <a:cubicBezTo>
                  <a:pt x="1744" y="595"/>
                  <a:pt x="1744" y="595"/>
                  <a:pt x="1744" y="595"/>
                </a:cubicBezTo>
                <a:cubicBezTo>
                  <a:pt x="1744" y="594"/>
                  <a:pt x="1744" y="594"/>
                  <a:pt x="1744" y="594"/>
                </a:cubicBezTo>
                <a:lnTo>
                  <a:pt x="1742" y="593"/>
                </a:lnTo>
                <a:close/>
                <a:moveTo>
                  <a:pt x="1546" y="327"/>
                </a:moveTo>
                <a:cubicBezTo>
                  <a:pt x="1547" y="326"/>
                  <a:pt x="1547" y="326"/>
                  <a:pt x="1547" y="326"/>
                </a:cubicBezTo>
                <a:cubicBezTo>
                  <a:pt x="1546" y="326"/>
                  <a:pt x="1546" y="326"/>
                  <a:pt x="1546" y="326"/>
                </a:cubicBezTo>
                <a:lnTo>
                  <a:pt x="1546" y="327"/>
                </a:lnTo>
                <a:close/>
                <a:moveTo>
                  <a:pt x="1114" y="318"/>
                </a:moveTo>
                <a:cubicBezTo>
                  <a:pt x="1115" y="317"/>
                  <a:pt x="1115" y="317"/>
                  <a:pt x="1115" y="317"/>
                </a:cubicBezTo>
                <a:cubicBezTo>
                  <a:pt x="1115" y="315"/>
                  <a:pt x="1115" y="315"/>
                  <a:pt x="1115" y="315"/>
                </a:cubicBezTo>
                <a:cubicBezTo>
                  <a:pt x="1114" y="315"/>
                  <a:pt x="1114" y="315"/>
                  <a:pt x="1114" y="315"/>
                </a:cubicBezTo>
                <a:cubicBezTo>
                  <a:pt x="1113" y="316"/>
                  <a:pt x="1113" y="316"/>
                  <a:pt x="1113" y="316"/>
                </a:cubicBezTo>
                <a:cubicBezTo>
                  <a:pt x="1112" y="317"/>
                  <a:pt x="1112" y="317"/>
                  <a:pt x="1112" y="317"/>
                </a:cubicBezTo>
                <a:cubicBezTo>
                  <a:pt x="1113" y="319"/>
                  <a:pt x="1113" y="319"/>
                  <a:pt x="1113" y="319"/>
                </a:cubicBezTo>
                <a:cubicBezTo>
                  <a:pt x="1113" y="319"/>
                  <a:pt x="1113" y="319"/>
                  <a:pt x="1113" y="319"/>
                </a:cubicBezTo>
                <a:lnTo>
                  <a:pt x="1114" y="318"/>
                </a:lnTo>
                <a:close/>
                <a:moveTo>
                  <a:pt x="1137" y="307"/>
                </a:moveTo>
                <a:cubicBezTo>
                  <a:pt x="1137" y="307"/>
                  <a:pt x="1137" y="307"/>
                  <a:pt x="1137" y="307"/>
                </a:cubicBezTo>
                <a:cubicBezTo>
                  <a:pt x="1138" y="308"/>
                  <a:pt x="1138" y="308"/>
                  <a:pt x="1138" y="308"/>
                </a:cubicBezTo>
                <a:cubicBezTo>
                  <a:pt x="1139" y="308"/>
                  <a:pt x="1139" y="308"/>
                  <a:pt x="1139" y="308"/>
                </a:cubicBezTo>
                <a:cubicBezTo>
                  <a:pt x="1138" y="307"/>
                  <a:pt x="1138" y="307"/>
                  <a:pt x="1138" y="307"/>
                </a:cubicBezTo>
                <a:lnTo>
                  <a:pt x="1137" y="307"/>
                </a:lnTo>
                <a:close/>
                <a:moveTo>
                  <a:pt x="1123" y="325"/>
                </a:moveTo>
                <a:cubicBezTo>
                  <a:pt x="1124" y="325"/>
                  <a:pt x="1124" y="325"/>
                  <a:pt x="1124" y="325"/>
                </a:cubicBezTo>
                <a:cubicBezTo>
                  <a:pt x="1125" y="325"/>
                  <a:pt x="1125" y="325"/>
                  <a:pt x="1125" y="325"/>
                </a:cubicBezTo>
                <a:cubicBezTo>
                  <a:pt x="1126" y="325"/>
                  <a:pt x="1126" y="325"/>
                  <a:pt x="1126" y="325"/>
                </a:cubicBezTo>
                <a:cubicBezTo>
                  <a:pt x="1127" y="324"/>
                  <a:pt x="1127" y="324"/>
                  <a:pt x="1127" y="324"/>
                </a:cubicBezTo>
                <a:cubicBezTo>
                  <a:pt x="1126" y="323"/>
                  <a:pt x="1126" y="323"/>
                  <a:pt x="1126" y="323"/>
                </a:cubicBezTo>
                <a:cubicBezTo>
                  <a:pt x="1125" y="323"/>
                  <a:pt x="1125" y="323"/>
                  <a:pt x="1125" y="323"/>
                </a:cubicBezTo>
                <a:lnTo>
                  <a:pt x="1123" y="325"/>
                </a:lnTo>
                <a:close/>
                <a:moveTo>
                  <a:pt x="1128" y="321"/>
                </a:moveTo>
                <a:cubicBezTo>
                  <a:pt x="1130" y="321"/>
                  <a:pt x="1130" y="321"/>
                  <a:pt x="1130" y="321"/>
                </a:cubicBezTo>
                <a:cubicBezTo>
                  <a:pt x="1126" y="319"/>
                  <a:pt x="1126" y="319"/>
                  <a:pt x="1126" y="319"/>
                </a:cubicBezTo>
                <a:cubicBezTo>
                  <a:pt x="1125" y="319"/>
                  <a:pt x="1125" y="319"/>
                  <a:pt x="1125" y="319"/>
                </a:cubicBezTo>
                <a:cubicBezTo>
                  <a:pt x="1125" y="319"/>
                  <a:pt x="1125" y="319"/>
                  <a:pt x="1125" y="319"/>
                </a:cubicBezTo>
                <a:cubicBezTo>
                  <a:pt x="1127" y="321"/>
                  <a:pt x="1127" y="321"/>
                  <a:pt x="1127" y="321"/>
                </a:cubicBezTo>
                <a:lnTo>
                  <a:pt x="1128" y="321"/>
                </a:lnTo>
                <a:close/>
                <a:moveTo>
                  <a:pt x="1147" y="287"/>
                </a:moveTo>
                <a:cubicBezTo>
                  <a:pt x="1147" y="288"/>
                  <a:pt x="1147" y="288"/>
                  <a:pt x="1147" y="288"/>
                </a:cubicBezTo>
                <a:cubicBezTo>
                  <a:pt x="1147" y="287"/>
                  <a:pt x="1147" y="287"/>
                  <a:pt x="1147" y="287"/>
                </a:cubicBezTo>
                <a:close/>
                <a:moveTo>
                  <a:pt x="1148" y="284"/>
                </a:moveTo>
                <a:cubicBezTo>
                  <a:pt x="1148" y="284"/>
                  <a:pt x="1148" y="284"/>
                  <a:pt x="1148" y="284"/>
                </a:cubicBezTo>
                <a:cubicBezTo>
                  <a:pt x="1148" y="285"/>
                  <a:pt x="1148" y="285"/>
                  <a:pt x="1148" y="285"/>
                </a:cubicBezTo>
                <a:cubicBezTo>
                  <a:pt x="1148" y="285"/>
                  <a:pt x="1148" y="285"/>
                  <a:pt x="1148" y="285"/>
                </a:cubicBezTo>
                <a:lnTo>
                  <a:pt x="1148" y="284"/>
                </a:lnTo>
                <a:close/>
                <a:moveTo>
                  <a:pt x="1077" y="244"/>
                </a:moveTo>
                <a:cubicBezTo>
                  <a:pt x="1079" y="243"/>
                  <a:pt x="1079" y="243"/>
                  <a:pt x="1079" y="243"/>
                </a:cubicBezTo>
                <a:cubicBezTo>
                  <a:pt x="1080" y="241"/>
                  <a:pt x="1080" y="241"/>
                  <a:pt x="1080" y="241"/>
                </a:cubicBezTo>
                <a:cubicBezTo>
                  <a:pt x="1079" y="241"/>
                  <a:pt x="1079" y="241"/>
                  <a:pt x="1079" y="241"/>
                </a:cubicBezTo>
                <a:cubicBezTo>
                  <a:pt x="1078" y="242"/>
                  <a:pt x="1078" y="242"/>
                  <a:pt x="1078" y="242"/>
                </a:cubicBezTo>
                <a:cubicBezTo>
                  <a:pt x="1076" y="244"/>
                  <a:pt x="1076" y="244"/>
                  <a:pt x="1076" y="244"/>
                </a:cubicBezTo>
                <a:lnTo>
                  <a:pt x="1077" y="244"/>
                </a:lnTo>
                <a:close/>
                <a:moveTo>
                  <a:pt x="1149" y="281"/>
                </a:moveTo>
                <a:cubicBezTo>
                  <a:pt x="1149" y="282"/>
                  <a:pt x="1149" y="282"/>
                  <a:pt x="1149" y="282"/>
                </a:cubicBezTo>
                <a:cubicBezTo>
                  <a:pt x="1149" y="281"/>
                  <a:pt x="1149" y="281"/>
                  <a:pt x="1149" y="281"/>
                </a:cubicBezTo>
                <a:cubicBezTo>
                  <a:pt x="1150" y="281"/>
                  <a:pt x="1150" y="281"/>
                  <a:pt x="1150" y="281"/>
                </a:cubicBezTo>
                <a:cubicBezTo>
                  <a:pt x="1149" y="281"/>
                  <a:pt x="1149" y="281"/>
                  <a:pt x="1149" y="281"/>
                </a:cubicBezTo>
                <a:close/>
                <a:moveTo>
                  <a:pt x="1077" y="242"/>
                </a:moveTo>
                <a:cubicBezTo>
                  <a:pt x="1078" y="241"/>
                  <a:pt x="1078" y="241"/>
                  <a:pt x="1078" y="241"/>
                </a:cubicBezTo>
                <a:cubicBezTo>
                  <a:pt x="1079" y="240"/>
                  <a:pt x="1079" y="240"/>
                  <a:pt x="1079" y="240"/>
                </a:cubicBezTo>
                <a:cubicBezTo>
                  <a:pt x="1078" y="240"/>
                  <a:pt x="1078" y="240"/>
                  <a:pt x="1078" y="240"/>
                </a:cubicBezTo>
                <a:cubicBezTo>
                  <a:pt x="1076" y="242"/>
                  <a:pt x="1076" y="242"/>
                  <a:pt x="1076" y="242"/>
                </a:cubicBezTo>
                <a:cubicBezTo>
                  <a:pt x="1076" y="242"/>
                  <a:pt x="1076" y="243"/>
                  <a:pt x="1076" y="243"/>
                </a:cubicBezTo>
                <a:lnTo>
                  <a:pt x="1077" y="242"/>
                </a:lnTo>
                <a:close/>
                <a:moveTo>
                  <a:pt x="1068" y="221"/>
                </a:moveTo>
                <a:cubicBezTo>
                  <a:pt x="1067" y="222"/>
                  <a:pt x="1067" y="222"/>
                  <a:pt x="1067" y="222"/>
                </a:cubicBezTo>
                <a:cubicBezTo>
                  <a:pt x="1068" y="223"/>
                  <a:pt x="1068" y="223"/>
                  <a:pt x="1068" y="223"/>
                </a:cubicBezTo>
                <a:cubicBezTo>
                  <a:pt x="1069" y="222"/>
                  <a:pt x="1069" y="222"/>
                  <a:pt x="1069" y="222"/>
                </a:cubicBezTo>
                <a:cubicBezTo>
                  <a:pt x="1069" y="221"/>
                  <a:pt x="1069" y="221"/>
                  <a:pt x="1069" y="221"/>
                </a:cubicBezTo>
                <a:cubicBezTo>
                  <a:pt x="1068" y="221"/>
                  <a:pt x="1068" y="221"/>
                  <a:pt x="1068" y="221"/>
                </a:cubicBezTo>
                <a:close/>
                <a:moveTo>
                  <a:pt x="1091" y="307"/>
                </a:moveTo>
                <a:cubicBezTo>
                  <a:pt x="1092" y="308"/>
                  <a:pt x="1092" y="308"/>
                  <a:pt x="1092" y="308"/>
                </a:cubicBezTo>
                <a:cubicBezTo>
                  <a:pt x="1093" y="307"/>
                  <a:pt x="1093" y="307"/>
                  <a:pt x="1093" y="307"/>
                </a:cubicBezTo>
                <a:cubicBezTo>
                  <a:pt x="1093" y="306"/>
                  <a:pt x="1093" y="306"/>
                  <a:pt x="1093" y="306"/>
                </a:cubicBezTo>
                <a:cubicBezTo>
                  <a:pt x="1091" y="306"/>
                  <a:pt x="1091" y="306"/>
                  <a:pt x="1091" y="306"/>
                </a:cubicBezTo>
                <a:cubicBezTo>
                  <a:pt x="1090" y="306"/>
                  <a:pt x="1090" y="306"/>
                  <a:pt x="1090" y="306"/>
                </a:cubicBezTo>
                <a:cubicBezTo>
                  <a:pt x="1091" y="307"/>
                  <a:pt x="1091" y="307"/>
                  <a:pt x="1091" y="307"/>
                </a:cubicBezTo>
                <a:close/>
                <a:moveTo>
                  <a:pt x="1107" y="306"/>
                </a:moveTo>
                <a:cubicBezTo>
                  <a:pt x="1108" y="305"/>
                  <a:pt x="1108" y="305"/>
                  <a:pt x="1108" y="305"/>
                </a:cubicBezTo>
                <a:cubicBezTo>
                  <a:pt x="1108" y="304"/>
                  <a:pt x="1108" y="304"/>
                  <a:pt x="1108" y="304"/>
                </a:cubicBezTo>
                <a:cubicBezTo>
                  <a:pt x="1106" y="304"/>
                  <a:pt x="1106" y="304"/>
                  <a:pt x="1106" y="304"/>
                </a:cubicBezTo>
                <a:cubicBezTo>
                  <a:pt x="1105" y="305"/>
                  <a:pt x="1105" y="305"/>
                  <a:pt x="1105" y="305"/>
                </a:cubicBezTo>
                <a:cubicBezTo>
                  <a:pt x="1106" y="306"/>
                  <a:pt x="1106" y="306"/>
                  <a:pt x="1106" y="306"/>
                </a:cubicBezTo>
                <a:lnTo>
                  <a:pt x="1107" y="306"/>
                </a:lnTo>
                <a:close/>
                <a:moveTo>
                  <a:pt x="1103" y="305"/>
                </a:moveTo>
                <a:cubicBezTo>
                  <a:pt x="1102" y="304"/>
                  <a:pt x="1102" y="304"/>
                  <a:pt x="1102" y="304"/>
                </a:cubicBezTo>
                <a:cubicBezTo>
                  <a:pt x="1101" y="305"/>
                  <a:pt x="1101" y="305"/>
                  <a:pt x="1101" y="305"/>
                </a:cubicBezTo>
                <a:cubicBezTo>
                  <a:pt x="1102" y="306"/>
                  <a:pt x="1102" y="306"/>
                  <a:pt x="1102" y="306"/>
                </a:cubicBezTo>
                <a:cubicBezTo>
                  <a:pt x="1103" y="306"/>
                  <a:pt x="1103" y="306"/>
                  <a:pt x="1103" y="306"/>
                </a:cubicBezTo>
                <a:lnTo>
                  <a:pt x="1103" y="305"/>
                </a:lnTo>
                <a:close/>
                <a:moveTo>
                  <a:pt x="2157" y="95"/>
                </a:moveTo>
                <a:cubicBezTo>
                  <a:pt x="2158" y="93"/>
                  <a:pt x="2158" y="93"/>
                  <a:pt x="2158" y="93"/>
                </a:cubicBezTo>
                <a:cubicBezTo>
                  <a:pt x="2157" y="88"/>
                  <a:pt x="2157" y="88"/>
                  <a:pt x="2157" y="88"/>
                </a:cubicBezTo>
                <a:cubicBezTo>
                  <a:pt x="2156" y="85"/>
                  <a:pt x="2156" y="85"/>
                  <a:pt x="2156" y="85"/>
                </a:cubicBezTo>
                <a:cubicBezTo>
                  <a:pt x="2155" y="85"/>
                  <a:pt x="2155" y="85"/>
                  <a:pt x="2155" y="85"/>
                </a:cubicBezTo>
                <a:cubicBezTo>
                  <a:pt x="2155" y="89"/>
                  <a:pt x="2155" y="89"/>
                  <a:pt x="2155" y="89"/>
                </a:cubicBezTo>
                <a:cubicBezTo>
                  <a:pt x="2156" y="91"/>
                  <a:pt x="2156" y="91"/>
                  <a:pt x="2156" y="91"/>
                </a:cubicBezTo>
                <a:cubicBezTo>
                  <a:pt x="2156" y="94"/>
                  <a:pt x="2156" y="94"/>
                  <a:pt x="2156" y="94"/>
                </a:cubicBezTo>
                <a:lnTo>
                  <a:pt x="2157" y="95"/>
                </a:lnTo>
                <a:close/>
                <a:moveTo>
                  <a:pt x="1355" y="6"/>
                </a:moveTo>
                <a:cubicBezTo>
                  <a:pt x="1355" y="7"/>
                  <a:pt x="1355" y="7"/>
                  <a:pt x="1355" y="7"/>
                </a:cubicBezTo>
                <a:cubicBezTo>
                  <a:pt x="1356" y="8"/>
                  <a:pt x="1356" y="8"/>
                  <a:pt x="1356" y="8"/>
                </a:cubicBezTo>
                <a:cubicBezTo>
                  <a:pt x="1357" y="8"/>
                  <a:pt x="1357" y="8"/>
                  <a:pt x="1357" y="8"/>
                </a:cubicBezTo>
                <a:cubicBezTo>
                  <a:pt x="1356" y="6"/>
                  <a:pt x="1356" y="6"/>
                  <a:pt x="1356" y="6"/>
                </a:cubicBezTo>
                <a:lnTo>
                  <a:pt x="1355" y="6"/>
                </a:lnTo>
                <a:close/>
                <a:moveTo>
                  <a:pt x="1307" y="143"/>
                </a:moveTo>
                <a:cubicBezTo>
                  <a:pt x="1308" y="143"/>
                  <a:pt x="1308" y="143"/>
                  <a:pt x="1308" y="143"/>
                </a:cubicBezTo>
                <a:cubicBezTo>
                  <a:pt x="1311" y="141"/>
                  <a:pt x="1311" y="141"/>
                  <a:pt x="1311" y="141"/>
                </a:cubicBezTo>
                <a:cubicBezTo>
                  <a:pt x="1311" y="136"/>
                  <a:pt x="1311" y="136"/>
                  <a:pt x="1311" y="136"/>
                </a:cubicBezTo>
                <a:cubicBezTo>
                  <a:pt x="1309" y="134"/>
                  <a:pt x="1309" y="134"/>
                  <a:pt x="1309" y="134"/>
                </a:cubicBezTo>
                <a:cubicBezTo>
                  <a:pt x="1309" y="132"/>
                  <a:pt x="1309" y="132"/>
                  <a:pt x="1309" y="132"/>
                </a:cubicBezTo>
                <a:cubicBezTo>
                  <a:pt x="1307" y="132"/>
                  <a:pt x="1307" y="132"/>
                  <a:pt x="1307" y="132"/>
                </a:cubicBezTo>
                <a:cubicBezTo>
                  <a:pt x="1301" y="135"/>
                  <a:pt x="1301" y="135"/>
                  <a:pt x="1301" y="135"/>
                </a:cubicBezTo>
                <a:cubicBezTo>
                  <a:pt x="1296" y="136"/>
                  <a:pt x="1296" y="136"/>
                  <a:pt x="1296" y="136"/>
                </a:cubicBezTo>
                <a:cubicBezTo>
                  <a:pt x="1294" y="137"/>
                  <a:pt x="1294" y="137"/>
                  <a:pt x="1294" y="137"/>
                </a:cubicBezTo>
                <a:cubicBezTo>
                  <a:pt x="1292" y="138"/>
                  <a:pt x="1292" y="138"/>
                  <a:pt x="1292" y="138"/>
                </a:cubicBezTo>
                <a:cubicBezTo>
                  <a:pt x="1291" y="140"/>
                  <a:pt x="1291" y="140"/>
                  <a:pt x="1291" y="140"/>
                </a:cubicBezTo>
                <a:cubicBezTo>
                  <a:pt x="1289" y="141"/>
                  <a:pt x="1289" y="141"/>
                  <a:pt x="1289" y="141"/>
                </a:cubicBezTo>
                <a:cubicBezTo>
                  <a:pt x="1289" y="142"/>
                  <a:pt x="1289" y="142"/>
                  <a:pt x="1289" y="142"/>
                </a:cubicBezTo>
                <a:cubicBezTo>
                  <a:pt x="1288" y="143"/>
                  <a:pt x="1288" y="143"/>
                  <a:pt x="1288" y="143"/>
                </a:cubicBezTo>
                <a:cubicBezTo>
                  <a:pt x="1288" y="144"/>
                  <a:pt x="1288" y="144"/>
                  <a:pt x="1288" y="144"/>
                </a:cubicBezTo>
                <a:cubicBezTo>
                  <a:pt x="1291" y="144"/>
                  <a:pt x="1291" y="144"/>
                  <a:pt x="1291" y="144"/>
                </a:cubicBezTo>
                <a:cubicBezTo>
                  <a:pt x="1295" y="143"/>
                  <a:pt x="1295" y="143"/>
                  <a:pt x="1295" y="143"/>
                </a:cubicBezTo>
                <a:cubicBezTo>
                  <a:pt x="1299" y="144"/>
                  <a:pt x="1299" y="144"/>
                  <a:pt x="1299" y="144"/>
                </a:cubicBezTo>
                <a:cubicBezTo>
                  <a:pt x="1301" y="143"/>
                  <a:pt x="1301" y="143"/>
                  <a:pt x="1301" y="143"/>
                </a:cubicBezTo>
                <a:cubicBezTo>
                  <a:pt x="1303" y="142"/>
                  <a:pt x="1303" y="142"/>
                  <a:pt x="1303" y="142"/>
                </a:cubicBezTo>
                <a:cubicBezTo>
                  <a:pt x="1305" y="144"/>
                  <a:pt x="1305" y="144"/>
                  <a:pt x="1305" y="144"/>
                </a:cubicBezTo>
                <a:lnTo>
                  <a:pt x="1307" y="143"/>
                </a:lnTo>
                <a:close/>
                <a:moveTo>
                  <a:pt x="1357" y="45"/>
                </a:moveTo>
                <a:cubicBezTo>
                  <a:pt x="1357" y="46"/>
                  <a:pt x="1357" y="46"/>
                  <a:pt x="1357" y="46"/>
                </a:cubicBezTo>
                <a:cubicBezTo>
                  <a:pt x="1357" y="49"/>
                  <a:pt x="1357" y="49"/>
                  <a:pt x="1357" y="49"/>
                </a:cubicBezTo>
                <a:cubicBezTo>
                  <a:pt x="1357" y="51"/>
                  <a:pt x="1357" y="51"/>
                  <a:pt x="1357" y="51"/>
                </a:cubicBezTo>
                <a:cubicBezTo>
                  <a:pt x="1359" y="52"/>
                  <a:pt x="1359" y="52"/>
                  <a:pt x="1359" y="52"/>
                </a:cubicBezTo>
                <a:cubicBezTo>
                  <a:pt x="1360" y="51"/>
                  <a:pt x="1360" y="51"/>
                  <a:pt x="1360" y="51"/>
                </a:cubicBezTo>
                <a:cubicBezTo>
                  <a:pt x="1360" y="50"/>
                  <a:pt x="1360" y="50"/>
                  <a:pt x="1360" y="50"/>
                </a:cubicBezTo>
                <a:cubicBezTo>
                  <a:pt x="1361" y="49"/>
                  <a:pt x="1361" y="49"/>
                  <a:pt x="1361" y="49"/>
                </a:cubicBezTo>
                <a:cubicBezTo>
                  <a:pt x="1361" y="47"/>
                  <a:pt x="1361" y="47"/>
                  <a:pt x="1361" y="47"/>
                </a:cubicBezTo>
                <a:cubicBezTo>
                  <a:pt x="1359" y="45"/>
                  <a:pt x="1359" y="45"/>
                  <a:pt x="1359" y="45"/>
                </a:cubicBezTo>
                <a:lnTo>
                  <a:pt x="1357" y="45"/>
                </a:lnTo>
                <a:close/>
                <a:moveTo>
                  <a:pt x="1359" y="12"/>
                </a:moveTo>
                <a:cubicBezTo>
                  <a:pt x="1360" y="11"/>
                  <a:pt x="1360" y="11"/>
                  <a:pt x="1360" y="11"/>
                </a:cubicBezTo>
                <a:cubicBezTo>
                  <a:pt x="1359" y="10"/>
                  <a:pt x="1359" y="10"/>
                  <a:pt x="1359" y="10"/>
                </a:cubicBezTo>
                <a:cubicBezTo>
                  <a:pt x="1358" y="10"/>
                  <a:pt x="1358" y="10"/>
                  <a:pt x="1358" y="10"/>
                </a:cubicBezTo>
                <a:cubicBezTo>
                  <a:pt x="1357" y="10"/>
                  <a:pt x="1357" y="10"/>
                  <a:pt x="1357" y="10"/>
                </a:cubicBezTo>
                <a:cubicBezTo>
                  <a:pt x="1357" y="12"/>
                  <a:pt x="1357" y="12"/>
                  <a:pt x="1357" y="12"/>
                </a:cubicBezTo>
                <a:cubicBezTo>
                  <a:pt x="1357" y="12"/>
                  <a:pt x="1357" y="12"/>
                  <a:pt x="1357" y="12"/>
                </a:cubicBezTo>
                <a:lnTo>
                  <a:pt x="1359" y="12"/>
                </a:lnTo>
                <a:close/>
                <a:moveTo>
                  <a:pt x="1067" y="219"/>
                </a:moveTo>
                <a:cubicBezTo>
                  <a:pt x="1067" y="220"/>
                  <a:pt x="1067" y="220"/>
                  <a:pt x="1067" y="220"/>
                </a:cubicBezTo>
                <a:cubicBezTo>
                  <a:pt x="1069" y="220"/>
                  <a:pt x="1069" y="220"/>
                  <a:pt x="1069" y="220"/>
                </a:cubicBezTo>
                <a:cubicBezTo>
                  <a:pt x="1069" y="219"/>
                  <a:pt x="1069" y="219"/>
                  <a:pt x="1069" y="219"/>
                </a:cubicBezTo>
                <a:cubicBezTo>
                  <a:pt x="1068" y="218"/>
                  <a:pt x="1068" y="218"/>
                  <a:pt x="1068" y="218"/>
                </a:cubicBezTo>
                <a:lnTo>
                  <a:pt x="1067" y="219"/>
                </a:lnTo>
                <a:close/>
                <a:moveTo>
                  <a:pt x="2161" y="93"/>
                </a:moveTo>
                <a:cubicBezTo>
                  <a:pt x="2160" y="91"/>
                  <a:pt x="2160" y="91"/>
                  <a:pt x="2160" y="91"/>
                </a:cubicBezTo>
                <a:cubicBezTo>
                  <a:pt x="2159" y="91"/>
                  <a:pt x="2159" y="91"/>
                  <a:pt x="2159" y="91"/>
                </a:cubicBezTo>
                <a:cubicBezTo>
                  <a:pt x="2159" y="93"/>
                  <a:pt x="2159" y="93"/>
                  <a:pt x="2159" y="93"/>
                </a:cubicBezTo>
                <a:cubicBezTo>
                  <a:pt x="2160" y="95"/>
                  <a:pt x="2160" y="95"/>
                  <a:pt x="2160" y="95"/>
                </a:cubicBezTo>
                <a:lnTo>
                  <a:pt x="2161" y="93"/>
                </a:lnTo>
                <a:close/>
                <a:moveTo>
                  <a:pt x="1151" y="278"/>
                </a:moveTo>
                <a:cubicBezTo>
                  <a:pt x="1151" y="277"/>
                  <a:pt x="1151" y="277"/>
                  <a:pt x="1151" y="277"/>
                </a:cubicBezTo>
                <a:cubicBezTo>
                  <a:pt x="1149" y="277"/>
                  <a:pt x="1149" y="277"/>
                  <a:pt x="1149" y="277"/>
                </a:cubicBezTo>
                <a:cubicBezTo>
                  <a:pt x="1148" y="276"/>
                  <a:pt x="1148" y="276"/>
                  <a:pt x="1148" y="276"/>
                </a:cubicBezTo>
                <a:cubicBezTo>
                  <a:pt x="1147" y="277"/>
                  <a:pt x="1147" y="277"/>
                  <a:pt x="1147" y="277"/>
                </a:cubicBezTo>
                <a:cubicBezTo>
                  <a:pt x="1147" y="278"/>
                  <a:pt x="1147" y="278"/>
                  <a:pt x="1147" y="278"/>
                </a:cubicBezTo>
                <a:cubicBezTo>
                  <a:pt x="1149" y="278"/>
                  <a:pt x="1149" y="278"/>
                  <a:pt x="1149" y="278"/>
                </a:cubicBezTo>
                <a:cubicBezTo>
                  <a:pt x="1149" y="279"/>
                  <a:pt x="1149" y="279"/>
                  <a:pt x="1149" y="279"/>
                </a:cubicBezTo>
                <a:cubicBezTo>
                  <a:pt x="1151" y="279"/>
                  <a:pt x="1151" y="279"/>
                  <a:pt x="1151" y="279"/>
                </a:cubicBezTo>
                <a:lnTo>
                  <a:pt x="1151" y="278"/>
                </a:lnTo>
                <a:close/>
                <a:moveTo>
                  <a:pt x="1155" y="274"/>
                </a:moveTo>
                <a:cubicBezTo>
                  <a:pt x="1155" y="275"/>
                  <a:pt x="1155" y="275"/>
                  <a:pt x="1155" y="275"/>
                </a:cubicBezTo>
                <a:cubicBezTo>
                  <a:pt x="1156" y="275"/>
                  <a:pt x="1156" y="275"/>
                  <a:pt x="1156" y="275"/>
                </a:cubicBezTo>
                <a:cubicBezTo>
                  <a:pt x="1156" y="273"/>
                  <a:pt x="1156" y="273"/>
                  <a:pt x="1156" y="273"/>
                </a:cubicBezTo>
                <a:lnTo>
                  <a:pt x="1155" y="274"/>
                </a:lnTo>
                <a:close/>
                <a:moveTo>
                  <a:pt x="1159" y="266"/>
                </a:moveTo>
                <a:cubicBezTo>
                  <a:pt x="1158" y="265"/>
                  <a:pt x="1158" y="265"/>
                  <a:pt x="1158" y="265"/>
                </a:cubicBezTo>
                <a:cubicBezTo>
                  <a:pt x="1156" y="264"/>
                  <a:pt x="1156" y="264"/>
                  <a:pt x="1156" y="264"/>
                </a:cubicBezTo>
                <a:cubicBezTo>
                  <a:pt x="1155" y="263"/>
                  <a:pt x="1155" y="263"/>
                  <a:pt x="1155" y="263"/>
                </a:cubicBezTo>
                <a:cubicBezTo>
                  <a:pt x="1155" y="263"/>
                  <a:pt x="1155" y="263"/>
                  <a:pt x="1155" y="263"/>
                </a:cubicBezTo>
                <a:cubicBezTo>
                  <a:pt x="1155" y="264"/>
                  <a:pt x="1155" y="264"/>
                  <a:pt x="1155" y="264"/>
                </a:cubicBezTo>
                <a:cubicBezTo>
                  <a:pt x="1156" y="265"/>
                  <a:pt x="1156" y="265"/>
                  <a:pt x="1156" y="265"/>
                </a:cubicBezTo>
                <a:cubicBezTo>
                  <a:pt x="1158" y="266"/>
                  <a:pt x="1158" y="266"/>
                  <a:pt x="1158" y="266"/>
                </a:cubicBezTo>
                <a:cubicBezTo>
                  <a:pt x="1158" y="267"/>
                  <a:pt x="1158" y="267"/>
                  <a:pt x="1158" y="267"/>
                </a:cubicBezTo>
                <a:lnTo>
                  <a:pt x="1159" y="266"/>
                </a:lnTo>
                <a:close/>
                <a:moveTo>
                  <a:pt x="1311" y="131"/>
                </a:moveTo>
                <a:cubicBezTo>
                  <a:pt x="1310" y="131"/>
                  <a:pt x="1310" y="131"/>
                  <a:pt x="1310" y="131"/>
                </a:cubicBezTo>
                <a:cubicBezTo>
                  <a:pt x="1310" y="131"/>
                  <a:pt x="1310" y="131"/>
                  <a:pt x="1310" y="131"/>
                </a:cubicBezTo>
                <a:cubicBezTo>
                  <a:pt x="1310" y="133"/>
                  <a:pt x="1310" y="133"/>
                  <a:pt x="1310" y="133"/>
                </a:cubicBezTo>
                <a:cubicBezTo>
                  <a:pt x="1311" y="133"/>
                  <a:pt x="1311" y="133"/>
                  <a:pt x="1311" y="133"/>
                </a:cubicBezTo>
                <a:cubicBezTo>
                  <a:pt x="1311" y="133"/>
                  <a:pt x="1311" y="133"/>
                  <a:pt x="1311" y="133"/>
                </a:cubicBezTo>
                <a:lnTo>
                  <a:pt x="1311" y="131"/>
                </a:lnTo>
                <a:close/>
                <a:moveTo>
                  <a:pt x="1293" y="136"/>
                </a:moveTo>
                <a:cubicBezTo>
                  <a:pt x="1294" y="135"/>
                  <a:pt x="1294" y="135"/>
                  <a:pt x="1294" y="135"/>
                </a:cubicBezTo>
                <a:cubicBezTo>
                  <a:pt x="1293" y="136"/>
                  <a:pt x="1293" y="136"/>
                  <a:pt x="1293" y="136"/>
                </a:cubicBezTo>
                <a:cubicBezTo>
                  <a:pt x="1292" y="137"/>
                  <a:pt x="1292" y="137"/>
                  <a:pt x="1292" y="137"/>
                </a:cubicBezTo>
                <a:cubicBezTo>
                  <a:pt x="1292" y="137"/>
                  <a:pt x="1292" y="137"/>
                  <a:pt x="1292" y="137"/>
                </a:cubicBezTo>
                <a:lnTo>
                  <a:pt x="1293" y="136"/>
                </a:lnTo>
                <a:close/>
                <a:moveTo>
                  <a:pt x="1301" y="145"/>
                </a:moveTo>
                <a:cubicBezTo>
                  <a:pt x="1302" y="145"/>
                  <a:pt x="1302" y="145"/>
                  <a:pt x="1302" y="145"/>
                </a:cubicBezTo>
                <a:cubicBezTo>
                  <a:pt x="1303" y="145"/>
                  <a:pt x="1303" y="145"/>
                  <a:pt x="1303" y="145"/>
                </a:cubicBezTo>
                <a:cubicBezTo>
                  <a:pt x="1303" y="144"/>
                  <a:pt x="1303" y="144"/>
                  <a:pt x="1303" y="144"/>
                </a:cubicBezTo>
                <a:cubicBezTo>
                  <a:pt x="1301" y="144"/>
                  <a:pt x="1301" y="144"/>
                  <a:pt x="1301" y="144"/>
                </a:cubicBezTo>
                <a:cubicBezTo>
                  <a:pt x="1301" y="144"/>
                  <a:pt x="1301" y="145"/>
                  <a:pt x="1301" y="145"/>
                </a:cubicBezTo>
                <a:close/>
                <a:moveTo>
                  <a:pt x="1078" y="124"/>
                </a:moveTo>
                <a:cubicBezTo>
                  <a:pt x="1079" y="123"/>
                  <a:pt x="1079" y="123"/>
                  <a:pt x="1079" y="123"/>
                </a:cubicBezTo>
                <a:cubicBezTo>
                  <a:pt x="1077" y="121"/>
                  <a:pt x="1077" y="121"/>
                  <a:pt x="1077" y="121"/>
                </a:cubicBezTo>
                <a:cubicBezTo>
                  <a:pt x="1076" y="121"/>
                  <a:pt x="1076" y="121"/>
                  <a:pt x="1076" y="121"/>
                </a:cubicBezTo>
                <a:cubicBezTo>
                  <a:pt x="1076" y="122"/>
                  <a:pt x="1076" y="122"/>
                  <a:pt x="1076" y="122"/>
                </a:cubicBezTo>
                <a:cubicBezTo>
                  <a:pt x="1077" y="123"/>
                  <a:pt x="1077" y="123"/>
                  <a:pt x="1077" y="123"/>
                </a:cubicBezTo>
                <a:lnTo>
                  <a:pt x="1078" y="124"/>
                </a:lnTo>
                <a:close/>
                <a:moveTo>
                  <a:pt x="1085" y="32"/>
                </a:moveTo>
                <a:cubicBezTo>
                  <a:pt x="1086" y="32"/>
                  <a:pt x="1086" y="32"/>
                  <a:pt x="1086" y="32"/>
                </a:cubicBezTo>
                <a:cubicBezTo>
                  <a:pt x="1086" y="31"/>
                  <a:pt x="1086" y="31"/>
                  <a:pt x="1086" y="31"/>
                </a:cubicBezTo>
                <a:cubicBezTo>
                  <a:pt x="1085" y="31"/>
                  <a:pt x="1085" y="31"/>
                  <a:pt x="1085" y="31"/>
                </a:cubicBezTo>
                <a:lnTo>
                  <a:pt x="1085" y="32"/>
                </a:lnTo>
                <a:close/>
                <a:moveTo>
                  <a:pt x="1089" y="66"/>
                </a:moveTo>
                <a:cubicBezTo>
                  <a:pt x="1088" y="66"/>
                  <a:pt x="1088" y="66"/>
                  <a:pt x="1088" y="66"/>
                </a:cubicBezTo>
                <a:cubicBezTo>
                  <a:pt x="1087" y="67"/>
                  <a:pt x="1087" y="67"/>
                  <a:pt x="1087" y="67"/>
                </a:cubicBezTo>
                <a:cubicBezTo>
                  <a:pt x="1087" y="67"/>
                  <a:pt x="1088" y="68"/>
                  <a:pt x="1088" y="67"/>
                </a:cubicBezTo>
                <a:cubicBezTo>
                  <a:pt x="1089" y="67"/>
                  <a:pt x="1089" y="67"/>
                  <a:pt x="1089" y="67"/>
                </a:cubicBezTo>
                <a:lnTo>
                  <a:pt x="1089" y="66"/>
                </a:lnTo>
                <a:close/>
                <a:moveTo>
                  <a:pt x="1090" y="30"/>
                </a:moveTo>
                <a:cubicBezTo>
                  <a:pt x="1090" y="30"/>
                  <a:pt x="1090" y="30"/>
                  <a:pt x="1090" y="30"/>
                </a:cubicBezTo>
                <a:cubicBezTo>
                  <a:pt x="1091" y="29"/>
                  <a:pt x="1091" y="29"/>
                  <a:pt x="1091" y="29"/>
                </a:cubicBezTo>
                <a:cubicBezTo>
                  <a:pt x="1089" y="27"/>
                  <a:pt x="1089" y="27"/>
                  <a:pt x="1089" y="27"/>
                </a:cubicBezTo>
                <a:cubicBezTo>
                  <a:pt x="1087" y="27"/>
                  <a:pt x="1087" y="27"/>
                  <a:pt x="1087" y="27"/>
                </a:cubicBezTo>
                <a:cubicBezTo>
                  <a:pt x="1086" y="28"/>
                  <a:pt x="1086" y="28"/>
                  <a:pt x="1086" y="28"/>
                </a:cubicBezTo>
                <a:cubicBezTo>
                  <a:pt x="1084" y="26"/>
                  <a:pt x="1084" y="26"/>
                  <a:pt x="1084" y="26"/>
                </a:cubicBezTo>
                <a:cubicBezTo>
                  <a:pt x="1083" y="26"/>
                  <a:pt x="1083" y="26"/>
                  <a:pt x="1083" y="26"/>
                </a:cubicBezTo>
                <a:cubicBezTo>
                  <a:pt x="1082" y="27"/>
                  <a:pt x="1082" y="27"/>
                  <a:pt x="1082" y="27"/>
                </a:cubicBezTo>
                <a:cubicBezTo>
                  <a:pt x="1082" y="28"/>
                  <a:pt x="1082" y="28"/>
                  <a:pt x="1082" y="28"/>
                </a:cubicBezTo>
                <a:cubicBezTo>
                  <a:pt x="1084" y="28"/>
                  <a:pt x="1084" y="28"/>
                  <a:pt x="1084" y="28"/>
                </a:cubicBezTo>
                <a:cubicBezTo>
                  <a:pt x="1085" y="29"/>
                  <a:pt x="1085" y="29"/>
                  <a:pt x="1085" y="29"/>
                </a:cubicBezTo>
                <a:cubicBezTo>
                  <a:pt x="1088" y="29"/>
                  <a:pt x="1088" y="29"/>
                  <a:pt x="1088" y="29"/>
                </a:cubicBezTo>
                <a:lnTo>
                  <a:pt x="1090" y="30"/>
                </a:lnTo>
                <a:close/>
                <a:moveTo>
                  <a:pt x="1085" y="72"/>
                </a:moveTo>
                <a:cubicBezTo>
                  <a:pt x="1084" y="74"/>
                  <a:pt x="1084" y="74"/>
                  <a:pt x="1084" y="74"/>
                </a:cubicBezTo>
                <a:cubicBezTo>
                  <a:pt x="1083" y="74"/>
                  <a:pt x="1083" y="74"/>
                  <a:pt x="1083" y="74"/>
                </a:cubicBezTo>
                <a:cubicBezTo>
                  <a:pt x="1084" y="75"/>
                  <a:pt x="1084" y="75"/>
                  <a:pt x="1084" y="75"/>
                </a:cubicBezTo>
                <a:cubicBezTo>
                  <a:pt x="1084" y="76"/>
                  <a:pt x="1084" y="76"/>
                  <a:pt x="1084" y="76"/>
                </a:cubicBezTo>
                <a:cubicBezTo>
                  <a:pt x="1084" y="76"/>
                  <a:pt x="1084" y="76"/>
                  <a:pt x="1084" y="76"/>
                </a:cubicBezTo>
                <a:cubicBezTo>
                  <a:pt x="1085" y="76"/>
                  <a:pt x="1085" y="76"/>
                  <a:pt x="1085" y="76"/>
                </a:cubicBezTo>
                <a:cubicBezTo>
                  <a:pt x="1088" y="73"/>
                  <a:pt x="1088" y="73"/>
                  <a:pt x="1088" y="73"/>
                </a:cubicBezTo>
                <a:cubicBezTo>
                  <a:pt x="1090" y="72"/>
                  <a:pt x="1090" y="72"/>
                  <a:pt x="1090" y="72"/>
                </a:cubicBezTo>
                <a:cubicBezTo>
                  <a:pt x="1090" y="71"/>
                  <a:pt x="1090" y="71"/>
                  <a:pt x="1090" y="71"/>
                </a:cubicBezTo>
                <a:cubicBezTo>
                  <a:pt x="1088" y="71"/>
                  <a:pt x="1088" y="71"/>
                  <a:pt x="1088" y="71"/>
                </a:cubicBezTo>
                <a:cubicBezTo>
                  <a:pt x="1086" y="72"/>
                  <a:pt x="1086" y="72"/>
                  <a:pt x="1086" y="72"/>
                </a:cubicBezTo>
                <a:lnTo>
                  <a:pt x="1085" y="72"/>
                </a:lnTo>
                <a:close/>
                <a:moveTo>
                  <a:pt x="1102" y="123"/>
                </a:moveTo>
                <a:cubicBezTo>
                  <a:pt x="1103" y="124"/>
                  <a:pt x="1103" y="124"/>
                  <a:pt x="1103" y="124"/>
                </a:cubicBezTo>
                <a:cubicBezTo>
                  <a:pt x="1103" y="123"/>
                  <a:pt x="1103" y="123"/>
                  <a:pt x="1103" y="123"/>
                </a:cubicBezTo>
                <a:cubicBezTo>
                  <a:pt x="1102" y="122"/>
                  <a:pt x="1102" y="122"/>
                  <a:pt x="1102" y="122"/>
                </a:cubicBezTo>
                <a:cubicBezTo>
                  <a:pt x="1102" y="121"/>
                  <a:pt x="1102" y="121"/>
                  <a:pt x="1102" y="121"/>
                </a:cubicBezTo>
                <a:lnTo>
                  <a:pt x="1102" y="123"/>
                </a:lnTo>
                <a:close/>
                <a:moveTo>
                  <a:pt x="1100" y="117"/>
                </a:moveTo>
                <a:cubicBezTo>
                  <a:pt x="1100" y="118"/>
                  <a:pt x="1100" y="118"/>
                  <a:pt x="1100" y="118"/>
                </a:cubicBezTo>
                <a:cubicBezTo>
                  <a:pt x="1102" y="119"/>
                  <a:pt x="1102" y="119"/>
                  <a:pt x="1102" y="119"/>
                </a:cubicBezTo>
                <a:cubicBezTo>
                  <a:pt x="1103" y="119"/>
                  <a:pt x="1103" y="119"/>
                  <a:pt x="1103" y="119"/>
                </a:cubicBezTo>
                <a:cubicBezTo>
                  <a:pt x="1102" y="117"/>
                  <a:pt x="1102" y="117"/>
                  <a:pt x="1102" y="117"/>
                </a:cubicBezTo>
                <a:cubicBezTo>
                  <a:pt x="1102" y="117"/>
                  <a:pt x="1100" y="117"/>
                  <a:pt x="1100" y="117"/>
                </a:cubicBezTo>
                <a:close/>
                <a:moveTo>
                  <a:pt x="1087" y="77"/>
                </a:moveTo>
                <a:cubicBezTo>
                  <a:pt x="1088" y="77"/>
                  <a:pt x="1088" y="77"/>
                  <a:pt x="1088" y="77"/>
                </a:cubicBezTo>
                <a:cubicBezTo>
                  <a:pt x="1087" y="76"/>
                  <a:pt x="1087" y="76"/>
                  <a:pt x="1087" y="76"/>
                </a:cubicBezTo>
                <a:cubicBezTo>
                  <a:pt x="1086" y="77"/>
                  <a:pt x="1086" y="77"/>
                  <a:pt x="1086" y="77"/>
                </a:cubicBezTo>
                <a:lnTo>
                  <a:pt x="1087" y="77"/>
                </a:lnTo>
                <a:close/>
                <a:moveTo>
                  <a:pt x="1084" y="65"/>
                </a:moveTo>
                <a:cubicBezTo>
                  <a:pt x="1085" y="66"/>
                  <a:pt x="1085" y="66"/>
                  <a:pt x="1085" y="66"/>
                </a:cubicBezTo>
                <a:cubicBezTo>
                  <a:pt x="1086" y="66"/>
                  <a:pt x="1086" y="66"/>
                  <a:pt x="1086" y="66"/>
                </a:cubicBezTo>
                <a:cubicBezTo>
                  <a:pt x="1087" y="65"/>
                  <a:pt x="1087" y="65"/>
                  <a:pt x="1087" y="65"/>
                </a:cubicBezTo>
                <a:cubicBezTo>
                  <a:pt x="1086" y="65"/>
                  <a:pt x="1086" y="65"/>
                  <a:pt x="1086" y="65"/>
                </a:cubicBezTo>
                <a:lnTo>
                  <a:pt x="1084" y="65"/>
                </a:lnTo>
                <a:close/>
                <a:moveTo>
                  <a:pt x="1089" y="75"/>
                </a:moveTo>
                <a:cubicBezTo>
                  <a:pt x="1089" y="74"/>
                  <a:pt x="1089" y="74"/>
                  <a:pt x="1089" y="74"/>
                </a:cubicBezTo>
                <a:cubicBezTo>
                  <a:pt x="1088" y="75"/>
                  <a:pt x="1088" y="75"/>
                  <a:pt x="1088" y="75"/>
                </a:cubicBezTo>
                <a:cubicBezTo>
                  <a:pt x="1088" y="75"/>
                  <a:pt x="1088" y="75"/>
                  <a:pt x="1088" y="75"/>
                </a:cubicBezTo>
                <a:lnTo>
                  <a:pt x="1089" y="75"/>
                </a:lnTo>
                <a:close/>
                <a:moveTo>
                  <a:pt x="1086" y="61"/>
                </a:moveTo>
                <a:cubicBezTo>
                  <a:pt x="1085" y="61"/>
                  <a:pt x="1085" y="61"/>
                  <a:pt x="1085" y="61"/>
                </a:cubicBezTo>
                <a:cubicBezTo>
                  <a:pt x="1085" y="62"/>
                  <a:pt x="1085" y="62"/>
                  <a:pt x="1085" y="62"/>
                </a:cubicBezTo>
                <a:cubicBezTo>
                  <a:pt x="1086" y="62"/>
                  <a:pt x="1086" y="62"/>
                  <a:pt x="1086" y="62"/>
                </a:cubicBezTo>
                <a:lnTo>
                  <a:pt x="1086" y="61"/>
                </a:lnTo>
                <a:close/>
                <a:moveTo>
                  <a:pt x="1083" y="77"/>
                </a:moveTo>
                <a:cubicBezTo>
                  <a:pt x="1083" y="78"/>
                  <a:pt x="1083" y="78"/>
                  <a:pt x="1083" y="78"/>
                </a:cubicBezTo>
                <a:cubicBezTo>
                  <a:pt x="1084" y="78"/>
                  <a:pt x="1084" y="78"/>
                  <a:pt x="1084" y="78"/>
                </a:cubicBezTo>
                <a:cubicBezTo>
                  <a:pt x="1085" y="77"/>
                  <a:pt x="1085" y="77"/>
                  <a:pt x="1085" y="77"/>
                </a:cubicBezTo>
                <a:cubicBezTo>
                  <a:pt x="1084" y="77"/>
                  <a:pt x="1084" y="77"/>
                  <a:pt x="1084" y="77"/>
                </a:cubicBezTo>
                <a:lnTo>
                  <a:pt x="1083" y="77"/>
                </a:lnTo>
                <a:close/>
                <a:moveTo>
                  <a:pt x="1095" y="111"/>
                </a:moveTo>
                <a:cubicBezTo>
                  <a:pt x="1096" y="111"/>
                  <a:pt x="1096" y="111"/>
                  <a:pt x="1096" y="111"/>
                </a:cubicBezTo>
                <a:cubicBezTo>
                  <a:pt x="1098" y="111"/>
                  <a:pt x="1098" y="111"/>
                  <a:pt x="1098" y="111"/>
                </a:cubicBezTo>
                <a:cubicBezTo>
                  <a:pt x="1099" y="109"/>
                  <a:pt x="1099" y="109"/>
                  <a:pt x="1099" y="109"/>
                </a:cubicBezTo>
                <a:cubicBezTo>
                  <a:pt x="1099" y="107"/>
                  <a:pt x="1099" y="107"/>
                  <a:pt x="1099" y="107"/>
                </a:cubicBezTo>
                <a:cubicBezTo>
                  <a:pt x="1097" y="107"/>
                  <a:pt x="1097" y="107"/>
                  <a:pt x="1097" y="107"/>
                </a:cubicBezTo>
                <a:cubicBezTo>
                  <a:pt x="1096" y="107"/>
                  <a:pt x="1096" y="107"/>
                  <a:pt x="1096" y="107"/>
                </a:cubicBezTo>
                <a:lnTo>
                  <a:pt x="1095" y="111"/>
                </a:lnTo>
                <a:close/>
                <a:moveTo>
                  <a:pt x="1091" y="171"/>
                </a:moveTo>
                <a:cubicBezTo>
                  <a:pt x="1088" y="171"/>
                  <a:pt x="1088" y="171"/>
                  <a:pt x="1088" y="171"/>
                </a:cubicBezTo>
                <a:cubicBezTo>
                  <a:pt x="1087" y="171"/>
                  <a:pt x="1087" y="171"/>
                  <a:pt x="1087" y="171"/>
                </a:cubicBezTo>
                <a:cubicBezTo>
                  <a:pt x="1087" y="172"/>
                  <a:pt x="1087" y="172"/>
                  <a:pt x="1087" y="172"/>
                </a:cubicBezTo>
                <a:cubicBezTo>
                  <a:pt x="1088" y="173"/>
                  <a:pt x="1088" y="173"/>
                  <a:pt x="1088" y="173"/>
                </a:cubicBezTo>
                <a:cubicBezTo>
                  <a:pt x="1091" y="172"/>
                  <a:pt x="1091" y="172"/>
                  <a:pt x="1091" y="172"/>
                </a:cubicBezTo>
                <a:lnTo>
                  <a:pt x="1091" y="171"/>
                </a:lnTo>
                <a:close/>
                <a:moveTo>
                  <a:pt x="1091" y="163"/>
                </a:moveTo>
                <a:cubicBezTo>
                  <a:pt x="1092" y="162"/>
                  <a:pt x="1092" y="162"/>
                  <a:pt x="1092" y="162"/>
                </a:cubicBezTo>
                <a:cubicBezTo>
                  <a:pt x="1090" y="162"/>
                  <a:pt x="1090" y="162"/>
                  <a:pt x="1090" y="162"/>
                </a:cubicBezTo>
                <a:cubicBezTo>
                  <a:pt x="1088" y="162"/>
                  <a:pt x="1088" y="162"/>
                  <a:pt x="1088" y="162"/>
                </a:cubicBezTo>
                <a:cubicBezTo>
                  <a:pt x="1089" y="163"/>
                  <a:pt x="1089" y="163"/>
                  <a:pt x="1089" y="163"/>
                </a:cubicBezTo>
                <a:lnTo>
                  <a:pt x="1091" y="163"/>
                </a:lnTo>
                <a:close/>
                <a:moveTo>
                  <a:pt x="1099" y="100"/>
                </a:moveTo>
                <a:cubicBezTo>
                  <a:pt x="1097" y="100"/>
                  <a:pt x="1097" y="100"/>
                  <a:pt x="1097" y="100"/>
                </a:cubicBezTo>
                <a:cubicBezTo>
                  <a:pt x="1096" y="99"/>
                  <a:pt x="1096" y="99"/>
                  <a:pt x="1096" y="99"/>
                </a:cubicBezTo>
                <a:cubicBezTo>
                  <a:pt x="1095" y="100"/>
                  <a:pt x="1095" y="100"/>
                  <a:pt x="1095" y="100"/>
                </a:cubicBezTo>
                <a:cubicBezTo>
                  <a:pt x="1094" y="102"/>
                  <a:pt x="1094" y="102"/>
                  <a:pt x="1094" y="102"/>
                </a:cubicBezTo>
                <a:cubicBezTo>
                  <a:pt x="1095" y="103"/>
                  <a:pt x="1095" y="103"/>
                  <a:pt x="1095" y="103"/>
                </a:cubicBezTo>
                <a:cubicBezTo>
                  <a:pt x="1096" y="103"/>
                  <a:pt x="1096" y="103"/>
                  <a:pt x="1096" y="103"/>
                </a:cubicBezTo>
                <a:cubicBezTo>
                  <a:pt x="1098" y="102"/>
                  <a:pt x="1098" y="102"/>
                  <a:pt x="1098" y="102"/>
                </a:cubicBezTo>
                <a:cubicBezTo>
                  <a:pt x="1099" y="101"/>
                  <a:pt x="1099" y="101"/>
                  <a:pt x="1099" y="101"/>
                </a:cubicBezTo>
                <a:lnTo>
                  <a:pt x="1099" y="100"/>
                </a:lnTo>
                <a:close/>
                <a:moveTo>
                  <a:pt x="2155" y="84"/>
                </a:moveTo>
                <a:cubicBezTo>
                  <a:pt x="2155" y="82"/>
                  <a:pt x="2155" y="82"/>
                  <a:pt x="2155" y="82"/>
                </a:cubicBezTo>
                <a:cubicBezTo>
                  <a:pt x="2153" y="81"/>
                  <a:pt x="2153" y="81"/>
                  <a:pt x="2153" y="81"/>
                </a:cubicBezTo>
                <a:cubicBezTo>
                  <a:pt x="2153" y="81"/>
                  <a:pt x="2153" y="81"/>
                  <a:pt x="2153" y="81"/>
                </a:cubicBezTo>
                <a:cubicBezTo>
                  <a:pt x="2154" y="83"/>
                  <a:pt x="2154" y="83"/>
                  <a:pt x="2154" y="83"/>
                </a:cubicBezTo>
                <a:lnTo>
                  <a:pt x="2155" y="84"/>
                </a:lnTo>
                <a:close/>
                <a:moveTo>
                  <a:pt x="1074" y="140"/>
                </a:moveTo>
                <a:cubicBezTo>
                  <a:pt x="1073" y="140"/>
                  <a:pt x="1073" y="140"/>
                  <a:pt x="1073" y="140"/>
                </a:cubicBezTo>
                <a:cubicBezTo>
                  <a:pt x="1074" y="142"/>
                  <a:pt x="1074" y="142"/>
                  <a:pt x="1074" y="142"/>
                </a:cubicBezTo>
                <a:cubicBezTo>
                  <a:pt x="1079" y="143"/>
                  <a:pt x="1079" y="143"/>
                  <a:pt x="1079" y="143"/>
                </a:cubicBezTo>
                <a:cubicBezTo>
                  <a:pt x="1080" y="144"/>
                  <a:pt x="1080" y="144"/>
                  <a:pt x="1080" y="144"/>
                </a:cubicBezTo>
                <a:cubicBezTo>
                  <a:pt x="1081" y="145"/>
                  <a:pt x="1081" y="145"/>
                  <a:pt x="1081" y="145"/>
                </a:cubicBezTo>
                <a:cubicBezTo>
                  <a:pt x="1084" y="143"/>
                  <a:pt x="1084" y="143"/>
                  <a:pt x="1084" y="143"/>
                </a:cubicBezTo>
                <a:cubicBezTo>
                  <a:pt x="1082" y="145"/>
                  <a:pt x="1082" y="145"/>
                  <a:pt x="1082" y="145"/>
                </a:cubicBezTo>
                <a:cubicBezTo>
                  <a:pt x="1080" y="146"/>
                  <a:pt x="1080" y="146"/>
                  <a:pt x="1080" y="146"/>
                </a:cubicBezTo>
                <a:cubicBezTo>
                  <a:pt x="1077" y="144"/>
                  <a:pt x="1077" y="144"/>
                  <a:pt x="1077" y="144"/>
                </a:cubicBezTo>
                <a:cubicBezTo>
                  <a:pt x="1076" y="145"/>
                  <a:pt x="1076" y="145"/>
                  <a:pt x="1076" y="145"/>
                </a:cubicBezTo>
                <a:cubicBezTo>
                  <a:pt x="1076" y="147"/>
                  <a:pt x="1076" y="147"/>
                  <a:pt x="1076" y="147"/>
                </a:cubicBezTo>
                <a:cubicBezTo>
                  <a:pt x="1077" y="147"/>
                  <a:pt x="1077" y="147"/>
                  <a:pt x="1077" y="147"/>
                </a:cubicBezTo>
                <a:cubicBezTo>
                  <a:pt x="1080" y="148"/>
                  <a:pt x="1080" y="148"/>
                  <a:pt x="1080" y="148"/>
                </a:cubicBezTo>
                <a:cubicBezTo>
                  <a:pt x="1081" y="149"/>
                  <a:pt x="1081" y="149"/>
                  <a:pt x="1081" y="149"/>
                </a:cubicBezTo>
                <a:cubicBezTo>
                  <a:pt x="1083" y="150"/>
                  <a:pt x="1083" y="150"/>
                  <a:pt x="1083" y="150"/>
                </a:cubicBezTo>
                <a:cubicBezTo>
                  <a:pt x="1084" y="149"/>
                  <a:pt x="1084" y="149"/>
                  <a:pt x="1084" y="149"/>
                </a:cubicBezTo>
                <a:cubicBezTo>
                  <a:pt x="1089" y="148"/>
                  <a:pt x="1089" y="148"/>
                  <a:pt x="1089" y="148"/>
                </a:cubicBezTo>
                <a:cubicBezTo>
                  <a:pt x="1092" y="148"/>
                  <a:pt x="1092" y="148"/>
                  <a:pt x="1092" y="148"/>
                </a:cubicBezTo>
                <a:cubicBezTo>
                  <a:pt x="1096" y="145"/>
                  <a:pt x="1096" y="145"/>
                  <a:pt x="1096" y="145"/>
                </a:cubicBezTo>
                <a:cubicBezTo>
                  <a:pt x="1095" y="142"/>
                  <a:pt x="1095" y="142"/>
                  <a:pt x="1095" y="142"/>
                </a:cubicBezTo>
                <a:cubicBezTo>
                  <a:pt x="1094" y="139"/>
                  <a:pt x="1094" y="139"/>
                  <a:pt x="1094" y="139"/>
                </a:cubicBezTo>
                <a:cubicBezTo>
                  <a:pt x="1092" y="139"/>
                  <a:pt x="1092" y="139"/>
                  <a:pt x="1092" y="139"/>
                </a:cubicBezTo>
                <a:cubicBezTo>
                  <a:pt x="1090" y="138"/>
                  <a:pt x="1090" y="138"/>
                  <a:pt x="1090" y="138"/>
                </a:cubicBezTo>
                <a:cubicBezTo>
                  <a:pt x="1089" y="133"/>
                  <a:pt x="1089" y="133"/>
                  <a:pt x="1089" y="133"/>
                </a:cubicBezTo>
                <a:cubicBezTo>
                  <a:pt x="1087" y="130"/>
                  <a:pt x="1087" y="130"/>
                  <a:pt x="1087" y="130"/>
                </a:cubicBezTo>
                <a:cubicBezTo>
                  <a:pt x="1084" y="129"/>
                  <a:pt x="1084" y="129"/>
                  <a:pt x="1084" y="129"/>
                </a:cubicBezTo>
                <a:cubicBezTo>
                  <a:pt x="1082" y="127"/>
                  <a:pt x="1082" y="127"/>
                  <a:pt x="1082" y="127"/>
                </a:cubicBezTo>
                <a:cubicBezTo>
                  <a:pt x="1079" y="127"/>
                  <a:pt x="1079" y="127"/>
                  <a:pt x="1079" y="127"/>
                </a:cubicBezTo>
                <a:cubicBezTo>
                  <a:pt x="1077" y="126"/>
                  <a:pt x="1077" y="126"/>
                  <a:pt x="1077" y="126"/>
                </a:cubicBezTo>
                <a:cubicBezTo>
                  <a:pt x="1077" y="127"/>
                  <a:pt x="1077" y="127"/>
                  <a:pt x="1077" y="127"/>
                </a:cubicBezTo>
                <a:cubicBezTo>
                  <a:pt x="1074" y="129"/>
                  <a:pt x="1074" y="129"/>
                  <a:pt x="1074" y="129"/>
                </a:cubicBezTo>
                <a:cubicBezTo>
                  <a:pt x="1074" y="132"/>
                  <a:pt x="1074" y="132"/>
                  <a:pt x="1074" y="132"/>
                </a:cubicBezTo>
                <a:cubicBezTo>
                  <a:pt x="1076" y="133"/>
                  <a:pt x="1076" y="133"/>
                  <a:pt x="1076" y="133"/>
                </a:cubicBezTo>
                <a:cubicBezTo>
                  <a:pt x="1077" y="135"/>
                  <a:pt x="1077" y="135"/>
                  <a:pt x="1077" y="135"/>
                </a:cubicBezTo>
                <a:cubicBezTo>
                  <a:pt x="1075" y="134"/>
                  <a:pt x="1075" y="134"/>
                  <a:pt x="1075" y="134"/>
                </a:cubicBezTo>
                <a:cubicBezTo>
                  <a:pt x="1074" y="134"/>
                  <a:pt x="1074" y="134"/>
                  <a:pt x="1074" y="134"/>
                </a:cubicBezTo>
                <a:cubicBezTo>
                  <a:pt x="1074" y="136"/>
                  <a:pt x="1074" y="136"/>
                  <a:pt x="1074" y="136"/>
                </a:cubicBezTo>
                <a:cubicBezTo>
                  <a:pt x="1073" y="138"/>
                  <a:pt x="1073" y="138"/>
                  <a:pt x="1073" y="138"/>
                </a:cubicBezTo>
                <a:cubicBezTo>
                  <a:pt x="1076" y="139"/>
                  <a:pt x="1076" y="139"/>
                  <a:pt x="1076" y="139"/>
                </a:cubicBezTo>
                <a:lnTo>
                  <a:pt x="1074" y="140"/>
                </a:lnTo>
                <a:close/>
                <a:moveTo>
                  <a:pt x="1071" y="198"/>
                </a:moveTo>
                <a:cubicBezTo>
                  <a:pt x="1072" y="197"/>
                  <a:pt x="1072" y="197"/>
                  <a:pt x="1072" y="197"/>
                </a:cubicBezTo>
                <a:cubicBezTo>
                  <a:pt x="1071" y="196"/>
                  <a:pt x="1071" y="196"/>
                  <a:pt x="1071" y="196"/>
                </a:cubicBezTo>
                <a:cubicBezTo>
                  <a:pt x="1069" y="197"/>
                  <a:pt x="1069" y="197"/>
                  <a:pt x="1069" y="197"/>
                </a:cubicBezTo>
                <a:cubicBezTo>
                  <a:pt x="1069" y="197"/>
                  <a:pt x="1069" y="197"/>
                  <a:pt x="1069" y="197"/>
                </a:cubicBezTo>
                <a:cubicBezTo>
                  <a:pt x="1070" y="198"/>
                  <a:pt x="1070" y="198"/>
                  <a:pt x="1070" y="198"/>
                </a:cubicBezTo>
                <a:lnTo>
                  <a:pt x="1071" y="198"/>
                </a:lnTo>
                <a:close/>
                <a:moveTo>
                  <a:pt x="1070" y="200"/>
                </a:moveTo>
                <a:cubicBezTo>
                  <a:pt x="1071" y="199"/>
                  <a:pt x="1071" y="199"/>
                  <a:pt x="1071" y="199"/>
                </a:cubicBezTo>
                <a:cubicBezTo>
                  <a:pt x="1070" y="198"/>
                  <a:pt x="1070" y="198"/>
                  <a:pt x="1070" y="198"/>
                </a:cubicBezTo>
                <a:cubicBezTo>
                  <a:pt x="1068" y="199"/>
                  <a:pt x="1068" y="199"/>
                  <a:pt x="1068" y="199"/>
                </a:cubicBezTo>
                <a:lnTo>
                  <a:pt x="1070" y="200"/>
                </a:lnTo>
                <a:close/>
                <a:moveTo>
                  <a:pt x="1071" y="180"/>
                </a:moveTo>
                <a:cubicBezTo>
                  <a:pt x="1073" y="179"/>
                  <a:pt x="1073" y="179"/>
                  <a:pt x="1073" y="179"/>
                </a:cubicBezTo>
                <a:cubicBezTo>
                  <a:pt x="1073" y="178"/>
                  <a:pt x="1073" y="178"/>
                  <a:pt x="1073" y="178"/>
                </a:cubicBezTo>
                <a:cubicBezTo>
                  <a:pt x="1072" y="178"/>
                  <a:pt x="1072" y="178"/>
                  <a:pt x="1072" y="178"/>
                </a:cubicBezTo>
                <a:cubicBezTo>
                  <a:pt x="1071" y="179"/>
                  <a:pt x="1071" y="179"/>
                  <a:pt x="1071" y="179"/>
                </a:cubicBezTo>
                <a:cubicBezTo>
                  <a:pt x="1070" y="179"/>
                  <a:pt x="1070" y="179"/>
                  <a:pt x="1070" y="179"/>
                </a:cubicBezTo>
                <a:cubicBezTo>
                  <a:pt x="1071" y="180"/>
                  <a:pt x="1071" y="180"/>
                  <a:pt x="1071" y="180"/>
                </a:cubicBezTo>
                <a:close/>
                <a:moveTo>
                  <a:pt x="1101" y="144"/>
                </a:moveTo>
                <a:cubicBezTo>
                  <a:pt x="1103" y="143"/>
                  <a:pt x="1103" y="143"/>
                  <a:pt x="1103" y="143"/>
                </a:cubicBezTo>
                <a:cubicBezTo>
                  <a:pt x="1103" y="141"/>
                  <a:pt x="1103" y="141"/>
                  <a:pt x="1103" y="141"/>
                </a:cubicBezTo>
                <a:cubicBezTo>
                  <a:pt x="1105" y="139"/>
                  <a:pt x="1105" y="139"/>
                  <a:pt x="1105" y="139"/>
                </a:cubicBezTo>
                <a:cubicBezTo>
                  <a:pt x="1104" y="138"/>
                  <a:pt x="1104" y="138"/>
                  <a:pt x="1104" y="138"/>
                </a:cubicBezTo>
                <a:cubicBezTo>
                  <a:pt x="1103" y="139"/>
                  <a:pt x="1103" y="139"/>
                  <a:pt x="1103" y="139"/>
                </a:cubicBezTo>
                <a:cubicBezTo>
                  <a:pt x="1102" y="139"/>
                  <a:pt x="1102" y="139"/>
                  <a:pt x="1102" y="139"/>
                </a:cubicBezTo>
                <a:cubicBezTo>
                  <a:pt x="1100" y="140"/>
                  <a:pt x="1100" y="140"/>
                  <a:pt x="1100" y="140"/>
                </a:cubicBezTo>
                <a:cubicBezTo>
                  <a:pt x="1100" y="141"/>
                  <a:pt x="1100" y="141"/>
                  <a:pt x="1100" y="141"/>
                </a:cubicBezTo>
                <a:cubicBezTo>
                  <a:pt x="1101" y="140"/>
                  <a:pt x="1101" y="140"/>
                  <a:pt x="1101" y="140"/>
                </a:cubicBezTo>
                <a:cubicBezTo>
                  <a:pt x="1101" y="142"/>
                  <a:pt x="1101" y="142"/>
                  <a:pt x="1101" y="142"/>
                </a:cubicBezTo>
                <a:cubicBezTo>
                  <a:pt x="1101" y="144"/>
                  <a:pt x="1101" y="144"/>
                  <a:pt x="1101" y="144"/>
                </a:cubicBezTo>
                <a:close/>
                <a:moveTo>
                  <a:pt x="1089" y="108"/>
                </a:moveTo>
                <a:cubicBezTo>
                  <a:pt x="1088" y="109"/>
                  <a:pt x="1088" y="109"/>
                  <a:pt x="1088" y="109"/>
                </a:cubicBezTo>
                <a:cubicBezTo>
                  <a:pt x="1089" y="111"/>
                  <a:pt x="1089" y="111"/>
                  <a:pt x="1089" y="111"/>
                </a:cubicBezTo>
                <a:cubicBezTo>
                  <a:pt x="1090" y="112"/>
                  <a:pt x="1090" y="112"/>
                  <a:pt x="1090" y="112"/>
                </a:cubicBezTo>
                <a:cubicBezTo>
                  <a:pt x="1092" y="110"/>
                  <a:pt x="1092" y="110"/>
                  <a:pt x="1092" y="110"/>
                </a:cubicBezTo>
                <a:cubicBezTo>
                  <a:pt x="1091" y="109"/>
                  <a:pt x="1091" y="109"/>
                  <a:pt x="1091" y="109"/>
                </a:cubicBezTo>
                <a:cubicBezTo>
                  <a:pt x="1092" y="106"/>
                  <a:pt x="1092" y="106"/>
                  <a:pt x="1092" y="106"/>
                </a:cubicBezTo>
                <a:lnTo>
                  <a:pt x="1089" y="108"/>
                </a:lnTo>
                <a:close/>
                <a:moveTo>
                  <a:pt x="1067" y="197"/>
                </a:moveTo>
                <a:cubicBezTo>
                  <a:pt x="1066" y="196"/>
                  <a:pt x="1066" y="196"/>
                  <a:pt x="1066" y="196"/>
                </a:cubicBezTo>
                <a:cubicBezTo>
                  <a:pt x="1066" y="196"/>
                  <a:pt x="1066" y="196"/>
                  <a:pt x="1066" y="196"/>
                </a:cubicBezTo>
                <a:cubicBezTo>
                  <a:pt x="1065" y="196"/>
                  <a:pt x="1065" y="196"/>
                  <a:pt x="1065" y="196"/>
                </a:cubicBezTo>
                <a:cubicBezTo>
                  <a:pt x="1066" y="197"/>
                  <a:pt x="1066" y="197"/>
                  <a:pt x="1066" y="197"/>
                </a:cubicBezTo>
                <a:lnTo>
                  <a:pt x="1067" y="197"/>
                </a:lnTo>
                <a:close/>
                <a:moveTo>
                  <a:pt x="1086" y="159"/>
                </a:moveTo>
                <a:cubicBezTo>
                  <a:pt x="1084" y="160"/>
                  <a:pt x="1084" y="160"/>
                  <a:pt x="1084" y="160"/>
                </a:cubicBezTo>
                <a:cubicBezTo>
                  <a:pt x="1084" y="161"/>
                  <a:pt x="1084" y="161"/>
                  <a:pt x="1084" y="161"/>
                </a:cubicBezTo>
                <a:cubicBezTo>
                  <a:pt x="1086" y="162"/>
                  <a:pt x="1086" y="162"/>
                  <a:pt x="1086" y="162"/>
                </a:cubicBezTo>
                <a:cubicBezTo>
                  <a:pt x="1087" y="162"/>
                  <a:pt x="1087" y="162"/>
                  <a:pt x="1087" y="162"/>
                </a:cubicBezTo>
                <a:cubicBezTo>
                  <a:pt x="1089" y="161"/>
                  <a:pt x="1089" y="161"/>
                  <a:pt x="1089" y="161"/>
                </a:cubicBezTo>
                <a:cubicBezTo>
                  <a:pt x="1088" y="160"/>
                  <a:pt x="1088" y="160"/>
                  <a:pt x="1088" y="160"/>
                </a:cubicBezTo>
                <a:lnTo>
                  <a:pt x="1086" y="159"/>
                </a:lnTo>
                <a:close/>
                <a:moveTo>
                  <a:pt x="1080" y="163"/>
                </a:moveTo>
                <a:cubicBezTo>
                  <a:pt x="1080" y="164"/>
                  <a:pt x="1080" y="164"/>
                  <a:pt x="1080" y="164"/>
                </a:cubicBezTo>
                <a:cubicBezTo>
                  <a:pt x="1081" y="164"/>
                  <a:pt x="1081" y="164"/>
                  <a:pt x="1081" y="164"/>
                </a:cubicBezTo>
                <a:cubicBezTo>
                  <a:pt x="1084" y="164"/>
                  <a:pt x="1084" y="164"/>
                  <a:pt x="1084" y="164"/>
                </a:cubicBezTo>
                <a:cubicBezTo>
                  <a:pt x="1083" y="163"/>
                  <a:pt x="1083" y="163"/>
                  <a:pt x="1083" y="163"/>
                </a:cubicBezTo>
                <a:cubicBezTo>
                  <a:pt x="1082" y="162"/>
                  <a:pt x="1082" y="162"/>
                  <a:pt x="1082" y="162"/>
                </a:cubicBezTo>
                <a:lnTo>
                  <a:pt x="1080" y="163"/>
                </a:lnTo>
                <a:close/>
                <a:moveTo>
                  <a:pt x="1638" y="181"/>
                </a:moveTo>
                <a:cubicBezTo>
                  <a:pt x="1639" y="180"/>
                  <a:pt x="1639" y="180"/>
                  <a:pt x="1639" y="180"/>
                </a:cubicBezTo>
                <a:cubicBezTo>
                  <a:pt x="1638" y="178"/>
                  <a:pt x="1638" y="178"/>
                  <a:pt x="1638" y="178"/>
                </a:cubicBezTo>
                <a:lnTo>
                  <a:pt x="1638" y="181"/>
                </a:lnTo>
                <a:close/>
                <a:moveTo>
                  <a:pt x="1654" y="151"/>
                </a:moveTo>
                <a:cubicBezTo>
                  <a:pt x="1652" y="151"/>
                  <a:pt x="1652" y="151"/>
                  <a:pt x="1652" y="151"/>
                </a:cubicBezTo>
                <a:cubicBezTo>
                  <a:pt x="1653" y="153"/>
                  <a:pt x="1653" y="153"/>
                  <a:pt x="1653" y="153"/>
                </a:cubicBezTo>
                <a:lnTo>
                  <a:pt x="1654" y="151"/>
                </a:lnTo>
                <a:close/>
                <a:moveTo>
                  <a:pt x="1657" y="155"/>
                </a:moveTo>
                <a:cubicBezTo>
                  <a:pt x="1659" y="156"/>
                  <a:pt x="1659" y="156"/>
                  <a:pt x="1659" y="156"/>
                </a:cubicBezTo>
                <a:cubicBezTo>
                  <a:pt x="1660" y="155"/>
                  <a:pt x="1660" y="155"/>
                  <a:pt x="1660" y="155"/>
                </a:cubicBezTo>
                <a:cubicBezTo>
                  <a:pt x="1659" y="154"/>
                  <a:pt x="1659" y="154"/>
                  <a:pt x="1659" y="154"/>
                </a:cubicBezTo>
                <a:cubicBezTo>
                  <a:pt x="1658" y="152"/>
                  <a:pt x="1658" y="152"/>
                  <a:pt x="1658" y="152"/>
                </a:cubicBezTo>
                <a:cubicBezTo>
                  <a:pt x="1657" y="149"/>
                  <a:pt x="1657" y="149"/>
                  <a:pt x="1657" y="149"/>
                </a:cubicBezTo>
                <a:cubicBezTo>
                  <a:pt x="1656" y="150"/>
                  <a:pt x="1656" y="150"/>
                  <a:pt x="1656" y="150"/>
                </a:cubicBezTo>
                <a:cubicBezTo>
                  <a:pt x="1657" y="153"/>
                  <a:pt x="1657" y="153"/>
                  <a:pt x="1657" y="153"/>
                </a:cubicBezTo>
                <a:lnTo>
                  <a:pt x="1657" y="155"/>
                </a:lnTo>
                <a:close/>
                <a:moveTo>
                  <a:pt x="1650" y="158"/>
                </a:moveTo>
                <a:cubicBezTo>
                  <a:pt x="1653" y="161"/>
                  <a:pt x="1653" y="161"/>
                  <a:pt x="1653" y="161"/>
                </a:cubicBezTo>
                <a:cubicBezTo>
                  <a:pt x="1654" y="161"/>
                  <a:pt x="1654" y="161"/>
                  <a:pt x="1654" y="161"/>
                </a:cubicBezTo>
                <a:cubicBezTo>
                  <a:pt x="1655" y="160"/>
                  <a:pt x="1655" y="160"/>
                  <a:pt x="1655" y="160"/>
                </a:cubicBezTo>
                <a:cubicBezTo>
                  <a:pt x="1654" y="158"/>
                  <a:pt x="1654" y="158"/>
                  <a:pt x="1654" y="158"/>
                </a:cubicBezTo>
                <a:cubicBezTo>
                  <a:pt x="1656" y="157"/>
                  <a:pt x="1656" y="157"/>
                  <a:pt x="1656" y="157"/>
                </a:cubicBezTo>
                <a:cubicBezTo>
                  <a:pt x="1656" y="156"/>
                  <a:pt x="1656" y="156"/>
                  <a:pt x="1656" y="156"/>
                </a:cubicBezTo>
                <a:cubicBezTo>
                  <a:pt x="1654" y="157"/>
                  <a:pt x="1654" y="157"/>
                  <a:pt x="1654" y="157"/>
                </a:cubicBezTo>
                <a:cubicBezTo>
                  <a:pt x="1653" y="155"/>
                  <a:pt x="1653" y="155"/>
                  <a:pt x="1653" y="155"/>
                </a:cubicBezTo>
                <a:lnTo>
                  <a:pt x="1650" y="158"/>
                </a:lnTo>
                <a:close/>
                <a:moveTo>
                  <a:pt x="1656" y="160"/>
                </a:moveTo>
                <a:cubicBezTo>
                  <a:pt x="1657" y="160"/>
                  <a:pt x="1657" y="160"/>
                  <a:pt x="1657" y="160"/>
                </a:cubicBezTo>
                <a:cubicBezTo>
                  <a:pt x="1656" y="158"/>
                  <a:pt x="1656" y="158"/>
                  <a:pt x="1656" y="158"/>
                </a:cubicBezTo>
                <a:lnTo>
                  <a:pt x="1656" y="160"/>
                </a:lnTo>
                <a:close/>
                <a:moveTo>
                  <a:pt x="1636" y="175"/>
                </a:moveTo>
                <a:cubicBezTo>
                  <a:pt x="1638" y="175"/>
                  <a:pt x="1638" y="175"/>
                  <a:pt x="1638" y="175"/>
                </a:cubicBezTo>
                <a:cubicBezTo>
                  <a:pt x="1638" y="177"/>
                  <a:pt x="1638" y="177"/>
                  <a:pt x="1638" y="177"/>
                </a:cubicBezTo>
                <a:cubicBezTo>
                  <a:pt x="1639" y="177"/>
                  <a:pt x="1639" y="177"/>
                  <a:pt x="1639" y="177"/>
                </a:cubicBezTo>
                <a:cubicBezTo>
                  <a:pt x="1639" y="174"/>
                  <a:pt x="1639" y="174"/>
                  <a:pt x="1639" y="174"/>
                </a:cubicBezTo>
                <a:cubicBezTo>
                  <a:pt x="1642" y="174"/>
                  <a:pt x="1642" y="174"/>
                  <a:pt x="1642" y="174"/>
                </a:cubicBezTo>
                <a:cubicBezTo>
                  <a:pt x="1642" y="173"/>
                  <a:pt x="1642" y="173"/>
                  <a:pt x="1642" y="173"/>
                </a:cubicBezTo>
                <a:cubicBezTo>
                  <a:pt x="1644" y="173"/>
                  <a:pt x="1644" y="173"/>
                  <a:pt x="1644" y="173"/>
                </a:cubicBezTo>
                <a:cubicBezTo>
                  <a:pt x="1644" y="171"/>
                  <a:pt x="1644" y="171"/>
                  <a:pt x="1644" y="171"/>
                </a:cubicBezTo>
                <a:cubicBezTo>
                  <a:pt x="1644" y="170"/>
                  <a:pt x="1644" y="170"/>
                  <a:pt x="1644" y="170"/>
                </a:cubicBezTo>
                <a:cubicBezTo>
                  <a:pt x="1644" y="168"/>
                  <a:pt x="1644" y="168"/>
                  <a:pt x="1644" y="168"/>
                </a:cubicBezTo>
                <a:cubicBezTo>
                  <a:pt x="1642" y="167"/>
                  <a:pt x="1642" y="167"/>
                  <a:pt x="1642" y="167"/>
                </a:cubicBezTo>
                <a:cubicBezTo>
                  <a:pt x="1642" y="166"/>
                  <a:pt x="1642" y="166"/>
                  <a:pt x="1642" y="166"/>
                </a:cubicBezTo>
                <a:cubicBezTo>
                  <a:pt x="1639" y="165"/>
                  <a:pt x="1639" y="165"/>
                  <a:pt x="1639" y="165"/>
                </a:cubicBezTo>
                <a:cubicBezTo>
                  <a:pt x="1640" y="167"/>
                  <a:pt x="1640" y="167"/>
                  <a:pt x="1640" y="167"/>
                </a:cubicBezTo>
                <a:cubicBezTo>
                  <a:pt x="1638" y="166"/>
                  <a:pt x="1638" y="166"/>
                  <a:pt x="1638" y="166"/>
                </a:cubicBezTo>
                <a:cubicBezTo>
                  <a:pt x="1637" y="168"/>
                  <a:pt x="1637" y="168"/>
                  <a:pt x="1637" y="168"/>
                </a:cubicBezTo>
                <a:cubicBezTo>
                  <a:pt x="1639" y="170"/>
                  <a:pt x="1639" y="170"/>
                  <a:pt x="1639" y="170"/>
                </a:cubicBezTo>
                <a:cubicBezTo>
                  <a:pt x="1637" y="170"/>
                  <a:pt x="1637" y="170"/>
                  <a:pt x="1637" y="170"/>
                </a:cubicBezTo>
                <a:cubicBezTo>
                  <a:pt x="1636" y="172"/>
                  <a:pt x="1636" y="172"/>
                  <a:pt x="1636" y="172"/>
                </a:cubicBezTo>
                <a:cubicBezTo>
                  <a:pt x="1638" y="172"/>
                  <a:pt x="1638" y="172"/>
                  <a:pt x="1638" y="172"/>
                </a:cubicBezTo>
                <a:lnTo>
                  <a:pt x="1636" y="175"/>
                </a:lnTo>
                <a:close/>
                <a:moveTo>
                  <a:pt x="1619" y="214"/>
                </a:moveTo>
                <a:cubicBezTo>
                  <a:pt x="1619" y="212"/>
                  <a:pt x="1619" y="212"/>
                  <a:pt x="1619" y="212"/>
                </a:cubicBezTo>
                <a:cubicBezTo>
                  <a:pt x="1618" y="212"/>
                  <a:pt x="1618" y="212"/>
                  <a:pt x="1618" y="212"/>
                </a:cubicBezTo>
                <a:cubicBezTo>
                  <a:pt x="1618" y="213"/>
                  <a:pt x="1618" y="213"/>
                  <a:pt x="1618" y="213"/>
                </a:cubicBezTo>
                <a:lnTo>
                  <a:pt x="1619" y="214"/>
                </a:lnTo>
                <a:close/>
                <a:moveTo>
                  <a:pt x="1622" y="192"/>
                </a:moveTo>
                <a:cubicBezTo>
                  <a:pt x="1622" y="188"/>
                  <a:pt x="1622" y="188"/>
                  <a:pt x="1622" y="188"/>
                </a:cubicBezTo>
                <a:cubicBezTo>
                  <a:pt x="1618" y="190"/>
                  <a:pt x="1618" y="190"/>
                  <a:pt x="1618" y="190"/>
                </a:cubicBezTo>
                <a:cubicBezTo>
                  <a:pt x="1617" y="192"/>
                  <a:pt x="1617" y="192"/>
                  <a:pt x="1617" y="192"/>
                </a:cubicBezTo>
                <a:cubicBezTo>
                  <a:pt x="1620" y="191"/>
                  <a:pt x="1620" y="191"/>
                  <a:pt x="1620" y="191"/>
                </a:cubicBezTo>
                <a:lnTo>
                  <a:pt x="1622" y="192"/>
                </a:lnTo>
                <a:close/>
                <a:moveTo>
                  <a:pt x="1683" y="149"/>
                </a:moveTo>
                <a:cubicBezTo>
                  <a:pt x="1684" y="147"/>
                  <a:pt x="1684" y="147"/>
                  <a:pt x="1684" y="147"/>
                </a:cubicBezTo>
                <a:cubicBezTo>
                  <a:pt x="1685" y="145"/>
                  <a:pt x="1685" y="145"/>
                  <a:pt x="1685" y="145"/>
                </a:cubicBezTo>
                <a:cubicBezTo>
                  <a:pt x="1685" y="143"/>
                  <a:pt x="1685" y="143"/>
                  <a:pt x="1685" y="143"/>
                </a:cubicBezTo>
                <a:cubicBezTo>
                  <a:pt x="1681" y="146"/>
                  <a:pt x="1681" y="146"/>
                  <a:pt x="1681" y="146"/>
                </a:cubicBezTo>
                <a:lnTo>
                  <a:pt x="1683" y="149"/>
                </a:lnTo>
                <a:close/>
                <a:moveTo>
                  <a:pt x="1664" y="156"/>
                </a:moveTo>
                <a:cubicBezTo>
                  <a:pt x="1666" y="158"/>
                  <a:pt x="1666" y="158"/>
                  <a:pt x="1666" y="158"/>
                </a:cubicBezTo>
                <a:cubicBezTo>
                  <a:pt x="1666" y="156"/>
                  <a:pt x="1666" y="156"/>
                  <a:pt x="1666" y="156"/>
                </a:cubicBezTo>
                <a:cubicBezTo>
                  <a:pt x="1665" y="155"/>
                  <a:pt x="1665" y="155"/>
                  <a:pt x="1665" y="155"/>
                </a:cubicBezTo>
                <a:cubicBezTo>
                  <a:pt x="1666" y="153"/>
                  <a:pt x="1666" y="153"/>
                  <a:pt x="1666" y="153"/>
                </a:cubicBezTo>
                <a:cubicBezTo>
                  <a:pt x="1664" y="151"/>
                  <a:pt x="1664" y="151"/>
                  <a:pt x="1664" y="151"/>
                </a:cubicBezTo>
                <a:cubicBezTo>
                  <a:pt x="1663" y="152"/>
                  <a:pt x="1663" y="152"/>
                  <a:pt x="1663" y="152"/>
                </a:cubicBezTo>
                <a:cubicBezTo>
                  <a:pt x="1663" y="156"/>
                  <a:pt x="1663" y="156"/>
                  <a:pt x="1663" y="156"/>
                </a:cubicBezTo>
                <a:lnTo>
                  <a:pt x="1664" y="156"/>
                </a:lnTo>
                <a:close/>
                <a:moveTo>
                  <a:pt x="1648" y="166"/>
                </a:moveTo>
                <a:cubicBezTo>
                  <a:pt x="1651" y="166"/>
                  <a:pt x="1651" y="166"/>
                  <a:pt x="1651" y="166"/>
                </a:cubicBezTo>
                <a:cubicBezTo>
                  <a:pt x="1651" y="164"/>
                  <a:pt x="1651" y="164"/>
                  <a:pt x="1651" y="164"/>
                </a:cubicBezTo>
                <a:cubicBezTo>
                  <a:pt x="1652" y="163"/>
                  <a:pt x="1652" y="163"/>
                  <a:pt x="1652" y="163"/>
                </a:cubicBezTo>
                <a:cubicBezTo>
                  <a:pt x="1651" y="161"/>
                  <a:pt x="1651" y="161"/>
                  <a:pt x="1651" y="161"/>
                </a:cubicBezTo>
                <a:cubicBezTo>
                  <a:pt x="1650" y="162"/>
                  <a:pt x="1650" y="162"/>
                  <a:pt x="1650" y="162"/>
                </a:cubicBezTo>
                <a:cubicBezTo>
                  <a:pt x="1647" y="162"/>
                  <a:pt x="1647" y="162"/>
                  <a:pt x="1647" y="162"/>
                </a:cubicBezTo>
                <a:cubicBezTo>
                  <a:pt x="1647" y="164"/>
                  <a:pt x="1647" y="164"/>
                  <a:pt x="1647" y="164"/>
                </a:cubicBezTo>
                <a:cubicBezTo>
                  <a:pt x="1644" y="164"/>
                  <a:pt x="1644" y="164"/>
                  <a:pt x="1644" y="164"/>
                </a:cubicBezTo>
                <a:cubicBezTo>
                  <a:pt x="1646" y="167"/>
                  <a:pt x="1646" y="167"/>
                  <a:pt x="1646" y="167"/>
                </a:cubicBezTo>
                <a:lnTo>
                  <a:pt x="1648" y="166"/>
                </a:lnTo>
                <a:close/>
                <a:moveTo>
                  <a:pt x="1652" y="154"/>
                </a:moveTo>
                <a:cubicBezTo>
                  <a:pt x="1649" y="154"/>
                  <a:pt x="1649" y="154"/>
                  <a:pt x="1649" y="154"/>
                </a:cubicBezTo>
                <a:cubicBezTo>
                  <a:pt x="1649" y="157"/>
                  <a:pt x="1649" y="157"/>
                  <a:pt x="1649" y="157"/>
                </a:cubicBezTo>
                <a:cubicBezTo>
                  <a:pt x="1649" y="157"/>
                  <a:pt x="1652" y="155"/>
                  <a:pt x="1652" y="155"/>
                </a:cubicBezTo>
                <a:lnTo>
                  <a:pt x="1652" y="154"/>
                </a:lnTo>
                <a:close/>
                <a:moveTo>
                  <a:pt x="1604" y="240"/>
                </a:moveTo>
                <a:cubicBezTo>
                  <a:pt x="1603" y="239"/>
                  <a:pt x="1603" y="239"/>
                  <a:pt x="1603" y="239"/>
                </a:cubicBezTo>
                <a:cubicBezTo>
                  <a:pt x="1603" y="238"/>
                  <a:pt x="1603" y="238"/>
                  <a:pt x="1603" y="238"/>
                </a:cubicBezTo>
                <a:cubicBezTo>
                  <a:pt x="1602" y="240"/>
                  <a:pt x="1602" y="240"/>
                  <a:pt x="1602" y="240"/>
                </a:cubicBezTo>
                <a:cubicBezTo>
                  <a:pt x="1603" y="241"/>
                  <a:pt x="1603" y="241"/>
                  <a:pt x="1603" y="241"/>
                </a:cubicBezTo>
                <a:lnTo>
                  <a:pt x="1604" y="240"/>
                </a:lnTo>
                <a:close/>
                <a:moveTo>
                  <a:pt x="1628" y="176"/>
                </a:moveTo>
                <a:cubicBezTo>
                  <a:pt x="1629" y="174"/>
                  <a:pt x="1629" y="174"/>
                  <a:pt x="1629" y="174"/>
                </a:cubicBezTo>
                <a:cubicBezTo>
                  <a:pt x="1631" y="172"/>
                  <a:pt x="1631" y="172"/>
                  <a:pt x="1631" y="172"/>
                </a:cubicBezTo>
                <a:cubicBezTo>
                  <a:pt x="1630" y="170"/>
                  <a:pt x="1630" y="170"/>
                  <a:pt x="1630" y="170"/>
                </a:cubicBezTo>
                <a:cubicBezTo>
                  <a:pt x="1628" y="171"/>
                  <a:pt x="1628" y="171"/>
                  <a:pt x="1628" y="171"/>
                </a:cubicBezTo>
                <a:cubicBezTo>
                  <a:pt x="1627" y="173"/>
                  <a:pt x="1627" y="173"/>
                  <a:pt x="1627" y="173"/>
                </a:cubicBezTo>
                <a:cubicBezTo>
                  <a:pt x="1625" y="175"/>
                  <a:pt x="1625" y="175"/>
                  <a:pt x="1625" y="175"/>
                </a:cubicBezTo>
                <a:cubicBezTo>
                  <a:pt x="1625" y="178"/>
                  <a:pt x="1625" y="178"/>
                  <a:pt x="1625" y="178"/>
                </a:cubicBezTo>
                <a:cubicBezTo>
                  <a:pt x="1626" y="179"/>
                  <a:pt x="1626" y="179"/>
                  <a:pt x="1626" y="179"/>
                </a:cubicBezTo>
                <a:lnTo>
                  <a:pt x="1628" y="176"/>
                </a:lnTo>
                <a:close/>
                <a:moveTo>
                  <a:pt x="1610" y="195"/>
                </a:moveTo>
                <a:cubicBezTo>
                  <a:pt x="1610" y="196"/>
                  <a:pt x="1610" y="196"/>
                  <a:pt x="1610" y="196"/>
                </a:cubicBezTo>
                <a:cubicBezTo>
                  <a:pt x="1611" y="194"/>
                  <a:pt x="1611" y="194"/>
                  <a:pt x="1611" y="194"/>
                </a:cubicBezTo>
                <a:cubicBezTo>
                  <a:pt x="1610" y="194"/>
                  <a:pt x="1610" y="194"/>
                  <a:pt x="1610" y="194"/>
                </a:cubicBezTo>
                <a:lnTo>
                  <a:pt x="1610" y="195"/>
                </a:lnTo>
                <a:close/>
                <a:moveTo>
                  <a:pt x="1621" y="185"/>
                </a:moveTo>
                <a:cubicBezTo>
                  <a:pt x="1620" y="187"/>
                  <a:pt x="1620" y="187"/>
                  <a:pt x="1620" y="187"/>
                </a:cubicBezTo>
                <a:cubicBezTo>
                  <a:pt x="1622" y="186"/>
                  <a:pt x="1622" y="186"/>
                  <a:pt x="1622" y="186"/>
                </a:cubicBezTo>
                <a:lnTo>
                  <a:pt x="1621" y="185"/>
                </a:lnTo>
                <a:close/>
                <a:moveTo>
                  <a:pt x="1608" y="194"/>
                </a:moveTo>
                <a:cubicBezTo>
                  <a:pt x="1607" y="198"/>
                  <a:pt x="1607" y="198"/>
                  <a:pt x="1607" y="198"/>
                </a:cubicBezTo>
                <a:cubicBezTo>
                  <a:pt x="1607" y="200"/>
                  <a:pt x="1607" y="200"/>
                  <a:pt x="1607" y="200"/>
                </a:cubicBezTo>
                <a:cubicBezTo>
                  <a:pt x="1609" y="197"/>
                  <a:pt x="1609" y="197"/>
                  <a:pt x="1609" y="197"/>
                </a:cubicBezTo>
                <a:lnTo>
                  <a:pt x="1608" y="194"/>
                </a:lnTo>
                <a:close/>
                <a:moveTo>
                  <a:pt x="1607" y="236"/>
                </a:moveTo>
                <a:cubicBezTo>
                  <a:pt x="1609" y="234"/>
                  <a:pt x="1609" y="234"/>
                  <a:pt x="1609" y="234"/>
                </a:cubicBezTo>
                <a:cubicBezTo>
                  <a:pt x="1607" y="234"/>
                  <a:pt x="1607" y="234"/>
                  <a:pt x="1607" y="234"/>
                </a:cubicBezTo>
                <a:cubicBezTo>
                  <a:pt x="1606" y="235"/>
                  <a:pt x="1606" y="235"/>
                  <a:pt x="1606" y="235"/>
                </a:cubicBezTo>
                <a:lnTo>
                  <a:pt x="1607" y="236"/>
                </a:lnTo>
                <a:close/>
                <a:moveTo>
                  <a:pt x="1598" y="255"/>
                </a:moveTo>
                <a:cubicBezTo>
                  <a:pt x="1599" y="255"/>
                  <a:pt x="1599" y="255"/>
                  <a:pt x="1599" y="255"/>
                </a:cubicBezTo>
                <a:cubicBezTo>
                  <a:pt x="1601" y="252"/>
                  <a:pt x="1601" y="252"/>
                  <a:pt x="1601" y="252"/>
                </a:cubicBezTo>
                <a:cubicBezTo>
                  <a:pt x="1600" y="252"/>
                  <a:pt x="1600" y="252"/>
                  <a:pt x="1600" y="252"/>
                </a:cubicBezTo>
                <a:cubicBezTo>
                  <a:pt x="1597" y="253"/>
                  <a:pt x="1597" y="253"/>
                  <a:pt x="1597" y="253"/>
                </a:cubicBezTo>
                <a:cubicBezTo>
                  <a:pt x="1595" y="254"/>
                  <a:pt x="1595" y="254"/>
                  <a:pt x="1595" y="254"/>
                </a:cubicBezTo>
                <a:cubicBezTo>
                  <a:pt x="1597" y="254"/>
                  <a:pt x="1597" y="254"/>
                  <a:pt x="1597" y="254"/>
                </a:cubicBezTo>
                <a:lnTo>
                  <a:pt x="1598" y="255"/>
                </a:lnTo>
                <a:close/>
                <a:moveTo>
                  <a:pt x="1605" y="231"/>
                </a:moveTo>
                <a:cubicBezTo>
                  <a:pt x="1606" y="233"/>
                  <a:pt x="1606" y="233"/>
                  <a:pt x="1606" y="233"/>
                </a:cubicBezTo>
                <a:cubicBezTo>
                  <a:pt x="1607" y="231"/>
                  <a:pt x="1607" y="231"/>
                  <a:pt x="1607" y="231"/>
                </a:cubicBezTo>
                <a:cubicBezTo>
                  <a:pt x="1607" y="229"/>
                  <a:pt x="1607" y="229"/>
                  <a:pt x="1607" y="229"/>
                </a:cubicBezTo>
                <a:lnTo>
                  <a:pt x="1605" y="231"/>
                </a:lnTo>
                <a:close/>
                <a:moveTo>
                  <a:pt x="1606" y="203"/>
                </a:moveTo>
                <a:cubicBezTo>
                  <a:pt x="1606" y="202"/>
                  <a:pt x="1606" y="202"/>
                  <a:pt x="1606" y="202"/>
                </a:cubicBezTo>
                <a:cubicBezTo>
                  <a:pt x="1605" y="204"/>
                  <a:pt x="1605" y="204"/>
                  <a:pt x="1605" y="204"/>
                </a:cubicBezTo>
                <a:cubicBezTo>
                  <a:pt x="1606" y="204"/>
                  <a:pt x="1606" y="204"/>
                  <a:pt x="1606" y="204"/>
                </a:cubicBezTo>
                <a:lnTo>
                  <a:pt x="1606" y="203"/>
                </a:lnTo>
                <a:close/>
                <a:moveTo>
                  <a:pt x="1635" y="179"/>
                </a:moveTo>
                <a:cubicBezTo>
                  <a:pt x="1635" y="178"/>
                  <a:pt x="1635" y="178"/>
                  <a:pt x="1635" y="178"/>
                </a:cubicBezTo>
                <a:cubicBezTo>
                  <a:pt x="1633" y="177"/>
                  <a:pt x="1633" y="177"/>
                  <a:pt x="1633" y="177"/>
                </a:cubicBezTo>
                <a:cubicBezTo>
                  <a:pt x="1631" y="177"/>
                  <a:pt x="1631" y="177"/>
                  <a:pt x="1631" y="177"/>
                </a:cubicBezTo>
                <a:cubicBezTo>
                  <a:pt x="1632" y="178"/>
                  <a:pt x="1632" y="178"/>
                  <a:pt x="1632" y="178"/>
                </a:cubicBezTo>
                <a:lnTo>
                  <a:pt x="1635" y="179"/>
                </a:lnTo>
                <a:close/>
                <a:moveTo>
                  <a:pt x="1678" y="147"/>
                </a:moveTo>
                <a:cubicBezTo>
                  <a:pt x="1677" y="148"/>
                  <a:pt x="1677" y="148"/>
                  <a:pt x="1677" y="148"/>
                </a:cubicBezTo>
                <a:cubicBezTo>
                  <a:pt x="1679" y="149"/>
                  <a:pt x="1679" y="149"/>
                  <a:pt x="1679" y="149"/>
                </a:cubicBezTo>
                <a:cubicBezTo>
                  <a:pt x="1681" y="150"/>
                  <a:pt x="1681" y="150"/>
                  <a:pt x="1681" y="150"/>
                </a:cubicBezTo>
                <a:cubicBezTo>
                  <a:pt x="1681" y="148"/>
                  <a:pt x="1681" y="148"/>
                  <a:pt x="1681" y="148"/>
                </a:cubicBezTo>
                <a:cubicBezTo>
                  <a:pt x="1680" y="147"/>
                  <a:pt x="1680" y="147"/>
                  <a:pt x="1680" y="147"/>
                </a:cubicBezTo>
                <a:lnTo>
                  <a:pt x="1678" y="147"/>
                </a:lnTo>
                <a:close/>
                <a:moveTo>
                  <a:pt x="1624" y="187"/>
                </a:moveTo>
                <a:cubicBezTo>
                  <a:pt x="1624" y="190"/>
                  <a:pt x="1624" y="190"/>
                  <a:pt x="1624" y="190"/>
                </a:cubicBezTo>
                <a:cubicBezTo>
                  <a:pt x="1625" y="190"/>
                  <a:pt x="1625" y="190"/>
                  <a:pt x="1625" y="190"/>
                </a:cubicBezTo>
                <a:cubicBezTo>
                  <a:pt x="1627" y="187"/>
                  <a:pt x="1627" y="187"/>
                  <a:pt x="1627" y="187"/>
                </a:cubicBezTo>
                <a:cubicBezTo>
                  <a:pt x="1627" y="189"/>
                  <a:pt x="1627" y="189"/>
                  <a:pt x="1627" y="189"/>
                </a:cubicBezTo>
                <a:cubicBezTo>
                  <a:pt x="1628" y="189"/>
                  <a:pt x="1628" y="189"/>
                  <a:pt x="1628" y="189"/>
                </a:cubicBezTo>
                <a:cubicBezTo>
                  <a:pt x="1629" y="188"/>
                  <a:pt x="1629" y="188"/>
                  <a:pt x="1629" y="188"/>
                </a:cubicBezTo>
                <a:cubicBezTo>
                  <a:pt x="1631" y="186"/>
                  <a:pt x="1631" y="186"/>
                  <a:pt x="1631" y="186"/>
                </a:cubicBezTo>
                <a:cubicBezTo>
                  <a:pt x="1635" y="183"/>
                  <a:pt x="1635" y="183"/>
                  <a:pt x="1635" y="183"/>
                </a:cubicBezTo>
                <a:cubicBezTo>
                  <a:pt x="1632" y="180"/>
                  <a:pt x="1632" y="180"/>
                  <a:pt x="1632" y="180"/>
                </a:cubicBezTo>
                <a:cubicBezTo>
                  <a:pt x="1631" y="179"/>
                  <a:pt x="1631" y="179"/>
                  <a:pt x="1631" y="179"/>
                </a:cubicBezTo>
                <a:cubicBezTo>
                  <a:pt x="1631" y="180"/>
                  <a:pt x="1631" y="180"/>
                  <a:pt x="1631" y="180"/>
                </a:cubicBezTo>
                <a:cubicBezTo>
                  <a:pt x="1632" y="182"/>
                  <a:pt x="1632" y="182"/>
                  <a:pt x="1632" y="182"/>
                </a:cubicBezTo>
                <a:cubicBezTo>
                  <a:pt x="1629" y="182"/>
                  <a:pt x="1629" y="182"/>
                  <a:pt x="1629" y="182"/>
                </a:cubicBezTo>
                <a:cubicBezTo>
                  <a:pt x="1628" y="185"/>
                  <a:pt x="1628" y="185"/>
                  <a:pt x="1628" y="185"/>
                </a:cubicBezTo>
                <a:cubicBezTo>
                  <a:pt x="1627" y="183"/>
                  <a:pt x="1627" y="183"/>
                  <a:pt x="1627" y="183"/>
                </a:cubicBezTo>
                <a:cubicBezTo>
                  <a:pt x="1628" y="178"/>
                  <a:pt x="1628" y="178"/>
                  <a:pt x="1628" y="178"/>
                </a:cubicBezTo>
                <a:cubicBezTo>
                  <a:pt x="1626" y="181"/>
                  <a:pt x="1626" y="181"/>
                  <a:pt x="1626" y="181"/>
                </a:cubicBezTo>
                <a:cubicBezTo>
                  <a:pt x="1626" y="183"/>
                  <a:pt x="1626" y="183"/>
                  <a:pt x="1626" y="183"/>
                </a:cubicBezTo>
                <a:cubicBezTo>
                  <a:pt x="1625" y="185"/>
                  <a:pt x="1625" y="185"/>
                  <a:pt x="1625" y="185"/>
                </a:cubicBezTo>
                <a:cubicBezTo>
                  <a:pt x="1625" y="187"/>
                  <a:pt x="1625" y="187"/>
                  <a:pt x="1625" y="187"/>
                </a:cubicBezTo>
                <a:lnTo>
                  <a:pt x="1624" y="187"/>
                </a:lnTo>
                <a:close/>
                <a:moveTo>
                  <a:pt x="1622" y="178"/>
                </a:moveTo>
                <a:cubicBezTo>
                  <a:pt x="1622" y="179"/>
                  <a:pt x="1622" y="179"/>
                  <a:pt x="1622" y="179"/>
                </a:cubicBezTo>
                <a:cubicBezTo>
                  <a:pt x="1621" y="181"/>
                  <a:pt x="1621" y="181"/>
                  <a:pt x="1621" y="181"/>
                </a:cubicBezTo>
                <a:cubicBezTo>
                  <a:pt x="1619" y="180"/>
                  <a:pt x="1619" y="180"/>
                  <a:pt x="1619" y="180"/>
                </a:cubicBezTo>
                <a:cubicBezTo>
                  <a:pt x="1618" y="183"/>
                  <a:pt x="1618" y="183"/>
                  <a:pt x="1618" y="183"/>
                </a:cubicBezTo>
                <a:cubicBezTo>
                  <a:pt x="1619" y="184"/>
                  <a:pt x="1619" y="184"/>
                  <a:pt x="1619" y="184"/>
                </a:cubicBezTo>
                <a:cubicBezTo>
                  <a:pt x="1621" y="182"/>
                  <a:pt x="1621" y="182"/>
                  <a:pt x="1621" y="182"/>
                </a:cubicBezTo>
                <a:cubicBezTo>
                  <a:pt x="1623" y="182"/>
                  <a:pt x="1623" y="182"/>
                  <a:pt x="1623" y="182"/>
                </a:cubicBezTo>
                <a:cubicBezTo>
                  <a:pt x="1620" y="184"/>
                  <a:pt x="1620" y="184"/>
                  <a:pt x="1620" y="184"/>
                </a:cubicBezTo>
                <a:cubicBezTo>
                  <a:pt x="1621" y="185"/>
                  <a:pt x="1621" y="185"/>
                  <a:pt x="1621" y="185"/>
                </a:cubicBezTo>
                <a:cubicBezTo>
                  <a:pt x="1624" y="184"/>
                  <a:pt x="1624" y="184"/>
                  <a:pt x="1624" y="184"/>
                </a:cubicBezTo>
                <a:cubicBezTo>
                  <a:pt x="1624" y="180"/>
                  <a:pt x="1624" y="180"/>
                  <a:pt x="1624" y="180"/>
                </a:cubicBezTo>
                <a:cubicBezTo>
                  <a:pt x="1623" y="178"/>
                  <a:pt x="1623" y="178"/>
                  <a:pt x="1623" y="178"/>
                </a:cubicBezTo>
                <a:lnTo>
                  <a:pt x="1622" y="178"/>
                </a:lnTo>
                <a:close/>
                <a:moveTo>
                  <a:pt x="1612" y="196"/>
                </a:moveTo>
                <a:cubicBezTo>
                  <a:pt x="1616" y="193"/>
                  <a:pt x="1616" y="193"/>
                  <a:pt x="1616" y="193"/>
                </a:cubicBezTo>
                <a:cubicBezTo>
                  <a:pt x="1616" y="191"/>
                  <a:pt x="1616" y="191"/>
                  <a:pt x="1616" y="191"/>
                </a:cubicBezTo>
                <a:cubicBezTo>
                  <a:pt x="1613" y="192"/>
                  <a:pt x="1613" y="192"/>
                  <a:pt x="1613" y="192"/>
                </a:cubicBezTo>
                <a:lnTo>
                  <a:pt x="1612" y="196"/>
                </a:lnTo>
                <a:close/>
                <a:moveTo>
                  <a:pt x="2039" y="137"/>
                </a:moveTo>
                <a:cubicBezTo>
                  <a:pt x="2039" y="135"/>
                  <a:pt x="2039" y="135"/>
                  <a:pt x="2039" y="135"/>
                </a:cubicBezTo>
                <a:cubicBezTo>
                  <a:pt x="2038" y="134"/>
                  <a:pt x="2038" y="134"/>
                  <a:pt x="2038" y="134"/>
                </a:cubicBezTo>
                <a:cubicBezTo>
                  <a:pt x="2036" y="135"/>
                  <a:pt x="2036" y="135"/>
                  <a:pt x="2036" y="135"/>
                </a:cubicBezTo>
                <a:cubicBezTo>
                  <a:pt x="2036" y="136"/>
                  <a:pt x="2036" y="136"/>
                  <a:pt x="2036" y="136"/>
                </a:cubicBezTo>
                <a:cubicBezTo>
                  <a:pt x="2036" y="137"/>
                  <a:pt x="2036" y="137"/>
                  <a:pt x="2036" y="137"/>
                </a:cubicBezTo>
                <a:cubicBezTo>
                  <a:pt x="2036" y="137"/>
                  <a:pt x="2036" y="138"/>
                  <a:pt x="2036" y="138"/>
                </a:cubicBezTo>
                <a:cubicBezTo>
                  <a:pt x="2038" y="138"/>
                  <a:pt x="2038" y="138"/>
                  <a:pt x="2038" y="138"/>
                </a:cubicBezTo>
                <a:lnTo>
                  <a:pt x="2039" y="137"/>
                </a:lnTo>
                <a:close/>
                <a:moveTo>
                  <a:pt x="1978" y="150"/>
                </a:moveTo>
                <a:cubicBezTo>
                  <a:pt x="1978" y="150"/>
                  <a:pt x="1979" y="149"/>
                  <a:pt x="1979" y="149"/>
                </a:cubicBezTo>
                <a:cubicBezTo>
                  <a:pt x="1978" y="149"/>
                  <a:pt x="1978" y="149"/>
                  <a:pt x="1978" y="149"/>
                </a:cubicBezTo>
                <a:lnTo>
                  <a:pt x="1978" y="150"/>
                </a:lnTo>
                <a:close/>
                <a:moveTo>
                  <a:pt x="1966" y="131"/>
                </a:moveTo>
                <a:cubicBezTo>
                  <a:pt x="1968" y="133"/>
                  <a:pt x="1968" y="133"/>
                  <a:pt x="1968" y="133"/>
                </a:cubicBezTo>
                <a:cubicBezTo>
                  <a:pt x="1970" y="134"/>
                  <a:pt x="1970" y="134"/>
                  <a:pt x="1970" y="134"/>
                </a:cubicBezTo>
                <a:cubicBezTo>
                  <a:pt x="1970" y="135"/>
                  <a:pt x="1970" y="135"/>
                  <a:pt x="1970" y="135"/>
                </a:cubicBezTo>
                <a:cubicBezTo>
                  <a:pt x="1971" y="132"/>
                  <a:pt x="1971" y="132"/>
                  <a:pt x="1971" y="132"/>
                </a:cubicBezTo>
                <a:cubicBezTo>
                  <a:pt x="1972" y="133"/>
                  <a:pt x="1972" y="133"/>
                  <a:pt x="1972" y="133"/>
                </a:cubicBezTo>
                <a:cubicBezTo>
                  <a:pt x="1974" y="133"/>
                  <a:pt x="1974" y="133"/>
                  <a:pt x="1974" y="133"/>
                </a:cubicBezTo>
                <a:cubicBezTo>
                  <a:pt x="1974" y="133"/>
                  <a:pt x="1974" y="133"/>
                  <a:pt x="1974" y="133"/>
                </a:cubicBezTo>
                <a:cubicBezTo>
                  <a:pt x="1975" y="136"/>
                  <a:pt x="1975" y="136"/>
                  <a:pt x="1975" y="136"/>
                </a:cubicBezTo>
                <a:cubicBezTo>
                  <a:pt x="1975" y="137"/>
                  <a:pt x="1975" y="137"/>
                  <a:pt x="1975" y="137"/>
                </a:cubicBezTo>
                <a:cubicBezTo>
                  <a:pt x="1976" y="138"/>
                  <a:pt x="1976" y="138"/>
                  <a:pt x="1976" y="138"/>
                </a:cubicBezTo>
                <a:cubicBezTo>
                  <a:pt x="1978" y="138"/>
                  <a:pt x="1978" y="138"/>
                  <a:pt x="1978" y="138"/>
                </a:cubicBezTo>
                <a:cubicBezTo>
                  <a:pt x="1979" y="137"/>
                  <a:pt x="1979" y="137"/>
                  <a:pt x="1979" y="137"/>
                </a:cubicBezTo>
                <a:cubicBezTo>
                  <a:pt x="1982" y="138"/>
                  <a:pt x="1982" y="138"/>
                  <a:pt x="1982" y="138"/>
                </a:cubicBezTo>
                <a:cubicBezTo>
                  <a:pt x="1983" y="136"/>
                  <a:pt x="1983" y="136"/>
                  <a:pt x="1983" y="136"/>
                </a:cubicBezTo>
                <a:cubicBezTo>
                  <a:pt x="1982" y="132"/>
                  <a:pt x="1982" y="132"/>
                  <a:pt x="1982" y="132"/>
                </a:cubicBezTo>
                <a:cubicBezTo>
                  <a:pt x="1978" y="130"/>
                  <a:pt x="1978" y="130"/>
                  <a:pt x="1978" y="130"/>
                </a:cubicBezTo>
                <a:cubicBezTo>
                  <a:pt x="1976" y="128"/>
                  <a:pt x="1976" y="128"/>
                  <a:pt x="1976" y="128"/>
                </a:cubicBezTo>
                <a:cubicBezTo>
                  <a:pt x="1974" y="127"/>
                  <a:pt x="1974" y="127"/>
                  <a:pt x="1974" y="127"/>
                </a:cubicBezTo>
                <a:cubicBezTo>
                  <a:pt x="1972" y="125"/>
                  <a:pt x="1972" y="125"/>
                  <a:pt x="1972" y="125"/>
                </a:cubicBezTo>
                <a:cubicBezTo>
                  <a:pt x="1970" y="124"/>
                  <a:pt x="1970" y="124"/>
                  <a:pt x="1970" y="124"/>
                </a:cubicBezTo>
                <a:cubicBezTo>
                  <a:pt x="1969" y="122"/>
                  <a:pt x="1969" y="122"/>
                  <a:pt x="1969" y="122"/>
                </a:cubicBezTo>
                <a:cubicBezTo>
                  <a:pt x="1967" y="121"/>
                  <a:pt x="1967" y="121"/>
                  <a:pt x="1967" y="121"/>
                </a:cubicBezTo>
                <a:cubicBezTo>
                  <a:pt x="1965" y="120"/>
                  <a:pt x="1965" y="120"/>
                  <a:pt x="1965" y="120"/>
                </a:cubicBezTo>
                <a:cubicBezTo>
                  <a:pt x="1964" y="121"/>
                  <a:pt x="1964" y="121"/>
                  <a:pt x="1964" y="121"/>
                </a:cubicBezTo>
                <a:cubicBezTo>
                  <a:pt x="1964" y="122"/>
                  <a:pt x="1964" y="122"/>
                  <a:pt x="1964" y="122"/>
                </a:cubicBezTo>
                <a:cubicBezTo>
                  <a:pt x="1963" y="124"/>
                  <a:pt x="1963" y="124"/>
                  <a:pt x="1963" y="124"/>
                </a:cubicBezTo>
                <a:cubicBezTo>
                  <a:pt x="1964" y="125"/>
                  <a:pt x="1964" y="125"/>
                  <a:pt x="1964" y="125"/>
                </a:cubicBezTo>
                <a:cubicBezTo>
                  <a:pt x="1966" y="126"/>
                  <a:pt x="1966" y="126"/>
                  <a:pt x="1966" y="126"/>
                </a:cubicBezTo>
                <a:cubicBezTo>
                  <a:pt x="1965" y="127"/>
                  <a:pt x="1965" y="127"/>
                  <a:pt x="1965" y="127"/>
                </a:cubicBezTo>
                <a:cubicBezTo>
                  <a:pt x="1964" y="127"/>
                  <a:pt x="1964" y="127"/>
                  <a:pt x="1964" y="127"/>
                </a:cubicBezTo>
                <a:cubicBezTo>
                  <a:pt x="1963" y="126"/>
                  <a:pt x="1963" y="126"/>
                  <a:pt x="1963" y="126"/>
                </a:cubicBezTo>
                <a:cubicBezTo>
                  <a:pt x="1962" y="126"/>
                  <a:pt x="1962" y="126"/>
                  <a:pt x="1962" y="126"/>
                </a:cubicBezTo>
                <a:cubicBezTo>
                  <a:pt x="1963" y="128"/>
                  <a:pt x="1963" y="128"/>
                  <a:pt x="1963" y="128"/>
                </a:cubicBezTo>
                <a:lnTo>
                  <a:pt x="1966" y="131"/>
                </a:lnTo>
                <a:close/>
                <a:moveTo>
                  <a:pt x="1913" y="169"/>
                </a:moveTo>
                <a:cubicBezTo>
                  <a:pt x="1912" y="170"/>
                  <a:pt x="1912" y="170"/>
                  <a:pt x="1912" y="170"/>
                </a:cubicBezTo>
                <a:cubicBezTo>
                  <a:pt x="1913" y="170"/>
                  <a:pt x="1913" y="170"/>
                  <a:pt x="1913" y="170"/>
                </a:cubicBezTo>
                <a:cubicBezTo>
                  <a:pt x="1914" y="169"/>
                  <a:pt x="1914" y="169"/>
                  <a:pt x="1914" y="169"/>
                </a:cubicBezTo>
                <a:cubicBezTo>
                  <a:pt x="1916" y="169"/>
                  <a:pt x="1916" y="169"/>
                  <a:pt x="1916" y="169"/>
                </a:cubicBezTo>
                <a:cubicBezTo>
                  <a:pt x="1917" y="168"/>
                  <a:pt x="1917" y="168"/>
                  <a:pt x="1917" y="168"/>
                </a:cubicBezTo>
                <a:cubicBezTo>
                  <a:pt x="1914" y="168"/>
                  <a:pt x="1914" y="168"/>
                  <a:pt x="1914" y="168"/>
                </a:cubicBezTo>
                <a:lnTo>
                  <a:pt x="1913" y="169"/>
                </a:lnTo>
                <a:close/>
                <a:moveTo>
                  <a:pt x="1972" y="142"/>
                </a:moveTo>
                <a:cubicBezTo>
                  <a:pt x="1971" y="143"/>
                  <a:pt x="1971" y="143"/>
                  <a:pt x="1971" y="143"/>
                </a:cubicBezTo>
                <a:cubicBezTo>
                  <a:pt x="1973" y="145"/>
                  <a:pt x="1973" y="145"/>
                  <a:pt x="1973" y="145"/>
                </a:cubicBezTo>
                <a:cubicBezTo>
                  <a:pt x="1976" y="147"/>
                  <a:pt x="1976" y="147"/>
                  <a:pt x="1976" y="147"/>
                </a:cubicBezTo>
                <a:cubicBezTo>
                  <a:pt x="1976" y="145"/>
                  <a:pt x="1976" y="145"/>
                  <a:pt x="1976" y="145"/>
                </a:cubicBezTo>
                <a:cubicBezTo>
                  <a:pt x="1973" y="143"/>
                  <a:pt x="1973" y="143"/>
                  <a:pt x="1973" y="143"/>
                </a:cubicBezTo>
                <a:lnTo>
                  <a:pt x="1972" y="142"/>
                </a:lnTo>
                <a:close/>
                <a:moveTo>
                  <a:pt x="1890" y="166"/>
                </a:moveTo>
                <a:cubicBezTo>
                  <a:pt x="1890" y="165"/>
                  <a:pt x="1890" y="165"/>
                  <a:pt x="1890" y="165"/>
                </a:cubicBezTo>
                <a:cubicBezTo>
                  <a:pt x="1892" y="166"/>
                  <a:pt x="1892" y="166"/>
                  <a:pt x="1892" y="166"/>
                </a:cubicBezTo>
                <a:cubicBezTo>
                  <a:pt x="1891" y="167"/>
                  <a:pt x="1891" y="167"/>
                  <a:pt x="1891" y="167"/>
                </a:cubicBezTo>
                <a:cubicBezTo>
                  <a:pt x="1893" y="167"/>
                  <a:pt x="1893" y="167"/>
                  <a:pt x="1893" y="167"/>
                </a:cubicBezTo>
                <a:cubicBezTo>
                  <a:pt x="1894" y="166"/>
                  <a:pt x="1894" y="166"/>
                  <a:pt x="1894" y="166"/>
                </a:cubicBezTo>
                <a:cubicBezTo>
                  <a:pt x="1896" y="166"/>
                  <a:pt x="1896" y="166"/>
                  <a:pt x="1896" y="166"/>
                </a:cubicBezTo>
                <a:cubicBezTo>
                  <a:pt x="1899" y="164"/>
                  <a:pt x="1899" y="164"/>
                  <a:pt x="1899" y="164"/>
                </a:cubicBezTo>
                <a:cubicBezTo>
                  <a:pt x="1901" y="161"/>
                  <a:pt x="1901" y="161"/>
                  <a:pt x="1901" y="161"/>
                </a:cubicBezTo>
                <a:cubicBezTo>
                  <a:pt x="1901" y="158"/>
                  <a:pt x="1901" y="158"/>
                  <a:pt x="1901" y="158"/>
                </a:cubicBezTo>
                <a:cubicBezTo>
                  <a:pt x="1902" y="157"/>
                  <a:pt x="1902" y="157"/>
                  <a:pt x="1902" y="157"/>
                </a:cubicBezTo>
                <a:cubicBezTo>
                  <a:pt x="1903" y="158"/>
                  <a:pt x="1903" y="158"/>
                  <a:pt x="1903" y="158"/>
                </a:cubicBezTo>
                <a:cubicBezTo>
                  <a:pt x="1902" y="161"/>
                  <a:pt x="1902" y="161"/>
                  <a:pt x="1902" y="161"/>
                </a:cubicBezTo>
                <a:cubicBezTo>
                  <a:pt x="1904" y="158"/>
                  <a:pt x="1904" y="158"/>
                  <a:pt x="1904" y="158"/>
                </a:cubicBezTo>
                <a:cubicBezTo>
                  <a:pt x="1904" y="156"/>
                  <a:pt x="1904" y="156"/>
                  <a:pt x="1904" y="156"/>
                </a:cubicBezTo>
                <a:cubicBezTo>
                  <a:pt x="1902" y="154"/>
                  <a:pt x="1902" y="154"/>
                  <a:pt x="1902" y="154"/>
                </a:cubicBezTo>
                <a:cubicBezTo>
                  <a:pt x="1895" y="151"/>
                  <a:pt x="1895" y="151"/>
                  <a:pt x="1895" y="151"/>
                </a:cubicBezTo>
                <a:cubicBezTo>
                  <a:pt x="1891" y="150"/>
                  <a:pt x="1891" y="150"/>
                  <a:pt x="1891" y="150"/>
                </a:cubicBezTo>
                <a:cubicBezTo>
                  <a:pt x="1889" y="152"/>
                  <a:pt x="1889" y="152"/>
                  <a:pt x="1889" y="152"/>
                </a:cubicBezTo>
                <a:cubicBezTo>
                  <a:pt x="1888" y="156"/>
                  <a:pt x="1888" y="156"/>
                  <a:pt x="1888" y="156"/>
                </a:cubicBezTo>
                <a:cubicBezTo>
                  <a:pt x="1888" y="161"/>
                  <a:pt x="1888" y="161"/>
                  <a:pt x="1888" y="161"/>
                </a:cubicBezTo>
                <a:cubicBezTo>
                  <a:pt x="1889" y="163"/>
                  <a:pt x="1889" y="163"/>
                  <a:pt x="1889" y="163"/>
                </a:cubicBezTo>
                <a:lnTo>
                  <a:pt x="1890" y="166"/>
                </a:lnTo>
                <a:close/>
                <a:moveTo>
                  <a:pt x="1678" y="145"/>
                </a:moveTo>
                <a:cubicBezTo>
                  <a:pt x="1679" y="145"/>
                  <a:pt x="1679" y="145"/>
                  <a:pt x="1679" y="145"/>
                </a:cubicBezTo>
                <a:cubicBezTo>
                  <a:pt x="1684" y="140"/>
                  <a:pt x="1684" y="140"/>
                  <a:pt x="1684" y="140"/>
                </a:cubicBezTo>
                <a:cubicBezTo>
                  <a:pt x="1684" y="138"/>
                  <a:pt x="1684" y="138"/>
                  <a:pt x="1684" y="138"/>
                </a:cubicBezTo>
                <a:cubicBezTo>
                  <a:pt x="1681" y="141"/>
                  <a:pt x="1681" y="141"/>
                  <a:pt x="1681" y="141"/>
                </a:cubicBezTo>
                <a:cubicBezTo>
                  <a:pt x="1679" y="141"/>
                  <a:pt x="1679" y="141"/>
                  <a:pt x="1679" y="141"/>
                </a:cubicBezTo>
                <a:cubicBezTo>
                  <a:pt x="1678" y="143"/>
                  <a:pt x="1678" y="143"/>
                  <a:pt x="1678" y="143"/>
                </a:cubicBezTo>
                <a:cubicBezTo>
                  <a:pt x="1677" y="141"/>
                  <a:pt x="1677" y="141"/>
                  <a:pt x="1677" y="141"/>
                </a:cubicBezTo>
                <a:cubicBezTo>
                  <a:pt x="1675" y="143"/>
                  <a:pt x="1675" y="143"/>
                  <a:pt x="1675" y="143"/>
                </a:cubicBezTo>
                <a:cubicBezTo>
                  <a:pt x="1674" y="142"/>
                  <a:pt x="1674" y="142"/>
                  <a:pt x="1674" y="142"/>
                </a:cubicBezTo>
                <a:cubicBezTo>
                  <a:pt x="1674" y="144"/>
                  <a:pt x="1674" y="144"/>
                  <a:pt x="1674" y="144"/>
                </a:cubicBezTo>
                <a:lnTo>
                  <a:pt x="1678" y="145"/>
                </a:lnTo>
                <a:close/>
                <a:moveTo>
                  <a:pt x="1969" y="142"/>
                </a:moveTo>
                <a:cubicBezTo>
                  <a:pt x="1969" y="140"/>
                  <a:pt x="1969" y="140"/>
                  <a:pt x="1969" y="140"/>
                </a:cubicBezTo>
                <a:cubicBezTo>
                  <a:pt x="1968" y="140"/>
                  <a:pt x="1968" y="140"/>
                  <a:pt x="1968" y="140"/>
                </a:cubicBezTo>
                <a:cubicBezTo>
                  <a:pt x="1968" y="142"/>
                  <a:pt x="1968" y="142"/>
                  <a:pt x="1968" y="142"/>
                </a:cubicBezTo>
                <a:lnTo>
                  <a:pt x="1969" y="142"/>
                </a:lnTo>
                <a:close/>
                <a:moveTo>
                  <a:pt x="1964" y="159"/>
                </a:moveTo>
                <a:cubicBezTo>
                  <a:pt x="1967" y="158"/>
                  <a:pt x="1967" y="158"/>
                  <a:pt x="1967" y="158"/>
                </a:cubicBezTo>
                <a:cubicBezTo>
                  <a:pt x="1967" y="157"/>
                  <a:pt x="1967" y="157"/>
                  <a:pt x="1967" y="157"/>
                </a:cubicBezTo>
                <a:cubicBezTo>
                  <a:pt x="1966" y="156"/>
                  <a:pt x="1966" y="156"/>
                  <a:pt x="1966" y="156"/>
                </a:cubicBezTo>
                <a:cubicBezTo>
                  <a:pt x="1963" y="158"/>
                  <a:pt x="1963" y="158"/>
                  <a:pt x="1963" y="158"/>
                </a:cubicBezTo>
                <a:cubicBezTo>
                  <a:pt x="1962" y="159"/>
                  <a:pt x="1962" y="159"/>
                  <a:pt x="1962" y="159"/>
                </a:cubicBezTo>
                <a:cubicBezTo>
                  <a:pt x="1963" y="160"/>
                  <a:pt x="1963" y="160"/>
                  <a:pt x="1963" y="160"/>
                </a:cubicBezTo>
                <a:lnTo>
                  <a:pt x="1964" y="159"/>
                </a:lnTo>
                <a:close/>
                <a:moveTo>
                  <a:pt x="2091" y="60"/>
                </a:moveTo>
                <a:cubicBezTo>
                  <a:pt x="2093" y="58"/>
                  <a:pt x="2093" y="58"/>
                  <a:pt x="2093" y="58"/>
                </a:cubicBezTo>
                <a:cubicBezTo>
                  <a:pt x="2095" y="58"/>
                  <a:pt x="2095" y="58"/>
                  <a:pt x="2095" y="58"/>
                </a:cubicBezTo>
                <a:cubicBezTo>
                  <a:pt x="2096" y="56"/>
                  <a:pt x="2096" y="56"/>
                  <a:pt x="2096" y="56"/>
                </a:cubicBezTo>
                <a:cubicBezTo>
                  <a:pt x="2098" y="55"/>
                  <a:pt x="2098" y="55"/>
                  <a:pt x="2098" y="55"/>
                </a:cubicBezTo>
                <a:cubicBezTo>
                  <a:pt x="2099" y="53"/>
                  <a:pt x="2099" y="53"/>
                  <a:pt x="2099" y="53"/>
                </a:cubicBezTo>
                <a:cubicBezTo>
                  <a:pt x="2099" y="51"/>
                  <a:pt x="2099" y="51"/>
                  <a:pt x="2099" y="51"/>
                </a:cubicBezTo>
                <a:cubicBezTo>
                  <a:pt x="2098" y="50"/>
                  <a:pt x="2098" y="50"/>
                  <a:pt x="2098" y="50"/>
                </a:cubicBezTo>
                <a:cubicBezTo>
                  <a:pt x="2096" y="50"/>
                  <a:pt x="2096" y="50"/>
                  <a:pt x="2096" y="50"/>
                </a:cubicBezTo>
                <a:cubicBezTo>
                  <a:pt x="2093" y="51"/>
                  <a:pt x="2093" y="51"/>
                  <a:pt x="2093" y="51"/>
                </a:cubicBezTo>
                <a:cubicBezTo>
                  <a:pt x="2092" y="53"/>
                  <a:pt x="2092" y="53"/>
                  <a:pt x="2092" y="53"/>
                </a:cubicBezTo>
                <a:cubicBezTo>
                  <a:pt x="2092" y="55"/>
                  <a:pt x="2092" y="55"/>
                  <a:pt x="2092" y="55"/>
                </a:cubicBezTo>
                <a:cubicBezTo>
                  <a:pt x="2091" y="56"/>
                  <a:pt x="2091" y="56"/>
                  <a:pt x="2091" y="56"/>
                </a:cubicBezTo>
                <a:cubicBezTo>
                  <a:pt x="2090" y="57"/>
                  <a:pt x="2090" y="57"/>
                  <a:pt x="2090" y="57"/>
                </a:cubicBezTo>
                <a:cubicBezTo>
                  <a:pt x="2089" y="59"/>
                  <a:pt x="2089" y="59"/>
                  <a:pt x="2089" y="59"/>
                </a:cubicBezTo>
                <a:cubicBezTo>
                  <a:pt x="2090" y="60"/>
                  <a:pt x="2090" y="60"/>
                  <a:pt x="2090" y="60"/>
                </a:cubicBezTo>
                <a:lnTo>
                  <a:pt x="2091" y="60"/>
                </a:lnTo>
                <a:close/>
                <a:moveTo>
                  <a:pt x="2077" y="185"/>
                </a:moveTo>
                <a:cubicBezTo>
                  <a:pt x="2075" y="185"/>
                  <a:pt x="2075" y="185"/>
                  <a:pt x="2075" y="185"/>
                </a:cubicBezTo>
                <a:cubicBezTo>
                  <a:pt x="2074" y="185"/>
                  <a:pt x="2074" y="185"/>
                  <a:pt x="2074" y="185"/>
                </a:cubicBezTo>
                <a:cubicBezTo>
                  <a:pt x="2074" y="186"/>
                  <a:pt x="2074" y="186"/>
                  <a:pt x="2074" y="186"/>
                </a:cubicBezTo>
                <a:cubicBezTo>
                  <a:pt x="2075" y="186"/>
                  <a:pt x="2075" y="186"/>
                  <a:pt x="2075" y="186"/>
                </a:cubicBezTo>
                <a:cubicBezTo>
                  <a:pt x="2075" y="187"/>
                  <a:pt x="2075" y="187"/>
                  <a:pt x="2075" y="187"/>
                </a:cubicBezTo>
                <a:cubicBezTo>
                  <a:pt x="2078" y="189"/>
                  <a:pt x="2078" y="189"/>
                  <a:pt x="2078" y="189"/>
                </a:cubicBezTo>
                <a:cubicBezTo>
                  <a:pt x="2080" y="188"/>
                  <a:pt x="2080" y="188"/>
                  <a:pt x="2080" y="188"/>
                </a:cubicBezTo>
                <a:cubicBezTo>
                  <a:pt x="2080" y="187"/>
                  <a:pt x="2080" y="187"/>
                  <a:pt x="2080" y="187"/>
                </a:cubicBezTo>
                <a:cubicBezTo>
                  <a:pt x="2080" y="185"/>
                  <a:pt x="2080" y="185"/>
                  <a:pt x="2080" y="185"/>
                </a:cubicBezTo>
                <a:cubicBezTo>
                  <a:pt x="2078" y="185"/>
                  <a:pt x="2078" y="185"/>
                  <a:pt x="2078" y="185"/>
                </a:cubicBezTo>
                <a:lnTo>
                  <a:pt x="2077" y="185"/>
                </a:lnTo>
                <a:close/>
                <a:moveTo>
                  <a:pt x="2028" y="45"/>
                </a:moveTo>
                <a:cubicBezTo>
                  <a:pt x="2028" y="47"/>
                  <a:pt x="2028" y="47"/>
                  <a:pt x="2028" y="47"/>
                </a:cubicBezTo>
                <a:cubicBezTo>
                  <a:pt x="2028" y="50"/>
                  <a:pt x="2028" y="50"/>
                  <a:pt x="2028" y="50"/>
                </a:cubicBezTo>
                <a:cubicBezTo>
                  <a:pt x="2030" y="52"/>
                  <a:pt x="2030" y="52"/>
                  <a:pt x="2030" y="52"/>
                </a:cubicBezTo>
                <a:cubicBezTo>
                  <a:pt x="2030" y="52"/>
                  <a:pt x="2030" y="52"/>
                  <a:pt x="2030" y="52"/>
                </a:cubicBezTo>
                <a:cubicBezTo>
                  <a:pt x="2030" y="51"/>
                  <a:pt x="2030" y="51"/>
                  <a:pt x="2030" y="51"/>
                </a:cubicBezTo>
                <a:cubicBezTo>
                  <a:pt x="2030" y="49"/>
                  <a:pt x="2030" y="49"/>
                  <a:pt x="2030" y="49"/>
                </a:cubicBezTo>
                <a:cubicBezTo>
                  <a:pt x="2031" y="49"/>
                  <a:pt x="2031" y="49"/>
                  <a:pt x="2031" y="49"/>
                </a:cubicBezTo>
                <a:cubicBezTo>
                  <a:pt x="2032" y="51"/>
                  <a:pt x="2032" y="51"/>
                  <a:pt x="2032" y="51"/>
                </a:cubicBezTo>
                <a:cubicBezTo>
                  <a:pt x="2033" y="51"/>
                  <a:pt x="2033" y="51"/>
                  <a:pt x="2033" y="51"/>
                </a:cubicBezTo>
                <a:cubicBezTo>
                  <a:pt x="2034" y="51"/>
                  <a:pt x="2034" y="51"/>
                  <a:pt x="2034" y="51"/>
                </a:cubicBezTo>
                <a:cubicBezTo>
                  <a:pt x="2036" y="51"/>
                  <a:pt x="2036" y="51"/>
                  <a:pt x="2036" y="51"/>
                </a:cubicBezTo>
                <a:cubicBezTo>
                  <a:pt x="2036" y="49"/>
                  <a:pt x="2036" y="49"/>
                  <a:pt x="2036" y="49"/>
                </a:cubicBezTo>
                <a:cubicBezTo>
                  <a:pt x="2038" y="48"/>
                  <a:pt x="2038" y="48"/>
                  <a:pt x="2038" y="48"/>
                </a:cubicBezTo>
                <a:cubicBezTo>
                  <a:pt x="2040" y="47"/>
                  <a:pt x="2040" y="47"/>
                  <a:pt x="2040" y="47"/>
                </a:cubicBezTo>
                <a:cubicBezTo>
                  <a:pt x="2041" y="46"/>
                  <a:pt x="2041" y="46"/>
                  <a:pt x="2041" y="46"/>
                </a:cubicBezTo>
                <a:cubicBezTo>
                  <a:pt x="2039" y="44"/>
                  <a:pt x="2039" y="44"/>
                  <a:pt x="2039" y="44"/>
                </a:cubicBezTo>
                <a:cubicBezTo>
                  <a:pt x="2037" y="42"/>
                  <a:pt x="2037" y="42"/>
                  <a:pt x="2037" y="42"/>
                </a:cubicBezTo>
                <a:cubicBezTo>
                  <a:pt x="2036" y="41"/>
                  <a:pt x="2036" y="41"/>
                  <a:pt x="2036" y="41"/>
                </a:cubicBezTo>
                <a:cubicBezTo>
                  <a:pt x="2035" y="38"/>
                  <a:pt x="2035" y="38"/>
                  <a:pt x="2035" y="38"/>
                </a:cubicBezTo>
                <a:cubicBezTo>
                  <a:pt x="2033" y="38"/>
                  <a:pt x="2033" y="38"/>
                  <a:pt x="2033" y="38"/>
                </a:cubicBezTo>
                <a:cubicBezTo>
                  <a:pt x="2032" y="38"/>
                  <a:pt x="2032" y="38"/>
                  <a:pt x="2032" y="38"/>
                </a:cubicBezTo>
                <a:cubicBezTo>
                  <a:pt x="2030" y="40"/>
                  <a:pt x="2030" y="40"/>
                  <a:pt x="2030" y="40"/>
                </a:cubicBezTo>
                <a:cubicBezTo>
                  <a:pt x="2029" y="40"/>
                  <a:pt x="2029" y="40"/>
                  <a:pt x="2029" y="40"/>
                </a:cubicBezTo>
                <a:cubicBezTo>
                  <a:pt x="2027" y="42"/>
                  <a:pt x="2027" y="42"/>
                  <a:pt x="2027" y="42"/>
                </a:cubicBezTo>
                <a:cubicBezTo>
                  <a:pt x="2027" y="44"/>
                  <a:pt x="2027" y="44"/>
                  <a:pt x="2027" y="44"/>
                </a:cubicBezTo>
                <a:lnTo>
                  <a:pt x="2028" y="45"/>
                </a:lnTo>
                <a:close/>
                <a:moveTo>
                  <a:pt x="2098" y="44"/>
                </a:moveTo>
                <a:cubicBezTo>
                  <a:pt x="2099" y="45"/>
                  <a:pt x="2099" y="45"/>
                  <a:pt x="2099" y="45"/>
                </a:cubicBezTo>
                <a:cubicBezTo>
                  <a:pt x="2101" y="45"/>
                  <a:pt x="2101" y="45"/>
                  <a:pt x="2101" y="45"/>
                </a:cubicBezTo>
                <a:cubicBezTo>
                  <a:pt x="2103" y="46"/>
                  <a:pt x="2103" y="46"/>
                  <a:pt x="2103" y="46"/>
                </a:cubicBezTo>
                <a:cubicBezTo>
                  <a:pt x="2104" y="45"/>
                  <a:pt x="2104" y="45"/>
                  <a:pt x="2104" y="45"/>
                </a:cubicBezTo>
                <a:cubicBezTo>
                  <a:pt x="2104" y="44"/>
                  <a:pt x="2104" y="44"/>
                  <a:pt x="2104" y="44"/>
                </a:cubicBezTo>
                <a:cubicBezTo>
                  <a:pt x="2103" y="41"/>
                  <a:pt x="2103" y="41"/>
                  <a:pt x="2103" y="41"/>
                </a:cubicBezTo>
                <a:cubicBezTo>
                  <a:pt x="2102" y="38"/>
                  <a:pt x="2102" y="38"/>
                  <a:pt x="2102" y="38"/>
                </a:cubicBezTo>
                <a:cubicBezTo>
                  <a:pt x="2100" y="36"/>
                  <a:pt x="2100" y="36"/>
                  <a:pt x="2100" y="36"/>
                </a:cubicBezTo>
                <a:cubicBezTo>
                  <a:pt x="2099" y="34"/>
                  <a:pt x="2099" y="34"/>
                  <a:pt x="2099" y="34"/>
                </a:cubicBezTo>
                <a:cubicBezTo>
                  <a:pt x="2097" y="37"/>
                  <a:pt x="2097" y="37"/>
                  <a:pt x="2097" y="37"/>
                </a:cubicBezTo>
                <a:cubicBezTo>
                  <a:pt x="2097" y="40"/>
                  <a:pt x="2097" y="40"/>
                  <a:pt x="2097" y="40"/>
                </a:cubicBezTo>
                <a:cubicBezTo>
                  <a:pt x="2096" y="42"/>
                  <a:pt x="2096" y="42"/>
                  <a:pt x="2096" y="42"/>
                </a:cubicBezTo>
                <a:cubicBezTo>
                  <a:pt x="2096" y="44"/>
                  <a:pt x="2096" y="44"/>
                  <a:pt x="2096" y="44"/>
                </a:cubicBezTo>
                <a:lnTo>
                  <a:pt x="2098" y="44"/>
                </a:lnTo>
                <a:close/>
                <a:moveTo>
                  <a:pt x="1938" y="170"/>
                </a:moveTo>
                <a:cubicBezTo>
                  <a:pt x="1939" y="170"/>
                  <a:pt x="1939" y="170"/>
                  <a:pt x="1939" y="170"/>
                </a:cubicBezTo>
                <a:cubicBezTo>
                  <a:pt x="1940" y="169"/>
                  <a:pt x="1940" y="169"/>
                  <a:pt x="1940" y="169"/>
                </a:cubicBezTo>
                <a:cubicBezTo>
                  <a:pt x="1939" y="168"/>
                  <a:pt x="1939" y="168"/>
                  <a:pt x="1939" y="168"/>
                </a:cubicBezTo>
                <a:cubicBezTo>
                  <a:pt x="1938" y="168"/>
                  <a:pt x="1938" y="168"/>
                  <a:pt x="1938" y="168"/>
                </a:cubicBezTo>
                <a:lnTo>
                  <a:pt x="1938" y="170"/>
                </a:lnTo>
                <a:close/>
                <a:moveTo>
                  <a:pt x="1917" y="112"/>
                </a:moveTo>
                <a:cubicBezTo>
                  <a:pt x="1915" y="111"/>
                  <a:pt x="1915" y="111"/>
                  <a:pt x="1915" y="111"/>
                </a:cubicBezTo>
                <a:cubicBezTo>
                  <a:pt x="1915" y="110"/>
                  <a:pt x="1915" y="110"/>
                  <a:pt x="1915" y="110"/>
                </a:cubicBezTo>
                <a:cubicBezTo>
                  <a:pt x="1913" y="109"/>
                  <a:pt x="1913" y="109"/>
                  <a:pt x="1913" y="109"/>
                </a:cubicBezTo>
                <a:cubicBezTo>
                  <a:pt x="1911" y="109"/>
                  <a:pt x="1911" y="109"/>
                  <a:pt x="1911" y="109"/>
                </a:cubicBezTo>
                <a:cubicBezTo>
                  <a:pt x="1909" y="111"/>
                  <a:pt x="1909" y="111"/>
                  <a:pt x="1909" y="111"/>
                </a:cubicBezTo>
                <a:cubicBezTo>
                  <a:pt x="1910" y="112"/>
                  <a:pt x="1910" y="112"/>
                  <a:pt x="1910" y="112"/>
                </a:cubicBezTo>
                <a:cubicBezTo>
                  <a:pt x="1911" y="112"/>
                  <a:pt x="1911" y="112"/>
                  <a:pt x="1911" y="112"/>
                </a:cubicBezTo>
                <a:cubicBezTo>
                  <a:pt x="1912" y="112"/>
                  <a:pt x="1912" y="112"/>
                  <a:pt x="1912" y="112"/>
                </a:cubicBezTo>
                <a:cubicBezTo>
                  <a:pt x="1914" y="113"/>
                  <a:pt x="1914" y="113"/>
                  <a:pt x="1914" y="113"/>
                </a:cubicBezTo>
                <a:cubicBezTo>
                  <a:pt x="1914" y="114"/>
                  <a:pt x="1914" y="114"/>
                  <a:pt x="1914" y="114"/>
                </a:cubicBezTo>
                <a:cubicBezTo>
                  <a:pt x="1915" y="115"/>
                  <a:pt x="1915" y="115"/>
                  <a:pt x="1915" y="115"/>
                </a:cubicBezTo>
                <a:cubicBezTo>
                  <a:pt x="1917" y="117"/>
                  <a:pt x="1917" y="117"/>
                  <a:pt x="1917" y="117"/>
                </a:cubicBezTo>
                <a:cubicBezTo>
                  <a:pt x="1918" y="117"/>
                  <a:pt x="1918" y="117"/>
                  <a:pt x="1918" y="117"/>
                </a:cubicBezTo>
                <a:cubicBezTo>
                  <a:pt x="1918" y="116"/>
                  <a:pt x="1918" y="116"/>
                  <a:pt x="1918" y="116"/>
                </a:cubicBezTo>
                <a:cubicBezTo>
                  <a:pt x="1917" y="115"/>
                  <a:pt x="1917" y="115"/>
                  <a:pt x="1917" y="115"/>
                </a:cubicBezTo>
                <a:cubicBezTo>
                  <a:pt x="1918" y="113"/>
                  <a:pt x="1918" y="113"/>
                  <a:pt x="1918" y="113"/>
                </a:cubicBezTo>
                <a:lnTo>
                  <a:pt x="1917" y="112"/>
                </a:lnTo>
                <a:close/>
                <a:moveTo>
                  <a:pt x="1855" y="210"/>
                </a:moveTo>
                <a:cubicBezTo>
                  <a:pt x="1854" y="209"/>
                  <a:pt x="1854" y="209"/>
                  <a:pt x="1854" y="209"/>
                </a:cubicBezTo>
                <a:cubicBezTo>
                  <a:pt x="1853" y="207"/>
                  <a:pt x="1853" y="207"/>
                  <a:pt x="1853" y="207"/>
                </a:cubicBezTo>
                <a:cubicBezTo>
                  <a:pt x="1852" y="208"/>
                  <a:pt x="1852" y="208"/>
                  <a:pt x="1852" y="208"/>
                </a:cubicBezTo>
                <a:cubicBezTo>
                  <a:pt x="1852" y="209"/>
                  <a:pt x="1852" y="209"/>
                  <a:pt x="1852" y="209"/>
                </a:cubicBezTo>
                <a:cubicBezTo>
                  <a:pt x="1854" y="210"/>
                  <a:pt x="1854" y="210"/>
                  <a:pt x="1854" y="210"/>
                </a:cubicBezTo>
                <a:lnTo>
                  <a:pt x="1855" y="210"/>
                </a:lnTo>
                <a:close/>
                <a:moveTo>
                  <a:pt x="1696" y="131"/>
                </a:moveTo>
                <a:cubicBezTo>
                  <a:pt x="1694" y="131"/>
                  <a:pt x="1694" y="131"/>
                  <a:pt x="1694" y="131"/>
                </a:cubicBezTo>
                <a:cubicBezTo>
                  <a:pt x="1694" y="133"/>
                  <a:pt x="1694" y="133"/>
                  <a:pt x="1694" y="133"/>
                </a:cubicBezTo>
                <a:cubicBezTo>
                  <a:pt x="1695" y="133"/>
                  <a:pt x="1695" y="133"/>
                  <a:pt x="1695" y="133"/>
                </a:cubicBezTo>
                <a:lnTo>
                  <a:pt x="1696" y="131"/>
                </a:lnTo>
                <a:close/>
                <a:moveTo>
                  <a:pt x="1801" y="239"/>
                </a:moveTo>
                <a:cubicBezTo>
                  <a:pt x="1799" y="239"/>
                  <a:pt x="1799" y="239"/>
                  <a:pt x="1799" y="239"/>
                </a:cubicBezTo>
                <a:cubicBezTo>
                  <a:pt x="1798" y="241"/>
                  <a:pt x="1798" y="241"/>
                  <a:pt x="1798" y="241"/>
                </a:cubicBezTo>
                <a:cubicBezTo>
                  <a:pt x="1798" y="242"/>
                  <a:pt x="1798" y="242"/>
                  <a:pt x="1798" y="242"/>
                </a:cubicBezTo>
                <a:cubicBezTo>
                  <a:pt x="1800" y="243"/>
                  <a:pt x="1800" y="243"/>
                  <a:pt x="1800" y="243"/>
                </a:cubicBezTo>
                <a:cubicBezTo>
                  <a:pt x="1800" y="244"/>
                  <a:pt x="1800" y="244"/>
                  <a:pt x="1800" y="244"/>
                </a:cubicBezTo>
                <a:cubicBezTo>
                  <a:pt x="1801" y="244"/>
                  <a:pt x="1801" y="244"/>
                  <a:pt x="1801" y="244"/>
                </a:cubicBezTo>
                <a:cubicBezTo>
                  <a:pt x="1801" y="243"/>
                  <a:pt x="1801" y="243"/>
                  <a:pt x="1801" y="243"/>
                </a:cubicBezTo>
                <a:cubicBezTo>
                  <a:pt x="1800" y="242"/>
                  <a:pt x="1800" y="242"/>
                  <a:pt x="1800" y="242"/>
                </a:cubicBezTo>
                <a:cubicBezTo>
                  <a:pt x="1801" y="241"/>
                  <a:pt x="1801" y="241"/>
                  <a:pt x="1801" y="241"/>
                </a:cubicBezTo>
                <a:lnTo>
                  <a:pt x="1801" y="239"/>
                </a:lnTo>
                <a:close/>
                <a:moveTo>
                  <a:pt x="1690" y="137"/>
                </a:moveTo>
                <a:cubicBezTo>
                  <a:pt x="1691" y="136"/>
                  <a:pt x="1691" y="136"/>
                  <a:pt x="1691" y="136"/>
                </a:cubicBezTo>
                <a:cubicBezTo>
                  <a:pt x="1690" y="135"/>
                  <a:pt x="1690" y="135"/>
                  <a:pt x="1690" y="135"/>
                </a:cubicBezTo>
                <a:cubicBezTo>
                  <a:pt x="1688" y="135"/>
                  <a:pt x="1688" y="135"/>
                  <a:pt x="1688" y="135"/>
                </a:cubicBezTo>
                <a:cubicBezTo>
                  <a:pt x="1689" y="137"/>
                  <a:pt x="1689" y="137"/>
                  <a:pt x="1689" y="137"/>
                </a:cubicBezTo>
                <a:lnTo>
                  <a:pt x="1690" y="137"/>
                </a:lnTo>
                <a:close/>
                <a:moveTo>
                  <a:pt x="1687" y="144"/>
                </a:moveTo>
                <a:cubicBezTo>
                  <a:pt x="1690" y="143"/>
                  <a:pt x="1690" y="143"/>
                  <a:pt x="1690" y="143"/>
                </a:cubicBezTo>
                <a:cubicBezTo>
                  <a:pt x="1690" y="141"/>
                  <a:pt x="1690" y="141"/>
                  <a:pt x="1690" y="141"/>
                </a:cubicBezTo>
                <a:cubicBezTo>
                  <a:pt x="1688" y="140"/>
                  <a:pt x="1688" y="140"/>
                  <a:pt x="1688" y="140"/>
                </a:cubicBezTo>
                <a:cubicBezTo>
                  <a:pt x="1688" y="140"/>
                  <a:pt x="1685" y="141"/>
                  <a:pt x="1685" y="141"/>
                </a:cubicBezTo>
                <a:cubicBezTo>
                  <a:pt x="1687" y="142"/>
                  <a:pt x="1687" y="142"/>
                  <a:pt x="1687" y="142"/>
                </a:cubicBezTo>
                <a:lnTo>
                  <a:pt x="1687" y="144"/>
                </a:lnTo>
                <a:close/>
                <a:moveTo>
                  <a:pt x="1702" y="136"/>
                </a:moveTo>
                <a:cubicBezTo>
                  <a:pt x="1704" y="135"/>
                  <a:pt x="1704" y="135"/>
                  <a:pt x="1704" y="135"/>
                </a:cubicBezTo>
                <a:cubicBezTo>
                  <a:pt x="1705" y="133"/>
                  <a:pt x="1705" y="133"/>
                  <a:pt x="1705" y="133"/>
                </a:cubicBezTo>
                <a:cubicBezTo>
                  <a:pt x="1703" y="133"/>
                  <a:pt x="1703" y="133"/>
                  <a:pt x="1703" y="133"/>
                </a:cubicBezTo>
                <a:cubicBezTo>
                  <a:pt x="1704" y="131"/>
                  <a:pt x="1704" y="131"/>
                  <a:pt x="1704" y="131"/>
                </a:cubicBezTo>
                <a:cubicBezTo>
                  <a:pt x="1703" y="131"/>
                  <a:pt x="1703" y="131"/>
                  <a:pt x="1703" y="131"/>
                </a:cubicBezTo>
                <a:cubicBezTo>
                  <a:pt x="1701" y="130"/>
                  <a:pt x="1701" y="130"/>
                  <a:pt x="1701" y="130"/>
                </a:cubicBezTo>
                <a:cubicBezTo>
                  <a:pt x="1701" y="132"/>
                  <a:pt x="1701" y="132"/>
                  <a:pt x="1701" y="132"/>
                </a:cubicBezTo>
                <a:cubicBezTo>
                  <a:pt x="1700" y="133"/>
                  <a:pt x="1700" y="133"/>
                  <a:pt x="1700" y="133"/>
                </a:cubicBezTo>
                <a:cubicBezTo>
                  <a:pt x="1699" y="132"/>
                  <a:pt x="1699" y="132"/>
                  <a:pt x="1699" y="132"/>
                </a:cubicBezTo>
                <a:cubicBezTo>
                  <a:pt x="1698" y="133"/>
                  <a:pt x="1698" y="133"/>
                  <a:pt x="1698" y="133"/>
                </a:cubicBezTo>
                <a:cubicBezTo>
                  <a:pt x="1698" y="134"/>
                  <a:pt x="1698" y="134"/>
                  <a:pt x="1698" y="134"/>
                </a:cubicBezTo>
                <a:cubicBezTo>
                  <a:pt x="1700" y="134"/>
                  <a:pt x="1700" y="134"/>
                  <a:pt x="1700" y="134"/>
                </a:cubicBezTo>
                <a:lnTo>
                  <a:pt x="1702" y="136"/>
                </a:lnTo>
                <a:close/>
                <a:moveTo>
                  <a:pt x="1945" y="157"/>
                </a:moveTo>
                <a:cubicBezTo>
                  <a:pt x="1944" y="156"/>
                  <a:pt x="1944" y="156"/>
                  <a:pt x="1944" y="156"/>
                </a:cubicBezTo>
                <a:cubicBezTo>
                  <a:pt x="1943" y="157"/>
                  <a:pt x="1943" y="157"/>
                  <a:pt x="1943" y="157"/>
                </a:cubicBezTo>
                <a:cubicBezTo>
                  <a:pt x="1943" y="158"/>
                  <a:pt x="1943" y="158"/>
                  <a:pt x="1943" y="158"/>
                </a:cubicBezTo>
                <a:cubicBezTo>
                  <a:pt x="1944" y="158"/>
                  <a:pt x="1944" y="158"/>
                  <a:pt x="1944" y="158"/>
                </a:cubicBezTo>
                <a:lnTo>
                  <a:pt x="1945" y="157"/>
                </a:lnTo>
                <a:close/>
                <a:moveTo>
                  <a:pt x="1942" y="168"/>
                </a:moveTo>
                <a:cubicBezTo>
                  <a:pt x="1942" y="169"/>
                  <a:pt x="1942" y="169"/>
                  <a:pt x="1942" y="169"/>
                </a:cubicBezTo>
                <a:cubicBezTo>
                  <a:pt x="1942" y="170"/>
                  <a:pt x="1942" y="170"/>
                  <a:pt x="1942" y="170"/>
                </a:cubicBezTo>
                <a:cubicBezTo>
                  <a:pt x="1944" y="168"/>
                  <a:pt x="1944" y="168"/>
                  <a:pt x="1944" y="168"/>
                </a:cubicBezTo>
                <a:cubicBezTo>
                  <a:pt x="1944" y="167"/>
                  <a:pt x="1944" y="167"/>
                  <a:pt x="1944" y="167"/>
                </a:cubicBezTo>
                <a:cubicBezTo>
                  <a:pt x="1942" y="167"/>
                  <a:pt x="1942" y="167"/>
                  <a:pt x="1942" y="167"/>
                </a:cubicBezTo>
                <a:lnTo>
                  <a:pt x="1942" y="168"/>
                </a:lnTo>
                <a:close/>
                <a:moveTo>
                  <a:pt x="1947" y="156"/>
                </a:moveTo>
                <a:cubicBezTo>
                  <a:pt x="1946" y="157"/>
                  <a:pt x="1946" y="157"/>
                  <a:pt x="1946" y="157"/>
                </a:cubicBezTo>
                <a:cubicBezTo>
                  <a:pt x="1947" y="157"/>
                  <a:pt x="1947" y="157"/>
                  <a:pt x="1947" y="157"/>
                </a:cubicBezTo>
                <a:cubicBezTo>
                  <a:pt x="1948" y="158"/>
                  <a:pt x="1948" y="158"/>
                  <a:pt x="1948" y="158"/>
                </a:cubicBezTo>
                <a:cubicBezTo>
                  <a:pt x="1950" y="159"/>
                  <a:pt x="1950" y="159"/>
                  <a:pt x="1950" y="159"/>
                </a:cubicBezTo>
                <a:cubicBezTo>
                  <a:pt x="1949" y="157"/>
                  <a:pt x="1949" y="157"/>
                  <a:pt x="1949" y="157"/>
                </a:cubicBezTo>
                <a:lnTo>
                  <a:pt x="1947" y="156"/>
                </a:lnTo>
                <a:close/>
                <a:moveTo>
                  <a:pt x="1899" y="98"/>
                </a:moveTo>
                <a:cubicBezTo>
                  <a:pt x="1898" y="101"/>
                  <a:pt x="1898" y="101"/>
                  <a:pt x="1898" y="101"/>
                </a:cubicBezTo>
                <a:cubicBezTo>
                  <a:pt x="1899" y="103"/>
                  <a:pt x="1899" y="103"/>
                  <a:pt x="1899" y="103"/>
                </a:cubicBezTo>
                <a:cubicBezTo>
                  <a:pt x="1902" y="105"/>
                  <a:pt x="1902" y="105"/>
                  <a:pt x="1902" y="105"/>
                </a:cubicBezTo>
                <a:cubicBezTo>
                  <a:pt x="1902" y="106"/>
                  <a:pt x="1902" y="106"/>
                  <a:pt x="1902" y="106"/>
                </a:cubicBezTo>
                <a:cubicBezTo>
                  <a:pt x="1904" y="108"/>
                  <a:pt x="1904" y="108"/>
                  <a:pt x="1904" y="108"/>
                </a:cubicBezTo>
                <a:cubicBezTo>
                  <a:pt x="1906" y="109"/>
                  <a:pt x="1906" y="109"/>
                  <a:pt x="1906" y="109"/>
                </a:cubicBezTo>
                <a:cubicBezTo>
                  <a:pt x="1907" y="108"/>
                  <a:pt x="1907" y="108"/>
                  <a:pt x="1907" y="108"/>
                </a:cubicBezTo>
                <a:cubicBezTo>
                  <a:pt x="1909" y="108"/>
                  <a:pt x="1909" y="108"/>
                  <a:pt x="1909" y="108"/>
                </a:cubicBezTo>
                <a:cubicBezTo>
                  <a:pt x="1910" y="105"/>
                  <a:pt x="1910" y="105"/>
                  <a:pt x="1910" y="105"/>
                </a:cubicBezTo>
                <a:cubicBezTo>
                  <a:pt x="1910" y="103"/>
                  <a:pt x="1910" y="103"/>
                  <a:pt x="1910" y="103"/>
                </a:cubicBezTo>
                <a:cubicBezTo>
                  <a:pt x="1910" y="101"/>
                  <a:pt x="1910" y="101"/>
                  <a:pt x="1910" y="101"/>
                </a:cubicBezTo>
                <a:cubicBezTo>
                  <a:pt x="1911" y="99"/>
                  <a:pt x="1911" y="99"/>
                  <a:pt x="1911" y="99"/>
                </a:cubicBezTo>
                <a:cubicBezTo>
                  <a:pt x="1911" y="101"/>
                  <a:pt x="1911" y="101"/>
                  <a:pt x="1911" y="101"/>
                </a:cubicBezTo>
                <a:cubicBezTo>
                  <a:pt x="1910" y="103"/>
                  <a:pt x="1910" y="103"/>
                  <a:pt x="1910" y="103"/>
                </a:cubicBezTo>
                <a:cubicBezTo>
                  <a:pt x="1911" y="104"/>
                  <a:pt x="1911" y="104"/>
                  <a:pt x="1911" y="104"/>
                </a:cubicBezTo>
                <a:cubicBezTo>
                  <a:pt x="1912" y="107"/>
                  <a:pt x="1912" y="107"/>
                  <a:pt x="1912" y="107"/>
                </a:cubicBezTo>
                <a:cubicBezTo>
                  <a:pt x="1913" y="107"/>
                  <a:pt x="1913" y="107"/>
                  <a:pt x="1913" y="107"/>
                </a:cubicBezTo>
                <a:cubicBezTo>
                  <a:pt x="1915" y="106"/>
                  <a:pt x="1915" y="106"/>
                  <a:pt x="1915" y="106"/>
                </a:cubicBezTo>
                <a:cubicBezTo>
                  <a:pt x="1915" y="105"/>
                  <a:pt x="1915" y="105"/>
                  <a:pt x="1915" y="105"/>
                </a:cubicBezTo>
                <a:cubicBezTo>
                  <a:pt x="1916" y="103"/>
                  <a:pt x="1916" y="103"/>
                  <a:pt x="1916" y="103"/>
                </a:cubicBezTo>
                <a:cubicBezTo>
                  <a:pt x="1916" y="104"/>
                  <a:pt x="1916" y="104"/>
                  <a:pt x="1916" y="104"/>
                </a:cubicBezTo>
                <a:cubicBezTo>
                  <a:pt x="1916" y="105"/>
                  <a:pt x="1916" y="105"/>
                  <a:pt x="1916" y="105"/>
                </a:cubicBezTo>
                <a:cubicBezTo>
                  <a:pt x="1916" y="106"/>
                  <a:pt x="1916" y="106"/>
                  <a:pt x="1916" y="106"/>
                </a:cubicBezTo>
                <a:cubicBezTo>
                  <a:pt x="1918" y="109"/>
                  <a:pt x="1918" y="109"/>
                  <a:pt x="1918" y="109"/>
                </a:cubicBezTo>
                <a:cubicBezTo>
                  <a:pt x="1920" y="111"/>
                  <a:pt x="1920" y="111"/>
                  <a:pt x="1920" y="111"/>
                </a:cubicBezTo>
                <a:cubicBezTo>
                  <a:pt x="1922" y="111"/>
                  <a:pt x="1922" y="111"/>
                  <a:pt x="1922" y="111"/>
                </a:cubicBezTo>
                <a:cubicBezTo>
                  <a:pt x="1923" y="110"/>
                  <a:pt x="1923" y="110"/>
                  <a:pt x="1923" y="110"/>
                </a:cubicBezTo>
                <a:cubicBezTo>
                  <a:pt x="1924" y="110"/>
                  <a:pt x="1924" y="110"/>
                  <a:pt x="1924" y="110"/>
                </a:cubicBezTo>
                <a:cubicBezTo>
                  <a:pt x="1924" y="111"/>
                  <a:pt x="1924" y="111"/>
                  <a:pt x="1924" y="111"/>
                </a:cubicBezTo>
                <a:cubicBezTo>
                  <a:pt x="1923" y="111"/>
                  <a:pt x="1923" y="111"/>
                  <a:pt x="1923" y="111"/>
                </a:cubicBezTo>
                <a:cubicBezTo>
                  <a:pt x="1922" y="112"/>
                  <a:pt x="1922" y="112"/>
                  <a:pt x="1922" y="112"/>
                </a:cubicBezTo>
                <a:cubicBezTo>
                  <a:pt x="1921" y="113"/>
                  <a:pt x="1921" y="113"/>
                  <a:pt x="1921" y="113"/>
                </a:cubicBezTo>
                <a:cubicBezTo>
                  <a:pt x="1920" y="114"/>
                  <a:pt x="1920" y="114"/>
                  <a:pt x="1920" y="114"/>
                </a:cubicBezTo>
                <a:cubicBezTo>
                  <a:pt x="1922" y="116"/>
                  <a:pt x="1922" y="116"/>
                  <a:pt x="1922" y="116"/>
                </a:cubicBezTo>
                <a:cubicBezTo>
                  <a:pt x="1922" y="117"/>
                  <a:pt x="1922" y="117"/>
                  <a:pt x="1922" y="117"/>
                </a:cubicBezTo>
                <a:cubicBezTo>
                  <a:pt x="1921" y="118"/>
                  <a:pt x="1921" y="118"/>
                  <a:pt x="1921" y="118"/>
                </a:cubicBezTo>
                <a:cubicBezTo>
                  <a:pt x="1920" y="117"/>
                  <a:pt x="1920" y="117"/>
                  <a:pt x="1920" y="117"/>
                </a:cubicBezTo>
                <a:cubicBezTo>
                  <a:pt x="1920" y="118"/>
                  <a:pt x="1920" y="118"/>
                  <a:pt x="1920" y="118"/>
                </a:cubicBezTo>
                <a:cubicBezTo>
                  <a:pt x="1921" y="119"/>
                  <a:pt x="1921" y="119"/>
                  <a:pt x="1921" y="119"/>
                </a:cubicBezTo>
                <a:cubicBezTo>
                  <a:pt x="1924" y="120"/>
                  <a:pt x="1924" y="120"/>
                  <a:pt x="1924" y="120"/>
                </a:cubicBezTo>
                <a:cubicBezTo>
                  <a:pt x="1926" y="121"/>
                  <a:pt x="1926" y="121"/>
                  <a:pt x="1926" y="121"/>
                </a:cubicBezTo>
                <a:cubicBezTo>
                  <a:pt x="1928" y="120"/>
                  <a:pt x="1928" y="120"/>
                  <a:pt x="1928" y="120"/>
                </a:cubicBezTo>
                <a:cubicBezTo>
                  <a:pt x="1931" y="121"/>
                  <a:pt x="1931" y="121"/>
                  <a:pt x="1931" y="121"/>
                </a:cubicBezTo>
                <a:cubicBezTo>
                  <a:pt x="1930" y="119"/>
                  <a:pt x="1930" y="119"/>
                  <a:pt x="1930" y="119"/>
                </a:cubicBezTo>
                <a:cubicBezTo>
                  <a:pt x="1932" y="120"/>
                  <a:pt x="1932" y="120"/>
                  <a:pt x="1932" y="120"/>
                </a:cubicBezTo>
                <a:cubicBezTo>
                  <a:pt x="1932" y="121"/>
                  <a:pt x="1932" y="121"/>
                  <a:pt x="1932" y="121"/>
                </a:cubicBezTo>
                <a:cubicBezTo>
                  <a:pt x="1933" y="124"/>
                  <a:pt x="1933" y="124"/>
                  <a:pt x="1933" y="124"/>
                </a:cubicBezTo>
                <a:cubicBezTo>
                  <a:pt x="1935" y="125"/>
                  <a:pt x="1935" y="125"/>
                  <a:pt x="1935" y="125"/>
                </a:cubicBezTo>
                <a:cubicBezTo>
                  <a:pt x="1936" y="125"/>
                  <a:pt x="1936" y="125"/>
                  <a:pt x="1936" y="125"/>
                </a:cubicBezTo>
                <a:cubicBezTo>
                  <a:pt x="1937" y="123"/>
                  <a:pt x="1937" y="123"/>
                  <a:pt x="1937" y="123"/>
                </a:cubicBezTo>
                <a:cubicBezTo>
                  <a:pt x="1937" y="121"/>
                  <a:pt x="1937" y="121"/>
                  <a:pt x="1937" y="121"/>
                </a:cubicBezTo>
                <a:cubicBezTo>
                  <a:pt x="1934" y="120"/>
                  <a:pt x="1934" y="120"/>
                  <a:pt x="1934" y="120"/>
                </a:cubicBezTo>
                <a:cubicBezTo>
                  <a:pt x="1933" y="119"/>
                  <a:pt x="1933" y="119"/>
                  <a:pt x="1933" y="119"/>
                </a:cubicBezTo>
                <a:cubicBezTo>
                  <a:pt x="1934" y="119"/>
                  <a:pt x="1934" y="119"/>
                  <a:pt x="1934" y="119"/>
                </a:cubicBezTo>
                <a:cubicBezTo>
                  <a:pt x="1936" y="119"/>
                  <a:pt x="1936" y="119"/>
                  <a:pt x="1936" y="119"/>
                </a:cubicBezTo>
                <a:cubicBezTo>
                  <a:pt x="1938" y="120"/>
                  <a:pt x="1938" y="120"/>
                  <a:pt x="1938" y="120"/>
                </a:cubicBezTo>
                <a:cubicBezTo>
                  <a:pt x="1939" y="122"/>
                  <a:pt x="1939" y="122"/>
                  <a:pt x="1939" y="122"/>
                </a:cubicBezTo>
                <a:cubicBezTo>
                  <a:pt x="1940" y="124"/>
                  <a:pt x="1940" y="124"/>
                  <a:pt x="1940" y="124"/>
                </a:cubicBezTo>
                <a:cubicBezTo>
                  <a:pt x="1940" y="124"/>
                  <a:pt x="1940" y="124"/>
                  <a:pt x="1940" y="124"/>
                </a:cubicBezTo>
                <a:cubicBezTo>
                  <a:pt x="1941" y="122"/>
                  <a:pt x="1941" y="122"/>
                  <a:pt x="1941" y="122"/>
                </a:cubicBezTo>
                <a:cubicBezTo>
                  <a:pt x="1942" y="122"/>
                  <a:pt x="1942" y="122"/>
                  <a:pt x="1942" y="122"/>
                </a:cubicBezTo>
                <a:cubicBezTo>
                  <a:pt x="1943" y="123"/>
                  <a:pt x="1943" y="123"/>
                  <a:pt x="1943" y="123"/>
                </a:cubicBezTo>
                <a:cubicBezTo>
                  <a:pt x="1945" y="125"/>
                  <a:pt x="1945" y="125"/>
                  <a:pt x="1945" y="125"/>
                </a:cubicBezTo>
                <a:cubicBezTo>
                  <a:pt x="1946" y="124"/>
                  <a:pt x="1946" y="124"/>
                  <a:pt x="1946" y="124"/>
                </a:cubicBezTo>
                <a:cubicBezTo>
                  <a:pt x="1946" y="123"/>
                  <a:pt x="1946" y="123"/>
                  <a:pt x="1946" y="123"/>
                </a:cubicBezTo>
                <a:cubicBezTo>
                  <a:pt x="1945" y="122"/>
                  <a:pt x="1945" y="122"/>
                  <a:pt x="1945" y="122"/>
                </a:cubicBezTo>
                <a:cubicBezTo>
                  <a:pt x="1945" y="121"/>
                  <a:pt x="1945" y="121"/>
                  <a:pt x="1945" y="121"/>
                </a:cubicBezTo>
                <a:cubicBezTo>
                  <a:pt x="1946" y="121"/>
                  <a:pt x="1946" y="121"/>
                  <a:pt x="1946" y="121"/>
                </a:cubicBezTo>
                <a:cubicBezTo>
                  <a:pt x="1948" y="122"/>
                  <a:pt x="1948" y="122"/>
                  <a:pt x="1948" y="122"/>
                </a:cubicBezTo>
                <a:cubicBezTo>
                  <a:pt x="1948" y="123"/>
                  <a:pt x="1948" y="123"/>
                  <a:pt x="1948" y="123"/>
                </a:cubicBezTo>
                <a:cubicBezTo>
                  <a:pt x="1949" y="123"/>
                  <a:pt x="1949" y="123"/>
                  <a:pt x="1949" y="123"/>
                </a:cubicBezTo>
                <a:cubicBezTo>
                  <a:pt x="1950" y="125"/>
                  <a:pt x="1950" y="125"/>
                  <a:pt x="1950" y="125"/>
                </a:cubicBezTo>
                <a:cubicBezTo>
                  <a:pt x="1951" y="125"/>
                  <a:pt x="1951" y="125"/>
                  <a:pt x="1951" y="125"/>
                </a:cubicBezTo>
                <a:cubicBezTo>
                  <a:pt x="1952" y="125"/>
                  <a:pt x="1952" y="125"/>
                  <a:pt x="1952" y="125"/>
                </a:cubicBezTo>
                <a:cubicBezTo>
                  <a:pt x="1952" y="123"/>
                  <a:pt x="1952" y="123"/>
                  <a:pt x="1952" y="123"/>
                </a:cubicBezTo>
                <a:cubicBezTo>
                  <a:pt x="1951" y="122"/>
                  <a:pt x="1951" y="122"/>
                  <a:pt x="1951" y="122"/>
                </a:cubicBezTo>
                <a:cubicBezTo>
                  <a:pt x="1950" y="122"/>
                  <a:pt x="1950" y="122"/>
                  <a:pt x="1950" y="122"/>
                </a:cubicBezTo>
                <a:cubicBezTo>
                  <a:pt x="1949" y="121"/>
                  <a:pt x="1949" y="121"/>
                  <a:pt x="1949" y="121"/>
                </a:cubicBezTo>
                <a:cubicBezTo>
                  <a:pt x="1949" y="120"/>
                  <a:pt x="1949" y="120"/>
                  <a:pt x="1949" y="120"/>
                </a:cubicBezTo>
                <a:cubicBezTo>
                  <a:pt x="1950" y="121"/>
                  <a:pt x="1950" y="121"/>
                  <a:pt x="1950" y="121"/>
                </a:cubicBezTo>
                <a:cubicBezTo>
                  <a:pt x="1951" y="121"/>
                  <a:pt x="1951" y="121"/>
                  <a:pt x="1951" y="121"/>
                </a:cubicBezTo>
                <a:cubicBezTo>
                  <a:pt x="1953" y="119"/>
                  <a:pt x="1953" y="119"/>
                  <a:pt x="1953" y="119"/>
                </a:cubicBezTo>
                <a:cubicBezTo>
                  <a:pt x="1953" y="118"/>
                  <a:pt x="1953" y="118"/>
                  <a:pt x="1953" y="118"/>
                </a:cubicBezTo>
                <a:cubicBezTo>
                  <a:pt x="1953" y="117"/>
                  <a:pt x="1953" y="117"/>
                  <a:pt x="1953" y="117"/>
                </a:cubicBezTo>
                <a:cubicBezTo>
                  <a:pt x="1951" y="115"/>
                  <a:pt x="1951" y="115"/>
                  <a:pt x="1951" y="115"/>
                </a:cubicBezTo>
                <a:cubicBezTo>
                  <a:pt x="1950" y="116"/>
                  <a:pt x="1950" y="116"/>
                  <a:pt x="1950" y="116"/>
                </a:cubicBezTo>
                <a:cubicBezTo>
                  <a:pt x="1948" y="115"/>
                  <a:pt x="1948" y="115"/>
                  <a:pt x="1948" y="115"/>
                </a:cubicBezTo>
                <a:cubicBezTo>
                  <a:pt x="1947" y="113"/>
                  <a:pt x="1947" y="113"/>
                  <a:pt x="1947" y="113"/>
                </a:cubicBezTo>
                <a:cubicBezTo>
                  <a:pt x="1945" y="113"/>
                  <a:pt x="1945" y="113"/>
                  <a:pt x="1945" y="113"/>
                </a:cubicBezTo>
                <a:cubicBezTo>
                  <a:pt x="1941" y="110"/>
                  <a:pt x="1941" y="110"/>
                  <a:pt x="1941" y="110"/>
                </a:cubicBezTo>
                <a:cubicBezTo>
                  <a:pt x="1940" y="108"/>
                  <a:pt x="1940" y="108"/>
                  <a:pt x="1940" y="108"/>
                </a:cubicBezTo>
                <a:cubicBezTo>
                  <a:pt x="1938" y="108"/>
                  <a:pt x="1938" y="108"/>
                  <a:pt x="1938" y="108"/>
                </a:cubicBezTo>
                <a:cubicBezTo>
                  <a:pt x="1936" y="103"/>
                  <a:pt x="1936" y="103"/>
                  <a:pt x="1936" y="103"/>
                </a:cubicBezTo>
                <a:cubicBezTo>
                  <a:pt x="1932" y="99"/>
                  <a:pt x="1932" y="99"/>
                  <a:pt x="1932" y="99"/>
                </a:cubicBezTo>
                <a:cubicBezTo>
                  <a:pt x="1931" y="95"/>
                  <a:pt x="1931" y="95"/>
                  <a:pt x="1931" y="95"/>
                </a:cubicBezTo>
                <a:cubicBezTo>
                  <a:pt x="1929" y="92"/>
                  <a:pt x="1929" y="92"/>
                  <a:pt x="1929" y="92"/>
                </a:cubicBezTo>
                <a:cubicBezTo>
                  <a:pt x="1929" y="87"/>
                  <a:pt x="1929" y="87"/>
                  <a:pt x="1929" y="87"/>
                </a:cubicBezTo>
                <a:cubicBezTo>
                  <a:pt x="1927" y="84"/>
                  <a:pt x="1927" y="84"/>
                  <a:pt x="1927" y="84"/>
                </a:cubicBezTo>
                <a:cubicBezTo>
                  <a:pt x="1926" y="78"/>
                  <a:pt x="1926" y="78"/>
                  <a:pt x="1926" y="78"/>
                </a:cubicBezTo>
                <a:cubicBezTo>
                  <a:pt x="1926" y="77"/>
                  <a:pt x="1926" y="77"/>
                  <a:pt x="1926" y="77"/>
                </a:cubicBezTo>
                <a:cubicBezTo>
                  <a:pt x="1927" y="75"/>
                  <a:pt x="1927" y="75"/>
                  <a:pt x="1927" y="75"/>
                </a:cubicBezTo>
                <a:cubicBezTo>
                  <a:pt x="1927" y="74"/>
                  <a:pt x="1927" y="74"/>
                  <a:pt x="1927" y="74"/>
                </a:cubicBezTo>
                <a:cubicBezTo>
                  <a:pt x="1925" y="74"/>
                  <a:pt x="1925" y="74"/>
                  <a:pt x="1925" y="74"/>
                </a:cubicBezTo>
                <a:cubicBezTo>
                  <a:pt x="1923" y="74"/>
                  <a:pt x="1923" y="74"/>
                  <a:pt x="1923" y="74"/>
                </a:cubicBezTo>
                <a:cubicBezTo>
                  <a:pt x="1922" y="73"/>
                  <a:pt x="1922" y="73"/>
                  <a:pt x="1922" y="73"/>
                </a:cubicBezTo>
                <a:cubicBezTo>
                  <a:pt x="1923" y="73"/>
                  <a:pt x="1923" y="73"/>
                  <a:pt x="1923" y="73"/>
                </a:cubicBezTo>
                <a:cubicBezTo>
                  <a:pt x="1925" y="73"/>
                  <a:pt x="1925" y="73"/>
                  <a:pt x="1925" y="73"/>
                </a:cubicBezTo>
                <a:cubicBezTo>
                  <a:pt x="1928" y="72"/>
                  <a:pt x="1928" y="72"/>
                  <a:pt x="1928" y="72"/>
                </a:cubicBezTo>
                <a:cubicBezTo>
                  <a:pt x="1928" y="68"/>
                  <a:pt x="1928" y="68"/>
                  <a:pt x="1928" y="68"/>
                </a:cubicBezTo>
                <a:cubicBezTo>
                  <a:pt x="1928" y="66"/>
                  <a:pt x="1928" y="66"/>
                  <a:pt x="1928" y="66"/>
                </a:cubicBezTo>
                <a:cubicBezTo>
                  <a:pt x="1926" y="66"/>
                  <a:pt x="1926" y="66"/>
                  <a:pt x="1926" y="66"/>
                </a:cubicBezTo>
                <a:cubicBezTo>
                  <a:pt x="1924" y="67"/>
                  <a:pt x="1924" y="67"/>
                  <a:pt x="1924" y="67"/>
                </a:cubicBezTo>
                <a:cubicBezTo>
                  <a:pt x="1925" y="66"/>
                  <a:pt x="1925" y="66"/>
                  <a:pt x="1925" y="66"/>
                </a:cubicBezTo>
                <a:cubicBezTo>
                  <a:pt x="1927" y="65"/>
                  <a:pt x="1927" y="65"/>
                  <a:pt x="1927" y="65"/>
                </a:cubicBezTo>
                <a:cubicBezTo>
                  <a:pt x="1928" y="64"/>
                  <a:pt x="1928" y="64"/>
                  <a:pt x="1928" y="64"/>
                </a:cubicBezTo>
                <a:cubicBezTo>
                  <a:pt x="1927" y="63"/>
                  <a:pt x="1927" y="63"/>
                  <a:pt x="1927" y="63"/>
                </a:cubicBezTo>
                <a:cubicBezTo>
                  <a:pt x="1923" y="63"/>
                  <a:pt x="1923" y="63"/>
                  <a:pt x="1923" y="63"/>
                </a:cubicBezTo>
                <a:cubicBezTo>
                  <a:pt x="1918" y="62"/>
                  <a:pt x="1918" y="62"/>
                  <a:pt x="1918" y="62"/>
                </a:cubicBezTo>
                <a:cubicBezTo>
                  <a:pt x="1917" y="61"/>
                  <a:pt x="1917" y="61"/>
                  <a:pt x="1917" y="61"/>
                </a:cubicBezTo>
                <a:cubicBezTo>
                  <a:pt x="1915" y="61"/>
                  <a:pt x="1915" y="61"/>
                  <a:pt x="1915" y="61"/>
                </a:cubicBezTo>
                <a:cubicBezTo>
                  <a:pt x="1911" y="63"/>
                  <a:pt x="1911" y="63"/>
                  <a:pt x="1911" y="63"/>
                </a:cubicBezTo>
                <a:cubicBezTo>
                  <a:pt x="1908" y="63"/>
                  <a:pt x="1908" y="63"/>
                  <a:pt x="1908" y="63"/>
                </a:cubicBezTo>
                <a:cubicBezTo>
                  <a:pt x="1907" y="64"/>
                  <a:pt x="1907" y="64"/>
                  <a:pt x="1907" y="64"/>
                </a:cubicBezTo>
                <a:cubicBezTo>
                  <a:pt x="1904" y="66"/>
                  <a:pt x="1904" y="66"/>
                  <a:pt x="1904" y="66"/>
                </a:cubicBezTo>
                <a:cubicBezTo>
                  <a:pt x="1904" y="68"/>
                  <a:pt x="1904" y="68"/>
                  <a:pt x="1904" y="68"/>
                </a:cubicBezTo>
                <a:cubicBezTo>
                  <a:pt x="1903" y="70"/>
                  <a:pt x="1903" y="70"/>
                  <a:pt x="1903" y="70"/>
                </a:cubicBezTo>
                <a:cubicBezTo>
                  <a:pt x="1904" y="72"/>
                  <a:pt x="1904" y="72"/>
                  <a:pt x="1904" y="72"/>
                </a:cubicBezTo>
                <a:cubicBezTo>
                  <a:pt x="1905" y="72"/>
                  <a:pt x="1905" y="72"/>
                  <a:pt x="1905" y="72"/>
                </a:cubicBezTo>
                <a:cubicBezTo>
                  <a:pt x="1906" y="73"/>
                  <a:pt x="1906" y="73"/>
                  <a:pt x="1906" y="73"/>
                </a:cubicBezTo>
                <a:cubicBezTo>
                  <a:pt x="1906" y="74"/>
                  <a:pt x="1906" y="74"/>
                  <a:pt x="1906" y="74"/>
                </a:cubicBezTo>
                <a:cubicBezTo>
                  <a:pt x="1904" y="74"/>
                  <a:pt x="1904" y="74"/>
                  <a:pt x="1904" y="74"/>
                </a:cubicBezTo>
                <a:cubicBezTo>
                  <a:pt x="1902" y="74"/>
                  <a:pt x="1902" y="74"/>
                  <a:pt x="1902" y="74"/>
                </a:cubicBezTo>
                <a:cubicBezTo>
                  <a:pt x="1900" y="77"/>
                  <a:pt x="1900" y="77"/>
                  <a:pt x="1900" y="77"/>
                </a:cubicBezTo>
                <a:cubicBezTo>
                  <a:pt x="1900" y="79"/>
                  <a:pt x="1900" y="79"/>
                  <a:pt x="1900" y="79"/>
                </a:cubicBezTo>
                <a:cubicBezTo>
                  <a:pt x="1901" y="81"/>
                  <a:pt x="1901" y="81"/>
                  <a:pt x="1901" y="81"/>
                </a:cubicBezTo>
                <a:cubicBezTo>
                  <a:pt x="1903" y="80"/>
                  <a:pt x="1903" y="80"/>
                  <a:pt x="1903" y="80"/>
                </a:cubicBezTo>
                <a:cubicBezTo>
                  <a:pt x="1905" y="79"/>
                  <a:pt x="1905" y="79"/>
                  <a:pt x="1905" y="79"/>
                </a:cubicBezTo>
                <a:cubicBezTo>
                  <a:pt x="1906" y="80"/>
                  <a:pt x="1906" y="80"/>
                  <a:pt x="1906" y="80"/>
                </a:cubicBezTo>
                <a:cubicBezTo>
                  <a:pt x="1904" y="81"/>
                  <a:pt x="1904" y="81"/>
                  <a:pt x="1904" y="81"/>
                </a:cubicBezTo>
                <a:cubicBezTo>
                  <a:pt x="1903" y="83"/>
                  <a:pt x="1903" y="83"/>
                  <a:pt x="1903" y="83"/>
                </a:cubicBezTo>
                <a:cubicBezTo>
                  <a:pt x="1904" y="83"/>
                  <a:pt x="1904" y="83"/>
                  <a:pt x="1904" y="83"/>
                </a:cubicBezTo>
                <a:cubicBezTo>
                  <a:pt x="1906" y="81"/>
                  <a:pt x="1906" y="81"/>
                  <a:pt x="1906" y="81"/>
                </a:cubicBezTo>
                <a:cubicBezTo>
                  <a:pt x="1907" y="81"/>
                  <a:pt x="1907" y="81"/>
                  <a:pt x="1907" y="81"/>
                </a:cubicBezTo>
                <a:cubicBezTo>
                  <a:pt x="1908" y="82"/>
                  <a:pt x="1908" y="82"/>
                  <a:pt x="1908" y="82"/>
                </a:cubicBezTo>
                <a:cubicBezTo>
                  <a:pt x="1906" y="83"/>
                  <a:pt x="1906" y="83"/>
                  <a:pt x="1906" y="83"/>
                </a:cubicBezTo>
                <a:cubicBezTo>
                  <a:pt x="1906" y="85"/>
                  <a:pt x="1906" y="85"/>
                  <a:pt x="1906" y="85"/>
                </a:cubicBezTo>
                <a:cubicBezTo>
                  <a:pt x="1907" y="86"/>
                  <a:pt x="1907" y="86"/>
                  <a:pt x="1907" y="86"/>
                </a:cubicBezTo>
                <a:cubicBezTo>
                  <a:pt x="1909" y="86"/>
                  <a:pt x="1909" y="86"/>
                  <a:pt x="1909" y="86"/>
                </a:cubicBezTo>
                <a:cubicBezTo>
                  <a:pt x="1908" y="87"/>
                  <a:pt x="1908" y="87"/>
                  <a:pt x="1908" y="87"/>
                </a:cubicBezTo>
                <a:cubicBezTo>
                  <a:pt x="1907" y="87"/>
                  <a:pt x="1907" y="87"/>
                  <a:pt x="1907" y="87"/>
                </a:cubicBezTo>
                <a:cubicBezTo>
                  <a:pt x="1905" y="88"/>
                  <a:pt x="1905" y="88"/>
                  <a:pt x="1905" y="88"/>
                </a:cubicBezTo>
                <a:cubicBezTo>
                  <a:pt x="1905" y="90"/>
                  <a:pt x="1905" y="90"/>
                  <a:pt x="1905" y="90"/>
                </a:cubicBezTo>
                <a:cubicBezTo>
                  <a:pt x="1906" y="92"/>
                  <a:pt x="1906" y="92"/>
                  <a:pt x="1906" y="92"/>
                </a:cubicBezTo>
                <a:cubicBezTo>
                  <a:pt x="1905" y="92"/>
                  <a:pt x="1905" y="92"/>
                  <a:pt x="1905" y="92"/>
                </a:cubicBezTo>
                <a:cubicBezTo>
                  <a:pt x="1904" y="92"/>
                  <a:pt x="1904" y="92"/>
                  <a:pt x="1904" y="92"/>
                </a:cubicBezTo>
                <a:cubicBezTo>
                  <a:pt x="1903" y="92"/>
                  <a:pt x="1903" y="92"/>
                  <a:pt x="1903" y="92"/>
                </a:cubicBezTo>
                <a:cubicBezTo>
                  <a:pt x="1901" y="92"/>
                  <a:pt x="1901" y="92"/>
                  <a:pt x="1901" y="92"/>
                </a:cubicBezTo>
                <a:cubicBezTo>
                  <a:pt x="1900" y="92"/>
                  <a:pt x="1900" y="92"/>
                  <a:pt x="1900" y="92"/>
                </a:cubicBezTo>
                <a:cubicBezTo>
                  <a:pt x="1898" y="94"/>
                  <a:pt x="1898" y="94"/>
                  <a:pt x="1898" y="94"/>
                </a:cubicBezTo>
                <a:cubicBezTo>
                  <a:pt x="1898" y="96"/>
                  <a:pt x="1898" y="96"/>
                  <a:pt x="1898" y="96"/>
                </a:cubicBezTo>
                <a:lnTo>
                  <a:pt x="1899" y="98"/>
                </a:lnTo>
                <a:close/>
                <a:moveTo>
                  <a:pt x="1952" y="157"/>
                </a:moveTo>
                <a:cubicBezTo>
                  <a:pt x="1953" y="158"/>
                  <a:pt x="1953" y="158"/>
                  <a:pt x="1953" y="158"/>
                </a:cubicBezTo>
                <a:cubicBezTo>
                  <a:pt x="1954" y="158"/>
                  <a:pt x="1954" y="158"/>
                  <a:pt x="1954" y="158"/>
                </a:cubicBezTo>
                <a:cubicBezTo>
                  <a:pt x="1955" y="157"/>
                  <a:pt x="1955" y="157"/>
                  <a:pt x="1955" y="157"/>
                </a:cubicBezTo>
                <a:cubicBezTo>
                  <a:pt x="1953" y="157"/>
                  <a:pt x="1953" y="157"/>
                  <a:pt x="1953" y="157"/>
                </a:cubicBezTo>
                <a:lnTo>
                  <a:pt x="1952" y="157"/>
                </a:lnTo>
                <a:close/>
                <a:moveTo>
                  <a:pt x="968" y="126"/>
                </a:moveTo>
                <a:cubicBezTo>
                  <a:pt x="968" y="128"/>
                  <a:pt x="968" y="128"/>
                  <a:pt x="968" y="128"/>
                </a:cubicBezTo>
                <a:cubicBezTo>
                  <a:pt x="968" y="128"/>
                  <a:pt x="968" y="128"/>
                  <a:pt x="968" y="128"/>
                </a:cubicBezTo>
                <a:cubicBezTo>
                  <a:pt x="970" y="128"/>
                  <a:pt x="970" y="128"/>
                  <a:pt x="970" y="128"/>
                </a:cubicBezTo>
                <a:cubicBezTo>
                  <a:pt x="971" y="126"/>
                  <a:pt x="971" y="126"/>
                  <a:pt x="971" y="126"/>
                </a:cubicBezTo>
                <a:cubicBezTo>
                  <a:pt x="971" y="126"/>
                  <a:pt x="971" y="126"/>
                  <a:pt x="971" y="126"/>
                </a:cubicBezTo>
                <a:cubicBezTo>
                  <a:pt x="970" y="126"/>
                  <a:pt x="970" y="126"/>
                  <a:pt x="970" y="126"/>
                </a:cubicBezTo>
                <a:lnTo>
                  <a:pt x="968" y="126"/>
                </a:lnTo>
                <a:close/>
                <a:moveTo>
                  <a:pt x="827" y="254"/>
                </a:moveTo>
                <a:cubicBezTo>
                  <a:pt x="827" y="253"/>
                  <a:pt x="827" y="253"/>
                  <a:pt x="827" y="253"/>
                </a:cubicBezTo>
                <a:cubicBezTo>
                  <a:pt x="827" y="252"/>
                  <a:pt x="827" y="252"/>
                  <a:pt x="827" y="252"/>
                </a:cubicBezTo>
                <a:cubicBezTo>
                  <a:pt x="826" y="251"/>
                  <a:pt x="826" y="251"/>
                  <a:pt x="826" y="251"/>
                </a:cubicBezTo>
                <a:cubicBezTo>
                  <a:pt x="825" y="252"/>
                  <a:pt x="825" y="252"/>
                  <a:pt x="825" y="252"/>
                </a:cubicBezTo>
                <a:cubicBezTo>
                  <a:pt x="824" y="252"/>
                  <a:pt x="824" y="252"/>
                  <a:pt x="824" y="252"/>
                </a:cubicBezTo>
                <a:cubicBezTo>
                  <a:pt x="823" y="250"/>
                  <a:pt x="823" y="250"/>
                  <a:pt x="823" y="250"/>
                </a:cubicBezTo>
                <a:cubicBezTo>
                  <a:pt x="823" y="250"/>
                  <a:pt x="823" y="250"/>
                  <a:pt x="823" y="250"/>
                </a:cubicBezTo>
                <a:cubicBezTo>
                  <a:pt x="822" y="251"/>
                  <a:pt x="822" y="251"/>
                  <a:pt x="822" y="251"/>
                </a:cubicBezTo>
                <a:cubicBezTo>
                  <a:pt x="820" y="253"/>
                  <a:pt x="820" y="253"/>
                  <a:pt x="820" y="253"/>
                </a:cubicBezTo>
                <a:cubicBezTo>
                  <a:pt x="819" y="253"/>
                  <a:pt x="819" y="253"/>
                  <a:pt x="819" y="253"/>
                </a:cubicBezTo>
                <a:cubicBezTo>
                  <a:pt x="818" y="254"/>
                  <a:pt x="818" y="254"/>
                  <a:pt x="818" y="254"/>
                </a:cubicBezTo>
                <a:cubicBezTo>
                  <a:pt x="818" y="256"/>
                  <a:pt x="818" y="256"/>
                  <a:pt x="818" y="256"/>
                </a:cubicBezTo>
                <a:cubicBezTo>
                  <a:pt x="818" y="258"/>
                  <a:pt x="818" y="258"/>
                  <a:pt x="818" y="258"/>
                </a:cubicBezTo>
                <a:cubicBezTo>
                  <a:pt x="817" y="258"/>
                  <a:pt x="817" y="258"/>
                  <a:pt x="817" y="258"/>
                </a:cubicBezTo>
                <a:cubicBezTo>
                  <a:pt x="816" y="260"/>
                  <a:pt x="816" y="260"/>
                  <a:pt x="816" y="260"/>
                </a:cubicBezTo>
                <a:cubicBezTo>
                  <a:pt x="817" y="261"/>
                  <a:pt x="817" y="261"/>
                  <a:pt x="817" y="261"/>
                </a:cubicBezTo>
                <a:cubicBezTo>
                  <a:pt x="816" y="263"/>
                  <a:pt x="816" y="263"/>
                  <a:pt x="816" y="263"/>
                </a:cubicBezTo>
                <a:cubicBezTo>
                  <a:pt x="816" y="263"/>
                  <a:pt x="816" y="263"/>
                  <a:pt x="816" y="263"/>
                </a:cubicBezTo>
                <a:cubicBezTo>
                  <a:pt x="818" y="264"/>
                  <a:pt x="818" y="264"/>
                  <a:pt x="818" y="264"/>
                </a:cubicBezTo>
                <a:cubicBezTo>
                  <a:pt x="818" y="265"/>
                  <a:pt x="818" y="265"/>
                  <a:pt x="818" y="265"/>
                </a:cubicBezTo>
                <a:cubicBezTo>
                  <a:pt x="819" y="265"/>
                  <a:pt x="819" y="265"/>
                  <a:pt x="819" y="265"/>
                </a:cubicBezTo>
                <a:cubicBezTo>
                  <a:pt x="819" y="267"/>
                  <a:pt x="819" y="267"/>
                  <a:pt x="819" y="267"/>
                </a:cubicBezTo>
                <a:cubicBezTo>
                  <a:pt x="820" y="267"/>
                  <a:pt x="820" y="267"/>
                  <a:pt x="820" y="267"/>
                </a:cubicBezTo>
                <a:cubicBezTo>
                  <a:pt x="821" y="266"/>
                  <a:pt x="821" y="266"/>
                  <a:pt x="821" y="266"/>
                </a:cubicBezTo>
                <a:cubicBezTo>
                  <a:pt x="821" y="265"/>
                  <a:pt x="821" y="265"/>
                  <a:pt x="821" y="265"/>
                </a:cubicBezTo>
                <a:cubicBezTo>
                  <a:pt x="822" y="264"/>
                  <a:pt x="822" y="264"/>
                  <a:pt x="822" y="264"/>
                </a:cubicBezTo>
                <a:cubicBezTo>
                  <a:pt x="822" y="263"/>
                  <a:pt x="822" y="263"/>
                  <a:pt x="822" y="263"/>
                </a:cubicBezTo>
                <a:cubicBezTo>
                  <a:pt x="821" y="263"/>
                  <a:pt x="821" y="263"/>
                  <a:pt x="821" y="263"/>
                </a:cubicBezTo>
                <a:cubicBezTo>
                  <a:pt x="822" y="262"/>
                  <a:pt x="822" y="262"/>
                  <a:pt x="822" y="262"/>
                </a:cubicBezTo>
                <a:cubicBezTo>
                  <a:pt x="823" y="261"/>
                  <a:pt x="823" y="261"/>
                  <a:pt x="823" y="261"/>
                </a:cubicBezTo>
                <a:cubicBezTo>
                  <a:pt x="824" y="259"/>
                  <a:pt x="824" y="259"/>
                  <a:pt x="824" y="259"/>
                </a:cubicBezTo>
                <a:cubicBezTo>
                  <a:pt x="825" y="259"/>
                  <a:pt x="825" y="259"/>
                  <a:pt x="825" y="259"/>
                </a:cubicBezTo>
                <a:cubicBezTo>
                  <a:pt x="826" y="258"/>
                  <a:pt x="826" y="258"/>
                  <a:pt x="826" y="258"/>
                </a:cubicBezTo>
                <a:cubicBezTo>
                  <a:pt x="826" y="257"/>
                  <a:pt x="826" y="257"/>
                  <a:pt x="826" y="257"/>
                </a:cubicBezTo>
                <a:cubicBezTo>
                  <a:pt x="826" y="256"/>
                  <a:pt x="826" y="256"/>
                  <a:pt x="826" y="256"/>
                </a:cubicBezTo>
                <a:cubicBezTo>
                  <a:pt x="827" y="255"/>
                  <a:pt x="827" y="255"/>
                  <a:pt x="827" y="255"/>
                </a:cubicBezTo>
                <a:lnTo>
                  <a:pt x="827" y="254"/>
                </a:lnTo>
                <a:close/>
                <a:moveTo>
                  <a:pt x="840" y="250"/>
                </a:moveTo>
                <a:cubicBezTo>
                  <a:pt x="840" y="251"/>
                  <a:pt x="840" y="251"/>
                  <a:pt x="840" y="251"/>
                </a:cubicBezTo>
                <a:cubicBezTo>
                  <a:pt x="842" y="251"/>
                  <a:pt x="842" y="251"/>
                  <a:pt x="842" y="251"/>
                </a:cubicBezTo>
                <a:cubicBezTo>
                  <a:pt x="842" y="251"/>
                  <a:pt x="842" y="250"/>
                  <a:pt x="842" y="250"/>
                </a:cubicBezTo>
                <a:cubicBezTo>
                  <a:pt x="840" y="250"/>
                  <a:pt x="840" y="250"/>
                  <a:pt x="840" y="250"/>
                </a:cubicBezTo>
                <a:close/>
                <a:moveTo>
                  <a:pt x="826" y="225"/>
                </a:moveTo>
                <a:cubicBezTo>
                  <a:pt x="825" y="224"/>
                  <a:pt x="825" y="224"/>
                  <a:pt x="825" y="224"/>
                </a:cubicBezTo>
                <a:cubicBezTo>
                  <a:pt x="827" y="224"/>
                  <a:pt x="827" y="224"/>
                  <a:pt x="827" y="224"/>
                </a:cubicBezTo>
                <a:cubicBezTo>
                  <a:pt x="827" y="223"/>
                  <a:pt x="827" y="223"/>
                  <a:pt x="827" y="223"/>
                </a:cubicBezTo>
                <a:cubicBezTo>
                  <a:pt x="826" y="222"/>
                  <a:pt x="826" y="222"/>
                  <a:pt x="826" y="222"/>
                </a:cubicBezTo>
                <a:cubicBezTo>
                  <a:pt x="825" y="220"/>
                  <a:pt x="825" y="220"/>
                  <a:pt x="825" y="220"/>
                </a:cubicBezTo>
                <a:cubicBezTo>
                  <a:pt x="825" y="221"/>
                  <a:pt x="825" y="221"/>
                  <a:pt x="825" y="221"/>
                </a:cubicBezTo>
                <a:cubicBezTo>
                  <a:pt x="825" y="222"/>
                  <a:pt x="825" y="222"/>
                  <a:pt x="825" y="222"/>
                </a:cubicBezTo>
                <a:cubicBezTo>
                  <a:pt x="824" y="223"/>
                  <a:pt x="824" y="223"/>
                  <a:pt x="824" y="223"/>
                </a:cubicBezTo>
                <a:cubicBezTo>
                  <a:pt x="823" y="222"/>
                  <a:pt x="823" y="222"/>
                  <a:pt x="823" y="222"/>
                </a:cubicBezTo>
                <a:cubicBezTo>
                  <a:pt x="821" y="221"/>
                  <a:pt x="821" y="221"/>
                  <a:pt x="821" y="221"/>
                </a:cubicBezTo>
                <a:cubicBezTo>
                  <a:pt x="821" y="220"/>
                  <a:pt x="821" y="220"/>
                  <a:pt x="821" y="220"/>
                </a:cubicBezTo>
                <a:cubicBezTo>
                  <a:pt x="821" y="220"/>
                  <a:pt x="821" y="220"/>
                  <a:pt x="821" y="220"/>
                </a:cubicBezTo>
                <a:cubicBezTo>
                  <a:pt x="819" y="222"/>
                  <a:pt x="819" y="222"/>
                  <a:pt x="819" y="222"/>
                </a:cubicBezTo>
                <a:cubicBezTo>
                  <a:pt x="816" y="222"/>
                  <a:pt x="816" y="222"/>
                  <a:pt x="816" y="222"/>
                </a:cubicBezTo>
                <a:cubicBezTo>
                  <a:pt x="815" y="221"/>
                  <a:pt x="815" y="221"/>
                  <a:pt x="815" y="221"/>
                </a:cubicBezTo>
                <a:cubicBezTo>
                  <a:pt x="817" y="219"/>
                  <a:pt x="817" y="219"/>
                  <a:pt x="817" y="219"/>
                </a:cubicBezTo>
                <a:cubicBezTo>
                  <a:pt x="818" y="219"/>
                  <a:pt x="818" y="219"/>
                  <a:pt x="818" y="219"/>
                </a:cubicBezTo>
                <a:cubicBezTo>
                  <a:pt x="819" y="218"/>
                  <a:pt x="819" y="218"/>
                  <a:pt x="819" y="218"/>
                </a:cubicBezTo>
                <a:cubicBezTo>
                  <a:pt x="819" y="217"/>
                  <a:pt x="819" y="217"/>
                  <a:pt x="819" y="217"/>
                </a:cubicBezTo>
                <a:cubicBezTo>
                  <a:pt x="819" y="216"/>
                  <a:pt x="819" y="216"/>
                  <a:pt x="819" y="216"/>
                </a:cubicBezTo>
                <a:cubicBezTo>
                  <a:pt x="819" y="214"/>
                  <a:pt x="819" y="214"/>
                  <a:pt x="819" y="214"/>
                </a:cubicBezTo>
                <a:cubicBezTo>
                  <a:pt x="819" y="213"/>
                  <a:pt x="819" y="213"/>
                  <a:pt x="819" y="213"/>
                </a:cubicBezTo>
                <a:cubicBezTo>
                  <a:pt x="819" y="212"/>
                  <a:pt x="819" y="212"/>
                  <a:pt x="819" y="212"/>
                </a:cubicBezTo>
                <a:cubicBezTo>
                  <a:pt x="818" y="211"/>
                  <a:pt x="818" y="211"/>
                  <a:pt x="818" y="211"/>
                </a:cubicBezTo>
                <a:cubicBezTo>
                  <a:pt x="818" y="210"/>
                  <a:pt x="818" y="210"/>
                  <a:pt x="818" y="210"/>
                </a:cubicBezTo>
                <a:cubicBezTo>
                  <a:pt x="815" y="207"/>
                  <a:pt x="815" y="207"/>
                  <a:pt x="815" y="207"/>
                </a:cubicBezTo>
                <a:cubicBezTo>
                  <a:pt x="813" y="206"/>
                  <a:pt x="813" y="206"/>
                  <a:pt x="813" y="206"/>
                </a:cubicBezTo>
                <a:cubicBezTo>
                  <a:pt x="813" y="205"/>
                  <a:pt x="813" y="205"/>
                  <a:pt x="813" y="205"/>
                </a:cubicBezTo>
                <a:cubicBezTo>
                  <a:pt x="812" y="203"/>
                  <a:pt x="812" y="203"/>
                  <a:pt x="812" y="203"/>
                </a:cubicBezTo>
                <a:cubicBezTo>
                  <a:pt x="811" y="203"/>
                  <a:pt x="811" y="203"/>
                  <a:pt x="811" y="203"/>
                </a:cubicBezTo>
                <a:cubicBezTo>
                  <a:pt x="810" y="201"/>
                  <a:pt x="810" y="201"/>
                  <a:pt x="810" y="201"/>
                </a:cubicBezTo>
                <a:cubicBezTo>
                  <a:pt x="811" y="199"/>
                  <a:pt x="811" y="199"/>
                  <a:pt x="811" y="199"/>
                </a:cubicBezTo>
                <a:cubicBezTo>
                  <a:pt x="810" y="197"/>
                  <a:pt x="810" y="197"/>
                  <a:pt x="810" y="197"/>
                </a:cubicBezTo>
                <a:cubicBezTo>
                  <a:pt x="807" y="197"/>
                  <a:pt x="807" y="197"/>
                  <a:pt x="807" y="197"/>
                </a:cubicBezTo>
                <a:cubicBezTo>
                  <a:pt x="804" y="196"/>
                  <a:pt x="804" y="196"/>
                  <a:pt x="804" y="196"/>
                </a:cubicBezTo>
                <a:cubicBezTo>
                  <a:pt x="803" y="194"/>
                  <a:pt x="803" y="194"/>
                  <a:pt x="803" y="194"/>
                </a:cubicBezTo>
                <a:cubicBezTo>
                  <a:pt x="804" y="193"/>
                  <a:pt x="804" y="193"/>
                  <a:pt x="804" y="193"/>
                </a:cubicBezTo>
                <a:cubicBezTo>
                  <a:pt x="804" y="192"/>
                  <a:pt x="804" y="192"/>
                  <a:pt x="804" y="192"/>
                </a:cubicBezTo>
                <a:cubicBezTo>
                  <a:pt x="803" y="191"/>
                  <a:pt x="803" y="191"/>
                  <a:pt x="803" y="191"/>
                </a:cubicBezTo>
                <a:cubicBezTo>
                  <a:pt x="802" y="190"/>
                  <a:pt x="802" y="190"/>
                  <a:pt x="802" y="190"/>
                </a:cubicBezTo>
                <a:cubicBezTo>
                  <a:pt x="801" y="189"/>
                  <a:pt x="801" y="189"/>
                  <a:pt x="801" y="189"/>
                </a:cubicBezTo>
                <a:cubicBezTo>
                  <a:pt x="800" y="192"/>
                  <a:pt x="800" y="192"/>
                  <a:pt x="800" y="192"/>
                </a:cubicBezTo>
                <a:cubicBezTo>
                  <a:pt x="799" y="193"/>
                  <a:pt x="799" y="193"/>
                  <a:pt x="799" y="193"/>
                </a:cubicBezTo>
                <a:cubicBezTo>
                  <a:pt x="798" y="194"/>
                  <a:pt x="798" y="194"/>
                  <a:pt x="798" y="194"/>
                </a:cubicBezTo>
                <a:cubicBezTo>
                  <a:pt x="797" y="194"/>
                  <a:pt x="797" y="194"/>
                  <a:pt x="797" y="194"/>
                </a:cubicBezTo>
                <a:cubicBezTo>
                  <a:pt x="797" y="191"/>
                  <a:pt x="797" y="191"/>
                  <a:pt x="797" y="191"/>
                </a:cubicBezTo>
                <a:cubicBezTo>
                  <a:pt x="797" y="189"/>
                  <a:pt x="797" y="189"/>
                  <a:pt x="797" y="189"/>
                </a:cubicBezTo>
                <a:cubicBezTo>
                  <a:pt x="797" y="188"/>
                  <a:pt x="797" y="188"/>
                  <a:pt x="797" y="188"/>
                </a:cubicBezTo>
                <a:cubicBezTo>
                  <a:pt x="798" y="188"/>
                  <a:pt x="798" y="188"/>
                  <a:pt x="798" y="188"/>
                </a:cubicBezTo>
                <a:cubicBezTo>
                  <a:pt x="799" y="188"/>
                  <a:pt x="799" y="188"/>
                  <a:pt x="799" y="188"/>
                </a:cubicBezTo>
                <a:cubicBezTo>
                  <a:pt x="799" y="187"/>
                  <a:pt x="799" y="187"/>
                  <a:pt x="799" y="187"/>
                </a:cubicBezTo>
                <a:cubicBezTo>
                  <a:pt x="799" y="185"/>
                  <a:pt x="799" y="185"/>
                  <a:pt x="799" y="185"/>
                </a:cubicBezTo>
                <a:cubicBezTo>
                  <a:pt x="799" y="183"/>
                  <a:pt x="799" y="183"/>
                  <a:pt x="799" y="183"/>
                </a:cubicBezTo>
                <a:cubicBezTo>
                  <a:pt x="797" y="184"/>
                  <a:pt x="797" y="184"/>
                  <a:pt x="797" y="184"/>
                </a:cubicBezTo>
                <a:cubicBezTo>
                  <a:pt x="797" y="183"/>
                  <a:pt x="797" y="183"/>
                  <a:pt x="797" y="183"/>
                </a:cubicBezTo>
                <a:cubicBezTo>
                  <a:pt x="798" y="181"/>
                  <a:pt x="798" y="181"/>
                  <a:pt x="798" y="181"/>
                </a:cubicBezTo>
                <a:cubicBezTo>
                  <a:pt x="797" y="180"/>
                  <a:pt x="797" y="180"/>
                  <a:pt x="797" y="180"/>
                </a:cubicBezTo>
                <a:cubicBezTo>
                  <a:pt x="794" y="182"/>
                  <a:pt x="794" y="182"/>
                  <a:pt x="794" y="182"/>
                </a:cubicBezTo>
                <a:cubicBezTo>
                  <a:pt x="792" y="184"/>
                  <a:pt x="792" y="184"/>
                  <a:pt x="792" y="184"/>
                </a:cubicBezTo>
                <a:cubicBezTo>
                  <a:pt x="790" y="187"/>
                  <a:pt x="790" y="187"/>
                  <a:pt x="790" y="187"/>
                </a:cubicBezTo>
                <a:cubicBezTo>
                  <a:pt x="788" y="190"/>
                  <a:pt x="788" y="190"/>
                  <a:pt x="788" y="190"/>
                </a:cubicBezTo>
                <a:cubicBezTo>
                  <a:pt x="788" y="192"/>
                  <a:pt x="788" y="192"/>
                  <a:pt x="788" y="192"/>
                </a:cubicBezTo>
                <a:cubicBezTo>
                  <a:pt x="787" y="193"/>
                  <a:pt x="787" y="193"/>
                  <a:pt x="787" y="193"/>
                </a:cubicBezTo>
                <a:cubicBezTo>
                  <a:pt x="787" y="194"/>
                  <a:pt x="787" y="194"/>
                  <a:pt x="787" y="194"/>
                </a:cubicBezTo>
                <a:cubicBezTo>
                  <a:pt x="785" y="198"/>
                  <a:pt x="785" y="198"/>
                  <a:pt x="785" y="198"/>
                </a:cubicBezTo>
                <a:cubicBezTo>
                  <a:pt x="786" y="199"/>
                  <a:pt x="786" y="199"/>
                  <a:pt x="786" y="199"/>
                </a:cubicBezTo>
                <a:cubicBezTo>
                  <a:pt x="784" y="200"/>
                  <a:pt x="784" y="200"/>
                  <a:pt x="784" y="200"/>
                </a:cubicBezTo>
                <a:cubicBezTo>
                  <a:pt x="784" y="201"/>
                  <a:pt x="784" y="201"/>
                  <a:pt x="784" y="201"/>
                </a:cubicBezTo>
                <a:cubicBezTo>
                  <a:pt x="784" y="203"/>
                  <a:pt x="784" y="203"/>
                  <a:pt x="784" y="203"/>
                </a:cubicBezTo>
                <a:cubicBezTo>
                  <a:pt x="781" y="205"/>
                  <a:pt x="781" y="205"/>
                  <a:pt x="781" y="205"/>
                </a:cubicBezTo>
                <a:cubicBezTo>
                  <a:pt x="780" y="207"/>
                  <a:pt x="780" y="207"/>
                  <a:pt x="780" y="207"/>
                </a:cubicBezTo>
                <a:cubicBezTo>
                  <a:pt x="780" y="210"/>
                  <a:pt x="780" y="210"/>
                  <a:pt x="780" y="210"/>
                </a:cubicBezTo>
                <a:cubicBezTo>
                  <a:pt x="780" y="211"/>
                  <a:pt x="780" y="211"/>
                  <a:pt x="780" y="211"/>
                </a:cubicBezTo>
                <a:cubicBezTo>
                  <a:pt x="780" y="214"/>
                  <a:pt x="780" y="214"/>
                  <a:pt x="780" y="214"/>
                </a:cubicBezTo>
                <a:cubicBezTo>
                  <a:pt x="779" y="215"/>
                  <a:pt x="779" y="215"/>
                  <a:pt x="779" y="215"/>
                </a:cubicBezTo>
                <a:cubicBezTo>
                  <a:pt x="776" y="215"/>
                  <a:pt x="776" y="215"/>
                  <a:pt x="776" y="215"/>
                </a:cubicBezTo>
                <a:cubicBezTo>
                  <a:pt x="773" y="217"/>
                  <a:pt x="773" y="217"/>
                  <a:pt x="773" y="217"/>
                </a:cubicBezTo>
                <a:cubicBezTo>
                  <a:pt x="773" y="218"/>
                  <a:pt x="773" y="218"/>
                  <a:pt x="773" y="218"/>
                </a:cubicBezTo>
                <a:cubicBezTo>
                  <a:pt x="772" y="222"/>
                  <a:pt x="772" y="222"/>
                  <a:pt x="772" y="222"/>
                </a:cubicBezTo>
                <a:cubicBezTo>
                  <a:pt x="772" y="224"/>
                  <a:pt x="772" y="224"/>
                  <a:pt x="772" y="224"/>
                </a:cubicBezTo>
                <a:cubicBezTo>
                  <a:pt x="772" y="224"/>
                  <a:pt x="773" y="224"/>
                  <a:pt x="773" y="224"/>
                </a:cubicBezTo>
                <a:cubicBezTo>
                  <a:pt x="774" y="222"/>
                  <a:pt x="774" y="222"/>
                  <a:pt x="774" y="222"/>
                </a:cubicBezTo>
                <a:cubicBezTo>
                  <a:pt x="775" y="222"/>
                  <a:pt x="775" y="222"/>
                  <a:pt x="775" y="222"/>
                </a:cubicBezTo>
                <a:cubicBezTo>
                  <a:pt x="775" y="222"/>
                  <a:pt x="775" y="222"/>
                  <a:pt x="775" y="222"/>
                </a:cubicBezTo>
                <a:cubicBezTo>
                  <a:pt x="777" y="223"/>
                  <a:pt x="777" y="223"/>
                  <a:pt x="777" y="223"/>
                </a:cubicBezTo>
                <a:cubicBezTo>
                  <a:pt x="778" y="223"/>
                  <a:pt x="778" y="223"/>
                  <a:pt x="778" y="223"/>
                </a:cubicBezTo>
                <a:cubicBezTo>
                  <a:pt x="779" y="223"/>
                  <a:pt x="779" y="223"/>
                  <a:pt x="779" y="223"/>
                </a:cubicBezTo>
                <a:cubicBezTo>
                  <a:pt x="780" y="223"/>
                  <a:pt x="780" y="223"/>
                  <a:pt x="780" y="223"/>
                </a:cubicBezTo>
                <a:cubicBezTo>
                  <a:pt x="781" y="223"/>
                  <a:pt x="781" y="223"/>
                  <a:pt x="781" y="223"/>
                </a:cubicBezTo>
                <a:cubicBezTo>
                  <a:pt x="781" y="225"/>
                  <a:pt x="781" y="225"/>
                  <a:pt x="781" y="225"/>
                </a:cubicBezTo>
                <a:cubicBezTo>
                  <a:pt x="780" y="227"/>
                  <a:pt x="780" y="227"/>
                  <a:pt x="780" y="227"/>
                </a:cubicBezTo>
                <a:cubicBezTo>
                  <a:pt x="780" y="228"/>
                  <a:pt x="780" y="228"/>
                  <a:pt x="780" y="228"/>
                </a:cubicBezTo>
                <a:cubicBezTo>
                  <a:pt x="779" y="230"/>
                  <a:pt x="779" y="230"/>
                  <a:pt x="779" y="230"/>
                </a:cubicBezTo>
                <a:cubicBezTo>
                  <a:pt x="779" y="232"/>
                  <a:pt x="779" y="232"/>
                  <a:pt x="779" y="232"/>
                </a:cubicBezTo>
                <a:cubicBezTo>
                  <a:pt x="779" y="233"/>
                  <a:pt x="779" y="233"/>
                  <a:pt x="779" y="233"/>
                </a:cubicBezTo>
                <a:cubicBezTo>
                  <a:pt x="780" y="233"/>
                  <a:pt x="780" y="233"/>
                  <a:pt x="780" y="233"/>
                </a:cubicBezTo>
                <a:cubicBezTo>
                  <a:pt x="781" y="233"/>
                  <a:pt x="781" y="233"/>
                  <a:pt x="781" y="233"/>
                </a:cubicBezTo>
                <a:cubicBezTo>
                  <a:pt x="783" y="233"/>
                  <a:pt x="783" y="233"/>
                  <a:pt x="783" y="233"/>
                </a:cubicBezTo>
                <a:cubicBezTo>
                  <a:pt x="784" y="233"/>
                  <a:pt x="784" y="233"/>
                  <a:pt x="784" y="233"/>
                </a:cubicBezTo>
                <a:cubicBezTo>
                  <a:pt x="785" y="233"/>
                  <a:pt x="785" y="233"/>
                  <a:pt x="785" y="233"/>
                </a:cubicBezTo>
                <a:cubicBezTo>
                  <a:pt x="786" y="232"/>
                  <a:pt x="786" y="232"/>
                  <a:pt x="786" y="232"/>
                </a:cubicBezTo>
                <a:cubicBezTo>
                  <a:pt x="787" y="231"/>
                  <a:pt x="787" y="231"/>
                  <a:pt x="787" y="231"/>
                </a:cubicBezTo>
                <a:cubicBezTo>
                  <a:pt x="789" y="231"/>
                  <a:pt x="789" y="231"/>
                  <a:pt x="789" y="231"/>
                </a:cubicBezTo>
                <a:cubicBezTo>
                  <a:pt x="790" y="230"/>
                  <a:pt x="790" y="230"/>
                  <a:pt x="790" y="230"/>
                </a:cubicBezTo>
                <a:cubicBezTo>
                  <a:pt x="791" y="227"/>
                  <a:pt x="791" y="227"/>
                  <a:pt x="791" y="227"/>
                </a:cubicBezTo>
                <a:cubicBezTo>
                  <a:pt x="792" y="226"/>
                  <a:pt x="792" y="226"/>
                  <a:pt x="792" y="226"/>
                </a:cubicBezTo>
                <a:cubicBezTo>
                  <a:pt x="793" y="225"/>
                  <a:pt x="793" y="225"/>
                  <a:pt x="793" y="225"/>
                </a:cubicBezTo>
                <a:cubicBezTo>
                  <a:pt x="794" y="225"/>
                  <a:pt x="794" y="225"/>
                  <a:pt x="794" y="225"/>
                </a:cubicBezTo>
                <a:cubicBezTo>
                  <a:pt x="795" y="225"/>
                  <a:pt x="795" y="225"/>
                  <a:pt x="795" y="225"/>
                </a:cubicBezTo>
                <a:cubicBezTo>
                  <a:pt x="796" y="224"/>
                  <a:pt x="796" y="224"/>
                  <a:pt x="796" y="224"/>
                </a:cubicBezTo>
                <a:cubicBezTo>
                  <a:pt x="797" y="224"/>
                  <a:pt x="797" y="224"/>
                  <a:pt x="797" y="224"/>
                </a:cubicBezTo>
                <a:cubicBezTo>
                  <a:pt x="799" y="224"/>
                  <a:pt x="799" y="224"/>
                  <a:pt x="799" y="224"/>
                </a:cubicBezTo>
                <a:cubicBezTo>
                  <a:pt x="799" y="221"/>
                  <a:pt x="799" y="221"/>
                  <a:pt x="799" y="221"/>
                </a:cubicBezTo>
                <a:cubicBezTo>
                  <a:pt x="799" y="219"/>
                  <a:pt x="799" y="219"/>
                  <a:pt x="799" y="219"/>
                </a:cubicBezTo>
                <a:cubicBezTo>
                  <a:pt x="801" y="218"/>
                  <a:pt x="801" y="218"/>
                  <a:pt x="801" y="218"/>
                </a:cubicBezTo>
                <a:cubicBezTo>
                  <a:pt x="802" y="216"/>
                  <a:pt x="802" y="216"/>
                  <a:pt x="802" y="216"/>
                </a:cubicBezTo>
                <a:cubicBezTo>
                  <a:pt x="803" y="216"/>
                  <a:pt x="803" y="216"/>
                  <a:pt x="803" y="216"/>
                </a:cubicBezTo>
                <a:cubicBezTo>
                  <a:pt x="804" y="217"/>
                  <a:pt x="804" y="217"/>
                  <a:pt x="804" y="217"/>
                </a:cubicBezTo>
                <a:cubicBezTo>
                  <a:pt x="805" y="216"/>
                  <a:pt x="805" y="216"/>
                  <a:pt x="805" y="216"/>
                </a:cubicBezTo>
                <a:cubicBezTo>
                  <a:pt x="806" y="216"/>
                  <a:pt x="806" y="216"/>
                  <a:pt x="806" y="216"/>
                </a:cubicBezTo>
                <a:cubicBezTo>
                  <a:pt x="807" y="216"/>
                  <a:pt x="807" y="216"/>
                  <a:pt x="807" y="216"/>
                </a:cubicBezTo>
                <a:cubicBezTo>
                  <a:pt x="807" y="218"/>
                  <a:pt x="807" y="218"/>
                  <a:pt x="807" y="218"/>
                </a:cubicBezTo>
                <a:cubicBezTo>
                  <a:pt x="806" y="219"/>
                  <a:pt x="806" y="219"/>
                  <a:pt x="806" y="219"/>
                </a:cubicBezTo>
                <a:cubicBezTo>
                  <a:pt x="805" y="220"/>
                  <a:pt x="805" y="220"/>
                  <a:pt x="805" y="220"/>
                </a:cubicBezTo>
                <a:cubicBezTo>
                  <a:pt x="807" y="221"/>
                  <a:pt x="807" y="221"/>
                  <a:pt x="807" y="221"/>
                </a:cubicBezTo>
                <a:cubicBezTo>
                  <a:pt x="809" y="221"/>
                  <a:pt x="809" y="221"/>
                  <a:pt x="809" y="221"/>
                </a:cubicBezTo>
                <a:cubicBezTo>
                  <a:pt x="811" y="222"/>
                  <a:pt x="811" y="222"/>
                  <a:pt x="811" y="222"/>
                </a:cubicBezTo>
                <a:cubicBezTo>
                  <a:pt x="811" y="223"/>
                  <a:pt x="811" y="223"/>
                  <a:pt x="811" y="223"/>
                </a:cubicBezTo>
                <a:cubicBezTo>
                  <a:pt x="810" y="225"/>
                  <a:pt x="810" y="225"/>
                  <a:pt x="810" y="225"/>
                </a:cubicBezTo>
                <a:cubicBezTo>
                  <a:pt x="809" y="225"/>
                  <a:pt x="809" y="225"/>
                  <a:pt x="809" y="225"/>
                </a:cubicBezTo>
                <a:cubicBezTo>
                  <a:pt x="809" y="228"/>
                  <a:pt x="809" y="228"/>
                  <a:pt x="809" y="228"/>
                </a:cubicBezTo>
                <a:cubicBezTo>
                  <a:pt x="810" y="228"/>
                  <a:pt x="810" y="228"/>
                  <a:pt x="810" y="228"/>
                </a:cubicBezTo>
                <a:cubicBezTo>
                  <a:pt x="811" y="228"/>
                  <a:pt x="811" y="228"/>
                  <a:pt x="811" y="228"/>
                </a:cubicBezTo>
                <a:cubicBezTo>
                  <a:pt x="812" y="228"/>
                  <a:pt x="812" y="228"/>
                  <a:pt x="812" y="228"/>
                </a:cubicBezTo>
                <a:cubicBezTo>
                  <a:pt x="813" y="228"/>
                  <a:pt x="813" y="228"/>
                  <a:pt x="813" y="228"/>
                </a:cubicBezTo>
                <a:cubicBezTo>
                  <a:pt x="814" y="228"/>
                  <a:pt x="814" y="228"/>
                  <a:pt x="814" y="228"/>
                </a:cubicBezTo>
                <a:cubicBezTo>
                  <a:pt x="814" y="229"/>
                  <a:pt x="814" y="229"/>
                  <a:pt x="814" y="229"/>
                </a:cubicBezTo>
                <a:cubicBezTo>
                  <a:pt x="816" y="229"/>
                  <a:pt x="816" y="229"/>
                  <a:pt x="816" y="229"/>
                </a:cubicBezTo>
                <a:cubicBezTo>
                  <a:pt x="817" y="230"/>
                  <a:pt x="817" y="230"/>
                  <a:pt x="817" y="230"/>
                </a:cubicBezTo>
                <a:cubicBezTo>
                  <a:pt x="818" y="230"/>
                  <a:pt x="818" y="230"/>
                  <a:pt x="818" y="230"/>
                </a:cubicBezTo>
                <a:cubicBezTo>
                  <a:pt x="821" y="232"/>
                  <a:pt x="821" y="232"/>
                  <a:pt x="821" y="232"/>
                </a:cubicBezTo>
                <a:cubicBezTo>
                  <a:pt x="822" y="231"/>
                  <a:pt x="822" y="231"/>
                  <a:pt x="822" y="231"/>
                </a:cubicBezTo>
                <a:cubicBezTo>
                  <a:pt x="823" y="229"/>
                  <a:pt x="823" y="229"/>
                  <a:pt x="823" y="229"/>
                </a:cubicBezTo>
                <a:cubicBezTo>
                  <a:pt x="824" y="229"/>
                  <a:pt x="824" y="229"/>
                  <a:pt x="824" y="229"/>
                </a:cubicBezTo>
                <a:cubicBezTo>
                  <a:pt x="826" y="227"/>
                  <a:pt x="826" y="227"/>
                  <a:pt x="826" y="227"/>
                </a:cubicBezTo>
                <a:cubicBezTo>
                  <a:pt x="827" y="227"/>
                  <a:pt x="827" y="227"/>
                  <a:pt x="827" y="227"/>
                </a:cubicBezTo>
                <a:cubicBezTo>
                  <a:pt x="828" y="226"/>
                  <a:pt x="828" y="226"/>
                  <a:pt x="828" y="226"/>
                </a:cubicBezTo>
                <a:lnTo>
                  <a:pt x="826" y="225"/>
                </a:lnTo>
                <a:close/>
                <a:moveTo>
                  <a:pt x="848" y="236"/>
                </a:moveTo>
                <a:cubicBezTo>
                  <a:pt x="847" y="236"/>
                  <a:pt x="847" y="236"/>
                  <a:pt x="847" y="236"/>
                </a:cubicBezTo>
                <a:cubicBezTo>
                  <a:pt x="845" y="236"/>
                  <a:pt x="845" y="236"/>
                  <a:pt x="845" y="236"/>
                </a:cubicBezTo>
                <a:cubicBezTo>
                  <a:pt x="844" y="235"/>
                  <a:pt x="844" y="235"/>
                  <a:pt x="844" y="235"/>
                </a:cubicBezTo>
                <a:cubicBezTo>
                  <a:pt x="843" y="233"/>
                  <a:pt x="843" y="233"/>
                  <a:pt x="843" y="233"/>
                </a:cubicBezTo>
                <a:cubicBezTo>
                  <a:pt x="842" y="234"/>
                  <a:pt x="842" y="234"/>
                  <a:pt x="842" y="234"/>
                </a:cubicBezTo>
                <a:cubicBezTo>
                  <a:pt x="840" y="234"/>
                  <a:pt x="840" y="234"/>
                  <a:pt x="840" y="234"/>
                </a:cubicBezTo>
                <a:cubicBezTo>
                  <a:pt x="840" y="234"/>
                  <a:pt x="840" y="234"/>
                  <a:pt x="840" y="234"/>
                </a:cubicBezTo>
                <a:cubicBezTo>
                  <a:pt x="839" y="235"/>
                  <a:pt x="839" y="235"/>
                  <a:pt x="839" y="235"/>
                </a:cubicBezTo>
                <a:cubicBezTo>
                  <a:pt x="840" y="236"/>
                  <a:pt x="840" y="236"/>
                  <a:pt x="840" y="236"/>
                </a:cubicBezTo>
                <a:cubicBezTo>
                  <a:pt x="841" y="237"/>
                  <a:pt x="841" y="237"/>
                  <a:pt x="841" y="237"/>
                </a:cubicBezTo>
                <a:cubicBezTo>
                  <a:pt x="842" y="240"/>
                  <a:pt x="842" y="240"/>
                  <a:pt x="842" y="240"/>
                </a:cubicBezTo>
                <a:cubicBezTo>
                  <a:pt x="843" y="240"/>
                  <a:pt x="843" y="240"/>
                  <a:pt x="843" y="240"/>
                </a:cubicBezTo>
                <a:cubicBezTo>
                  <a:pt x="843" y="242"/>
                  <a:pt x="843" y="242"/>
                  <a:pt x="843" y="242"/>
                </a:cubicBezTo>
                <a:cubicBezTo>
                  <a:pt x="844" y="242"/>
                  <a:pt x="844" y="242"/>
                  <a:pt x="844" y="242"/>
                </a:cubicBezTo>
                <a:cubicBezTo>
                  <a:pt x="845" y="242"/>
                  <a:pt x="845" y="242"/>
                  <a:pt x="845" y="242"/>
                </a:cubicBezTo>
                <a:cubicBezTo>
                  <a:pt x="846" y="241"/>
                  <a:pt x="846" y="241"/>
                  <a:pt x="846" y="241"/>
                </a:cubicBezTo>
                <a:cubicBezTo>
                  <a:pt x="847" y="241"/>
                  <a:pt x="847" y="241"/>
                  <a:pt x="847" y="241"/>
                </a:cubicBezTo>
                <a:cubicBezTo>
                  <a:pt x="848" y="241"/>
                  <a:pt x="848" y="241"/>
                  <a:pt x="848" y="241"/>
                </a:cubicBezTo>
                <a:cubicBezTo>
                  <a:pt x="848" y="240"/>
                  <a:pt x="848" y="240"/>
                  <a:pt x="848" y="240"/>
                </a:cubicBezTo>
                <a:cubicBezTo>
                  <a:pt x="848" y="239"/>
                  <a:pt x="848" y="239"/>
                  <a:pt x="848" y="239"/>
                </a:cubicBezTo>
                <a:lnTo>
                  <a:pt x="848" y="236"/>
                </a:lnTo>
                <a:close/>
                <a:moveTo>
                  <a:pt x="789" y="253"/>
                </a:moveTo>
                <a:cubicBezTo>
                  <a:pt x="789" y="253"/>
                  <a:pt x="789" y="254"/>
                  <a:pt x="789" y="254"/>
                </a:cubicBezTo>
                <a:cubicBezTo>
                  <a:pt x="790" y="254"/>
                  <a:pt x="790" y="254"/>
                  <a:pt x="790" y="254"/>
                </a:cubicBezTo>
                <a:cubicBezTo>
                  <a:pt x="792" y="251"/>
                  <a:pt x="792" y="251"/>
                  <a:pt x="792" y="251"/>
                </a:cubicBezTo>
                <a:cubicBezTo>
                  <a:pt x="793" y="251"/>
                  <a:pt x="793" y="251"/>
                  <a:pt x="793" y="251"/>
                </a:cubicBezTo>
                <a:cubicBezTo>
                  <a:pt x="794" y="252"/>
                  <a:pt x="794" y="252"/>
                  <a:pt x="794" y="252"/>
                </a:cubicBezTo>
                <a:cubicBezTo>
                  <a:pt x="794" y="253"/>
                  <a:pt x="794" y="253"/>
                  <a:pt x="794" y="253"/>
                </a:cubicBezTo>
                <a:cubicBezTo>
                  <a:pt x="796" y="253"/>
                  <a:pt x="796" y="253"/>
                  <a:pt x="796" y="253"/>
                </a:cubicBezTo>
                <a:cubicBezTo>
                  <a:pt x="799" y="250"/>
                  <a:pt x="799" y="250"/>
                  <a:pt x="799" y="250"/>
                </a:cubicBezTo>
                <a:cubicBezTo>
                  <a:pt x="800" y="250"/>
                  <a:pt x="800" y="250"/>
                  <a:pt x="800" y="250"/>
                </a:cubicBezTo>
                <a:cubicBezTo>
                  <a:pt x="802" y="249"/>
                  <a:pt x="802" y="249"/>
                  <a:pt x="802" y="249"/>
                </a:cubicBezTo>
                <a:cubicBezTo>
                  <a:pt x="803" y="246"/>
                  <a:pt x="803" y="246"/>
                  <a:pt x="803" y="246"/>
                </a:cubicBezTo>
                <a:cubicBezTo>
                  <a:pt x="805" y="246"/>
                  <a:pt x="805" y="246"/>
                  <a:pt x="805" y="246"/>
                </a:cubicBezTo>
                <a:cubicBezTo>
                  <a:pt x="807" y="245"/>
                  <a:pt x="807" y="245"/>
                  <a:pt x="807" y="245"/>
                </a:cubicBezTo>
                <a:cubicBezTo>
                  <a:pt x="807" y="243"/>
                  <a:pt x="807" y="243"/>
                  <a:pt x="807" y="243"/>
                </a:cubicBezTo>
                <a:cubicBezTo>
                  <a:pt x="809" y="241"/>
                  <a:pt x="809" y="241"/>
                  <a:pt x="809" y="241"/>
                </a:cubicBezTo>
                <a:cubicBezTo>
                  <a:pt x="808" y="241"/>
                  <a:pt x="808" y="241"/>
                  <a:pt x="808" y="241"/>
                </a:cubicBezTo>
                <a:cubicBezTo>
                  <a:pt x="806" y="241"/>
                  <a:pt x="806" y="241"/>
                  <a:pt x="806" y="241"/>
                </a:cubicBezTo>
                <a:cubicBezTo>
                  <a:pt x="806" y="240"/>
                  <a:pt x="806" y="240"/>
                  <a:pt x="806" y="240"/>
                </a:cubicBezTo>
                <a:cubicBezTo>
                  <a:pt x="804" y="240"/>
                  <a:pt x="804" y="240"/>
                  <a:pt x="804" y="240"/>
                </a:cubicBezTo>
                <a:cubicBezTo>
                  <a:pt x="803" y="241"/>
                  <a:pt x="803" y="241"/>
                  <a:pt x="803" y="241"/>
                </a:cubicBezTo>
                <a:cubicBezTo>
                  <a:pt x="802" y="240"/>
                  <a:pt x="802" y="240"/>
                  <a:pt x="802" y="240"/>
                </a:cubicBezTo>
                <a:cubicBezTo>
                  <a:pt x="801" y="241"/>
                  <a:pt x="801" y="241"/>
                  <a:pt x="801" y="241"/>
                </a:cubicBezTo>
                <a:cubicBezTo>
                  <a:pt x="800" y="242"/>
                  <a:pt x="800" y="242"/>
                  <a:pt x="800" y="242"/>
                </a:cubicBezTo>
                <a:cubicBezTo>
                  <a:pt x="798" y="241"/>
                  <a:pt x="798" y="241"/>
                  <a:pt x="798" y="241"/>
                </a:cubicBezTo>
                <a:cubicBezTo>
                  <a:pt x="797" y="240"/>
                  <a:pt x="797" y="240"/>
                  <a:pt x="797" y="240"/>
                </a:cubicBezTo>
                <a:cubicBezTo>
                  <a:pt x="797" y="240"/>
                  <a:pt x="797" y="240"/>
                  <a:pt x="797" y="240"/>
                </a:cubicBezTo>
                <a:cubicBezTo>
                  <a:pt x="795" y="241"/>
                  <a:pt x="795" y="241"/>
                  <a:pt x="795" y="241"/>
                </a:cubicBezTo>
                <a:cubicBezTo>
                  <a:pt x="793" y="243"/>
                  <a:pt x="793" y="243"/>
                  <a:pt x="793" y="243"/>
                </a:cubicBezTo>
                <a:cubicBezTo>
                  <a:pt x="793" y="244"/>
                  <a:pt x="793" y="244"/>
                  <a:pt x="793" y="244"/>
                </a:cubicBezTo>
                <a:cubicBezTo>
                  <a:pt x="792" y="245"/>
                  <a:pt x="792" y="245"/>
                  <a:pt x="792" y="245"/>
                </a:cubicBezTo>
                <a:cubicBezTo>
                  <a:pt x="788" y="246"/>
                  <a:pt x="788" y="246"/>
                  <a:pt x="788" y="246"/>
                </a:cubicBezTo>
                <a:cubicBezTo>
                  <a:pt x="788" y="247"/>
                  <a:pt x="788" y="247"/>
                  <a:pt x="788" y="247"/>
                </a:cubicBezTo>
                <a:cubicBezTo>
                  <a:pt x="789" y="248"/>
                  <a:pt x="789" y="248"/>
                  <a:pt x="789" y="248"/>
                </a:cubicBezTo>
                <a:cubicBezTo>
                  <a:pt x="789" y="250"/>
                  <a:pt x="789" y="250"/>
                  <a:pt x="789" y="250"/>
                </a:cubicBezTo>
                <a:cubicBezTo>
                  <a:pt x="789" y="252"/>
                  <a:pt x="789" y="252"/>
                  <a:pt x="789" y="252"/>
                </a:cubicBezTo>
                <a:lnTo>
                  <a:pt x="789" y="253"/>
                </a:lnTo>
                <a:close/>
                <a:moveTo>
                  <a:pt x="803" y="178"/>
                </a:moveTo>
                <a:cubicBezTo>
                  <a:pt x="802" y="178"/>
                  <a:pt x="802" y="178"/>
                  <a:pt x="802" y="178"/>
                </a:cubicBezTo>
                <a:cubicBezTo>
                  <a:pt x="801" y="180"/>
                  <a:pt x="801" y="180"/>
                  <a:pt x="801" y="180"/>
                </a:cubicBezTo>
                <a:cubicBezTo>
                  <a:pt x="801" y="183"/>
                  <a:pt x="801" y="183"/>
                  <a:pt x="801" y="183"/>
                </a:cubicBezTo>
                <a:cubicBezTo>
                  <a:pt x="801" y="184"/>
                  <a:pt x="801" y="184"/>
                  <a:pt x="801" y="184"/>
                </a:cubicBezTo>
                <a:cubicBezTo>
                  <a:pt x="801" y="185"/>
                  <a:pt x="801" y="185"/>
                  <a:pt x="801" y="185"/>
                </a:cubicBezTo>
                <a:cubicBezTo>
                  <a:pt x="801" y="187"/>
                  <a:pt x="801" y="187"/>
                  <a:pt x="801" y="187"/>
                </a:cubicBezTo>
                <a:cubicBezTo>
                  <a:pt x="802" y="186"/>
                  <a:pt x="802" y="186"/>
                  <a:pt x="802" y="186"/>
                </a:cubicBezTo>
                <a:cubicBezTo>
                  <a:pt x="804" y="183"/>
                  <a:pt x="804" y="183"/>
                  <a:pt x="804" y="183"/>
                </a:cubicBezTo>
                <a:cubicBezTo>
                  <a:pt x="803" y="182"/>
                  <a:pt x="803" y="182"/>
                  <a:pt x="803" y="182"/>
                </a:cubicBezTo>
                <a:cubicBezTo>
                  <a:pt x="803" y="181"/>
                  <a:pt x="803" y="181"/>
                  <a:pt x="803" y="181"/>
                </a:cubicBezTo>
                <a:cubicBezTo>
                  <a:pt x="804" y="180"/>
                  <a:pt x="804" y="180"/>
                  <a:pt x="804" y="180"/>
                </a:cubicBezTo>
                <a:lnTo>
                  <a:pt x="803" y="178"/>
                </a:lnTo>
                <a:close/>
                <a:moveTo>
                  <a:pt x="785" y="103"/>
                </a:moveTo>
                <a:cubicBezTo>
                  <a:pt x="785" y="105"/>
                  <a:pt x="785" y="105"/>
                  <a:pt x="785" y="105"/>
                </a:cubicBezTo>
                <a:cubicBezTo>
                  <a:pt x="786" y="104"/>
                  <a:pt x="786" y="104"/>
                  <a:pt x="786" y="104"/>
                </a:cubicBezTo>
                <a:cubicBezTo>
                  <a:pt x="787" y="104"/>
                  <a:pt x="787" y="104"/>
                  <a:pt x="787" y="104"/>
                </a:cubicBezTo>
                <a:cubicBezTo>
                  <a:pt x="787" y="102"/>
                  <a:pt x="787" y="102"/>
                  <a:pt x="787" y="102"/>
                </a:cubicBezTo>
                <a:cubicBezTo>
                  <a:pt x="786" y="102"/>
                  <a:pt x="786" y="102"/>
                  <a:pt x="786" y="102"/>
                </a:cubicBezTo>
                <a:lnTo>
                  <a:pt x="785" y="103"/>
                </a:lnTo>
                <a:close/>
                <a:moveTo>
                  <a:pt x="419" y="22"/>
                </a:moveTo>
                <a:cubicBezTo>
                  <a:pt x="419" y="20"/>
                  <a:pt x="419" y="20"/>
                  <a:pt x="419" y="20"/>
                </a:cubicBezTo>
                <a:cubicBezTo>
                  <a:pt x="419" y="16"/>
                  <a:pt x="419" y="16"/>
                  <a:pt x="419" y="16"/>
                </a:cubicBezTo>
                <a:cubicBezTo>
                  <a:pt x="417" y="18"/>
                  <a:pt x="417" y="18"/>
                  <a:pt x="417" y="18"/>
                </a:cubicBezTo>
                <a:cubicBezTo>
                  <a:pt x="417" y="20"/>
                  <a:pt x="417" y="20"/>
                  <a:pt x="417" y="20"/>
                </a:cubicBezTo>
                <a:cubicBezTo>
                  <a:pt x="416" y="21"/>
                  <a:pt x="416" y="21"/>
                  <a:pt x="416" y="21"/>
                </a:cubicBezTo>
                <a:cubicBezTo>
                  <a:pt x="417" y="21"/>
                  <a:pt x="417" y="21"/>
                  <a:pt x="417" y="21"/>
                </a:cubicBezTo>
                <a:cubicBezTo>
                  <a:pt x="417" y="21"/>
                  <a:pt x="418" y="22"/>
                  <a:pt x="419" y="22"/>
                </a:cubicBezTo>
                <a:close/>
                <a:moveTo>
                  <a:pt x="784" y="107"/>
                </a:moveTo>
                <a:cubicBezTo>
                  <a:pt x="784" y="106"/>
                  <a:pt x="784" y="106"/>
                  <a:pt x="784" y="106"/>
                </a:cubicBezTo>
                <a:cubicBezTo>
                  <a:pt x="784" y="103"/>
                  <a:pt x="784" y="103"/>
                  <a:pt x="784" y="103"/>
                </a:cubicBezTo>
                <a:cubicBezTo>
                  <a:pt x="783" y="102"/>
                  <a:pt x="783" y="102"/>
                  <a:pt x="783" y="102"/>
                </a:cubicBezTo>
                <a:cubicBezTo>
                  <a:pt x="783" y="103"/>
                  <a:pt x="783" y="103"/>
                  <a:pt x="783" y="103"/>
                </a:cubicBezTo>
                <a:cubicBezTo>
                  <a:pt x="782" y="104"/>
                  <a:pt x="782" y="104"/>
                  <a:pt x="782" y="104"/>
                </a:cubicBezTo>
                <a:cubicBezTo>
                  <a:pt x="783" y="105"/>
                  <a:pt x="783" y="105"/>
                  <a:pt x="783" y="105"/>
                </a:cubicBezTo>
                <a:cubicBezTo>
                  <a:pt x="783" y="106"/>
                  <a:pt x="783" y="106"/>
                  <a:pt x="783" y="106"/>
                </a:cubicBezTo>
                <a:lnTo>
                  <a:pt x="784" y="107"/>
                </a:lnTo>
                <a:close/>
                <a:moveTo>
                  <a:pt x="417" y="29"/>
                </a:moveTo>
                <a:cubicBezTo>
                  <a:pt x="419" y="30"/>
                  <a:pt x="419" y="30"/>
                  <a:pt x="419" y="30"/>
                </a:cubicBezTo>
                <a:cubicBezTo>
                  <a:pt x="422" y="34"/>
                  <a:pt x="422" y="34"/>
                  <a:pt x="422" y="34"/>
                </a:cubicBezTo>
                <a:cubicBezTo>
                  <a:pt x="423" y="32"/>
                  <a:pt x="423" y="32"/>
                  <a:pt x="423" y="32"/>
                </a:cubicBezTo>
                <a:cubicBezTo>
                  <a:pt x="422" y="29"/>
                  <a:pt x="422" y="29"/>
                  <a:pt x="422" y="29"/>
                </a:cubicBezTo>
                <a:cubicBezTo>
                  <a:pt x="422" y="26"/>
                  <a:pt x="422" y="26"/>
                  <a:pt x="422" y="26"/>
                </a:cubicBezTo>
                <a:cubicBezTo>
                  <a:pt x="420" y="26"/>
                  <a:pt x="420" y="26"/>
                  <a:pt x="420" y="26"/>
                </a:cubicBezTo>
                <a:cubicBezTo>
                  <a:pt x="417" y="23"/>
                  <a:pt x="417" y="23"/>
                  <a:pt x="417" y="23"/>
                </a:cubicBezTo>
                <a:cubicBezTo>
                  <a:pt x="416" y="23"/>
                  <a:pt x="416" y="23"/>
                  <a:pt x="416" y="23"/>
                </a:cubicBezTo>
                <a:cubicBezTo>
                  <a:pt x="416" y="25"/>
                  <a:pt x="416" y="25"/>
                  <a:pt x="416" y="25"/>
                </a:cubicBezTo>
                <a:cubicBezTo>
                  <a:pt x="420" y="28"/>
                  <a:pt x="420" y="28"/>
                  <a:pt x="420" y="28"/>
                </a:cubicBezTo>
                <a:cubicBezTo>
                  <a:pt x="417" y="27"/>
                  <a:pt x="417" y="27"/>
                  <a:pt x="417" y="27"/>
                </a:cubicBezTo>
                <a:lnTo>
                  <a:pt x="417" y="29"/>
                </a:lnTo>
                <a:close/>
                <a:moveTo>
                  <a:pt x="812" y="181"/>
                </a:moveTo>
                <a:cubicBezTo>
                  <a:pt x="812" y="179"/>
                  <a:pt x="812" y="179"/>
                  <a:pt x="812" y="179"/>
                </a:cubicBezTo>
                <a:cubicBezTo>
                  <a:pt x="810" y="178"/>
                  <a:pt x="810" y="178"/>
                  <a:pt x="810" y="178"/>
                </a:cubicBezTo>
                <a:cubicBezTo>
                  <a:pt x="809" y="176"/>
                  <a:pt x="809" y="176"/>
                  <a:pt x="809" y="176"/>
                </a:cubicBezTo>
                <a:cubicBezTo>
                  <a:pt x="809" y="177"/>
                  <a:pt x="809" y="177"/>
                  <a:pt x="809" y="177"/>
                </a:cubicBezTo>
                <a:cubicBezTo>
                  <a:pt x="809" y="180"/>
                  <a:pt x="809" y="180"/>
                  <a:pt x="809" y="180"/>
                </a:cubicBezTo>
                <a:cubicBezTo>
                  <a:pt x="810" y="181"/>
                  <a:pt x="810" y="181"/>
                  <a:pt x="810" y="181"/>
                </a:cubicBezTo>
                <a:cubicBezTo>
                  <a:pt x="810" y="183"/>
                  <a:pt x="810" y="183"/>
                  <a:pt x="810" y="183"/>
                </a:cubicBezTo>
                <a:cubicBezTo>
                  <a:pt x="810" y="184"/>
                  <a:pt x="810" y="184"/>
                  <a:pt x="810" y="184"/>
                </a:cubicBezTo>
                <a:cubicBezTo>
                  <a:pt x="812" y="185"/>
                  <a:pt x="812" y="185"/>
                  <a:pt x="812" y="185"/>
                </a:cubicBezTo>
                <a:cubicBezTo>
                  <a:pt x="813" y="186"/>
                  <a:pt x="813" y="186"/>
                  <a:pt x="813" y="186"/>
                </a:cubicBezTo>
                <a:cubicBezTo>
                  <a:pt x="813" y="187"/>
                  <a:pt x="813" y="187"/>
                  <a:pt x="813" y="187"/>
                </a:cubicBezTo>
                <a:cubicBezTo>
                  <a:pt x="814" y="187"/>
                  <a:pt x="814" y="187"/>
                  <a:pt x="814" y="187"/>
                </a:cubicBezTo>
                <a:cubicBezTo>
                  <a:pt x="816" y="187"/>
                  <a:pt x="816" y="187"/>
                  <a:pt x="816" y="187"/>
                </a:cubicBezTo>
                <a:cubicBezTo>
                  <a:pt x="817" y="185"/>
                  <a:pt x="817" y="185"/>
                  <a:pt x="817" y="185"/>
                </a:cubicBezTo>
                <a:cubicBezTo>
                  <a:pt x="815" y="185"/>
                  <a:pt x="815" y="185"/>
                  <a:pt x="815" y="185"/>
                </a:cubicBezTo>
                <a:cubicBezTo>
                  <a:pt x="813" y="184"/>
                  <a:pt x="813" y="184"/>
                  <a:pt x="813" y="184"/>
                </a:cubicBezTo>
                <a:cubicBezTo>
                  <a:pt x="813" y="181"/>
                  <a:pt x="813" y="181"/>
                  <a:pt x="813" y="181"/>
                </a:cubicBezTo>
                <a:lnTo>
                  <a:pt x="812" y="181"/>
                </a:lnTo>
                <a:close/>
                <a:moveTo>
                  <a:pt x="778" y="92"/>
                </a:moveTo>
                <a:cubicBezTo>
                  <a:pt x="779" y="93"/>
                  <a:pt x="779" y="93"/>
                  <a:pt x="779" y="93"/>
                </a:cubicBezTo>
                <a:cubicBezTo>
                  <a:pt x="780" y="92"/>
                  <a:pt x="780" y="92"/>
                  <a:pt x="780" y="92"/>
                </a:cubicBezTo>
                <a:cubicBezTo>
                  <a:pt x="781" y="92"/>
                  <a:pt x="781" y="92"/>
                  <a:pt x="781" y="92"/>
                </a:cubicBezTo>
                <a:cubicBezTo>
                  <a:pt x="781" y="91"/>
                  <a:pt x="781" y="91"/>
                  <a:pt x="781" y="91"/>
                </a:cubicBezTo>
                <a:cubicBezTo>
                  <a:pt x="780" y="91"/>
                  <a:pt x="780" y="91"/>
                  <a:pt x="780" y="91"/>
                </a:cubicBezTo>
                <a:cubicBezTo>
                  <a:pt x="779" y="91"/>
                  <a:pt x="779" y="91"/>
                  <a:pt x="779" y="91"/>
                </a:cubicBezTo>
                <a:lnTo>
                  <a:pt x="778" y="92"/>
                </a:lnTo>
                <a:close/>
                <a:moveTo>
                  <a:pt x="899" y="317"/>
                </a:moveTo>
                <a:cubicBezTo>
                  <a:pt x="899" y="316"/>
                  <a:pt x="899" y="316"/>
                  <a:pt x="899" y="316"/>
                </a:cubicBezTo>
                <a:cubicBezTo>
                  <a:pt x="898" y="318"/>
                  <a:pt x="898" y="318"/>
                  <a:pt x="898" y="318"/>
                </a:cubicBezTo>
                <a:lnTo>
                  <a:pt x="899" y="317"/>
                </a:lnTo>
                <a:close/>
                <a:moveTo>
                  <a:pt x="903" y="920"/>
                </a:moveTo>
                <a:cubicBezTo>
                  <a:pt x="904" y="919"/>
                  <a:pt x="904" y="919"/>
                  <a:pt x="904" y="919"/>
                </a:cubicBezTo>
                <a:cubicBezTo>
                  <a:pt x="901" y="920"/>
                  <a:pt x="901" y="920"/>
                  <a:pt x="901" y="920"/>
                </a:cubicBezTo>
                <a:lnTo>
                  <a:pt x="903" y="920"/>
                </a:lnTo>
                <a:close/>
                <a:moveTo>
                  <a:pt x="900" y="921"/>
                </a:moveTo>
                <a:cubicBezTo>
                  <a:pt x="897" y="923"/>
                  <a:pt x="897" y="923"/>
                  <a:pt x="897" y="923"/>
                </a:cubicBezTo>
                <a:cubicBezTo>
                  <a:pt x="895" y="922"/>
                  <a:pt x="895" y="922"/>
                  <a:pt x="895" y="922"/>
                </a:cubicBezTo>
                <a:cubicBezTo>
                  <a:pt x="893" y="923"/>
                  <a:pt x="893" y="923"/>
                  <a:pt x="893" y="923"/>
                </a:cubicBezTo>
                <a:cubicBezTo>
                  <a:pt x="892" y="924"/>
                  <a:pt x="892" y="924"/>
                  <a:pt x="892" y="924"/>
                </a:cubicBezTo>
                <a:cubicBezTo>
                  <a:pt x="894" y="926"/>
                  <a:pt x="894" y="926"/>
                  <a:pt x="894" y="926"/>
                </a:cubicBezTo>
                <a:cubicBezTo>
                  <a:pt x="894" y="927"/>
                  <a:pt x="894" y="927"/>
                  <a:pt x="894" y="927"/>
                </a:cubicBezTo>
                <a:cubicBezTo>
                  <a:pt x="892" y="929"/>
                  <a:pt x="892" y="929"/>
                  <a:pt x="892" y="929"/>
                </a:cubicBezTo>
                <a:cubicBezTo>
                  <a:pt x="890" y="930"/>
                  <a:pt x="890" y="930"/>
                  <a:pt x="890" y="930"/>
                </a:cubicBezTo>
                <a:cubicBezTo>
                  <a:pt x="892" y="931"/>
                  <a:pt x="892" y="931"/>
                  <a:pt x="892" y="931"/>
                </a:cubicBezTo>
                <a:cubicBezTo>
                  <a:pt x="897" y="930"/>
                  <a:pt x="897" y="930"/>
                  <a:pt x="897" y="930"/>
                </a:cubicBezTo>
                <a:cubicBezTo>
                  <a:pt x="899" y="928"/>
                  <a:pt x="899" y="928"/>
                  <a:pt x="899" y="928"/>
                </a:cubicBezTo>
                <a:cubicBezTo>
                  <a:pt x="899" y="926"/>
                  <a:pt x="899" y="926"/>
                  <a:pt x="899" y="926"/>
                </a:cubicBezTo>
                <a:cubicBezTo>
                  <a:pt x="898" y="924"/>
                  <a:pt x="898" y="924"/>
                  <a:pt x="898" y="924"/>
                </a:cubicBezTo>
                <a:cubicBezTo>
                  <a:pt x="901" y="922"/>
                  <a:pt x="901" y="922"/>
                  <a:pt x="901" y="922"/>
                </a:cubicBezTo>
                <a:lnTo>
                  <a:pt x="900" y="921"/>
                </a:lnTo>
                <a:close/>
                <a:moveTo>
                  <a:pt x="931" y="500"/>
                </a:moveTo>
                <a:cubicBezTo>
                  <a:pt x="931" y="500"/>
                  <a:pt x="931" y="500"/>
                  <a:pt x="931" y="500"/>
                </a:cubicBezTo>
                <a:cubicBezTo>
                  <a:pt x="930" y="500"/>
                  <a:pt x="930" y="500"/>
                  <a:pt x="930" y="500"/>
                </a:cubicBezTo>
                <a:cubicBezTo>
                  <a:pt x="930" y="499"/>
                  <a:pt x="930" y="499"/>
                  <a:pt x="930" y="499"/>
                </a:cubicBezTo>
                <a:cubicBezTo>
                  <a:pt x="931" y="498"/>
                  <a:pt x="931" y="498"/>
                  <a:pt x="931" y="498"/>
                </a:cubicBezTo>
                <a:cubicBezTo>
                  <a:pt x="931" y="497"/>
                  <a:pt x="931" y="497"/>
                  <a:pt x="931" y="497"/>
                </a:cubicBezTo>
                <a:cubicBezTo>
                  <a:pt x="933" y="496"/>
                  <a:pt x="933" y="496"/>
                  <a:pt x="933" y="496"/>
                </a:cubicBezTo>
                <a:cubicBezTo>
                  <a:pt x="933" y="496"/>
                  <a:pt x="933" y="496"/>
                  <a:pt x="933" y="496"/>
                </a:cubicBezTo>
                <a:cubicBezTo>
                  <a:pt x="933" y="496"/>
                  <a:pt x="933" y="496"/>
                  <a:pt x="933" y="496"/>
                </a:cubicBezTo>
                <a:cubicBezTo>
                  <a:pt x="932" y="496"/>
                  <a:pt x="932" y="496"/>
                  <a:pt x="932" y="496"/>
                </a:cubicBezTo>
                <a:cubicBezTo>
                  <a:pt x="931" y="497"/>
                  <a:pt x="931" y="497"/>
                  <a:pt x="931" y="497"/>
                </a:cubicBezTo>
                <a:cubicBezTo>
                  <a:pt x="930" y="499"/>
                  <a:pt x="930" y="499"/>
                  <a:pt x="930" y="499"/>
                </a:cubicBezTo>
                <a:cubicBezTo>
                  <a:pt x="930" y="500"/>
                  <a:pt x="930" y="500"/>
                  <a:pt x="930" y="500"/>
                </a:cubicBezTo>
                <a:lnTo>
                  <a:pt x="931" y="500"/>
                </a:lnTo>
                <a:close/>
                <a:moveTo>
                  <a:pt x="931" y="520"/>
                </a:moveTo>
                <a:cubicBezTo>
                  <a:pt x="934" y="522"/>
                  <a:pt x="934" y="522"/>
                  <a:pt x="934" y="522"/>
                </a:cubicBezTo>
                <a:cubicBezTo>
                  <a:pt x="935" y="523"/>
                  <a:pt x="935" y="523"/>
                  <a:pt x="935" y="523"/>
                </a:cubicBezTo>
                <a:cubicBezTo>
                  <a:pt x="936" y="523"/>
                  <a:pt x="936" y="523"/>
                  <a:pt x="936" y="523"/>
                </a:cubicBezTo>
                <a:cubicBezTo>
                  <a:pt x="936" y="521"/>
                  <a:pt x="936" y="521"/>
                  <a:pt x="936" y="521"/>
                </a:cubicBezTo>
                <a:cubicBezTo>
                  <a:pt x="937" y="521"/>
                  <a:pt x="937" y="521"/>
                  <a:pt x="937" y="521"/>
                </a:cubicBezTo>
                <a:cubicBezTo>
                  <a:pt x="937" y="522"/>
                  <a:pt x="937" y="522"/>
                  <a:pt x="937" y="522"/>
                </a:cubicBezTo>
                <a:cubicBezTo>
                  <a:pt x="939" y="522"/>
                  <a:pt x="939" y="522"/>
                  <a:pt x="939" y="522"/>
                </a:cubicBezTo>
                <a:cubicBezTo>
                  <a:pt x="942" y="519"/>
                  <a:pt x="942" y="519"/>
                  <a:pt x="942" y="519"/>
                </a:cubicBezTo>
                <a:cubicBezTo>
                  <a:pt x="945" y="519"/>
                  <a:pt x="945" y="519"/>
                  <a:pt x="945" y="519"/>
                </a:cubicBezTo>
                <a:cubicBezTo>
                  <a:pt x="946" y="518"/>
                  <a:pt x="946" y="518"/>
                  <a:pt x="946" y="518"/>
                </a:cubicBezTo>
                <a:cubicBezTo>
                  <a:pt x="948" y="517"/>
                  <a:pt x="948" y="517"/>
                  <a:pt x="948" y="517"/>
                </a:cubicBezTo>
                <a:cubicBezTo>
                  <a:pt x="948" y="517"/>
                  <a:pt x="948" y="517"/>
                  <a:pt x="948" y="517"/>
                </a:cubicBezTo>
                <a:cubicBezTo>
                  <a:pt x="947" y="514"/>
                  <a:pt x="947" y="514"/>
                  <a:pt x="947" y="514"/>
                </a:cubicBezTo>
                <a:cubicBezTo>
                  <a:pt x="945" y="514"/>
                  <a:pt x="945" y="514"/>
                  <a:pt x="945" y="514"/>
                </a:cubicBezTo>
                <a:cubicBezTo>
                  <a:pt x="944" y="514"/>
                  <a:pt x="944" y="514"/>
                  <a:pt x="944" y="514"/>
                </a:cubicBezTo>
                <a:cubicBezTo>
                  <a:pt x="944" y="515"/>
                  <a:pt x="944" y="515"/>
                  <a:pt x="944" y="515"/>
                </a:cubicBezTo>
                <a:cubicBezTo>
                  <a:pt x="943" y="516"/>
                  <a:pt x="943" y="516"/>
                  <a:pt x="943" y="516"/>
                </a:cubicBezTo>
                <a:cubicBezTo>
                  <a:pt x="942" y="515"/>
                  <a:pt x="942" y="515"/>
                  <a:pt x="942" y="515"/>
                </a:cubicBezTo>
                <a:cubicBezTo>
                  <a:pt x="943" y="514"/>
                  <a:pt x="943" y="514"/>
                  <a:pt x="943" y="514"/>
                </a:cubicBezTo>
                <a:cubicBezTo>
                  <a:pt x="942" y="513"/>
                  <a:pt x="942" y="513"/>
                  <a:pt x="942" y="513"/>
                </a:cubicBezTo>
                <a:cubicBezTo>
                  <a:pt x="940" y="512"/>
                  <a:pt x="940" y="512"/>
                  <a:pt x="940" y="512"/>
                </a:cubicBezTo>
                <a:cubicBezTo>
                  <a:pt x="941" y="511"/>
                  <a:pt x="941" y="511"/>
                  <a:pt x="941" y="511"/>
                </a:cubicBezTo>
                <a:cubicBezTo>
                  <a:pt x="944" y="507"/>
                  <a:pt x="944" y="507"/>
                  <a:pt x="944" y="507"/>
                </a:cubicBezTo>
                <a:cubicBezTo>
                  <a:pt x="944" y="506"/>
                  <a:pt x="944" y="506"/>
                  <a:pt x="944" y="506"/>
                </a:cubicBezTo>
                <a:cubicBezTo>
                  <a:pt x="942" y="505"/>
                  <a:pt x="942" y="505"/>
                  <a:pt x="942" y="505"/>
                </a:cubicBezTo>
                <a:cubicBezTo>
                  <a:pt x="943" y="504"/>
                  <a:pt x="943" y="504"/>
                  <a:pt x="943" y="504"/>
                </a:cubicBezTo>
                <a:cubicBezTo>
                  <a:pt x="943" y="503"/>
                  <a:pt x="943" y="503"/>
                  <a:pt x="943" y="503"/>
                </a:cubicBezTo>
                <a:cubicBezTo>
                  <a:pt x="941" y="503"/>
                  <a:pt x="941" y="503"/>
                  <a:pt x="941" y="503"/>
                </a:cubicBezTo>
                <a:cubicBezTo>
                  <a:pt x="940" y="505"/>
                  <a:pt x="940" y="505"/>
                  <a:pt x="940" y="505"/>
                </a:cubicBezTo>
                <a:cubicBezTo>
                  <a:pt x="938" y="507"/>
                  <a:pt x="938" y="507"/>
                  <a:pt x="938" y="507"/>
                </a:cubicBezTo>
                <a:cubicBezTo>
                  <a:pt x="937" y="509"/>
                  <a:pt x="937" y="509"/>
                  <a:pt x="937" y="509"/>
                </a:cubicBezTo>
                <a:cubicBezTo>
                  <a:pt x="936" y="510"/>
                  <a:pt x="936" y="510"/>
                  <a:pt x="936" y="510"/>
                </a:cubicBezTo>
                <a:cubicBezTo>
                  <a:pt x="934" y="513"/>
                  <a:pt x="934" y="513"/>
                  <a:pt x="934" y="513"/>
                </a:cubicBezTo>
                <a:cubicBezTo>
                  <a:pt x="931" y="515"/>
                  <a:pt x="931" y="515"/>
                  <a:pt x="931" y="515"/>
                </a:cubicBezTo>
                <a:cubicBezTo>
                  <a:pt x="930" y="516"/>
                  <a:pt x="930" y="516"/>
                  <a:pt x="930" y="516"/>
                </a:cubicBezTo>
                <a:cubicBezTo>
                  <a:pt x="931" y="517"/>
                  <a:pt x="931" y="517"/>
                  <a:pt x="931" y="517"/>
                </a:cubicBezTo>
                <a:lnTo>
                  <a:pt x="931" y="520"/>
                </a:lnTo>
                <a:close/>
                <a:moveTo>
                  <a:pt x="840" y="847"/>
                </a:moveTo>
                <a:cubicBezTo>
                  <a:pt x="844" y="848"/>
                  <a:pt x="844" y="848"/>
                  <a:pt x="844" y="848"/>
                </a:cubicBezTo>
                <a:cubicBezTo>
                  <a:pt x="846" y="848"/>
                  <a:pt x="846" y="848"/>
                  <a:pt x="846" y="848"/>
                </a:cubicBezTo>
                <a:cubicBezTo>
                  <a:pt x="849" y="847"/>
                  <a:pt x="849" y="847"/>
                  <a:pt x="849" y="847"/>
                </a:cubicBezTo>
                <a:cubicBezTo>
                  <a:pt x="851" y="848"/>
                  <a:pt x="851" y="848"/>
                  <a:pt x="851" y="848"/>
                </a:cubicBezTo>
                <a:cubicBezTo>
                  <a:pt x="854" y="846"/>
                  <a:pt x="854" y="846"/>
                  <a:pt x="854" y="846"/>
                </a:cubicBezTo>
                <a:cubicBezTo>
                  <a:pt x="856" y="843"/>
                  <a:pt x="856" y="843"/>
                  <a:pt x="856" y="843"/>
                </a:cubicBezTo>
                <a:cubicBezTo>
                  <a:pt x="855" y="843"/>
                  <a:pt x="855" y="843"/>
                  <a:pt x="855" y="843"/>
                </a:cubicBezTo>
                <a:cubicBezTo>
                  <a:pt x="854" y="842"/>
                  <a:pt x="854" y="842"/>
                  <a:pt x="854" y="842"/>
                </a:cubicBezTo>
                <a:cubicBezTo>
                  <a:pt x="853" y="841"/>
                  <a:pt x="853" y="841"/>
                  <a:pt x="853" y="841"/>
                </a:cubicBezTo>
                <a:cubicBezTo>
                  <a:pt x="849" y="842"/>
                  <a:pt x="849" y="842"/>
                  <a:pt x="849" y="842"/>
                </a:cubicBezTo>
                <a:cubicBezTo>
                  <a:pt x="841" y="841"/>
                  <a:pt x="841" y="841"/>
                  <a:pt x="841" y="841"/>
                </a:cubicBezTo>
                <a:cubicBezTo>
                  <a:pt x="841" y="842"/>
                  <a:pt x="841" y="842"/>
                  <a:pt x="841" y="842"/>
                </a:cubicBezTo>
                <a:cubicBezTo>
                  <a:pt x="839" y="843"/>
                  <a:pt x="839" y="843"/>
                  <a:pt x="839" y="843"/>
                </a:cubicBezTo>
                <a:cubicBezTo>
                  <a:pt x="839" y="845"/>
                  <a:pt x="839" y="845"/>
                  <a:pt x="839" y="845"/>
                </a:cubicBezTo>
                <a:cubicBezTo>
                  <a:pt x="839" y="846"/>
                  <a:pt x="839" y="846"/>
                  <a:pt x="839" y="846"/>
                </a:cubicBezTo>
                <a:lnTo>
                  <a:pt x="840" y="847"/>
                </a:lnTo>
                <a:close/>
                <a:moveTo>
                  <a:pt x="868" y="920"/>
                </a:moveTo>
                <a:cubicBezTo>
                  <a:pt x="867" y="919"/>
                  <a:pt x="867" y="919"/>
                  <a:pt x="867" y="919"/>
                </a:cubicBezTo>
                <a:cubicBezTo>
                  <a:pt x="865" y="921"/>
                  <a:pt x="865" y="921"/>
                  <a:pt x="865" y="921"/>
                </a:cubicBezTo>
                <a:cubicBezTo>
                  <a:pt x="865" y="921"/>
                  <a:pt x="866" y="921"/>
                  <a:pt x="866" y="921"/>
                </a:cubicBezTo>
                <a:cubicBezTo>
                  <a:pt x="868" y="921"/>
                  <a:pt x="868" y="921"/>
                  <a:pt x="868" y="921"/>
                </a:cubicBezTo>
                <a:cubicBezTo>
                  <a:pt x="870" y="921"/>
                  <a:pt x="870" y="921"/>
                  <a:pt x="870" y="921"/>
                </a:cubicBezTo>
                <a:cubicBezTo>
                  <a:pt x="872" y="920"/>
                  <a:pt x="872" y="920"/>
                  <a:pt x="872" y="920"/>
                </a:cubicBezTo>
                <a:cubicBezTo>
                  <a:pt x="871" y="918"/>
                  <a:pt x="871" y="918"/>
                  <a:pt x="871" y="918"/>
                </a:cubicBezTo>
                <a:lnTo>
                  <a:pt x="868" y="920"/>
                </a:lnTo>
                <a:close/>
                <a:moveTo>
                  <a:pt x="420" y="23"/>
                </a:moveTo>
                <a:cubicBezTo>
                  <a:pt x="419" y="23"/>
                  <a:pt x="419" y="23"/>
                  <a:pt x="419" y="23"/>
                </a:cubicBezTo>
                <a:cubicBezTo>
                  <a:pt x="421" y="25"/>
                  <a:pt x="421" y="25"/>
                  <a:pt x="421" y="25"/>
                </a:cubicBezTo>
                <a:cubicBezTo>
                  <a:pt x="424" y="23"/>
                  <a:pt x="424" y="23"/>
                  <a:pt x="424" y="23"/>
                </a:cubicBezTo>
                <a:cubicBezTo>
                  <a:pt x="423" y="22"/>
                  <a:pt x="423" y="22"/>
                  <a:pt x="423" y="22"/>
                </a:cubicBezTo>
                <a:cubicBezTo>
                  <a:pt x="424" y="20"/>
                  <a:pt x="424" y="20"/>
                  <a:pt x="424" y="20"/>
                </a:cubicBezTo>
                <a:cubicBezTo>
                  <a:pt x="425" y="15"/>
                  <a:pt x="425" y="15"/>
                  <a:pt x="425" y="15"/>
                </a:cubicBezTo>
                <a:cubicBezTo>
                  <a:pt x="424" y="13"/>
                  <a:pt x="424" y="13"/>
                  <a:pt x="424" y="13"/>
                </a:cubicBezTo>
                <a:cubicBezTo>
                  <a:pt x="423" y="14"/>
                  <a:pt x="423" y="14"/>
                  <a:pt x="423" y="14"/>
                </a:cubicBezTo>
                <a:cubicBezTo>
                  <a:pt x="422" y="15"/>
                  <a:pt x="422" y="15"/>
                  <a:pt x="422" y="15"/>
                </a:cubicBezTo>
                <a:cubicBezTo>
                  <a:pt x="421" y="14"/>
                  <a:pt x="421" y="14"/>
                  <a:pt x="421" y="14"/>
                </a:cubicBezTo>
                <a:cubicBezTo>
                  <a:pt x="420" y="15"/>
                  <a:pt x="420" y="15"/>
                  <a:pt x="420" y="15"/>
                </a:cubicBezTo>
                <a:cubicBezTo>
                  <a:pt x="420" y="19"/>
                  <a:pt x="420" y="19"/>
                  <a:pt x="420" y="19"/>
                </a:cubicBezTo>
                <a:cubicBezTo>
                  <a:pt x="421" y="21"/>
                  <a:pt x="421" y="21"/>
                  <a:pt x="421" y="21"/>
                </a:cubicBezTo>
                <a:lnTo>
                  <a:pt x="420" y="23"/>
                </a:lnTo>
                <a:close/>
                <a:moveTo>
                  <a:pt x="822" y="178"/>
                </a:moveTo>
                <a:cubicBezTo>
                  <a:pt x="822" y="177"/>
                  <a:pt x="822" y="177"/>
                  <a:pt x="822" y="177"/>
                </a:cubicBezTo>
                <a:cubicBezTo>
                  <a:pt x="821" y="176"/>
                  <a:pt x="821" y="176"/>
                  <a:pt x="821" y="176"/>
                </a:cubicBezTo>
                <a:cubicBezTo>
                  <a:pt x="820" y="176"/>
                  <a:pt x="820" y="176"/>
                  <a:pt x="820" y="176"/>
                </a:cubicBezTo>
                <a:cubicBezTo>
                  <a:pt x="820" y="176"/>
                  <a:pt x="820" y="176"/>
                  <a:pt x="820" y="176"/>
                </a:cubicBezTo>
                <a:cubicBezTo>
                  <a:pt x="821" y="177"/>
                  <a:pt x="821" y="177"/>
                  <a:pt x="821" y="177"/>
                </a:cubicBezTo>
                <a:lnTo>
                  <a:pt x="822" y="178"/>
                </a:lnTo>
                <a:close/>
                <a:moveTo>
                  <a:pt x="900" y="320"/>
                </a:moveTo>
                <a:cubicBezTo>
                  <a:pt x="901" y="318"/>
                  <a:pt x="901" y="318"/>
                  <a:pt x="901" y="318"/>
                </a:cubicBezTo>
                <a:cubicBezTo>
                  <a:pt x="900" y="316"/>
                  <a:pt x="900" y="316"/>
                  <a:pt x="900" y="316"/>
                </a:cubicBezTo>
                <a:cubicBezTo>
                  <a:pt x="899" y="317"/>
                  <a:pt x="899" y="317"/>
                  <a:pt x="899" y="317"/>
                </a:cubicBezTo>
                <a:cubicBezTo>
                  <a:pt x="900" y="319"/>
                  <a:pt x="900" y="319"/>
                  <a:pt x="900" y="319"/>
                </a:cubicBezTo>
                <a:cubicBezTo>
                  <a:pt x="900" y="320"/>
                  <a:pt x="900" y="320"/>
                  <a:pt x="900" y="320"/>
                </a:cubicBezTo>
                <a:close/>
                <a:moveTo>
                  <a:pt x="897" y="317"/>
                </a:moveTo>
                <a:cubicBezTo>
                  <a:pt x="898" y="317"/>
                  <a:pt x="898" y="317"/>
                  <a:pt x="898" y="317"/>
                </a:cubicBezTo>
                <a:cubicBezTo>
                  <a:pt x="898" y="316"/>
                  <a:pt x="898" y="316"/>
                  <a:pt x="898" y="316"/>
                </a:cubicBezTo>
                <a:lnTo>
                  <a:pt x="897" y="317"/>
                </a:lnTo>
                <a:close/>
                <a:moveTo>
                  <a:pt x="929" y="474"/>
                </a:moveTo>
                <a:cubicBezTo>
                  <a:pt x="931" y="475"/>
                  <a:pt x="931" y="475"/>
                  <a:pt x="931" y="475"/>
                </a:cubicBezTo>
                <a:cubicBezTo>
                  <a:pt x="932" y="475"/>
                  <a:pt x="932" y="475"/>
                  <a:pt x="932" y="475"/>
                </a:cubicBezTo>
                <a:cubicBezTo>
                  <a:pt x="934" y="476"/>
                  <a:pt x="934" y="476"/>
                  <a:pt x="934" y="476"/>
                </a:cubicBezTo>
                <a:cubicBezTo>
                  <a:pt x="936" y="475"/>
                  <a:pt x="936" y="475"/>
                  <a:pt x="936" y="475"/>
                </a:cubicBezTo>
                <a:cubicBezTo>
                  <a:pt x="937" y="474"/>
                  <a:pt x="937" y="474"/>
                  <a:pt x="937" y="474"/>
                </a:cubicBezTo>
                <a:cubicBezTo>
                  <a:pt x="936" y="473"/>
                  <a:pt x="936" y="473"/>
                  <a:pt x="936" y="473"/>
                </a:cubicBezTo>
                <a:cubicBezTo>
                  <a:pt x="935" y="472"/>
                  <a:pt x="935" y="472"/>
                  <a:pt x="935" y="472"/>
                </a:cubicBezTo>
                <a:cubicBezTo>
                  <a:pt x="934" y="471"/>
                  <a:pt x="934" y="471"/>
                  <a:pt x="934" y="471"/>
                </a:cubicBezTo>
                <a:cubicBezTo>
                  <a:pt x="933" y="470"/>
                  <a:pt x="933" y="470"/>
                  <a:pt x="933" y="470"/>
                </a:cubicBezTo>
                <a:cubicBezTo>
                  <a:pt x="931" y="469"/>
                  <a:pt x="931" y="469"/>
                  <a:pt x="931" y="469"/>
                </a:cubicBezTo>
                <a:cubicBezTo>
                  <a:pt x="929" y="467"/>
                  <a:pt x="929" y="467"/>
                  <a:pt x="929" y="467"/>
                </a:cubicBezTo>
                <a:cubicBezTo>
                  <a:pt x="928" y="467"/>
                  <a:pt x="928" y="467"/>
                  <a:pt x="928" y="467"/>
                </a:cubicBezTo>
                <a:cubicBezTo>
                  <a:pt x="926" y="465"/>
                  <a:pt x="926" y="465"/>
                  <a:pt x="926" y="465"/>
                </a:cubicBezTo>
                <a:cubicBezTo>
                  <a:pt x="924" y="464"/>
                  <a:pt x="924" y="464"/>
                  <a:pt x="924" y="464"/>
                </a:cubicBezTo>
                <a:cubicBezTo>
                  <a:pt x="921" y="463"/>
                  <a:pt x="921" y="463"/>
                  <a:pt x="921" y="463"/>
                </a:cubicBezTo>
                <a:cubicBezTo>
                  <a:pt x="916" y="462"/>
                  <a:pt x="916" y="462"/>
                  <a:pt x="916" y="462"/>
                </a:cubicBezTo>
                <a:cubicBezTo>
                  <a:pt x="914" y="461"/>
                  <a:pt x="914" y="461"/>
                  <a:pt x="914" y="461"/>
                </a:cubicBezTo>
                <a:cubicBezTo>
                  <a:pt x="912" y="462"/>
                  <a:pt x="912" y="462"/>
                  <a:pt x="912" y="462"/>
                </a:cubicBezTo>
                <a:cubicBezTo>
                  <a:pt x="913" y="464"/>
                  <a:pt x="913" y="464"/>
                  <a:pt x="913" y="464"/>
                </a:cubicBezTo>
                <a:cubicBezTo>
                  <a:pt x="915" y="465"/>
                  <a:pt x="915" y="465"/>
                  <a:pt x="915" y="465"/>
                </a:cubicBezTo>
                <a:cubicBezTo>
                  <a:pt x="919" y="467"/>
                  <a:pt x="919" y="467"/>
                  <a:pt x="919" y="467"/>
                </a:cubicBezTo>
                <a:cubicBezTo>
                  <a:pt x="919" y="469"/>
                  <a:pt x="919" y="469"/>
                  <a:pt x="919" y="469"/>
                </a:cubicBezTo>
                <a:cubicBezTo>
                  <a:pt x="920" y="470"/>
                  <a:pt x="920" y="470"/>
                  <a:pt x="920" y="470"/>
                </a:cubicBezTo>
                <a:cubicBezTo>
                  <a:pt x="921" y="470"/>
                  <a:pt x="921" y="470"/>
                  <a:pt x="921" y="470"/>
                </a:cubicBezTo>
                <a:cubicBezTo>
                  <a:pt x="924" y="473"/>
                  <a:pt x="924" y="473"/>
                  <a:pt x="924" y="473"/>
                </a:cubicBezTo>
                <a:cubicBezTo>
                  <a:pt x="927" y="473"/>
                  <a:pt x="927" y="473"/>
                  <a:pt x="927" y="473"/>
                </a:cubicBezTo>
                <a:lnTo>
                  <a:pt x="929" y="474"/>
                </a:lnTo>
                <a:close/>
                <a:moveTo>
                  <a:pt x="925" y="510"/>
                </a:moveTo>
                <a:cubicBezTo>
                  <a:pt x="926" y="510"/>
                  <a:pt x="926" y="510"/>
                  <a:pt x="926" y="510"/>
                </a:cubicBezTo>
                <a:cubicBezTo>
                  <a:pt x="923" y="510"/>
                  <a:pt x="923" y="510"/>
                  <a:pt x="923" y="510"/>
                </a:cubicBezTo>
                <a:cubicBezTo>
                  <a:pt x="921" y="509"/>
                  <a:pt x="921" y="509"/>
                  <a:pt x="921" y="509"/>
                </a:cubicBezTo>
                <a:cubicBezTo>
                  <a:pt x="920" y="510"/>
                  <a:pt x="920" y="510"/>
                  <a:pt x="920" y="510"/>
                </a:cubicBezTo>
                <a:cubicBezTo>
                  <a:pt x="918" y="510"/>
                  <a:pt x="918" y="510"/>
                  <a:pt x="918" y="510"/>
                </a:cubicBezTo>
                <a:cubicBezTo>
                  <a:pt x="917" y="509"/>
                  <a:pt x="917" y="509"/>
                  <a:pt x="917" y="509"/>
                </a:cubicBezTo>
                <a:cubicBezTo>
                  <a:pt x="915" y="509"/>
                  <a:pt x="915" y="509"/>
                  <a:pt x="915" y="509"/>
                </a:cubicBezTo>
                <a:cubicBezTo>
                  <a:pt x="913" y="507"/>
                  <a:pt x="913" y="507"/>
                  <a:pt x="913" y="507"/>
                </a:cubicBezTo>
                <a:cubicBezTo>
                  <a:pt x="911" y="507"/>
                  <a:pt x="911" y="507"/>
                  <a:pt x="911" y="507"/>
                </a:cubicBezTo>
                <a:cubicBezTo>
                  <a:pt x="911" y="508"/>
                  <a:pt x="911" y="508"/>
                  <a:pt x="911" y="508"/>
                </a:cubicBezTo>
                <a:cubicBezTo>
                  <a:pt x="910" y="507"/>
                  <a:pt x="910" y="507"/>
                  <a:pt x="910" y="507"/>
                </a:cubicBezTo>
                <a:cubicBezTo>
                  <a:pt x="910" y="506"/>
                  <a:pt x="910" y="506"/>
                  <a:pt x="910" y="506"/>
                </a:cubicBezTo>
                <a:cubicBezTo>
                  <a:pt x="909" y="505"/>
                  <a:pt x="909" y="505"/>
                  <a:pt x="909" y="505"/>
                </a:cubicBezTo>
                <a:cubicBezTo>
                  <a:pt x="909" y="504"/>
                  <a:pt x="909" y="504"/>
                  <a:pt x="909" y="504"/>
                </a:cubicBezTo>
                <a:cubicBezTo>
                  <a:pt x="910" y="503"/>
                  <a:pt x="910" y="503"/>
                  <a:pt x="910" y="503"/>
                </a:cubicBezTo>
                <a:cubicBezTo>
                  <a:pt x="910" y="501"/>
                  <a:pt x="910" y="501"/>
                  <a:pt x="910" y="501"/>
                </a:cubicBezTo>
                <a:cubicBezTo>
                  <a:pt x="906" y="504"/>
                  <a:pt x="906" y="504"/>
                  <a:pt x="906" y="504"/>
                </a:cubicBezTo>
                <a:cubicBezTo>
                  <a:pt x="905" y="505"/>
                  <a:pt x="905" y="505"/>
                  <a:pt x="905" y="505"/>
                </a:cubicBezTo>
                <a:cubicBezTo>
                  <a:pt x="906" y="506"/>
                  <a:pt x="906" y="506"/>
                  <a:pt x="906" y="506"/>
                </a:cubicBezTo>
                <a:cubicBezTo>
                  <a:pt x="907" y="506"/>
                  <a:pt x="907" y="506"/>
                  <a:pt x="907" y="506"/>
                </a:cubicBezTo>
                <a:cubicBezTo>
                  <a:pt x="908" y="507"/>
                  <a:pt x="908" y="507"/>
                  <a:pt x="908" y="507"/>
                </a:cubicBezTo>
                <a:cubicBezTo>
                  <a:pt x="908" y="508"/>
                  <a:pt x="908" y="508"/>
                  <a:pt x="908" y="508"/>
                </a:cubicBezTo>
                <a:cubicBezTo>
                  <a:pt x="909" y="509"/>
                  <a:pt x="909" y="509"/>
                  <a:pt x="909" y="509"/>
                </a:cubicBezTo>
                <a:cubicBezTo>
                  <a:pt x="910" y="510"/>
                  <a:pt x="910" y="510"/>
                  <a:pt x="910" y="510"/>
                </a:cubicBezTo>
                <a:cubicBezTo>
                  <a:pt x="910" y="510"/>
                  <a:pt x="910" y="510"/>
                  <a:pt x="910" y="510"/>
                </a:cubicBezTo>
                <a:cubicBezTo>
                  <a:pt x="911" y="511"/>
                  <a:pt x="911" y="511"/>
                  <a:pt x="911" y="511"/>
                </a:cubicBezTo>
                <a:cubicBezTo>
                  <a:pt x="912" y="512"/>
                  <a:pt x="912" y="512"/>
                  <a:pt x="912" y="512"/>
                </a:cubicBezTo>
                <a:cubicBezTo>
                  <a:pt x="913" y="513"/>
                  <a:pt x="913" y="513"/>
                  <a:pt x="913" y="513"/>
                </a:cubicBezTo>
                <a:cubicBezTo>
                  <a:pt x="917" y="513"/>
                  <a:pt x="917" y="513"/>
                  <a:pt x="917" y="513"/>
                </a:cubicBezTo>
                <a:cubicBezTo>
                  <a:pt x="918" y="515"/>
                  <a:pt x="918" y="515"/>
                  <a:pt x="918" y="515"/>
                </a:cubicBezTo>
                <a:cubicBezTo>
                  <a:pt x="920" y="516"/>
                  <a:pt x="920" y="516"/>
                  <a:pt x="920" y="516"/>
                </a:cubicBezTo>
                <a:cubicBezTo>
                  <a:pt x="922" y="516"/>
                  <a:pt x="922" y="516"/>
                  <a:pt x="922" y="516"/>
                </a:cubicBezTo>
                <a:cubicBezTo>
                  <a:pt x="923" y="514"/>
                  <a:pt x="923" y="514"/>
                  <a:pt x="923" y="514"/>
                </a:cubicBezTo>
                <a:cubicBezTo>
                  <a:pt x="922" y="513"/>
                  <a:pt x="922" y="513"/>
                  <a:pt x="922" y="513"/>
                </a:cubicBezTo>
                <a:cubicBezTo>
                  <a:pt x="923" y="511"/>
                  <a:pt x="923" y="511"/>
                  <a:pt x="923" y="511"/>
                </a:cubicBezTo>
                <a:lnTo>
                  <a:pt x="925" y="510"/>
                </a:lnTo>
                <a:close/>
                <a:moveTo>
                  <a:pt x="746" y="96"/>
                </a:moveTo>
                <a:cubicBezTo>
                  <a:pt x="748" y="93"/>
                  <a:pt x="748" y="93"/>
                  <a:pt x="748" y="93"/>
                </a:cubicBezTo>
                <a:cubicBezTo>
                  <a:pt x="747" y="91"/>
                  <a:pt x="747" y="91"/>
                  <a:pt x="747" y="91"/>
                </a:cubicBezTo>
                <a:cubicBezTo>
                  <a:pt x="745" y="90"/>
                  <a:pt x="745" y="90"/>
                  <a:pt x="745" y="90"/>
                </a:cubicBezTo>
                <a:cubicBezTo>
                  <a:pt x="743" y="92"/>
                  <a:pt x="743" y="92"/>
                  <a:pt x="743" y="92"/>
                </a:cubicBezTo>
                <a:cubicBezTo>
                  <a:pt x="742" y="95"/>
                  <a:pt x="742" y="95"/>
                  <a:pt x="742" y="95"/>
                </a:cubicBezTo>
                <a:cubicBezTo>
                  <a:pt x="742" y="96"/>
                  <a:pt x="743" y="96"/>
                  <a:pt x="743" y="96"/>
                </a:cubicBezTo>
                <a:cubicBezTo>
                  <a:pt x="744" y="94"/>
                  <a:pt x="744" y="94"/>
                  <a:pt x="744" y="94"/>
                </a:cubicBezTo>
                <a:cubicBezTo>
                  <a:pt x="744" y="93"/>
                  <a:pt x="744" y="93"/>
                  <a:pt x="744" y="93"/>
                </a:cubicBezTo>
                <a:cubicBezTo>
                  <a:pt x="744" y="95"/>
                  <a:pt x="744" y="95"/>
                  <a:pt x="744" y="95"/>
                </a:cubicBezTo>
                <a:cubicBezTo>
                  <a:pt x="744" y="97"/>
                  <a:pt x="744" y="97"/>
                  <a:pt x="744" y="97"/>
                </a:cubicBezTo>
                <a:lnTo>
                  <a:pt x="746" y="96"/>
                </a:lnTo>
                <a:close/>
                <a:moveTo>
                  <a:pt x="740" y="90"/>
                </a:moveTo>
                <a:cubicBezTo>
                  <a:pt x="740" y="93"/>
                  <a:pt x="740" y="93"/>
                  <a:pt x="740" y="93"/>
                </a:cubicBezTo>
                <a:cubicBezTo>
                  <a:pt x="741" y="93"/>
                  <a:pt x="741" y="93"/>
                  <a:pt x="741" y="93"/>
                </a:cubicBezTo>
                <a:cubicBezTo>
                  <a:pt x="742" y="91"/>
                  <a:pt x="742" y="91"/>
                  <a:pt x="742" y="91"/>
                </a:cubicBezTo>
                <a:cubicBezTo>
                  <a:pt x="741" y="89"/>
                  <a:pt x="741" y="89"/>
                  <a:pt x="741" y="89"/>
                </a:cubicBezTo>
                <a:lnTo>
                  <a:pt x="740" y="90"/>
                </a:lnTo>
                <a:close/>
                <a:moveTo>
                  <a:pt x="718" y="61"/>
                </a:moveTo>
                <a:cubicBezTo>
                  <a:pt x="719" y="61"/>
                  <a:pt x="719" y="61"/>
                  <a:pt x="719" y="61"/>
                </a:cubicBezTo>
                <a:cubicBezTo>
                  <a:pt x="719" y="59"/>
                  <a:pt x="719" y="59"/>
                  <a:pt x="719" y="59"/>
                </a:cubicBezTo>
                <a:cubicBezTo>
                  <a:pt x="720" y="58"/>
                  <a:pt x="720" y="58"/>
                  <a:pt x="720" y="58"/>
                </a:cubicBezTo>
                <a:cubicBezTo>
                  <a:pt x="719" y="57"/>
                  <a:pt x="719" y="57"/>
                  <a:pt x="719" y="57"/>
                </a:cubicBezTo>
                <a:cubicBezTo>
                  <a:pt x="719" y="56"/>
                  <a:pt x="719" y="56"/>
                  <a:pt x="719" y="56"/>
                </a:cubicBezTo>
                <a:cubicBezTo>
                  <a:pt x="718" y="55"/>
                  <a:pt x="718" y="55"/>
                  <a:pt x="718" y="55"/>
                </a:cubicBezTo>
                <a:cubicBezTo>
                  <a:pt x="717" y="56"/>
                  <a:pt x="717" y="56"/>
                  <a:pt x="717" y="56"/>
                </a:cubicBezTo>
                <a:cubicBezTo>
                  <a:pt x="717" y="58"/>
                  <a:pt x="717" y="58"/>
                  <a:pt x="717" y="58"/>
                </a:cubicBezTo>
                <a:cubicBezTo>
                  <a:pt x="717" y="59"/>
                  <a:pt x="717" y="59"/>
                  <a:pt x="717" y="59"/>
                </a:cubicBezTo>
                <a:lnTo>
                  <a:pt x="718" y="61"/>
                </a:lnTo>
                <a:close/>
                <a:moveTo>
                  <a:pt x="712" y="101"/>
                </a:moveTo>
                <a:cubicBezTo>
                  <a:pt x="713" y="100"/>
                  <a:pt x="713" y="100"/>
                  <a:pt x="713" y="100"/>
                </a:cubicBezTo>
                <a:cubicBezTo>
                  <a:pt x="713" y="98"/>
                  <a:pt x="713" y="98"/>
                  <a:pt x="713" y="98"/>
                </a:cubicBezTo>
                <a:cubicBezTo>
                  <a:pt x="714" y="97"/>
                  <a:pt x="714" y="97"/>
                  <a:pt x="714" y="97"/>
                </a:cubicBezTo>
                <a:cubicBezTo>
                  <a:pt x="715" y="99"/>
                  <a:pt x="715" y="99"/>
                  <a:pt x="715" y="99"/>
                </a:cubicBezTo>
                <a:cubicBezTo>
                  <a:pt x="715" y="101"/>
                  <a:pt x="715" y="101"/>
                  <a:pt x="715" y="101"/>
                </a:cubicBezTo>
                <a:cubicBezTo>
                  <a:pt x="717" y="103"/>
                  <a:pt x="717" y="103"/>
                  <a:pt x="717" y="103"/>
                </a:cubicBezTo>
                <a:cubicBezTo>
                  <a:pt x="718" y="101"/>
                  <a:pt x="718" y="101"/>
                  <a:pt x="718" y="101"/>
                </a:cubicBezTo>
                <a:cubicBezTo>
                  <a:pt x="719" y="102"/>
                  <a:pt x="719" y="102"/>
                  <a:pt x="719" y="102"/>
                </a:cubicBezTo>
                <a:cubicBezTo>
                  <a:pt x="718" y="104"/>
                  <a:pt x="718" y="104"/>
                  <a:pt x="718" y="104"/>
                </a:cubicBezTo>
                <a:cubicBezTo>
                  <a:pt x="720" y="107"/>
                  <a:pt x="720" y="107"/>
                  <a:pt x="720" y="107"/>
                </a:cubicBezTo>
                <a:cubicBezTo>
                  <a:pt x="722" y="107"/>
                  <a:pt x="722" y="107"/>
                  <a:pt x="722" y="107"/>
                </a:cubicBezTo>
                <a:cubicBezTo>
                  <a:pt x="723" y="110"/>
                  <a:pt x="723" y="110"/>
                  <a:pt x="723" y="110"/>
                </a:cubicBezTo>
                <a:cubicBezTo>
                  <a:pt x="725" y="112"/>
                  <a:pt x="725" y="112"/>
                  <a:pt x="725" y="112"/>
                </a:cubicBezTo>
                <a:cubicBezTo>
                  <a:pt x="726" y="109"/>
                  <a:pt x="726" y="109"/>
                  <a:pt x="726" y="109"/>
                </a:cubicBezTo>
                <a:cubicBezTo>
                  <a:pt x="726" y="111"/>
                  <a:pt x="726" y="111"/>
                  <a:pt x="726" y="111"/>
                </a:cubicBezTo>
                <a:cubicBezTo>
                  <a:pt x="729" y="113"/>
                  <a:pt x="729" y="113"/>
                  <a:pt x="729" y="113"/>
                </a:cubicBezTo>
                <a:cubicBezTo>
                  <a:pt x="730" y="113"/>
                  <a:pt x="730" y="113"/>
                  <a:pt x="730" y="113"/>
                </a:cubicBezTo>
                <a:cubicBezTo>
                  <a:pt x="732" y="113"/>
                  <a:pt x="732" y="113"/>
                  <a:pt x="732" y="113"/>
                </a:cubicBezTo>
                <a:cubicBezTo>
                  <a:pt x="734" y="111"/>
                  <a:pt x="734" y="111"/>
                  <a:pt x="734" y="111"/>
                </a:cubicBezTo>
                <a:cubicBezTo>
                  <a:pt x="736" y="111"/>
                  <a:pt x="736" y="111"/>
                  <a:pt x="736" y="111"/>
                </a:cubicBezTo>
                <a:cubicBezTo>
                  <a:pt x="738" y="109"/>
                  <a:pt x="738" y="109"/>
                  <a:pt x="738" y="109"/>
                </a:cubicBezTo>
                <a:cubicBezTo>
                  <a:pt x="739" y="111"/>
                  <a:pt x="739" y="111"/>
                  <a:pt x="739" y="111"/>
                </a:cubicBezTo>
                <a:cubicBezTo>
                  <a:pt x="740" y="110"/>
                  <a:pt x="740" y="110"/>
                  <a:pt x="740" y="110"/>
                </a:cubicBezTo>
                <a:cubicBezTo>
                  <a:pt x="743" y="108"/>
                  <a:pt x="743" y="108"/>
                  <a:pt x="743" y="108"/>
                </a:cubicBezTo>
                <a:cubicBezTo>
                  <a:pt x="743" y="106"/>
                  <a:pt x="743" y="106"/>
                  <a:pt x="743" y="106"/>
                </a:cubicBezTo>
                <a:cubicBezTo>
                  <a:pt x="741" y="107"/>
                  <a:pt x="741" y="107"/>
                  <a:pt x="741" y="107"/>
                </a:cubicBezTo>
                <a:cubicBezTo>
                  <a:pt x="740" y="105"/>
                  <a:pt x="740" y="105"/>
                  <a:pt x="740" y="105"/>
                </a:cubicBezTo>
                <a:cubicBezTo>
                  <a:pt x="742" y="101"/>
                  <a:pt x="742" y="101"/>
                  <a:pt x="742" y="101"/>
                </a:cubicBezTo>
                <a:cubicBezTo>
                  <a:pt x="742" y="99"/>
                  <a:pt x="742" y="99"/>
                  <a:pt x="742" y="99"/>
                </a:cubicBezTo>
                <a:cubicBezTo>
                  <a:pt x="740" y="101"/>
                  <a:pt x="740" y="101"/>
                  <a:pt x="740" y="101"/>
                </a:cubicBezTo>
                <a:cubicBezTo>
                  <a:pt x="739" y="104"/>
                  <a:pt x="739" y="104"/>
                  <a:pt x="739" y="104"/>
                </a:cubicBezTo>
                <a:cubicBezTo>
                  <a:pt x="738" y="102"/>
                  <a:pt x="738" y="102"/>
                  <a:pt x="738" y="102"/>
                </a:cubicBezTo>
                <a:cubicBezTo>
                  <a:pt x="740" y="97"/>
                  <a:pt x="740" y="97"/>
                  <a:pt x="740" y="97"/>
                </a:cubicBezTo>
                <a:cubicBezTo>
                  <a:pt x="739" y="90"/>
                  <a:pt x="739" y="90"/>
                  <a:pt x="739" y="90"/>
                </a:cubicBezTo>
                <a:cubicBezTo>
                  <a:pt x="736" y="88"/>
                  <a:pt x="736" y="88"/>
                  <a:pt x="736" y="88"/>
                </a:cubicBezTo>
                <a:cubicBezTo>
                  <a:pt x="736" y="86"/>
                  <a:pt x="736" y="86"/>
                  <a:pt x="736" y="86"/>
                </a:cubicBezTo>
                <a:cubicBezTo>
                  <a:pt x="734" y="86"/>
                  <a:pt x="734" y="86"/>
                  <a:pt x="734" y="86"/>
                </a:cubicBezTo>
                <a:cubicBezTo>
                  <a:pt x="733" y="88"/>
                  <a:pt x="733" y="88"/>
                  <a:pt x="733" y="88"/>
                </a:cubicBezTo>
                <a:cubicBezTo>
                  <a:pt x="733" y="86"/>
                  <a:pt x="733" y="86"/>
                  <a:pt x="733" y="86"/>
                </a:cubicBezTo>
                <a:cubicBezTo>
                  <a:pt x="734" y="85"/>
                  <a:pt x="734" y="85"/>
                  <a:pt x="734" y="85"/>
                </a:cubicBezTo>
                <a:cubicBezTo>
                  <a:pt x="734" y="83"/>
                  <a:pt x="734" y="83"/>
                  <a:pt x="734" y="83"/>
                </a:cubicBezTo>
                <a:cubicBezTo>
                  <a:pt x="734" y="81"/>
                  <a:pt x="734" y="81"/>
                  <a:pt x="734" y="81"/>
                </a:cubicBezTo>
                <a:cubicBezTo>
                  <a:pt x="734" y="79"/>
                  <a:pt x="734" y="79"/>
                  <a:pt x="734" y="79"/>
                </a:cubicBezTo>
                <a:cubicBezTo>
                  <a:pt x="731" y="80"/>
                  <a:pt x="731" y="80"/>
                  <a:pt x="731" y="80"/>
                </a:cubicBezTo>
                <a:cubicBezTo>
                  <a:pt x="728" y="82"/>
                  <a:pt x="728" y="82"/>
                  <a:pt x="728" y="82"/>
                </a:cubicBezTo>
                <a:cubicBezTo>
                  <a:pt x="727" y="86"/>
                  <a:pt x="727" y="86"/>
                  <a:pt x="727" y="86"/>
                </a:cubicBezTo>
                <a:cubicBezTo>
                  <a:pt x="727" y="89"/>
                  <a:pt x="727" y="89"/>
                  <a:pt x="727" y="89"/>
                </a:cubicBezTo>
                <a:cubicBezTo>
                  <a:pt x="726" y="88"/>
                  <a:pt x="726" y="88"/>
                  <a:pt x="726" y="88"/>
                </a:cubicBezTo>
                <a:cubicBezTo>
                  <a:pt x="725" y="85"/>
                  <a:pt x="725" y="85"/>
                  <a:pt x="725" y="85"/>
                </a:cubicBezTo>
                <a:cubicBezTo>
                  <a:pt x="724" y="85"/>
                  <a:pt x="724" y="85"/>
                  <a:pt x="724" y="85"/>
                </a:cubicBezTo>
                <a:cubicBezTo>
                  <a:pt x="724" y="88"/>
                  <a:pt x="724" y="88"/>
                  <a:pt x="724" y="88"/>
                </a:cubicBezTo>
                <a:cubicBezTo>
                  <a:pt x="722" y="88"/>
                  <a:pt x="722" y="88"/>
                  <a:pt x="722" y="88"/>
                </a:cubicBezTo>
                <a:cubicBezTo>
                  <a:pt x="723" y="90"/>
                  <a:pt x="723" y="90"/>
                  <a:pt x="723" y="90"/>
                </a:cubicBezTo>
                <a:cubicBezTo>
                  <a:pt x="722" y="91"/>
                  <a:pt x="722" y="91"/>
                  <a:pt x="722" y="91"/>
                </a:cubicBezTo>
                <a:cubicBezTo>
                  <a:pt x="721" y="91"/>
                  <a:pt x="721" y="91"/>
                  <a:pt x="721" y="91"/>
                </a:cubicBezTo>
                <a:cubicBezTo>
                  <a:pt x="720" y="93"/>
                  <a:pt x="720" y="93"/>
                  <a:pt x="720" y="93"/>
                </a:cubicBezTo>
                <a:cubicBezTo>
                  <a:pt x="716" y="93"/>
                  <a:pt x="716" y="93"/>
                  <a:pt x="716" y="93"/>
                </a:cubicBezTo>
                <a:cubicBezTo>
                  <a:pt x="715" y="93"/>
                  <a:pt x="715" y="93"/>
                  <a:pt x="715" y="93"/>
                </a:cubicBezTo>
                <a:cubicBezTo>
                  <a:pt x="714" y="93"/>
                  <a:pt x="714" y="93"/>
                  <a:pt x="714" y="93"/>
                </a:cubicBezTo>
                <a:cubicBezTo>
                  <a:pt x="709" y="96"/>
                  <a:pt x="709" y="96"/>
                  <a:pt x="709" y="96"/>
                </a:cubicBezTo>
                <a:cubicBezTo>
                  <a:pt x="710" y="98"/>
                  <a:pt x="710" y="98"/>
                  <a:pt x="710" y="98"/>
                </a:cubicBezTo>
                <a:lnTo>
                  <a:pt x="712" y="101"/>
                </a:lnTo>
                <a:close/>
                <a:moveTo>
                  <a:pt x="704" y="118"/>
                </a:moveTo>
                <a:cubicBezTo>
                  <a:pt x="705" y="117"/>
                  <a:pt x="705" y="117"/>
                  <a:pt x="705" y="117"/>
                </a:cubicBezTo>
                <a:cubicBezTo>
                  <a:pt x="705" y="116"/>
                  <a:pt x="705" y="116"/>
                  <a:pt x="705" y="116"/>
                </a:cubicBezTo>
                <a:cubicBezTo>
                  <a:pt x="703" y="116"/>
                  <a:pt x="703" y="116"/>
                  <a:pt x="703" y="116"/>
                </a:cubicBezTo>
                <a:cubicBezTo>
                  <a:pt x="703" y="117"/>
                  <a:pt x="703" y="117"/>
                  <a:pt x="703" y="117"/>
                </a:cubicBezTo>
                <a:lnTo>
                  <a:pt x="704" y="118"/>
                </a:lnTo>
                <a:close/>
                <a:moveTo>
                  <a:pt x="699" y="84"/>
                </a:moveTo>
                <a:cubicBezTo>
                  <a:pt x="699" y="85"/>
                  <a:pt x="699" y="85"/>
                  <a:pt x="699" y="85"/>
                </a:cubicBezTo>
                <a:cubicBezTo>
                  <a:pt x="700" y="86"/>
                  <a:pt x="700" y="86"/>
                  <a:pt x="700" y="86"/>
                </a:cubicBezTo>
                <a:cubicBezTo>
                  <a:pt x="701" y="84"/>
                  <a:pt x="701" y="84"/>
                  <a:pt x="701" y="84"/>
                </a:cubicBezTo>
                <a:cubicBezTo>
                  <a:pt x="701" y="85"/>
                  <a:pt x="701" y="85"/>
                  <a:pt x="701" y="85"/>
                </a:cubicBezTo>
                <a:cubicBezTo>
                  <a:pt x="702" y="83"/>
                  <a:pt x="702" y="83"/>
                  <a:pt x="702" y="83"/>
                </a:cubicBezTo>
                <a:cubicBezTo>
                  <a:pt x="702" y="82"/>
                  <a:pt x="702" y="82"/>
                  <a:pt x="702" y="82"/>
                </a:cubicBezTo>
                <a:cubicBezTo>
                  <a:pt x="701" y="81"/>
                  <a:pt x="701" y="81"/>
                  <a:pt x="701" y="81"/>
                </a:cubicBezTo>
                <a:cubicBezTo>
                  <a:pt x="701" y="80"/>
                  <a:pt x="701" y="80"/>
                  <a:pt x="701" y="80"/>
                </a:cubicBezTo>
                <a:cubicBezTo>
                  <a:pt x="700" y="80"/>
                  <a:pt x="700" y="80"/>
                  <a:pt x="700" y="80"/>
                </a:cubicBezTo>
                <a:cubicBezTo>
                  <a:pt x="700" y="81"/>
                  <a:pt x="700" y="81"/>
                  <a:pt x="700" y="81"/>
                </a:cubicBezTo>
                <a:cubicBezTo>
                  <a:pt x="701" y="83"/>
                  <a:pt x="701" y="83"/>
                  <a:pt x="701" y="83"/>
                </a:cubicBezTo>
                <a:cubicBezTo>
                  <a:pt x="699" y="83"/>
                  <a:pt x="699" y="83"/>
                  <a:pt x="699" y="83"/>
                </a:cubicBezTo>
                <a:lnTo>
                  <a:pt x="699" y="84"/>
                </a:lnTo>
                <a:close/>
                <a:moveTo>
                  <a:pt x="698" y="99"/>
                </a:moveTo>
                <a:cubicBezTo>
                  <a:pt x="699" y="101"/>
                  <a:pt x="699" y="101"/>
                  <a:pt x="699" y="101"/>
                </a:cubicBezTo>
                <a:cubicBezTo>
                  <a:pt x="700" y="100"/>
                  <a:pt x="700" y="100"/>
                  <a:pt x="700" y="100"/>
                </a:cubicBezTo>
                <a:cubicBezTo>
                  <a:pt x="700" y="99"/>
                  <a:pt x="700" y="99"/>
                  <a:pt x="700" y="99"/>
                </a:cubicBezTo>
                <a:cubicBezTo>
                  <a:pt x="702" y="97"/>
                  <a:pt x="702" y="97"/>
                  <a:pt x="702" y="97"/>
                </a:cubicBezTo>
                <a:cubicBezTo>
                  <a:pt x="703" y="95"/>
                  <a:pt x="703" y="95"/>
                  <a:pt x="703" y="95"/>
                </a:cubicBezTo>
                <a:cubicBezTo>
                  <a:pt x="702" y="94"/>
                  <a:pt x="702" y="94"/>
                  <a:pt x="702" y="94"/>
                </a:cubicBezTo>
                <a:cubicBezTo>
                  <a:pt x="702" y="93"/>
                  <a:pt x="702" y="93"/>
                  <a:pt x="702" y="93"/>
                </a:cubicBezTo>
                <a:cubicBezTo>
                  <a:pt x="701" y="92"/>
                  <a:pt x="701" y="92"/>
                  <a:pt x="701" y="92"/>
                </a:cubicBezTo>
                <a:cubicBezTo>
                  <a:pt x="700" y="94"/>
                  <a:pt x="700" y="94"/>
                  <a:pt x="700" y="94"/>
                </a:cubicBezTo>
                <a:cubicBezTo>
                  <a:pt x="700" y="95"/>
                  <a:pt x="700" y="95"/>
                  <a:pt x="700" y="95"/>
                </a:cubicBezTo>
                <a:cubicBezTo>
                  <a:pt x="698" y="98"/>
                  <a:pt x="698" y="98"/>
                  <a:pt x="698" y="98"/>
                </a:cubicBezTo>
                <a:lnTo>
                  <a:pt x="698" y="99"/>
                </a:lnTo>
                <a:close/>
                <a:moveTo>
                  <a:pt x="834" y="572"/>
                </a:moveTo>
                <a:cubicBezTo>
                  <a:pt x="834" y="573"/>
                  <a:pt x="834" y="573"/>
                  <a:pt x="834" y="573"/>
                </a:cubicBezTo>
                <a:cubicBezTo>
                  <a:pt x="833" y="573"/>
                  <a:pt x="833" y="573"/>
                  <a:pt x="833" y="573"/>
                </a:cubicBezTo>
                <a:cubicBezTo>
                  <a:pt x="834" y="574"/>
                  <a:pt x="834" y="574"/>
                  <a:pt x="834" y="574"/>
                </a:cubicBezTo>
                <a:cubicBezTo>
                  <a:pt x="835" y="574"/>
                  <a:pt x="835" y="574"/>
                  <a:pt x="835" y="574"/>
                </a:cubicBezTo>
                <a:cubicBezTo>
                  <a:pt x="836" y="573"/>
                  <a:pt x="836" y="573"/>
                  <a:pt x="836" y="573"/>
                </a:cubicBezTo>
                <a:cubicBezTo>
                  <a:pt x="837" y="573"/>
                  <a:pt x="837" y="573"/>
                  <a:pt x="837" y="573"/>
                </a:cubicBezTo>
                <a:cubicBezTo>
                  <a:pt x="836" y="572"/>
                  <a:pt x="836" y="572"/>
                  <a:pt x="836" y="572"/>
                </a:cubicBezTo>
                <a:lnTo>
                  <a:pt x="834" y="572"/>
                </a:lnTo>
                <a:close/>
                <a:moveTo>
                  <a:pt x="805" y="136"/>
                </a:moveTo>
                <a:cubicBezTo>
                  <a:pt x="806" y="134"/>
                  <a:pt x="806" y="134"/>
                  <a:pt x="806" y="134"/>
                </a:cubicBezTo>
                <a:cubicBezTo>
                  <a:pt x="806" y="132"/>
                  <a:pt x="806" y="132"/>
                  <a:pt x="806" y="132"/>
                </a:cubicBezTo>
                <a:cubicBezTo>
                  <a:pt x="805" y="131"/>
                  <a:pt x="805" y="131"/>
                  <a:pt x="805" y="131"/>
                </a:cubicBezTo>
                <a:cubicBezTo>
                  <a:pt x="804" y="132"/>
                  <a:pt x="804" y="132"/>
                  <a:pt x="804" y="132"/>
                </a:cubicBezTo>
                <a:cubicBezTo>
                  <a:pt x="802" y="134"/>
                  <a:pt x="802" y="134"/>
                  <a:pt x="802" y="134"/>
                </a:cubicBezTo>
                <a:cubicBezTo>
                  <a:pt x="802" y="136"/>
                  <a:pt x="802" y="136"/>
                  <a:pt x="802" y="136"/>
                </a:cubicBezTo>
                <a:cubicBezTo>
                  <a:pt x="801" y="138"/>
                  <a:pt x="801" y="138"/>
                  <a:pt x="801" y="138"/>
                </a:cubicBezTo>
                <a:cubicBezTo>
                  <a:pt x="804" y="138"/>
                  <a:pt x="804" y="138"/>
                  <a:pt x="804" y="138"/>
                </a:cubicBezTo>
                <a:cubicBezTo>
                  <a:pt x="805" y="138"/>
                  <a:pt x="805" y="138"/>
                  <a:pt x="805" y="138"/>
                </a:cubicBezTo>
                <a:lnTo>
                  <a:pt x="805" y="136"/>
                </a:lnTo>
                <a:close/>
                <a:moveTo>
                  <a:pt x="800" y="139"/>
                </a:moveTo>
                <a:cubicBezTo>
                  <a:pt x="800" y="141"/>
                  <a:pt x="800" y="141"/>
                  <a:pt x="800" y="141"/>
                </a:cubicBezTo>
                <a:cubicBezTo>
                  <a:pt x="801" y="141"/>
                  <a:pt x="801" y="141"/>
                  <a:pt x="801" y="141"/>
                </a:cubicBezTo>
                <a:cubicBezTo>
                  <a:pt x="803" y="141"/>
                  <a:pt x="803" y="141"/>
                  <a:pt x="803" y="141"/>
                </a:cubicBezTo>
                <a:cubicBezTo>
                  <a:pt x="804" y="140"/>
                  <a:pt x="804" y="140"/>
                  <a:pt x="804" y="140"/>
                </a:cubicBezTo>
                <a:cubicBezTo>
                  <a:pt x="804" y="139"/>
                  <a:pt x="804" y="139"/>
                  <a:pt x="804" y="139"/>
                </a:cubicBezTo>
                <a:cubicBezTo>
                  <a:pt x="802" y="139"/>
                  <a:pt x="802" y="139"/>
                  <a:pt x="802" y="139"/>
                </a:cubicBezTo>
                <a:lnTo>
                  <a:pt x="800" y="139"/>
                </a:lnTo>
                <a:close/>
                <a:moveTo>
                  <a:pt x="776" y="8"/>
                </a:moveTo>
                <a:cubicBezTo>
                  <a:pt x="777" y="8"/>
                  <a:pt x="777" y="8"/>
                  <a:pt x="777" y="8"/>
                </a:cubicBezTo>
                <a:cubicBezTo>
                  <a:pt x="778" y="6"/>
                  <a:pt x="778" y="6"/>
                  <a:pt x="778" y="6"/>
                </a:cubicBezTo>
                <a:cubicBezTo>
                  <a:pt x="779" y="5"/>
                  <a:pt x="779" y="5"/>
                  <a:pt x="779" y="5"/>
                </a:cubicBezTo>
                <a:cubicBezTo>
                  <a:pt x="778" y="4"/>
                  <a:pt x="778" y="4"/>
                  <a:pt x="778" y="4"/>
                </a:cubicBezTo>
                <a:cubicBezTo>
                  <a:pt x="778" y="2"/>
                  <a:pt x="778" y="2"/>
                  <a:pt x="778" y="2"/>
                </a:cubicBezTo>
                <a:cubicBezTo>
                  <a:pt x="776" y="3"/>
                  <a:pt x="776" y="3"/>
                  <a:pt x="776" y="3"/>
                </a:cubicBezTo>
                <a:cubicBezTo>
                  <a:pt x="776" y="4"/>
                  <a:pt x="776" y="4"/>
                  <a:pt x="776" y="4"/>
                </a:cubicBezTo>
                <a:cubicBezTo>
                  <a:pt x="775" y="5"/>
                  <a:pt x="775" y="5"/>
                  <a:pt x="775" y="5"/>
                </a:cubicBezTo>
                <a:cubicBezTo>
                  <a:pt x="775" y="7"/>
                  <a:pt x="775" y="7"/>
                  <a:pt x="775" y="7"/>
                </a:cubicBezTo>
                <a:lnTo>
                  <a:pt x="776" y="8"/>
                </a:lnTo>
                <a:close/>
                <a:moveTo>
                  <a:pt x="776" y="12"/>
                </a:moveTo>
                <a:cubicBezTo>
                  <a:pt x="777" y="10"/>
                  <a:pt x="777" y="10"/>
                  <a:pt x="777" y="10"/>
                </a:cubicBezTo>
                <a:cubicBezTo>
                  <a:pt x="775" y="10"/>
                  <a:pt x="775" y="10"/>
                  <a:pt x="775" y="10"/>
                </a:cubicBezTo>
                <a:cubicBezTo>
                  <a:pt x="774" y="11"/>
                  <a:pt x="774" y="11"/>
                  <a:pt x="774" y="11"/>
                </a:cubicBezTo>
                <a:cubicBezTo>
                  <a:pt x="773" y="12"/>
                  <a:pt x="773" y="12"/>
                  <a:pt x="773" y="12"/>
                </a:cubicBezTo>
                <a:cubicBezTo>
                  <a:pt x="775" y="13"/>
                  <a:pt x="775" y="13"/>
                  <a:pt x="775" y="13"/>
                </a:cubicBezTo>
                <a:lnTo>
                  <a:pt x="776" y="12"/>
                </a:lnTo>
                <a:close/>
                <a:moveTo>
                  <a:pt x="755" y="49"/>
                </a:moveTo>
                <a:cubicBezTo>
                  <a:pt x="755" y="49"/>
                  <a:pt x="755" y="49"/>
                  <a:pt x="755" y="49"/>
                </a:cubicBezTo>
                <a:cubicBezTo>
                  <a:pt x="756" y="49"/>
                  <a:pt x="756" y="49"/>
                  <a:pt x="756" y="49"/>
                </a:cubicBezTo>
                <a:cubicBezTo>
                  <a:pt x="756" y="47"/>
                  <a:pt x="756" y="47"/>
                  <a:pt x="756" y="47"/>
                </a:cubicBezTo>
                <a:cubicBezTo>
                  <a:pt x="755" y="47"/>
                  <a:pt x="755" y="47"/>
                  <a:pt x="755" y="47"/>
                </a:cubicBezTo>
                <a:lnTo>
                  <a:pt x="755" y="49"/>
                </a:lnTo>
                <a:close/>
                <a:moveTo>
                  <a:pt x="523" y="20"/>
                </a:moveTo>
                <a:cubicBezTo>
                  <a:pt x="523" y="19"/>
                  <a:pt x="523" y="19"/>
                  <a:pt x="523" y="19"/>
                </a:cubicBezTo>
                <a:cubicBezTo>
                  <a:pt x="524" y="19"/>
                  <a:pt x="524" y="19"/>
                  <a:pt x="524" y="19"/>
                </a:cubicBezTo>
                <a:cubicBezTo>
                  <a:pt x="521" y="19"/>
                  <a:pt x="521" y="19"/>
                  <a:pt x="521" y="19"/>
                </a:cubicBezTo>
                <a:cubicBezTo>
                  <a:pt x="520" y="20"/>
                  <a:pt x="520" y="20"/>
                  <a:pt x="520" y="20"/>
                </a:cubicBezTo>
                <a:cubicBezTo>
                  <a:pt x="522" y="21"/>
                  <a:pt x="522" y="21"/>
                  <a:pt x="522" y="21"/>
                </a:cubicBezTo>
                <a:lnTo>
                  <a:pt x="523" y="20"/>
                </a:lnTo>
                <a:close/>
                <a:moveTo>
                  <a:pt x="617" y="103"/>
                </a:moveTo>
                <a:cubicBezTo>
                  <a:pt x="617" y="104"/>
                  <a:pt x="617" y="104"/>
                  <a:pt x="617" y="104"/>
                </a:cubicBezTo>
                <a:cubicBezTo>
                  <a:pt x="617" y="105"/>
                  <a:pt x="617" y="105"/>
                  <a:pt x="617" y="105"/>
                </a:cubicBezTo>
                <a:cubicBezTo>
                  <a:pt x="618" y="105"/>
                  <a:pt x="618" y="105"/>
                  <a:pt x="618" y="105"/>
                </a:cubicBezTo>
                <a:lnTo>
                  <a:pt x="617" y="103"/>
                </a:lnTo>
                <a:close/>
                <a:moveTo>
                  <a:pt x="617" y="106"/>
                </a:moveTo>
                <a:cubicBezTo>
                  <a:pt x="616" y="103"/>
                  <a:pt x="616" y="103"/>
                  <a:pt x="616" y="103"/>
                </a:cubicBezTo>
                <a:cubicBezTo>
                  <a:pt x="615" y="104"/>
                  <a:pt x="615" y="104"/>
                  <a:pt x="615" y="104"/>
                </a:cubicBezTo>
                <a:cubicBezTo>
                  <a:pt x="616" y="105"/>
                  <a:pt x="616" y="105"/>
                  <a:pt x="616" y="105"/>
                </a:cubicBezTo>
                <a:lnTo>
                  <a:pt x="617" y="106"/>
                </a:lnTo>
                <a:close/>
                <a:moveTo>
                  <a:pt x="432" y="5"/>
                </a:moveTo>
                <a:cubicBezTo>
                  <a:pt x="431" y="5"/>
                  <a:pt x="431" y="5"/>
                  <a:pt x="431" y="5"/>
                </a:cubicBezTo>
                <a:cubicBezTo>
                  <a:pt x="431" y="5"/>
                  <a:pt x="430" y="6"/>
                  <a:pt x="430" y="6"/>
                </a:cubicBezTo>
                <a:cubicBezTo>
                  <a:pt x="431" y="7"/>
                  <a:pt x="431" y="7"/>
                  <a:pt x="431" y="7"/>
                </a:cubicBezTo>
                <a:lnTo>
                  <a:pt x="432" y="5"/>
                </a:lnTo>
                <a:close/>
                <a:moveTo>
                  <a:pt x="616" y="97"/>
                </a:moveTo>
                <a:cubicBezTo>
                  <a:pt x="615" y="97"/>
                  <a:pt x="615" y="97"/>
                  <a:pt x="615" y="97"/>
                </a:cubicBezTo>
                <a:cubicBezTo>
                  <a:pt x="614" y="98"/>
                  <a:pt x="614" y="98"/>
                  <a:pt x="614" y="98"/>
                </a:cubicBezTo>
                <a:cubicBezTo>
                  <a:pt x="616" y="98"/>
                  <a:pt x="616" y="98"/>
                  <a:pt x="616" y="98"/>
                </a:cubicBezTo>
                <a:lnTo>
                  <a:pt x="616" y="97"/>
                </a:lnTo>
                <a:close/>
                <a:moveTo>
                  <a:pt x="431" y="9"/>
                </a:moveTo>
                <a:cubicBezTo>
                  <a:pt x="430" y="8"/>
                  <a:pt x="430" y="8"/>
                  <a:pt x="430" y="8"/>
                </a:cubicBezTo>
                <a:cubicBezTo>
                  <a:pt x="429" y="9"/>
                  <a:pt x="429" y="9"/>
                  <a:pt x="429" y="9"/>
                </a:cubicBezTo>
                <a:cubicBezTo>
                  <a:pt x="430" y="10"/>
                  <a:pt x="430" y="10"/>
                  <a:pt x="430" y="10"/>
                </a:cubicBezTo>
                <a:lnTo>
                  <a:pt x="431" y="9"/>
                </a:lnTo>
                <a:close/>
                <a:moveTo>
                  <a:pt x="425" y="23"/>
                </a:moveTo>
                <a:cubicBezTo>
                  <a:pt x="427" y="23"/>
                  <a:pt x="427" y="23"/>
                  <a:pt x="427" y="23"/>
                </a:cubicBezTo>
                <a:cubicBezTo>
                  <a:pt x="429" y="21"/>
                  <a:pt x="429" y="21"/>
                  <a:pt x="429" y="21"/>
                </a:cubicBezTo>
                <a:cubicBezTo>
                  <a:pt x="430" y="21"/>
                  <a:pt x="430" y="21"/>
                  <a:pt x="430" y="21"/>
                </a:cubicBezTo>
                <a:cubicBezTo>
                  <a:pt x="437" y="16"/>
                  <a:pt x="437" y="16"/>
                  <a:pt x="437" y="16"/>
                </a:cubicBezTo>
                <a:cubicBezTo>
                  <a:pt x="440" y="14"/>
                  <a:pt x="440" y="14"/>
                  <a:pt x="440" y="14"/>
                </a:cubicBezTo>
                <a:cubicBezTo>
                  <a:pt x="441" y="12"/>
                  <a:pt x="441" y="12"/>
                  <a:pt x="441" y="12"/>
                </a:cubicBezTo>
                <a:cubicBezTo>
                  <a:pt x="440" y="12"/>
                  <a:pt x="440" y="12"/>
                  <a:pt x="440" y="12"/>
                </a:cubicBezTo>
                <a:cubicBezTo>
                  <a:pt x="439" y="11"/>
                  <a:pt x="439" y="11"/>
                  <a:pt x="439" y="11"/>
                </a:cubicBezTo>
                <a:cubicBezTo>
                  <a:pt x="439" y="8"/>
                  <a:pt x="439" y="8"/>
                  <a:pt x="439" y="8"/>
                </a:cubicBezTo>
                <a:cubicBezTo>
                  <a:pt x="437" y="8"/>
                  <a:pt x="437" y="8"/>
                  <a:pt x="437" y="8"/>
                </a:cubicBezTo>
                <a:cubicBezTo>
                  <a:pt x="436" y="11"/>
                  <a:pt x="436" y="11"/>
                  <a:pt x="436" y="11"/>
                </a:cubicBezTo>
                <a:cubicBezTo>
                  <a:pt x="434" y="11"/>
                  <a:pt x="434" y="11"/>
                  <a:pt x="434" y="11"/>
                </a:cubicBezTo>
                <a:cubicBezTo>
                  <a:pt x="434" y="13"/>
                  <a:pt x="434" y="13"/>
                  <a:pt x="434" y="13"/>
                </a:cubicBezTo>
                <a:cubicBezTo>
                  <a:pt x="433" y="13"/>
                  <a:pt x="433" y="13"/>
                  <a:pt x="433" y="13"/>
                </a:cubicBezTo>
                <a:cubicBezTo>
                  <a:pt x="432" y="14"/>
                  <a:pt x="432" y="14"/>
                  <a:pt x="432" y="14"/>
                </a:cubicBezTo>
                <a:cubicBezTo>
                  <a:pt x="431" y="15"/>
                  <a:pt x="431" y="15"/>
                  <a:pt x="431" y="15"/>
                </a:cubicBezTo>
                <a:cubicBezTo>
                  <a:pt x="430" y="14"/>
                  <a:pt x="430" y="14"/>
                  <a:pt x="430" y="14"/>
                </a:cubicBezTo>
                <a:cubicBezTo>
                  <a:pt x="431" y="12"/>
                  <a:pt x="431" y="12"/>
                  <a:pt x="431" y="12"/>
                </a:cubicBezTo>
                <a:cubicBezTo>
                  <a:pt x="430" y="11"/>
                  <a:pt x="430" y="11"/>
                  <a:pt x="430" y="11"/>
                </a:cubicBezTo>
                <a:cubicBezTo>
                  <a:pt x="429" y="13"/>
                  <a:pt x="429" y="13"/>
                  <a:pt x="429" y="13"/>
                </a:cubicBezTo>
                <a:cubicBezTo>
                  <a:pt x="428" y="12"/>
                  <a:pt x="428" y="12"/>
                  <a:pt x="428" y="12"/>
                </a:cubicBezTo>
                <a:cubicBezTo>
                  <a:pt x="427" y="15"/>
                  <a:pt x="427" y="15"/>
                  <a:pt x="427" y="15"/>
                </a:cubicBezTo>
                <a:cubicBezTo>
                  <a:pt x="426" y="16"/>
                  <a:pt x="426" y="16"/>
                  <a:pt x="426" y="16"/>
                </a:cubicBezTo>
                <a:cubicBezTo>
                  <a:pt x="426" y="19"/>
                  <a:pt x="426" y="19"/>
                  <a:pt x="426" y="19"/>
                </a:cubicBezTo>
                <a:cubicBezTo>
                  <a:pt x="425" y="21"/>
                  <a:pt x="425" y="21"/>
                  <a:pt x="425" y="21"/>
                </a:cubicBezTo>
                <a:lnTo>
                  <a:pt x="425" y="23"/>
                </a:lnTo>
                <a:close/>
                <a:moveTo>
                  <a:pt x="693" y="77"/>
                </a:moveTo>
                <a:cubicBezTo>
                  <a:pt x="693" y="77"/>
                  <a:pt x="693" y="77"/>
                  <a:pt x="693" y="77"/>
                </a:cubicBezTo>
                <a:cubicBezTo>
                  <a:pt x="694" y="76"/>
                  <a:pt x="694" y="76"/>
                  <a:pt x="694" y="76"/>
                </a:cubicBezTo>
                <a:cubicBezTo>
                  <a:pt x="693" y="75"/>
                  <a:pt x="693" y="75"/>
                  <a:pt x="693" y="75"/>
                </a:cubicBezTo>
                <a:cubicBezTo>
                  <a:pt x="693" y="76"/>
                  <a:pt x="693" y="76"/>
                  <a:pt x="693" y="76"/>
                </a:cubicBezTo>
                <a:lnTo>
                  <a:pt x="693" y="77"/>
                </a:lnTo>
                <a:close/>
                <a:moveTo>
                  <a:pt x="684" y="96"/>
                </a:moveTo>
                <a:cubicBezTo>
                  <a:pt x="682" y="97"/>
                  <a:pt x="682" y="97"/>
                  <a:pt x="682" y="97"/>
                </a:cubicBezTo>
                <a:cubicBezTo>
                  <a:pt x="682" y="98"/>
                  <a:pt x="682" y="98"/>
                  <a:pt x="682" y="98"/>
                </a:cubicBezTo>
                <a:cubicBezTo>
                  <a:pt x="680" y="98"/>
                  <a:pt x="680" y="98"/>
                  <a:pt x="680" y="98"/>
                </a:cubicBezTo>
                <a:cubicBezTo>
                  <a:pt x="680" y="99"/>
                  <a:pt x="680" y="99"/>
                  <a:pt x="680" y="99"/>
                </a:cubicBezTo>
                <a:cubicBezTo>
                  <a:pt x="681" y="100"/>
                  <a:pt x="681" y="100"/>
                  <a:pt x="681" y="100"/>
                </a:cubicBezTo>
                <a:cubicBezTo>
                  <a:pt x="682" y="101"/>
                  <a:pt x="682" y="101"/>
                  <a:pt x="682" y="101"/>
                </a:cubicBezTo>
                <a:cubicBezTo>
                  <a:pt x="684" y="100"/>
                  <a:pt x="684" y="100"/>
                  <a:pt x="684" y="100"/>
                </a:cubicBezTo>
                <a:cubicBezTo>
                  <a:pt x="684" y="99"/>
                  <a:pt x="684" y="99"/>
                  <a:pt x="684" y="99"/>
                </a:cubicBezTo>
                <a:cubicBezTo>
                  <a:pt x="684" y="98"/>
                  <a:pt x="684" y="98"/>
                  <a:pt x="684" y="98"/>
                </a:cubicBezTo>
                <a:cubicBezTo>
                  <a:pt x="684" y="97"/>
                  <a:pt x="684" y="97"/>
                  <a:pt x="684" y="97"/>
                </a:cubicBezTo>
                <a:lnTo>
                  <a:pt x="684" y="96"/>
                </a:lnTo>
                <a:close/>
                <a:moveTo>
                  <a:pt x="706" y="93"/>
                </a:moveTo>
                <a:cubicBezTo>
                  <a:pt x="707" y="92"/>
                  <a:pt x="707" y="92"/>
                  <a:pt x="707" y="92"/>
                </a:cubicBezTo>
                <a:cubicBezTo>
                  <a:pt x="706" y="90"/>
                  <a:pt x="706" y="90"/>
                  <a:pt x="706" y="90"/>
                </a:cubicBezTo>
                <a:cubicBezTo>
                  <a:pt x="705" y="90"/>
                  <a:pt x="705" y="90"/>
                  <a:pt x="705" y="90"/>
                </a:cubicBezTo>
                <a:cubicBezTo>
                  <a:pt x="704" y="93"/>
                  <a:pt x="704" y="93"/>
                  <a:pt x="704" y="93"/>
                </a:cubicBezTo>
                <a:cubicBezTo>
                  <a:pt x="704" y="94"/>
                  <a:pt x="704" y="94"/>
                  <a:pt x="704" y="94"/>
                </a:cubicBezTo>
                <a:cubicBezTo>
                  <a:pt x="705" y="95"/>
                  <a:pt x="705" y="95"/>
                  <a:pt x="705" y="95"/>
                </a:cubicBezTo>
                <a:cubicBezTo>
                  <a:pt x="705" y="95"/>
                  <a:pt x="706" y="95"/>
                  <a:pt x="706" y="95"/>
                </a:cubicBezTo>
                <a:lnTo>
                  <a:pt x="706" y="93"/>
                </a:lnTo>
                <a:close/>
                <a:moveTo>
                  <a:pt x="620" y="117"/>
                </a:moveTo>
                <a:cubicBezTo>
                  <a:pt x="620" y="116"/>
                  <a:pt x="620" y="116"/>
                  <a:pt x="620" y="116"/>
                </a:cubicBezTo>
                <a:cubicBezTo>
                  <a:pt x="619" y="115"/>
                  <a:pt x="619" y="115"/>
                  <a:pt x="619" y="115"/>
                </a:cubicBezTo>
                <a:cubicBezTo>
                  <a:pt x="618" y="117"/>
                  <a:pt x="618" y="117"/>
                  <a:pt x="618" y="117"/>
                </a:cubicBezTo>
                <a:cubicBezTo>
                  <a:pt x="618" y="118"/>
                  <a:pt x="618" y="118"/>
                  <a:pt x="618" y="118"/>
                </a:cubicBezTo>
                <a:cubicBezTo>
                  <a:pt x="617" y="119"/>
                  <a:pt x="617" y="119"/>
                  <a:pt x="617" y="119"/>
                </a:cubicBezTo>
                <a:cubicBezTo>
                  <a:pt x="618" y="123"/>
                  <a:pt x="618" y="123"/>
                  <a:pt x="618" y="123"/>
                </a:cubicBezTo>
                <a:cubicBezTo>
                  <a:pt x="619" y="122"/>
                  <a:pt x="619" y="122"/>
                  <a:pt x="619" y="122"/>
                </a:cubicBezTo>
                <a:cubicBezTo>
                  <a:pt x="619" y="121"/>
                  <a:pt x="619" y="121"/>
                  <a:pt x="619" y="121"/>
                </a:cubicBezTo>
                <a:cubicBezTo>
                  <a:pt x="620" y="120"/>
                  <a:pt x="620" y="120"/>
                  <a:pt x="620" y="120"/>
                </a:cubicBezTo>
                <a:cubicBezTo>
                  <a:pt x="620" y="119"/>
                  <a:pt x="620" y="119"/>
                  <a:pt x="620" y="119"/>
                </a:cubicBezTo>
                <a:cubicBezTo>
                  <a:pt x="620" y="118"/>
                  <a:pt x="620" y="118"/>
                  <a:pt x="620" y="118"/>
                </a:cubicBezTo>
                <a:lnTo>
                  <a:pt x="620" y="117"/>
                </a:lnTo>
                <a:close/>
                <a:moveTo>
                  <a:pt x="623" y="94"/>
                </a:moveTo>
                <a:cubicBezTo>
                  <a:pt x="622" y="94"/>
                  <a:pt x="622" y="94"/>
                  <a:pt x="622" y="94"/>
                </a:cubicBezTo>
                <a:cubicBezTo>
                  <a:pt x="621" y="95"/>
                  <a:pt x="621" y="95"/>
                  <a:pt x="621" y="95"/>
                </a:cubicBezTo>
                <a:cubicBezTo>
                  <a:pt x="621" y="95"/>
                  <a:pt x="622" y="95"/>
                  <a:pt x="622" y="95"/>
                </a:cubicBezTo>
                <a:lnTo>
                  <a:pt x="623" y="94"/>
                </a:lnTo>
                <a:close/>
                <a:moveTo>
                  <a:pt x="623" y="110"/>
                </a:moveTo>
                <a:cubicBezTo>
                  <a:pt x="622" y="111"/>
                  <a:pt x="622" y="111"/>
                  <a:pt x="622" y="111"/>
                </a:cubicBezTo>
                <a:cubicBezTo>
                  <a:pt x="621" y="110"/>
                  <a:pt x="621" y="110"/>
                  <a:pt x="621" y="110"/>
                </a:cubicBezTo>
                <a:cubicBezTo>
                  <a:pt x="620" y="111"/>
                  <a:pt x="620" y="111"/>
                  <a:pt x="620" y="111"/>
                </a:cubicBezTo>
                <a:cubicBezTo>
                  <a:pt x="621" y="113"/>
                  <a:pt x="621" y="113"/>
                  <a:pt x="621" y="113"/>
                </a:cubicBezTo>
                <a:cubicBezTo>
                  <a:pt x="622" y="113"/>
                  <a:pt x="622" y="113"/>
                  <a:pt x="622" y="113"/>
                </a:cubicBezTo>
                <a:cubicBezTo>
                  <a:pt x="623" y="112"/>
                  <a:pt x="623" y="112"/>
                  <a:pt x="623" y="112"/>
                </a:cubicBezTo>
                <a:cubicBezTo>
                  <a:pt x="623" y="111"/>
                  <a:pt x="623" y="111"/>
                  <a:pt x="623" y="111"/>
                </a:cubicBezTo>
                <a:cubicBezTo>
                  <a:pt x="624" y="110"/>
                  <a:pt x="624" y="110"/>
                  <a:pt x="624" y="110"/>
                </a:cubicBezTo>
                <a:lnTo>
                  <a:pt x="623" y="110"/>
                </a:lnTo>
                <a:close/>
                <a:moveTo>
                  <a:pt x="98" y="89"/>
                </a:moveTo>
                <a:cubicBezTo>
                  <a:pt x="99" y="90"/>
                  <a:pt x="99" y="90"/>
                  <a:pt x="99" y="90"/>
                </a:cubicBezTo>
                <a:cubicBezTo>
                  <a:pt x="99" y="91"/>
                  <a:pt x="99" y="91"/>
                  <a:pt x="99" y="91"/>
                </a:cubicBezTo>
                <a:cubicBezTo>
                  <a:pt x="99" y="91"/>
                  <a:pt x="98" y="92"/>
                  <a:pt x="98" y="92"/>
                </a:cubicBezTo>
                <a:cubicBezTo>
                  <a:pt x="100" y="93"/>
                  <a:pt x="100" y="93"/>
                  <a:pt x="100" y="93"/>
                </a:cubicBezTo>
                <a:cubicBezTo>
                  <a:pt x="104" y="89"/>
                  <a:pt x="104" y="89"/>
                  <a:pt x="104" y="89"/>
                </a:cubicBezTo>
                <a:cubicBezTo>
                  <a:pt x="106" y="88"/>
                  <a:pt x="106" y="88"/>
                  <a:pt x="106" y="88"/>
                </a:cubicBezTo>
                <a:cubicBezTo>
                  <a:pt x="106" y="87"/>
                  <a:pt x="106" y="87"/>
                  <a:pt x="106" y="87"/>
                </a:cubicBezTo>
                <a:cubicBezTo>
                  <a:pt x="102" y="84"/>
                  <a:pt x="102" y="84"/>
                  <a:pt x="102" y="84"/>
                </a:cubicBezTo>
                <a:cubicBezTo>
                  <a:pt x="98" y="85"/>
                  <a:pt x="98" y="85"/>
                  <a:pt x="98" y="85"/>
                </a:cubicBezTo>
                <a:cubicBezTo>
                  <a:pt x="97" y="86"/>
                  <a:pt x="97" y="86"/>
                  <a:pt x="97" y="86"/>
                </a:cubicBezTo>
                <a:cubicBezTo>
                  <a:pt x="98" y="87"/>
                  <a:pt x="98" y="87"/>
                  <a:pt x="98" y="87"/>
                </a:cubicBezTo>
                <a:lnTo>
                  <a:pt x="98" y="89"/>
                </a:lnTo>
                <a:close/>
                <a:moveTo>
                  <a:pt x="806" y="1535"/>
                </a:moveTo>
                <a:cubicBezTo>
                  <a:pt x="806" y="1536"/>
                  <a:pt x="806" y="1536"/>
                  <a:pt x="806" y="1536"/>
                </a:cubicBezTo>
                <a:cubicBezTo>
                  <a:pt x="807" y="1536"/>
                  <a:pt x="807" y="1536"/>
                  <a:pt x="807" y="1536"/>
                </a:cubicBezTo>
                <a:cubicBezTo>
                  <a:pt x="809" y="1536"/>
                  <a:pt x="809" y="1536"/>
                  <a:pt x="809" y="1536"/>
                </a:cubicBezTo>
                <a:cubicBezTo>
                  <a:pt x="809" y="1535"/>
                  <a:pt x="809" y="1535"/>
                  <a:pt x="809" y="1535"/>
                </a:cubicBezTo>
                <a:cubicBezTo>
                  <a:pt x="808" y="1534"/>
                  <a:pt x="808" y="1534"/>
                  <a:pt x="808" y="1534"/>
                </a:cubicBezTo>
                <a:cubicBezTo>
                  <a:pt x="807" y="1534"/>
                  <a:pt x="807" y="1534"/>
                  <a:pt x="807" y="1534"/>
                </a:cubicBezTo>
                <a:lnTo>
                  <a:pt x="806" y="1535"/>
                </a:lnTo>
                <a:close/>
                <a:moveTo>
                  <a:pt x="812" y="1555"/>
                </a:moveTo>
                <a:cubicBezTo>
                  <a:pt x="811" y="1553"/>
                  <a:pt x="811" y="1553"/>
                  <a:pt x="811" y="1553"/>
                </a:cubicBezTo>
                <a:cubicBezTo>
                  <a:pt x="809" y="1553"/>
                  <a:pt x="809" y="1553"/>
                  <a:pt x="809" y="1553"/>
                </a:cubicBezTo>
                <a:cubicBezTo>
                  <a:pt x="809" y="1552"/>
                  <a:pt x="809" y="1552"/>
                  <a:pt x="809" y="1552"/>
                </a:cubicBezTo>
                <a:cubicBezTo>
                  <a:pt x="808" y="1553"/>
                  <a:pt x="808" y="1553"/>
                  <a:pt x="808" y="1553"/>
                </a:cubicBezTo>
                <a:cubicBezTo>
                  <a:pt x="810" y="1555"/>
                  <a:pt x="810" y="1555"/>
                  <a:pt x="810" y="1555"/>
                </a:cubicBezTo>
                <a:lnTo>
                  <a:pt x="812" y="1555"/>
                </a:lnTo>
                <a:close/>
                <a:moveTo>
                  <a:pt x="809" y="1543"/>
                </a:moveTo>
                <a:cubicBezTo>
                  <a:pt x="809" y="1542"/>
                  <a:pt x="809" y="1542"/>
                  <a:pt x="809" y="1542"/>
                </a:cubicBezTo>
                <a:cubicBezTo>
                  <a:pt x="812" y="1542"/>
                  <a:pt x="812" y="1542"/>
                  <a:pt x="812" y="1542"/>
                </a:cubicBezTo>
                <a:cubicBezTo>
                  <a:pt x="813" y="1541"/>
                  <a:pt x="813" y="1541"/>
                  <a:pt x="813" y="1541"/>
                </a:cubicBezTo>
                <a:cubicBezTo>
                  <a:pt x="808" y="1541"/>
                  <a:pt x="808" y="1541"/>
                  <a:pt x="808" y="1541"/>
                </a:cubicBezTo>
                <a:cubicBezTo>
                  <a:pt x="808" y="1542"/>
                  <a:pt x="808" y="1542"/>
                  <a:pt x="808" y="1542"/>
                </a:cubicBezTo>
                <a:cubicBezTo>
                  <a:pt x="808" y="1542"/>
                  <a:pt x="809" y="1543"/>
                  <a:pt x="809" y="1543"/>
                </a:cubicBezTo>
                <a:close/>
                <a:moveTo>
                  <a:pt x="813" y="1540"/>
                </a:moveTo>
                <a:cubicBezTo>
                  <a:pt x="815" y="1540"/>
                  <a:pt x="815" y="1540"/>
                  <a:pt x="815" y="1540"/>
                </a:cubicBezTo>
                <a:cubicBezTo>
                  <a:pt x="814" y="1538"/>
                  <a:pt x="814" y="1538"/>
                  <a:pt x="814" y="1538"/>
                </a:cubicBezTo>
                <a:lnTo>
                  <a:pt x="813" y="1540"/>
                </a:lnTo>
                <a:close/>
                <a:moveTo>
                  <a:pt x="802" y="1528"/>
                </a:moveTo>
                <a:cubicBezTo>
                  <a:pt x="803" y="1529"/>
                  <a:pt x="803" y="1529"/>
                  <a:pt x="803" y="1529"/>
                </a:cubicBezTo>
                <a:cubicBezTo>
                  <a:pt x="805" y="1528"/>
                  <a:pt x="805" y="1528"/>
                  <a:pt x="805" y="1528"/>
                </a:cubicBezTo>
                <a:cubicBezTo>
                  <a:pt x="804" y="1527"/>
                  <a:pt x="804" y="1527"/>
                  <a:pt x="804" y="1527"/>
                </a:cubicBezTo>
                <a:cubicBezTo>
                  <a:pt x="802" y="1527"/>
                  <a:pt x="802" y="1527"/>
                  <a:pt x="802" y="1527"/>
                </a:cubicBezTo>
                <a:lnTo>
                  <a:pt x="802" y="1528"/>
                </a:lnTo>
                <a:close/>
                <a:moveTo>
                  <a:pt x="811" y="1530"/>
                </a:moveTo>
                <a:cubicBezTo>
                  <a:pt x="813" y="1531"/>
                  <a:pt x="813" y="1531"/>
                  <a:pt x="813" y="1531"/>
                </a:cubicBezTo>
                <a:cubicBezTo>
                  <a:pt x="813" y="1533"/>
                  <a:pt x="813" y="1533"/>
                  <a:pt x="813" y="1533"/>
                </a:cubicBezTo>
                <a:cubicBezTo>
                  <a:pt x="814" y="1532"/>
                  <a:pt x="814" y="1532"/>
                  <a:pt x="814" y="1532"/>
                </a:cubicBezTo>
                <a:cubicBezTo>
                  <a:pt x="814" y="1530"/>
                  <a:pt x="814" y="1530"/>
                  <a:pt x="814" y="1530"/>
                </a:cubicBezTo>
                <a:cubicBezTo>
                  <a:pt x="813" y="1529"/>
                  <a:pt x="813" y="1529"/>
                  <a:pt x="813" y="1529"/>
                </a:cubicBezTo>
                <a:lnTo>
                  <a:pt x="811" y="1530"/>
                </a:lnTo>
                <a:close/>
                <a:moveTo>
                  <a:pt x="808" y="1529"/>
                </a:moveTo>
                <a:cubicBezTo>
                  <a:pt x="809" y="1530"/>
                  <a:pt x="809" y="1530"/>
                  <a:pt x="809" y="1530"/>
                </a:cubicBezTo>
                <a:cubicBezTo>
                  <a:pt x="811" y="1529"/>
                  <a:pt x="811" y="1529"/>
                  <a:pt x="811" y="1529"/>
                </a:cubicBezTo>
                <a:cubicBezTo>
                  <a:pt x="808" y="1528"/>
                  <a:pt x="808" y="1528"/>
                  <a:pt x="808" y="1528"/>
                </a:cubicBezTo>
                <a:lnTo>
                  <a:pt x="808" y="1529"/>
                </a:lnTo>
                <a:close/>
                <a:moveTo>
                  <a:pt x="813" y="1544"/>
                </a:moveTo>
                <a:cubicBezTo>
                  <a:pt x="811" y="1545"/>
                  <a:pt x="811" y="1545"/>
                  <a:pt x="811" y="1545"/>
                </a:cubicBezTo>
                <a:cubicBezTo>
                  <a:pt x="809" y="1545"/>
                  <a:pt x="809" y="1545"/>
                  <a:pt x="809" y="1545"/>
                </a:cubicBezTo>
                <a:cubicBezTo>
                  <a:pt x="810" y="1546"/>
                  <a:pt x="810" y="1546"/>
                  <a:pt x="810" y="1546"/>
                </a:cubicBezTo>
                <a:cubicBezTo>
                  <a:pt x="813" y="1546"/>
                  <a:pt x="813" y="1546"/>
                  <a:pt x="813" y="1546"/>
                </a:cubicBezTo>
                <a:lnTo>
                  <a:pt x="813" y="1544"/>
                </a:lnTo>
                <a:close/>
                <a:moveTo>
                  <a:pt x="811" y="1550"/>
                </a:moveTo>
                <a:cubicBezTo>
                  <a:pt x="810" y="1550"/>
                  <a:pt x="810" y="1550"/>
                  <a:pt x="810" y="1550"/>
                </a:cubicBezTo>
                <a:cubicBezTo>
                  <a:pt x="811" y="1552"/>
                  <a:pt x="811" y="1552"/>
                  <a:pt x="811" y="1552"/>
                </a:cubicBezTo>
                <a:lnTo>
                  <a:pt x="811" y="1550"/>
                </a:lnTo>
                <a:close/>
                <a:moveTo>
                  <a:pt x="813" y="1539"/>
                </a:moveTo>
                <a:cubicBezTo>
                  <a:pt x="813" y="1536"/>
                  <a:pt x="813" y="1536"/>
                  <a:pt x="813" y="1536"/>
                </a:cubicBezTo>
                <a:cubicBezTo>
                  <a:pt x="811" y="1537"/>
                  <a:pt x="811" y="1537"/>
                  <a:pt x="811" y="1537"/>
                </a:cubicBezTo>
                <a:lnTo>
                  <a:pt x="813" y="1539"/>
                </a:lnTo>
                <a:close/>
                <a:moveTo>
                  <a:pt x="827" y="845"/>
                </a:moveTo>
                <a:cubicBezTo>
                  <a:pt x="826" y="844"/>
                  <a:pt x="826" y="844"/>
                  <a:pt x="826" y="844"/>
                </a:cubicBezTo>
                <a:cubicBezTo>
                  <a:pt x="825" y="844"/>
                  <a:pt x="825" y="844"/>
                  <a:pt x="825" y="844"/>
                </a:cubicBezTo>
                <a:cubicBezTo>
                  <a:pt x="826" y="846"/>
                  <a:pt x="826" y="846"/>
                  <a:pt x="826" y="846"/>
                </a:cubicBezTo>
                <a:cubicBezTo>
                  <a:pt x="827" y="846"/>
                  <a:pt x="827" y="846"/>
                  <a:pt x="827" y="846"/>
                </a:cubicBezTo>
                <a:cubicBezTo>
                  <a:pt x="828" y="845"/>
                  <a:pt x="828" y="845"/>
                  <a:pt x="828" y="845"/>
                </a:cubicBezTo>
                <a:lnTo>
                  <a:pt x="827" y="845"/>
                </a:lnTo>
                <a:close/>
                <a:moveTo>
                  <a:pt x="803" y="1540"/>
                </a:moveTo>
                <a:cubicBezTo>
                  <a:pt x="804" y="1541"/>
                  <a:pt x="804" y="1541"/>
                  <a:pt x="804" y="1541"/>
                </a:cubicBezTo>
                <a:cubicBezTo>
                  <a:pt x="805" y="1540"/>
                  <a:pt x="805" y="1540"/>
                  <a:pt x="805" y="1540"/>
                </a:cubicBezTo>
                <a:cubicBezTo>
                  <a:pt x="804" y="1539"/>
                  <a:pt x="804" y="1539"/>
                  <a:pt x="804" y="1539"/>
                </a:cubicBezTo>
                <a:lnTo>
                  <a:pt x="803" y="1540"/>
                </a:lnTo>
                <a:close/>
                <a:moveTo>
                  <a:pt x="705" y="1064"/>
                </a:moveTo>
                <a:cubicBezTo>
                  <a:pt x="703" y="1065"/>
                  <a:pt x="703" y="1065"/>
                  <a:pt x="703" y="1065"/>
                </a:cubicBezTo>
                <a:cubicBezTo>
                  <a:pt x="702" y="1067"/>
                  <a:pt x="702" y="1067"/>
                  <a:pt x="702" y="1067"/>
                </a:cubicBezTo>
                <a:cubicBezTo>
                  <a:pt x="702" y="1068"/>
                  <a:pt x="702" y="1068"/>
                  <a:pt x="702" y="1068"/>
                </a:cubicBezTo>
                <a:cubicBezTo>
                  <a:pt x="703" y="1069"/>
                  <a:pt x="703" y="1069"/>
                  <a:pt x="703" y="1069"/>
                </a:cubicBezTo>
                <a:cubicBezTo>
                  <a:pt x="704" y="1068"/>
                  <a:pt x="704" y="1068"/>
                  <a:pt x="704" y="1068"/>
                </a:cubicBezTo>
                <a:cubicBezTo>
                  <a:pt x="705" y="1067"/>
                  <a:pt x="705" y="1067"/>
                  <a:pt x="705" y="1067"/>
                </a:cubicBezTo>
                <a:cubicBezTo>
                  <a:pt x="705" y="1066"/>
                  <a:pt x="705" y="1066"/>
                  <a:pt x="705" y="1066"/>
                </a:cubicBezTo>
                <a:cubicBezTo>
                  <a:pt x="705" y="1064"/>
                  <a:pt x="705" y="1064"/>
                  <a:pt x="705" y="1064"/>
                </a:cubicBezTo>
                <a:close/>
                <a:moveTo>
                  <a:pt x="83" y="191"/>
                </a:moveTo>
                <a:cubicBezTo>
                  <a:pt x="81" y="191"/>
                  <a:pt x="81" y="191"/>
                  <a:pt x="81" y="191"/>
                </a:cubicBezTo>
                <a:cubicBezTo>
                  <a:pt x="82" y="192"/>
                  <a:pt x="82" y="192"/>
                  <a:pt x="82" y="192"/>
                </a:cubicBezTo>
                <a:cubicBezTo>
                  <a:pt x="83" y="192"/>
                  <a:pt x="83" y="192"/>
                  <a:pt x="83" y="192"/>
                </a:cubicBezTo>
                <a:lnTo>
                  <a:pt x="83" y="191"/>
                </a:lnTo>
                <a:close/>
                <a:moveTo>
                  <a:pt x="175" y="174"/>
                </a:moveTo>
                <a:cubicBezTo>
                  <a:pt x="174" y="174"/>
                  <a:pt x="174" y="174"/>
                  <a:pt x="174" y="174"/>
                </a:cubicBezTo>
                <a:cubicBezTo>
                  <a:pt x="171" y="177"/>
                  <a:pt x="171" y="177"/>
                  <a:pt x="171" y="177"/>
                </a:cubicBezTo>
                <a:cubicBezTo>
                  <a:pt x="173" y="177"/>
                  <a:pt x="173" y="177"/>
                  <a:pt x="173" y="177"/>
                </a:cubicBezTo>
                <a:cubicBezTo>
                  <a:pt x="175" y="175"/>
                  <a:pt x="175" y="175"/>
                  <a:pt x="175" y="175"/>
                </a:cubicBezTo>
                <a:lnTo>
                  <a:pt x="175" y="174"/>
                </a:lnTo>
                <a:close/>
                <a:moveTo>
                  <a:pt x="79" y="192"/>
                </a:moveTo>
                <a:cubicBezTo>
                  <a:pt x="81" y="189"/>
                  <a:pt x="81" y="189"/>
                  <a:pt x="81" y="189"/>
                </a:cubicBezTo>
                <a:cubicBezTo>
                  <a:pt x="81" y="188"/>
                  <a:pt x="81" y="188"/>
                  <a:pt x="81" y="188"/>
                </a:cubicBezTo>
                <a:cubicBezTo>
                  <a:pt x="79" y="189"/>
                  <a:pt x="79" y="189"/>
                  <a:pt x="79" y="189"/>
                </a:cubicBezTo>
                <a:cubicBezTo>
                  <a:pt x="77" y="191"/>
                  <a:pt x="77" y="191"/>
                  <a:pt x="77" y="191"/>
                </a:cubicBezTo>
                <a:cubicBezTo>
                  <a:pt x="77" y="193"/>
                  <a:pt x="77" y="193"/>
                  <a:pt x="77" y="193"/>
                </a:cubicBezTo>
                <a:cubicBezTo>
                  <a:pt x="78" y="193"/>
                  <a:pt x="78" y="193"/>
                  <a:pt x="78" y="193"/>
                </a:cubicBezTo>
                <a:lnTo>
                  <a:pt x="79" y="192"/>
                </a:lnTo>
                <a:close/>
                <a:moveTo>
                  <a:pt x="800" y="1542"/>
                </a:moveTo>
                <a:cubicBezTo>
                  <a:pt x="802" y="1543"/>
                  <a:pt x="802" y="1543"/>
                  <a:pt x="802" y="1543"/>
                </a:cubicBezTo>
                <a:cubicBezTo>
                  <a:pt x="803" y="1542"/>
                  <a:pt x="803" y="1542"/>
                  <a:pt x="803" y="1542"/>
                </a:cubicBezTo>
                <a:cubicBezTo>
                  <a:pt x="802" y="1541"/>
                  <a:pt x="802" y="1541"/>
                  <a:pt x="802" y="1541"/>
                </a:cubicBezTo>
                <a:cubicBezTo>
                  <a:pt x="800" y="1541"/>
                  <a:pt x="800" y="1541"/>
                  <a:pt x="800" y="1541"/>
                </a:cubicBezTo>
                <a:lnTo>
                  <a:pt x="800" y="1542"/>
                </a:lnTo>
                <a:close/>
                <a:moveTo>
                  <a:pt x="1007" y="490"/>
                </a:moveTo>
                <a:cubicBezTo>
                  <a:pt x="1007" y="491"/>
                  <a:pt x="1007" y="491"/>
                  <a:pt x="1007" y="491"/>
                </a:cubicBezTo>
                <a:cubicBezTo>
                  <a:pt x="1008" y="491"/>
                  <a:pt x="1008" y="491"/>
                  <a:pt x="1008" y="491"/>
                </a:cubicBezTo>
                <a:cubicBezTo>
                  <a:pt x="1010" y="491"/>
                  <a:pt x="1010" y="491"/>
                  <a:pt x="1010" y="491"/>
                </a:cubicBezTo>
                <a:cubicBezTo>
                  <a:pt x="1010" y="491"/>
                  <a:pt x="1010" y="491"/>
                  <a:pt x="1010" y="491"/>
                </a:cubicBezTo>
                <a:cubicBezTo>
                  <a:pt x="1008" y="490"/>
                  <a:pt x="1008" y="490"/>
                  <a:pt x="1008" y="490"/>
                </a:cubicBezTo>
                <a:lnTo>
                  <a:pt x="1007" y="490"/>
                </a:lnTo>
                <a:close/>
                <a:moveTo>
                  <a:pt x="121" y="82"/>
                </a:moveTo>
                <a:cubicBezTo>
                  <a:pt x="122" y="80"/>
                  <a:pt x="122" y="80"/>
                  <a:pt x="122" y="80"/>
                </a:cubicBezTo>
                <a:cubicBezTo>
                  <a:pt x="121" y="79"/>
                  <a:pt x="121" y="79"/>
                  <a:pt x="121" y="79"/>
                </a:cubicBezTo>
                <a:cubicBezTo>
                  <a:pt x="119" y="79"/>
                  <a:pt x="119" y="79"/>
                  <a:pt x="119" y="79"/>
                </a:cubicBezTo>
                <a:cubicBezTo>
                  <a:pt x="118" y="79"/>
                  <a:pt x="118" y="79"/>
                  <a:pt x="118" y="79"/>
                </a:cubicBezTo>
                <a:cubicBezTo>
                  <a:pt x="120" y="82"/>
                  <a:pt x="120" y="82"/>
                  <a:pt x="120" y="82"/>
                </a:cubicBezTo>
                <a:lnTo>
                  <a:pt x="121" y="82"/>
                </a:lnTo>
                <a:close/>
                <a:moveTo>
                  <a:pt x="92" y="96"/>
                </a:moveTo>
                <a:cubicBezTo>
                  <a:pt x="94" y="97"/>
                  <a:pt x="94" y="97"/>
                  <a:pt x="94" y="97"/>
                </a:cubicBezTo>
                <a:cubicBezTo>
                  <a:pt x="94" y="98"/>
                  <a:pt x="94" y="98"/>
                  <a:pt x="94" y="98"/>
                </a:cubicBezTo>
                <a:cubicBezTo>
                  <a:pt x="95" y="99"/>
                  <a:pt x="95" y="99"/>
                  <a:pt x="95" y="99"/>
                </a:cubicBezTo>
                <a:cubicBezTo>
                  <a:pt x="96" y="95"/>
                  <a:pt x="96" y="95"/>
                  <a:pt x="96" y="95"/>
                </a:cubicBezTo>
                <a:cubicBezTo>
                  <a:pt x="97" y="92"/>
                  <a:pt x="97" y="92"/>
                  <a:pt x="97" y="92"/>
                </a:cubicBezTo>
                <a:cubicBezTo>
                  <a:pt x="97" y="88"/>
                  <a:pt x="97" y="88"/>
                  <a:pt x="97" y="88"/>
                </a:cubicBezTo>
                <a:cubicBezTo>
                  <a:pt x="96" y="87"/>
                  <a:pt x="96" y="87"/>
                  <a:pt x="96" y="87"/>
                </a:cubicBezTo>
                <a:cubicBezTo>
                  <a:pt x="93" y="89"/>
                  <a:pt x="93" y="89"/>
                  <a:pt x="93" y="89"/>
                </a:cubicBezTo>
                <a:cubicBezTo>
                  <a:pt x="88" y="94"/>
                  <a:pt x="88" y="94"/>
                  <a:pt x="88" y="94"/>
                </a:cubicBezTo>
                <a:cubicBezTo>
                  <a:pt x="88" y="95"/>
                  <a:pt x="88" y="95"/>
                  <a:pt x="88" y="95"/>
                </a:cubicBezTo>
                <a:cubicBezTo>
                  <a:pt x="90" y="97"/>
                  <a:pt x="90" y="97"/>
                  <a:pt x="90" y="97"/>
                </a:cubicBezTo>
                <a:lnTo>
                  <a:pt x="92" y="96"/>
                </a:lnTo>
                <a:close/>
                <a:moveTo>
                  <a:pt x="806" y="1555"/>
                </a:moveTo>
                <a:cubicBezTo>
                  <a:pt x="807" y="1555"/>
                  <a:pt x="807" y="1555"/>
                  <a:pt x="807" y="1555"/>
                </a:cubicBezTo>
                <a:cubicBezTo>
                  <a:pt x="807" y="1553"/>
                  <a:pt x="807" y="1553"/>
                  <a:pt x="807" y="1553"/>
                </a:cubicBezTo>
                <a:cubicBezTo>
                  <a:pt x="806" y="1553"/>
                  <a:pt x="806" y="1553"/>
                  <a:pt x="806" y="1553"/>
                </a:cubicBezTo>
                <a:lnTo>
                  <a:pt x="806" y="1555"/>
                </a:lnTo>
                <a:close/>
                <a:moveTo>
                  <a:pt x="411" y="772"/>
                </a:moveTo>
                <a:cubicBezTo>
                  <a:pt x="412" y="773"/>
                  <a:pt x="412" y="773"/>
                  <a:pt x="412" y="773"/>
                </a:cubicBezTo>
                <a:cubicBezTo>
                  <a:pt x="412" y="771"/>
                  <a:pt x="412" y="771"/>
                  <a:pt x="412" y="771"/>
                </a:cubicBezTo>
                <a:cubicBezTo>
                  <a:pt x="411" y="771"/>
                  <a:pt x="411" y="771"/>
                  <a:pt x="411" y="771"/>
                </a:cubicBezTo>
                <a:lnTo>
                  <a:pt x="411" y="772"/>
                </a:lnTo>
                <a:close/>
                <a:moveTo>
                  <a:pt x="331" y="373"/>
                </a:moveTo>
                <a:cubicBezTo>
                  <a:pt x="334" y="370"/>
                  <a:pt x="334" y="370"/>
                  <a:pt x="334" y="370"/>
                </a:cubicBezTo>
                <a:cubicBezTo>
                  <a:pt x="335" y="369"/>
                  <a:pt x="335" y="369"/>
                  <a:pt x="335" y="369"/>
                </a:cubicBezTo>
                <a:cubicBezTo>
                  <a:pt x="332" y="370"/>
                  <a:pt x="332" y="370"/>
                  <a:pt x="332" y="370"/>
                </a:cubicBezTo>
                <a:cubicBezTo>
                  <a:pt x="331" y="372"/>
                  <a:pt x="331" y="372"/>
                  <a:pt x="331" y="372"/>
                </a:cubicBezTo>
                <a:cubicBezTo>
                  <a:pt x="329" y="372"/>
                  <a:pt x="329" y="372"/>
                  <a:pt x="329" y="372"/>
                </a:cubicBezTo>
                <a:cubicBezTo>
                  <a:pt x="327" y="375"/>
                  <a:pt x="327" y="375"/>
                  <a:pt x="327" y="375"/>
                </a:cubicBezTo>
                <a:cubicBezTo>
                  <a:pt x="328" y="375"/>
                  <a:pt x="328" y="375"/>
                  <a:pt x="328" y="375"/>
                </a:cubicBezTo>
                <a:cubicBezTo>
                  <a:pt x="330" y="373"/>
                  <a:pt x="330" y="373"/>
                  <a:pt x="330" y="373"/>
                </a:cubicBezTo>
                <a:lnTo>
                  <a:pt x="331" y="373"/>
                </a:lnTo>
                <a:close/>
                <a:moveTo>
                  <a:pt x="358" y="440"/>
                </a:moveTo>
                <a:cubicBezTo>
                  <a:pt x="357" y="440"/>
                  <a:pt x="357" y="440"/>
                  <a:pt x="357" y="440"/>
                </a:cubicBezTo>
                <a:cubicBezTo>
                  <a:pt x="355" y="441"/>
                  <a:pt x="355" y="441"/>
                  <a:pt x="355" y="441"/>
                </a:cubicBezTo>
                <a:cubicBezTo>
                  <a:pt x="355" y="444"/>
                  <a:pt x="355" y="444"/>
                  <a:pt x="355" y="444"/>
                </a:cubicBezTo>
                <a:cubicBezTo>
                  <a:pt x="357" y="447"/>
                  <a:pt x="357" y="447"/>
                  <a:pt x="357" y="447"/>
                </a:cubicBezTo>
                <a:cubicBezTo>
                  <a:pt x="358" y="446"/>
                  <a:pt x="358" y="446"/>
                  <a:pt x="358" y="446"/>
                </a:cubicBezTo>
                <a:cubicBezTo>
                  <a:pt x="356" y="443"/>
                  <a:pt x="356" y="443"/>
                  <a:pt x="356" y="443"/>
                </a:cubicBezTo>
                <a:cubicBezTo>
                  <a:pt x="357" y="441"/>
                  <a:pt x="357" y="441"/>
                  <a:pt x="357" y="441"/>
                </a:cubicBezTo>
                <a:lnTo>
                  <a:pt x="358" y="440"/>
                </a:lnTo>
                <a:close/>
                <a:moveTo>
                  <a:pt x="408" y="764"/>
                </a:moveTo>
                <a:cubicBezTo>
                  <a:pt x="409" y="765"/>
                  <a:pt x="409" y="765"/>
                  <a:pt x="409" y="765"/>
                </a:cubicBezTo>
                <a:cubicBezTo>
                  <a:pt x="409" y="767"/>
                  <a:pt x="409" y="767"/>
                  <a:pt x="409" y="767"/>
                </a:cubicBezTo>
                <a:cubicBezTo>
                  <a:pt x="410" y="766"/>
                  <a:pt x="410" y="766"/>
                  <a:pt x="410" y="766"/>
                </a:cubicBezTo>
                <a:cubicBezTo>
                  <a:pt x="410" y="765"/>
                  <a:pt x="410" y="765"/>
                  <a:pt x="410" y="765"/>
                </a:cubicBezTo>
                <a:cubicBezTo>
                  <a:pt x="409" y="763"/>
                  <a:pt x="409" y="763"/>
                  <a:pt x="409" y="763"/>
                </a:cubicBezTo>
                <a:lnTo>
                  <a:pt x="408" y="764"/>
                </a:lnTo>
                <a:close/>
                <a:moveTo>
                  <a:pt x="810" y="1534"/>
                </a:moveTo>
                <a:cubicBezTo>
                  <a:pt x="810" y="1533"/>
                  <a:pt x="810" y="1533"/>
                  <a:pt x="810" y="1533"/>
                </a:cubicBezTo>
                <a:cubicBezTo>
                  <a:pt x="809" y="1532"/>
                  <a:pt x="809" y="1532"/>
                  <a:pt x="809" y="1532"/>
                </a:cubicBezTo>
                <a:cubicBezTo>
                  <a:pt x="809" y="1533"/>
                  <a:pt x="809" y="1533"/>
                  <a:pt x="809" y="1533"/>
                </a:cubicBezTo>
                <a:lnTo>
                  <a:pt x="810" y="1534"/>
                </a:lnTo>
                <a:close/>
                <a:moveTo>
                  <a:pt x="818" y="576"/>
                </a:moveTo>
                <a:cubicBezTo>
                  <a:pt x="818" y="576"/>
                  <a:pt x="818" y="576"/>
                  <a:pt x="818" y="576"/>
                </a:cubicBezTo>
                <a:cubicBezTo>
                  <a:pt x="815" y="577"/>
                  <a:pt x="815" y="577"/>
                  <a:pt x="815" y="577"/>
                </a:cubicBezTo>
                <a:cubicBezTo>
                  <a:pt x="812" y="577"/>
                  <a:pt x="812" y="577"/>
                  <a:pt x="812" y="577"/>
                </a:cubicBezTo>
                <a:cubicBezTo>
                  <a:pt x="809" y="578"/>
                  <a:pt x="809" y="578"/>
                  <a:pt x="809" y="578"/>
                </a:cubicBezTo>
                <a:cubicBezTo>
                  <a:pt x="807" y="578"/>
                  <a:pt x="807" y="578"/>
                  <a:pt x="807" y="578"/>
                </a:cubicBezTo>
                <a:cubicBezTo>
                  <a:pt x="804" y="579"/>
                  <a:pt x="804" y="579"/>
                  <a:pt x="804" y="579"/>
                </a:cubicBezTo>
                <a:cubicBezTo>
                  <a:pt x="802" y="579"/>
                  <a:pt x="802" y="579"/>
                  <a:pt x="802" y="579"/>
                </a:cubicBezTo>
                <a:cubicBezTo>
                  <a:pt x="801" y="581"/>
                  <a:pt x="801" y="581"/>
                  <a:pt x="801" y="581"/>
                </a:cubicBezTo>
                <a:cubicBezTo>
                  <a:pt x="801" y="581"/>
                  <a:pt x="801" y="581"/>
                  <a:pt x="801" y="581"/>
                </a:cubicBezTo>
                <a:cubicBezTo>
                  <a:pt x="802" y="582"/>
                  <a:pt x="802" y="582"/>
                  <a:pt x="802" y="582"/>
                </a:cubicBezTo>
                <a:cubicBezTo>
                  <a:pt x="802" y="582"/>
                  <a:pt x="802" y="582"/>
                  <a:pt x="802" y="582"/>
                </a:cubicBezTo>
                <a:cubicBezTo>
                  <a:pt x="803" y="582"/>
                  <a:pt x="803" y="582"/>
                  <a:pt x="803" y="582"/>
                </a:cubicBezTo>
                <a:cubicBezTo>
                  <a:pt x="804" y="581"/>
                  <a:pt x="804" y="581"/>
                  <a:pt x="804" y="581"/>
                </a:cubicBezTo>
                <a:cubicBezTo>
                  <a:pt x="806" y="581"/>
                  <a:pt x="806" y="581"/>
                  <a:pt x="806" y="581"/>
                </a:cubicBezTo>
                <a:cubicBezTo>
                  <a:pt x="808" y="580"/>
                  <a:pt x="808" y="580"/>
                  <a:pt x="808" y="580"/>
                </a:cubicBezTo>
                <a:cubicBezTo>
                  <a:pt x="811" y="580"/>
                  <a:pt x="811" y="580"/>
                  <a:pt x="811" y="580"/>
                </a:cubicBezTo>
                <a:cubicBezTo>
                  <a:pt x="813" y="580"/>
                  <a:pt x="813" y="580"/>
                  <a:pt x="813" y="580"/>
                </a:cubicBezTo>
                <a:cubicBezTo>
                  <a:pt x="816" y="580"/>
                  <a:pt x="816" y="580"/>
                  <a:pt x="816" y="580"/>
                </a:cubicBezTo>
                <a:cubicBezTo>
                  <a:pt x="816" y="579"/>
                  <a:pt x="816" y="579"/>
                  <a:pt x="816" y="579"/>
                </a:cubicBezTo>
                <a:cubicBezTo>
                  <a:pt x="817" y="579"/>
                  <a:pt x="817" y="579"/>
                  <a:pt x="817" y="579"/>
                </a:cubicBezTo>
                <a:cubicBezTo>
                  <a:pt x="820" y="578"/>
                  <a:pt x="820" y="578"/>
                  <a:pt x="820" y="578"/>
                </a:cubicBezTo>
                <a:cubicBezTo>
                  <a:pt x="821" y="577"/>
                  <a:pt x="821" y="577"/>
                  <a:pt x="821" y="577"/>
                </a:cubicBezTo>
                <a:cubicBezTo>
                  <a:pt x="819" y="578"/>
                  <a:pt x="819" y="578"/>
                  <a:pt x="819" y="578"/>
                </a:cubicBezTo>
                <a:cubicBezTo>
                  <a:pt x="818" y="577"/>
                  <a:pt x="818" y="577"/>
                  <a:pt x="818" y="577"/>
                </a:cubicBezTo>
                <a:cubicBezTo>
                  <a:pt x="816" y="578"/>
                  <a:pt x="816" y="578"/>
                  <a:pt x="816" y="578"/>
                </a:cubicBezTo>
                <a:cubicBezTo>
                  <a:pt x="817" y="577"/>
                  <a:pt x="817" y="577"/>
                  <a:pt x="817" y="577"/>
                </a:cubicBezTo>
                <a:lnTo>
                  <a:pt x="818" y="576"/>
                </a:lnTo>
                <a:close/>
                <a:moveTo>
                  <a:pt x="788" y="825"/>
                </a:moveTo>
                <a:cubicBezTo>
                  <a:pt x="785" y="823"/>
                  <a:pt x="785" y="823"/>
                  <a:pt x="785" y="823"/>
                </a:cubicBezTo>
                <a:cubicBezTo>
                  <a:pt x="783" y="824"/>
                  <a:pt x="783" y="824"/>
                  <a:pt x="783" y="824"/>
                </a:cubicBezTo>
                <a:cubicBezTo>
                  <a:pt x="785" y="825"/>
                  <a:pt x="785" y="825"/>
                  <a:pt x="785" y="825"/>
                </a:cubicBezTo>
                <a:lnTo>
                  <a:pt x="788" y="825"/>
                </a:lnTo>
                <a:close/>
                <a:moveTo>
                  <a:pt x="783" y="838"/>
                </a:moveTo>
                <a:cubicBezTo>
                  <a:pt x="783" y="837"/>
                  <a:pt x="783" y="837"/>
                  <a:pt x="783" y="837"/>
                </a:cubicBezTo>
                <a:cubicBezTo>
                  <a:pt x="781" y="835"/>
                  <a:pt x="781" y="835"/>
                  <a:pt x="781" y="835"/>
                </a:cubicBezTo>
                <a:cubicBezTo>
                  <a:pt x="779" y="836"/>
                  <a:pt x="779" y="836"/>
                  <a:pt x="779" y="836"/>
                </a:cubicBezTo>
                <a:cubicBezTo>
                  <a:pt x="781" y="837"/>
                  <a:pt x="781" y="837"/>
                  <a:pt x="781" y="837"/>
                </a:cubicBezTo>
                <a:lnTo>
                  <a:pt x="783" y="838"/>
                </a:lnTo>
                <a:close/>
                <a:moveTo>
                  <a:pt x="745" y="844"/>
                </a:moveTo>
                <a:cubicBezTo>
                  <a:pt x="743" y="841"/>
                  <a:pt x="743" y="841"/>
                  <a:pt x="743" y="841"/>
                </a:cubicBezTo>
                <a:cubicBezTo>
                  <a:pt x="736" y="841"/>
                  <a:pt x="736" y="841"/>
                  <a:pt x="736" y="841"/>
                </a:cubicBezTo>
                <a:cubicBezTo>
                  <a:pt x="732" y="842"/>
                  <a:pt x="732" y="842"/>
                  <a:pt x="732" y="842"/>
                </a:cubicBezTo>
                <a:cubicBezTo>
                  <a:pt x="730" y="841"/>
                  <a:pt x="730" y="841"/>
                  <a:pt x="730" y="841"/>
                </a:cubicBezTo>
                <a:cubicBezTo>
                  <a:pt x="728" y="842"/>
                  <a:pt x="728" y="842"/>
                  <a:pt x="728" y="842"/>
                </a:cubicBezTo>
                <a:cubicBezTo>
                  <a:pt x="727" y="843"/>
                  <a:pt x="727" y="843"/>
                  <a:pt x="727" y="843"/>
                </a:cubicBezTo>
                <a:cubicBezTo>
                  <a:pt x="729" y="845"/>
                  <a:pt x="729" y="845"/>
                  <a:pt x="729" y="845"/>
                </a:cubicBezTo>
                <a:cubicBezTo>
                  <a:pt x="730" y="844"/>
                  <a:pt x="730" y="844"/>
                  <a:pt x="730" y="844"/>
                </a:cubicBezTo>
                <a:cubicBezTo>
                  <a:pt x="731" y="845"/>
                  <a:pt x="731" y="845"/>
                  <a:pt x="731" y="845"/>
                </a:cubicBezTo>
                <a:cubicBezTo>
                  <a:pt x="732" y="848"/>
                  <a:pt x="732" y="848"/>
                  <a:pt x="732" y="848"/>
                </a:cubicBezTo>
                <a:cubicBezTo>
                  <a:pt x="734" y="849"/>
                  <a:pt x="734" y="849"/>
                  <a:pt x="734" y="849"/>
                </a:cubicBezTo>
                <a:cubicBezTo>
                  <a:pt x="736" y="849"/>
                  <a:pt x="736" y="849"/>
                  <a:pt x="736" y="849"/>
                </a:cubicBezTo>
                <a:cubicBezTo>
                  <a:pt x="738" y="850"/>
                  <a:pt x="738" y="850"/>
                  <a:pt x="738" y="850"/>
                </a:cubicBezTo>
                <a:cubicBezTo>
                  <a:pt x="740" y="850"/>
                  <a:pt x="740" y="850"/>
                  <a:pt x="740" y="850"/>
                </a:cubicBezTo>
                <a:cubicBezTo>
                  <a:pt x="740" y="848"/>
                  <a:pt x="740" y="848"/>
                  <a:pt x="740" y="848"/>
                </a:cubicBezTo>
                <a:cubicBezTo>
                  <a:pt x="742" y="848"/>
                  <a:pt x="742" y="848"/>
                  <a:pt x="742" y="848"/>
                </a:cubicBezTo>
                <a:cubicBezTo>
                  <a:pt x="743" y="849"/>
                  <a:pt x="743" y="849"/>
                  <a:pt x="743" y="849"/>
                </a:cubicBezTo>
                <a:cubicBezTo>
                  <a:pt x="744" y="849"/>
                  <a:pt x="744" y="849"/>
                  <a:pt x="744" y="849"/>
                </a:cubicBezTo>
                <a:cubicBezTo>
                  <a:pt x="745" y="847"/>
                  <a:pt x="745" y="847"/>
                  <a:pt x="745" y="847"/>
                </a:cubicBezTo>
                <a:cubicBezTo>
                  <a:pt x="746" y="848"/>
                  <a:pt x="746" y="848"/>
                  <a:pt x="746" y="848"/>
                </a:cubicBezTo>
                <a:cubicBezTo>
                  <a:pt x="749" y="848"/>
                  <a:pt x="749" y="848"/>
                  <a:pt x="749" y="848"/>
                </a:cubicBezTo>
                <a:cubicBezTo>
                  <a:pt x="750" y="847"/>
                  <a:pt x="750" y="847"/>
                  <a:pt x="750" y="847"/>
                </a:cubicBezTo>
                <a:cubicBezTo>
                  <a:pt x="748" y="845"/>
                  <a:pt x="748" y="845"/>
                  <a:pt x="748" y="845"/>
                </a:cubicBezTo>
                <a:lnTo>
                  <a:pt x="745" y="844"/>
                </a:lnTo>
                <a:close/>
                <a:moveTo>
                  <a:pt x="548" y="740"/>
                </a:moveTo>
                <a:cubicBezTo>
                  <a:pt x="549" y="737"/>
                  <a:pt x="549" y="737"/>
                  <a:pt x="549" y="737"/>
                </a:cubicBezTo>
                <a:cubicBezTo>
                  <a:pt x="549" y="736"/>
                  <a:pt x="549" y="736"/>
                  <a:pt x="549" y="736"/>
                </a:cubicBezTo>
                <a:cubicBezTo>
                  <a:pt x="547" y="740"/>
                  <a:pt x="547" y="740"/>
                  <a:pt x="547" y="740"/>
                </a:cubicBezTo>
                <a:lnTo>
                  <a:pt x="548" y="740"/>
                </a:lnTo>
                <a:close/>
                <a:moveTo>
                  <a:pt x="549" y="735"/>
                </a:moveTo>
                <a:cubicBezTo>
                  <a:pt x="550" y="734"/>
                  <a:pt x="550" y="734"/>
                  <a:pt x="550" y="734"/>
                </a:cubicBezTo>
                <a:cubicBezTo>
                  <a:pt x="552" y="732"/>
                  <a:pt x="552" y="732"/>
                  <a:pt x="552" y="732"/>
                </a:cubicBezTo>
                <a:cubicBezTo>
                  <a:pt x="554" y="730"/>
                  <a:pt x="554" y="730"/>
                  <a:pt x="554" y="730"/>
                </a:cubicBezTo>
                <a:cubicBezTo>
                  <a:pt x="552" y="731"/>
                  <a:pt x="552" y="731"/>
                  <a:pt x="552" y="731"/>
                </a:cubicBezTo>
                <a:lnTo>
                  <a:pt x="549" y="735"/>
                </a:lnTo>
                <a:close/>
                <a:moveTo>
                  <a:pt x="830" y="840"/>
                </a:moveTo>
                <a:cubicBezTo>
                  <a:pt x="829" y="839"/>
                  <a:pt x="829" y="839"/>
                  <a:pt x="829" y="839"/>
                </a:cubicBezTo>
                <a:cubicBezTo>
                  <a:pt x="825" y="836"/>
                  <a:pt x="825" y="836"/>
                  <a:pt x="825" y="836"/>
                </a:cubicBezTo>
                <a:cubicBezTo>
                  <a:pt x="823" y="836"/>
                  <a:pt x="823" y="836"/>
                  <a:pt x="823" y="836"/>
                </a:cubicBezTo>
                <a:cubicBezTo>
                  <a:pt x="821" y="835"/>
                  <a:pt x="821" y="835"/>
                  <a:pt x="821" y="835"/>
                </a:cubicBezTo>
                <a:cubicBezTo>
                  <a:pt x="819" y="835"/>
                  <a:pt x="819" y="835"/>
                  <a:pt x="819" y="835"/>
                </a:cubicBezTo>
                <a:cubicBezTo>
                  <a:pt x="816" y="834"/>
                  <a:pt x="816" y="834"/>
                  <a:pt x="816" y="834"/>
                </a:cubicBezTo>
                <a:cubicBezTo>
                  <a:pt x="814" y="832"/>
                  <a:pt x="814" y="832"/>
                  <a:pt x="814" y="832"/>
                </a:cubicBezTo>
                <a:cubicBezTo>
                  <a:pt x="812" y="832"/>
                  <a:pt x="812" y="832"/>
                  <a:pt x="812" y="832"/>
                </a:cubicBezTo>
                <a:cubicBezTo>
                  <a:pt x="813" y="832"/>
                  <a:pt x="813" y="832"/>
                  <a:pt x="813" y="832"/>
                </a:cubicBezTo>
                <a:cubicBezTo>
                  <a:pt x="816" y="833"/>
                  <a:pt x="816" y="833"/>
                  <a:pt x="816" y="833"/>
                </a:cubicBezTo>
                <a:cubicBezTo>
                  <a:pt x="820" y="833"/>
                  <a:pt x="820" y="833"/>
                  <a:pt x="820" y="833"/>
                </a:cubicBezTo>
                <a:cubicBezTo>
                  <a:pt x="822" y="833"/>
                  <a:pt x="822" y="833"/>
                  <a:pt x="822" y="833"/>
                </a:cubicBezTo>
                <a:cubicBezTo>
                  <a:pt x="821" y="832"/>
                  <a:pt x="821" y="832"/>
                  <a:pt x="821" y="832"/>
                </a:cubicBezTo>
                <a:cubicBezTo>
                  <a:pt x="819" y="832"/>
                  <a:pt x="819" y="832"/>
                  <a:pt x="819" y="832"/>
                </a:cubicBezTo>
                <a:cubicBezTo>
                  <a:pt x="816" y="831"/>
                  <a:pt x="816" y="831"/>
                  <a:pt x="816" y="831"/>
                </a:cubicBezTo>
                <a:cubicBezTo>
                  <a:pt x="815" y="828"/>
                  <a:pt x="815" y="828"/>
                  <a:pt x="815" y="828"/>
                </a:cubicBezTo>
                <a:cubicBezTo>
                  <a:pt x="813" y="828"/>
                  <a:pt x="813" y="828"/>
                  <a:pt x="813" y="828"/>
                </a:cubicBezTo>
                <a:cubicBezTo>
                  <a:pt x="812" y="828"/>
                  <a:pt x="812" y="828"/>
                  <a:pt x="812" y="828"/>
                </a:cubicBezTo>
                <a:cubicBezTo>
                  <a:pt x="811" y="827"/>
                  <a:pt x="811" y="827"/>
                  <a:pt x="811" y="827"/>
                </a:cubicBezTo>
                <a:cubicBezTo>
                  <a:pt x="802" y="826"/>
                  <a:pt x="802" y="826"/>
                  <a:pt x="802" y="826"/>
                </a:cubicBezTo>
                <a:cubicBezTo>
                  <a:pt x="801" y="826"/>
                  <a:pt x="801" y="826"/>
                  <a:pt x="801" y="826"/>
                </a:cubicBezTo>
                <a:cubicBezTo>
                  <a:pt x="799" y="826"/>
                  <a:pt x="799" y="826"/>
                  <a:pt x="799" y="826"/>
                </a:cubicBezTo>
                <a:cubicBezTo>
                  <a:pt x="796" y="826"/>
                  <a:pt x="796" y="826"/>
                  <a:pt x="796" y="826"/>
                </a:cubicBezTo>
                <a:cubicBezTo>
                  <a:pt x="795" y="828"/>
                  <a:pt x="795" y="828"/>
                  <a:pt x="795" y="828"/>
                </a:cubicBezTo>
                <a:cubicBezTo>
                  <a:pt x="795" y="828"/>
                  <a:pt x="795" y="828"/>
                  <a:pt x="795" y="828"/>
                </a:cubicBezTo>
                <a:cubicBezTo>
                  <a:pt x="793" y="828"/>
                  <a:pt x="793" y="828"/>
                  <a:pt x="793" y="828"/>
                </a:cubicBezTo>
                <a:cubicBezTo>
                  <a:pt x="791" y="828"/>
                  <a:pt x="791" y="828"/>
                  <a:pt x="791" y="828"/>
                </a:cubicBezTo>
                <a:cubicBezTo>
                  <a:pt x="789" y="826"/>
                  <a:pt x="789" y="826"/>
                  <a:pt x="789" y="826"/>
                </a:cubicBezTo>
                <a:cubicBezTo>
                  <a:pt x="785" y="826"/>
                  <a:pt x="785" y="826"/>
                  <a:pt x="785" y="826"/>
                </a:cubicBezTo>
                <a:cubicBezTo>
                  <a:pt x="784" y="827"/>
                  <a:pt x="784" y="827"/>
                  <a:pt x="784" y="827"/>
                </a:cubicBezTo>
                <a:cubicBezTo>
                  <a:pt x="782" y="826"/>
                  <a:pt x="782" y="826"/>
                  <a:pt x="782" y="826"/>
                </a:cubicBezTo>
                <a:cubicBezTo>
                  <a:pt x="778" y="826"/>
                  <a:pt x="778" y="826"/>
                  <a:pt x="778" y="826"/>
                </a:cubicBezTo>
                <a:cubicBezTo>
                  <a:pt x="778" y="827"/>
                  <a:pt x="778" y="827"/>
                  <a:pt x="778" y="827"/>
                </a:cubicBezTo>
                <a:cubicBezTo>
                  <a:pt x="778" y="827"/>
                  <a:pt x="780" y="828"/>
                  <a:pt x="780" y="828"/>
                </a:cubicBezTo>
                <a:cubicBezTo>
                  <a:pt x="785" y="830"/>
                  <a:pt x="785" y="830"/>
                  <a:pt x="785" y="830"/>
                </a:cubicBezTo>
                <a:cubicBezTo>
                  <a:pt x="785" y="831"/>
                  <a:pt x="785" y="831"/>
                  <a:pt x="785" y="831"/>
                </a:cubicBezTo>
                <a:cubicBezTo>
                  <a:pt x="785" y="833"/>
                  <a:pt x="785" y="833"/>
                  <a:pt x="785" y="833"/>
                </a:cubicBezTo>
                <a:cubicBezTo>
                  <a:pt x="785" y="835"/>
                  <a:pt x="785" y="835"/>
                  <a:pt x="785" y="835"/>
                </a:cubicBezTo>
                <a:cubicBezTo>
                  <a:pt x="786" y="837"/>
                  <a:pt x="786" y="837"/>
                  <a:pt x="786" y="837"/>
                </a:cubicBezTo>
                <a:cubicBezTo>
                  <a:pt x="788" y="838"/>
                  <a:pt x="788" y="838"/>
                  <a:pt x="788" y="838"/>
                </a:cubicBezTo>
                <a:cubicBezTo>
                  <a:pt x="790" y="839"/>
                  <a:pt x="790" y="839"/>
                  <a:pt x="790" y="839"/>
                </a:cubicBezTo>
                <a:cubicBezTo>
                  <a:pt x="789" y="841"/>
                  <a:pt x="789" y="841"/>
                  <a:pt x="789" y="841"/>
                </a:cubicBezTo>
                <a:cubicBezTo>
                  <a:pt x="785" y="841"/>
                  <a:pt x="785" y="841"/>
                  <a:pt x="785" y="841"/>
                </a:cubicBezTo>
                <a:cubicBezTo>
                  <a:pt x="784" y="841"/>
                  <a:pt x="784" y="841"/>
                  <a:pt x="784" y="841"/>
                </a:cubicBezTo>
                <a:cubicBezTo>
                  <a:pt x="782" y="841"/>
                  <a:pt x="782" y="841"/>
                  <a:pt x="782" y="841"/>
                </a:cubicBezTo>
                <a:cubicBezTo>
                  <a:pt x="780" y="841"/>
                  <a:pt x="780" y="841"/>
                  <a:pt x="780" y="841"/>
                </a:cubicBezTo>
                <a:cubicBezTo>
                  <a:pt x="778" y="840"/>
                  <a:pt x="778" y="840"/>
                  <a:pt x="778" y="840"/>
                </a:cubicBezTo>
                <a:cubicBezTo>
                  <a:pt x="775" y="841"/>
                  <a:pt x="775" y="841"/>
                  <a:pt x="775" y="841"/>
                </a:cubicBezTo>
                <a:cubicBezTo>
                  <a:pt x="775" y="840"/>
                  <a:pt x="775" y="840"/>
                  <a:pt x="775" y="840"/>
                </a:cubicBezTo>
                <a:cubicBezTo>
                  <a:pt x="774" y="840"/>
                  <a:pt x="774" y="840"/>
                  <a:pt x="774" y="840"/>
                </a:cubicBezTo>
                <a:cubicBezTo>
                  <a:pt x="771" y="840"/>
                  <a:pt x="771" y="840"/>
                  <a:pt x="771" y="840"/>
                </a:cubicBezTo>
                <a:cubicBezTo>
                  <a:pt x="770" y="839"/>
                  <a:pt x="770" y="839"/>
                  <a:pt x="770" y="839"/>
                </a:cubicBezTo>
                <a:cubicBezTo>
                  <a:pt x="768" y="840"/>
                  <a:pt x="768" y="840"/>
                  <a:pt x="768" y="840"/>
                </a:cubicBezTo>
                <a:cubicBezTo>
                  <a:pt x="767" y="841"/>
                  <a:pt x="767" y="841"/>
                  <a:pt x="767" y="841"/>
                </a:cubicBezTo>
                <a:cubicBezTo>
                  <a:pt x="767" y="843"/>
                  <a:pt x="767" y="843"/>
                  <a:pt x="767" y="843"/>
                </a:cubicBezTo>
                <a:cubicBezTo>
                  <a:pt x="770" y="843"/>
                  <a:pt x="770" y="843"/>
                  <a:pt x="770" y="843"/>
                </a:cubicBezTo>
                <a:cubicBezTo>
                  <a:pt x="772" y="846"/>
                  <a:pt x="772" y="846"/>
                  <a:pt x="772" y="846"/>
                </a:cubicBezTo>
                <a:cubicBezTo>
                  <a:pt x="773" y="846"/>
                  <a:pt x="773" y="846"/>
                  <a:pt x="773" y="846"/>
                </a:cubicBezTo>
                <a:cubicBezTo>
                  <a:pt x="774" y="845"/>
                  <a:pt x="774" y="845"/>
                  <a:pt x="774" y="845"/>
                </a:cubicBezTo>
                <a:cubicBezTo>
                  <a:pt x="775" y="844"/>
                  <a:pt x="775" y="844"/>
                  <a:pt x="775" y="844"/>
                </a:cubicBezTo>
                <a:cubicBezTo>
                  <a:pt x="779" y="844"/>
                  <a:pt x="779" y="844"/>
                  <a:pt x="779" y="844"/>
                </a:cubicBezTo>
                <a:cubicBezTo>
                  <a:pt x="781" y="845"/>
                  <a:pt x="781" y="845"/>
                  <a:pt x="781" y="845"/>
                </a:cubicBezTo>
                <a:cubicBezTo>
                  <a:pt x="787" y="845"/>
                  <a:pt x="787" y="845"/>
                  <a:pt x="787" y="845"/>
                </a:cubicBezTo>
                <a:cubicBezTo>
                  <a:pt x="788" y="844"/>
                  <a:pt x="788" y="844"/>
                  <a:pt x="788" y="844"/>
                </a:cubicBezTo>
                <a:cubicBezTo>
                  <a:pt x="789" y="845"/>
                  <a:pt x="789" y="845"/>
                  <a:pt x="789" y="845"/>
                </a:cubicBezTo>
                <a:cubicBezTo>
                  <a:pt x="791" y="845"/>
                  <a:pt x="791" y="845"/>
                  <a:pt x="791" y="845"/>
                </a:cubicBezTo>
                <a:cubicBezTo>
                  <a:pt x="792" y="845"/>
                  <a:pt x="792" y="845"/>
                  <a:pt x="792" y="845"/>
                </a:cubicBezTo>
                <a:cubicBezTo>
                  <a:pt x="793" y="848"/>
                  <a:pt x="793" y="848"/>
                  <a:pt x="793" y="848"/>
                </a:cubicBezTo>
                <a:cubicBezTo>
                  <a:pt x="792" y="849"/>
                  <a:pt x="792" y="849"/>
                  <a:pt x="792" y="849"/>
                </a:cubicBezTo>
                <a:cubicBezTo>
                  <a:pt x="794" y="850"/>
                  <a:pt x="794" y="850"/>
                  <a:pt x="794" y="850"/>
                </a:cubicBezTo>
                <a:cubicBezTo>
                  <a:pt x="795" y="851"/>
                  <a:pt x="795" y="851"/>
                  <a:pt x="795" y="851"/>
                </a:cubicBezTo>
                <a:cubicBezTo>
                  <a:pt x="796" y="852"/>
                  <a:pt x="796" y="852"/>
                  <a:pt x="796" y="852"/>
                </a:cubicBezTo>
                <a:cubicBezTo>
                  <a:pt x="797" y="849"/>
                  <a:pt x="797" y="849"/>
                  <a:pt x="797" y="849"/>
                </a:cubicBezTo>
                <a:cubicBezTo>
                  <a:pt x="800" y="845"/>
                  <a:pt x="800" y="845"/>
                  <a:pt x="800" y="845"/>
                </a:cubicBezTo>
                <a:cubicBezTo>
                  <a:pt x="799" y="844"/>
                  <a:pt x="799" y="844"/>
                  <a:pt x="799" y="844"/>
                </a:cubicBezTo>
                <a:cubicBezTo>
                  <a:pt x="800" y="843"/>
                  <a:pt x="800" y="843"/>
                  <a:pt x="800" y="843"/>
                </a:cubicBezTo>
                <a:cubicBezTo>
                  <a:pt x="802" y="844"/>
                  <a:pt x="802" y="844"/>
                  <a:pt x="802" y="844"/>
                </a:cubicBezTo>
                <a:cubicBezTo>
                  <a:pt x="803" y="844"/>
                  <a:pt x="803" y="844"/>
                  <a:pt x="803" y="844"/>
                </a:cubicBezTo>
                <a:cubicBezTo>
                  <a:pt x="804" y="842"/>
                  <a:pt x="804" y="842"/>
                  <a:pt x="804" y="842"/>
                </a:cubicBezTo>
                <a:cubicBezTo>
                  <a:pt x="806" y="842"/>
                  <a:pt x="806" y="842"/>
                  <a:pt x="806" y="842"/>
                </a:cubicBezTo>
                <a:cubicBezTo>
                  <a:pt x="806" y="844"/>
                  <a:pt x="806" y="844"/>
                  <a:pt x="806" y="844"/>
                </a:cubicBezTo>
                <a:cubicBezTo>
                  <a:pt x="807" y="845"/>
                  <a:pt x="807" y="845"/>
                  <a:pt x="807" y="845"/>
                </a:cubicBezTo>
                <a:cubicBezTo>
                  <a:pt x="810" y="844"/>
                  <a:pt x="810" y="844"/>
                  <a:pt x="810" y="844"/>
                </a:cubicBezTo>
                <a:cubicBezTo>
                  <a:pt x="812" y="842"/>
                  <a:pt x="812" y="842"/>
                  <a:pt x="812" y="842"/>
                </a:cubicBezTo>
                <a:cubicBezTo>
                  <a:pt x="815" y="841"/>
                  <a:pt x="815" y="841"/>
                  <a:pt x="815" y="841"/>
                </a:cubicBezTo>
                <a:cubicBezTo>
                  <a:pt x="818" y="842"/>
                  <a:pt x="818" y="842"/>
                  <a:pt x="818" y="842"/>
                </a:cubicBezTo>
                <a:cubicBezTo>
                  <a:pt x="820" y="841"/>
                  <a:pt x="820" y="841"/>
                  <a:pt x="820" y="841"/>
                </a:cubicBezTo>
                <a:cubicBezTo>
                  <a:pt x="822" y="842"/>
                  <a:pt x="822" y="842"/>
                  <a:pt x="822" y="842"/>
                </a:cubicBezTo>
                <a:cubicBezTo>
                  <a:pt x="824" y="842"/>
                  <a:pt x="824" y="842"/>
                  <a:pt x="824" y="842"/>
                </a:cubicBezTo>
                <a:cubicBezTo>
                  <a:pt x="827" y="843"/>
                  <a:pt x="827" y="843"/>
                  <a:pt x="827" y="843"/>
                </a:cubicBezTo>
                <a:cubicBezTo>
                  <a:pt x="828" y="842"/>
                  <a:pt x="828" y="842"/>
                  <a:pt x="828" y="842"/>
                </a:cubicBezTo>
                <a:cubicBezTo>
                  <a:pt x="829" y="842"/>
                  <a:pt x="829" y="842"/>
                  <a:pt x="829" y="842"/>
                </a:cubicBezTo>
                <a:lnTo>
                  <a:pt x="830" y="840"/>
                </a:lnTo>
                <a:close/>
                <a:moveTo>
                  <a:pt x="824" y="906"/>
                </a:moveTo>
                <a:cubicBezTo>
                  <a:pt x="825" y="908"/>
                  <a:pt x="825" y="908"/>
                  <a:pt x="825" y="908"/>
                </a:cubicBezTo>
                <a:cubicBezTo>
                  <a:pt x="826" y="908"/>
                  <a:pt x="826" y="908"/>
                  <a:pt x="826" y="908"/>
                </a:cubicBezTo>
                <a:cubicBezTo>
                  <a:pt x="828" y="910"/>
                  <a:pt x="828" y="910"/>
                  <a:pt x="828" y="910"/>
                </a:cubicBezTo>
                <a:cubicBezTo>
                  <a:pt x="828" y="908"/>
                  <a:pt x="828" y="908"/>
                  <a:pt x="828" y="908"/>
                </a:cubicBezTo>
                <a:cubicBezTo>
                  <a:pt x="826" y="906"/>
                  <a:pt x="826" y="906"/>
                  <a:pt x="826" y="906"/>
                </a:cubicBezTo>
                <a:lnTo>
                  <a:pt x="824" y="906"/>
                </a:lnTo>
                <a:close/>
                <a:moveTo>
                  <a:pt x="547" y="741"/>
                </a:moveTo>
                <a:cubicBezTo>
                  <a:pt x="545" y="746"/>
                  <a:pt x="545" y="746"/>
                  <a:pt x="545" y="746"/>
                </a:cubicBezTo>
                <a:cubicBezTo>
                  <a:pt x="545" y="750"/>
                  <a:pt x="545" y="750"/>
                  <a:pt x="545" y="750"/>
                </a:cubicBezTo>
                <a:cubicBezTo>
                  <a:pt x="545" y="750"/>
                  <a:pt x="546" y="753"/>
                  <a:pt x="546" y="754"/>
                </a:cubicBezTo>
                <a:cubicBezTo>
                  <a:pt x="545" y="750"/>
                  <a:pt x="545" y="750"/>
                  <a:pt x="545" y="750"/>
                </a:cubicBezTo>
                <a:cubicBezTo>
                  <a:pt x="546" y="746"/>
                  <a:pt x="546" y="746"/>
                  <a:pt x="546" y="746"/>
                </a:cubicBezTo>
                <a:lnTo>
                  <a:pt x="547" y="741"/>
                </a:lnTo>
                <a:close/>
                <a:moveTo>
                  <a:pt x="808" y="903"/>
                </a:moveTo>
                <a:cubicBezTo>
                  <a:pt x="809" y="905"/>
                  <a:pt x="809" y="905"/>
                  <a:pt x="809" y="905"/>
                </a:cubicBezTo>
                <a:cubicBezTo>
                  <a:pt x="811" y="905"/>
                  <a:pt x="811" y="905"/>
                  <a:pt x="811" y="905"/>
                </a:cubicBezTo>
                <a:cubicBezTo>
                  <a:pt x="809" y="904"/>
                  <a:pt x="809" y="904"/>
                  <a:pt x="809" y="904"/>
                </a:cubicBezTo>
                <a:lnTo>
                  <a:pt x="808" y="903"/>
                </a:lnTo>
                <a:close/>
                <a:moveTo>
                  <a:pt x="817" y="906"/>
                </a:moveTo>
                <a:cubicBezTo>
                  <a:pt x="817" y="907"/>
                  <a:pt x="817" y="907"/>
                  <a:pt x="817" y="907"/>
                </a:cubicBezTo>
                <a:cubicBezTo>
                  <a:pt x="818" y="909"/>
                  <a:pt x="818" y="909"/>
                  <a:pt x="818" y="909"/>
                </a:cubicBezTo>
                <a:cubicBezTo>
                  <a:pt x="820" y="909"/>
                  <a:pt x="820" y="909"/>
                  <a:pt x="820" y="909"/>
                </a:cubicBezTo>
                <a:cubicBezTo>
                  <a:pt x="821" y="908"/>
                  <a:pt x="821" y="908"/>
                  <a:pt x="821" y="908"/>
                </a:cubicBezTo>
                <a:cubicBezTo>
                  <a:pt x="819" y="908"/>
                  <a:pt x="819" y="908"/>
                  <a:pt x="819" y="908"/>
                </a:cubicBezTo>
                <a:lnTo>
                  <a:pt x="817" y="906"/>
                </a:lnTo>
                <a:close/>
                <a:moveTo>
                  <a:pt x="809" y="1539"/>
                </a:moveTo>
                <a:cubicBezTo>
                  <a:pt x="808" y="1537"/>
                  <a:pt x="808" y="1537"/>
                  <a:pt x="808" y="1537"/>
                </a:cubicBezTo>
                <a:cubicBezTo>
                  <a:pt x="806" y="1537"/>
                  <a:pt x="806" y="1537"/>
                  <a:pt x="806" y="1537"/>
                </a:cubicBezTo>
                <a:cubicBezTo>
                  <a:pt x="807" y="1538"/>
                  <a:pt x="807" y="1538"/>
                  <a:pt x="807" y="1538"/>
                </a:cubicBezTo>
                <a:cubicBezTo>
                  <a:pt x="806" y="1540"/>
                  <a:pt x="806" y="1540"/>
                  <a:pt x="806" y="1540"/>
                </a:cubicBezTo>
                <a:cubicBezTo>
                  <a:pt x="808" y="1539"/>
                  <a:pt x="808" y="1539"/>
                  <a:pt x="808" y="1539"/>
                </a:cubicBezTo>
                <a:lnTo>
                  <a:pt x="809" y="1539"/>
                </a:lnTo>
                <a:close/>
                <a:moveTo>
                  <a:pt x="755" y="827"/>
                </a:moveTo>
                <a:cubicBezTo>
                  <a:pt x="760" y="826"/>
                  <a:pt x="760" y="826"/>
                  <a:pt x="760" y="826"/>
                </a:cubicBezTo>
                <a:cubicBezTo>
                  <a:pt x="761" y="825"/>
                  <a:pt x="761" y="825"/>
                  <a:pt x="761" y="825"/>
                </a:cubicBezTo>
                <a:cubicBezTo>
                  <a:pt x="762" y="825"/>
                  <a:pt x="762" y="825"/>
                  <a:pt x="762" y="825"/>
                </a:cubicBezTo>
                <a:cubicBezTo>
                  <a:pt x="763" y="824"/>
                  <a:pt x="763" y="824"/>
                  <a:pt x="763" y="824"/>
                </a:cubicBezTo>
                <a:cubicBezTo>
                  <a:pt x="767" y="825"/>
                  <a:pt x="767" y="825"/>
                  <a:pt x="767" y="825"/>
                </a:cubicBezTo>
                <a:cubicBezTo>
                  <a:pt x="769" y="824"/>
                  <a:pt x="769" y="824"/>
                  <a:pt x="769" y="824"/>
                </a:cubicBezTo>
                <a:cubicBezTo>
                  <a:pt x="771" y="822"/>
                  <a:pt x="771" y="822"/>
                  <a:pt x="771" y="822"/>
                </a:cubicBezTo>
                <a:cubicBezTo>
                  <a:pt x="770" y="821"/>
                  <a:pt x="770" y="821"/>
                  <a:pt x="770" y="821"/>
                </a:cubicBezTo>
                <a:cubicBezTo>
                  <a:pt x="768" y="821"/>
                  <a:pt x="768" y="821"/>
                  <a:pt x="768" y="821"/>
                </a:cubicBezTo>
                <a:cubicBezTo>
                  <a:pt x="767" y="818"/>
                  <a:pt x="767" y="818"/>
                  <a:pt x="767" y="818"/>
                </a:cubicBezTo>
                <a:cubicBezTo>
                  <a:pt x="762" y="816"/>
                  <a:pt x="762" y="816"/>
                  <a:pt x="762" y="816"/>
                </a:cubicBezTo>
                <a:cubicBezTo>
                  <a:pt x="757" y="816"/>
                  <a:pt x="757" y="816"/>
                  <a:pt x="757" y="816"/>
                </a:cubicBezTo>
                <a:cubicBezTo>
                  <a:pt x="756" y="816"/>
                  <a:pt x="756" y="816"/>
                  <a:pt x="756" y="816"/>
                </a:cubicBezTo>
                <a:cubicBezTo>
                  <a:pt x="757" y="815"/>
                  <a:pt x="757" y="815"/>
                  <a:pt x="757" y="815"/>
                </a:cubicBezTo>
                <a:cubicBezTo>
                  <a:pt x="757" y="812"/>
                  <a:pt x="757" y="812"/>
                  <a:pt x="757" y="812"/>
                </a:cubicBezTo>
                <a:cubicBezTo>
                  <a:pt x="756" y="812"/>
                  <a:pt x="756" y="812"/>
                  <a:pt x="756" y="812"/>
                </a:cubicBezTo>
                <a:cubicBezTo>
                  <a:pt x="754" y="812"/>
                  <a:pt x="754" y="812"/>
                  <a:pt x="754" y="812"/>
                </a:cubicBezTo>
                <a:cubicBezTo>
                  <a:pt x="753" y="812"/>
                  <a:pt x="753" y="812"/>
                  <a:pt x="753" y="812"/>
                </a:cubicBezTo>
                <a:cubicBezTo>
                  <a:pt x="749" y="809"/>
                  <a:pt x="749" y="809"/>
                  <a:pt x="749" y="809"/>
                </a:cubicBezTo>
                <a:cubicBezTo>
                  <a:pt x="748" y="810"/>
                  <a:pt x="748" y="810"/>
                  <a:pt x="748" y="810"/>
                </a:cubicBezTo>
                <a:cubicBezTo>
                  <a:pt x="746" y="809"/>
                  <a:pt x="746" y="809"/>
                  <a:pt x="746" y="809"/>
                </a:cubicBezTo>
                <a:cubicBezTo>
                  <a:pt x="744" y="807"/>
                  <a:pt x="744" y="807"/>
                  <a:pt x="744" y="807"/>
                </a:cubicBezTo>
                <a:cubicBezTo>
                  <a:pt x="742" y="809"/>
                  <a:pt x="742" y="809"/>
                  <a:pt x="742" y="809"/>
                </a:cubicBezTo>
                <a:cubicBezTo>
                  <a:pt x="741" y="808"/>
                  <a:pt x="741" y="808"/>
                  <a:pt x="741" y="808"/>
                </a:cubicBezTo>
                <a:cubicBezTo>
                  <a:pt x="742" y="806"/>
                  <a:pt x="742" y="806"/>
                  <a:pt x="742" y="806"/>
                </a:cubicBezTo>
                <a:cubicBezTo>
                  <a:pt x="740" y="806"/>
                  <a:pt x="740" y="806"/>
                  <a:pt x="740" y="806"/>
                </a:cubicBezTo>
                <a:cubicBezTo>
                  <a:pt x="740" y="807"/>
                  <a:pt x="740" y="807"/>
                  <a:pt x="740" y="807"/>
                </a:cubicBezTo>
                <a:cubicBezTo>
                  <a:pt x="739" y="806"/>
                  <a:pt x="739" y="806"/>
                  <a:pt x="739" y="806"/>
                </a:cubicBezTo>
                <a:cubicBezTo>
                  <a:pt x="735" y="805"/>
                  <a:pt x="735" y="805"/>
                  <a:pt x="735" y="805"/>
                </a:cubicBezTo>
                <a:cubicBezTo>
                  <a:pt x="732" y="803"/>
                  <a:pt x="732" y="803"/>
                  <a:pt x="732" y="803"/>
                </a:cubicBezTo>
                <a:cubicBezTo>
                  <a:pt x="730" y="801"/>
                  <a:pt x="730" y="801"/>
                  <a:pt x="730" y="801"/>
                </a:cubicBezTo>
                <a:cubicBezTo>
                  <a:pt x="727" y="799"/>
                  <a:pt x="727" y="799"/>
                  <a:pt x="727" y="799"/>
                </a:cubicBezTo>
                <a:cubicBezTo>
                  <a:pt x="722" y="799"/>
                  <a:pt x="722" y="799"/>
                  <a:pt x="722" y="799"/>
                </a:cubicBezTo>
                <a:cubicBezTo>
                  <a:pt x="720" y="798"/>
                  <a:pt x="720" y="798"/>
                  <a:pt x="720" y="798"/>
                </a:cubicBezTo>
                <a:cubicBezTo>
                  <a:pt x="719" y="796"/>
                  <a:pt x="719" y="796"/>
                  <a:pt x="719" y="796"/>
                </a:cubicBezTo>
                <a:cubicBezTo>
                  <a:pt x="717" y="793"/>
                  <a:pt x="717" y="793"/>
                  <a:pt x="717" y="793"/>
                </a:cubicBezTo>
                <a:cubicBezTo>
                  <a:pt x="715" y="794"/>
                  <a:pt x="715" y="794"/>
                  <a:pt x="715" y="794"/>
                </a:cubicBezTo>
                <a:cubicBezTo>
                  <a:pt x="714" y="793"/>
                  <a:pt x="714" y="793"/>
                  <a:pt x="714" y="793"/>
                </a:cubicBezTo>
                <a:cubicBezTo>
                  <a:pt x="706" y="791"/>
                  <a:pt x="706" y="791"/>
                  <a:pt x="706" y="791"/>
                </a:cubicBezTo>
                <a:cubicBezTo>
                  <a:pt x="704" y="792"/>
                  <a:pt x="704" y="792"/>
                  <a:pt x="704" y="792"/>
                </a:cubicBezTo>
                <a:cubicBezTo>
                  <a:pt x="701" y="792"/>
                  <a:pt x="701" y="792"/>
                  <a:pt x="701" y="792"/>
                </a:cubicBezTo>
                <a:cubicBezTo>
                  <a:pt x="699" y="790"/>
                  <a:pt x="699" y="790"/>
                  <a:pt x="699" y="790"/>
                </a:cubicBezTo>
                <a:cubicBezTo>
                  <a:pt x="694" y="789"/>
                  <a:pt x="694" y="789"/>
                  <a:pt x="694" y="789"/>
                </a:cubicBezTo>
                <a:cubicBezTo>
                  <a:pt x="690" y="789"/>
                  <a:pt x="690" y="789"/>
                  <a:pt x="690" y="789"/>
                </a:cubicBezTo>
                <a:cubicBezTo>
                  <a:pt x="688" y="791"/>
                  <a:pt x="688" y="791"/>
                  <a:pt x="688" y="791"/>
                </a:cubicBezTo>
                <a:cubicBezTo>
                  <a:pt x="683" y="791"/>
                  <a:pt x="683" y="791"/>
                  <a:pt x="683" y="791"/>
                </a:cubicBezTo>
                <a:cubicBezTo>
                  <a:pt x="678" y="792"/>
                  <a:pt x="678" y="792"/>
                  <a:pt x="678" y="792"/>
                </a:cubicBezTo>
                <a:cubicBezTo>
                  <a:pt x="677" y="793"/>
                  <a:pt x="677" y="793"/>
                  <a:pt x="677" y="793"/>
                </a:cubicBezTo>
                <a:cubicBezTo>
                  <a:pt x="672" y="795"/>
                  <a:pt x="672" y="795"/>
                  <a:pt x="672" y="795"/>
                </a:cubicBezTo>
                <a:cubicBezTo>
                  <a:pt x="671" y="796"/>
                  <a:pt x="671" y="796"/>
                  <a:pt x="671" y="796"/>
                </a:cubicBezTo>
                <a:cubicBezTo>
                  <a:pt x="669" y="797"/>
                  <a:pt x="669" y="797"/>
                  <a:pt x="669" y="797"/>
                </a:cubicBezTo>
                <a:cubicBezTo>
                  <a:pt x="669" y="800"/>
                  <a:pt x="669" y="800"/>
                  <a:pt x="669" y="800"/>
                </a:cubicBezTo>
                <a:cubicBezTo>
                  <a:pt x="670" y="801"/>
                  <a:pt x="670" y="801"/>
                  <a:pt x="670" y="801"/>
                </a:cubicBezTo>
                <a:cubicBezTo>
                  <a:pt x="670" y="802"/>
                  <a:pt x="670" y="802"/>
                  <a:pt x="670" y="802"/>
                </a:cubicBezTo>
                <a:cubicBezTo>
                  <a:pt x="668" y="801"/>
                  <a:pt x="668" y="801"/>
                  <a:pt x="668" y="801"/>
                </a:cubicBezTo>
                <a:cubicBezTo>
                  <a:pt x="664" y="803"/>
                  <a:pt x="664" y="803"/>
                  <a:pt x="664" y="803"/>
                </a:cubicBezTo>
                <a:cubicBezTo>
                  <a:pt x="663" y="803"/>
                  <a:pt x="663" y="803"/>
                  <a:pt x="663" y="803"/>
                </a:cubicBezTo>
                <a:cubicBezTo>
                  <a:pt x="663" y="804"/>
                  <a:pt x="663" y="804"/>
                  <a:pt x="663" y="804"/>
                </a:cubicBezTo>
                <a:cubicBezTo>
                  <a:pt x="665" y="805"/>
                  <a:pt x="665" y="805"/>
                  <a:pt x="665" y="805"/>
                </a:cubicBezTo>
                <a:cubicBezTo>
                  <a:pt x="667" y="803"/>
                  <a:pt x="667" y="803"/>
                  <a:pt x="667" y="803"/>
                </a:cubicBezTo>
                <a:cubicBezTo>
                  <a:pt x="667" y="803"/>
                  <a:pt x="667" y="803"/>
                  <a:pt x="667" y="803"/>
                </a:cubicBezTo>
                <a:cubicBezTo>
                  <a:pt x="668" y="805"/>
                  <a:pt x="668" y="805"/>
                  <a:pt x="668" y="805"/>
                </a:cubicBezTo>
                <a:cubicBezTo>
                  <a:pt x="670" y="803"/>
                  <a:pt x="670" y="803"/>
                  <a:pt x="670" y="803"/>
                </a:cubicBezTo>
                <a:cubicBezTo>
                  <a:pt x="672" y="803"/>
                  <a:pt x="672" y="803"/>
                  <a:pt x="672" y="803"/>
                </a:cubicBezTo>
                <a:cubicBezTo>
                  <a:pt x="674" y="800"/>
                  <a:pt x="674" y="800"/>
                  <a:pt x="674" y="800"/>
                </a:cubicBezTo>
                <a:cubicBezTo>
                  <a:pt x="676" y="801"/>
                  <a:pt x="676" y="801"/>
                  <a:pt x="676" y="801"/>
                </a:cubicBezTo>
                <a:cubicBezTo>
                  <a:pt x="677" y="800"/>
                  <a:pt x="677" y="800"/>
                  <a:pt x="677" y="800"/>
                </a:cubicBezTo>
                <a:cubicBezTo>
                  <a:pt x="679" y="801"/>
                  <a:pt x="679" y="801"/>
                  <a:pt x="679" y="801"/>
                </a:cubicBezTo>
                <a:cubicBezTo>
                  <a:pt x="681" y="800"/>
                  <a:pt x="681" y="800"/>
                  <a:pt x="681" y="800"/>
                </a:cubicBezTo>
                <a:cubicBezTo>
                  <a:pt x="684" y="797"/>
                  <a:pt x="684" y="797"/>
                  <a:pt x="684" y="797"/>
                </a:cubicBezTo>
                <a:cubicBezTo>
                  <a:pt x="686" y="796"/>
                  <a:pt x="686" y="796"/>
                  <a:pt x="686" y="796"/>
                </a:cubicBezTo>
                <a:cubicBezTo>
                  <a:pt x="687" y="795"/>
                  <a:pt x="687" y="795"/>
                  <a:pt x="687" y="795"/>
                </a:cubicBezTo>
                <a:cubicBezTo>
                  <a:pt x="690" y="795"/>
                  <a:pt x="690" y="795"/>
                  <a:pt x="690" y="795"/>
                </a:cubicBezTo>
                <a:cubicBezTo>
                  <a:pt x="691" y="795"/>
                  <a:pt x="691" y="795"/>
                  <a:pt x="691" y="795"/>
                </a:cubicBezTo>
                <a:cubicBezTo>
                  <a:pt x="696" y="796"/>
                  <a:pt x="696" y="796"/>
                  <a:pt x="696" y="796"/>
                </a:cubicBezTo>
                <a:cubicBezTo>
                  <a:pt x="697" y="797"/>
                  <a:pt x="697" y="797"/>
                  <a:pt x="697" y="797"/>
                </a:cubicBezTo>
                <a:cubicBezTo>
                  <a:pt x="696" y="798"/>
                  <a:pt x="696" y="798"/>
                  <a:pt x="696" y="798"/>
                </a:cubicBezTo>
                <a:cubicBezTo>
                  <a:pt x="694" y="798"/>
                  <a:pt x="694" y="798"/>
                  <a:pt x="694" y="798"/>
                </a:cubicBezTo>
                <a:cubicBezTo>
                  <a:pt x="692" y="799"/>
                  <a:pt x="692" y="799"/>
                  <a:pt x="692" y="799"/>
                </a:cubicBezTo>
                <a:cubicBezTo>
                  <a:pt x="694" y="800"/>
                  <a:pt x="694" y="800"/>
                  <a:pt x="694" y="800"/>
                </a:cubicBezTo>
                <a:cubicBezTo>
                  <a:pt x="700" y="801"/>
                  <a:pt x="700" y="801"/>
                  <a:pt x="700" y="801"/>
                </a:cubicBezTo>
                <a:cubicBezTo>
                  <a:pt x="701" y="800"/>
                  <a:pt x="701" y="800"/>
                  <a:pt x="701" y="800"/>
                </a:cubicBezTo>
                <a:cubicBezTo>
                  <a:pt x="703" y="800"/>
                  <a:pt x="703" y="800"/>
                  <a:pt x="703" y="800"/>
                </a:cubicBezTo>
                <a:cubicBezTo>
                  <a:pt x="704" y="802"/>
                  <a:pt x="704" y="802"/>
                  <a:pt x="704" y="802"/>
                </a:cubicBezTo>
                <a:cubicBezTo>
                  <a:pt x="707" y="802"/>
                  <a:pt x="707" y="802"/>
                  <a:pt x="707" y="802"/>
                </a:cubicBezTo>
                <a:cubicBezTo>
                  <a:pt x="709" y="802"/>
                  <a:pt x="709" y="802"/>
                  <a:pt x="709" y="802"/>
                </a:cubicBezTo>
                <a:cubicBezTo>
                  <a:pt x="709" y="801"/>
                  <a:pt x="709" y="801"/>
                  <a:pt x="709" y="801"/>
                </a:cubicBezTo>
                <a:cubicBezTo>
                  <a:pt x="711" y="802"/>
                  <a:pt x="711" y="802"/>
                  <a:pt x="711" y="802"/>
                </a:cubicBezTo>
                <a:cubicBezTo>
                  <a:pt x="711" y="803"/>
                  <a:pt x="711" y="803"/>
                  <a:pt x="711" y="803"/>
                </a:cubicBezTo>
                <a:cubicBezTo>
                  <a:pt x="714" y="806"/>
                  <a:pt x="714" y="806"/>
                  <a:pt x="714" y="806"/>
                </a:cubicBezTo>
                <a:cubicBezTo>
                  <a:pt x="717" y="806"/>
                  <a:pt x="717" y="806"/>
                  <a:pt x="717" y="806"/>
                </a:cubicBezTo>
                <a:cubicBezTo>
                  <a:pt x="718" y="805"/>
                  <a:pt x="718" y="805"/>
                  <a:pt x="718" y="805"/>
                </a:cubicBezTo>
                <a:cubicBezTo>
                  <a:pt x="719" y="807"/>
                  <a:pt x="719" y="807"/>
                  <a:pt x="719" y="807"/>
                </a:cubicBezTo>
                <a:cubicBezTo>
                  <a:pt x="721" y="807"/>
                  <a:pt x="721" y="807"/>
                  <a:pt x="721" y="807"/>
                </a:cubicBezTo>
                <a:cubicBezTo>
                  <a:pt x="723" y="807"/>
                  <a:pt x="723" y="807"/>
                  <a:pt x="723" y="807"/>
                </a:cubicBezTo>
                <a:cubicBezTo>
                  <a:pt x="726" y="806"/>
                  <a:pt x="726" y="806"/>
                  <a:pt x="726" y="806"/>
                </a:cubicBezTo>
                <a:cubicBezTo>
                  <a:pt x="727" y="807"/>
                  <a:pt x="727" y="807"/>
                  <a:pt x="727" y="807"/>
                </a:cubicBezTo>
                <a:cubicBezTo>
                  <a:pt x="729" y="813"/>
                  <a:pt x="729" y="813"/>
                  <a:pt x="729" y="813"/>
                </a:cubicBezTo>
                <a:cubicBezTo>
                  <a:pt x="732" y="817"/>
                  <a:pt x="732" y="817"/>
                  <a:pt x="732" y="817"/>
                </a:cubicBezTo>
                <a:cubicBezTo>
                  <a:pt x="734" y="817"/>
                  <a:pt x="734" y="817"/>
                  <a:pt x="734" y="817"/>
                </a:cubicBezTo>
                <a:cubicBezTo>
                  <a:pt x="734" y="816"/>
                  <a:pt x="734" y="816"/>
                  <a:pt x="734" y="816"/>
                </a:cubicBezTo>
                <a:cubicBezTo>
                  <a:pt x="737" y="817"/>
                  <a:pt x="737" y="817"/>
                  <a:pt x="737" y="817"/>
                </a:cubicBezTo>
                <a:cubicBezTo>
                  <a:pt x="740" y="817"/>
                  <a:pt x="740" y="817"/>
                  <a:pt x="740" y="817"/>
                </a:cubicBezTo>
                <a:cubicBezTo>
                  <a:pt x="741" y="818"/>
                  <a:pt x="741" y="818"/>
                  <a:pt x="741" y="818"/>
                </a:cubicBezTo>
                <a:cubicBezTo>
                  <a:pt x="742" y="819"/>
                  <a:pt x="742" y="819"/>
                  <a:pt x="742" y="819"/>
                </a:cubicBezTo>
                <a:cubicBezTo>
                  <a:pt x="742" y="821"/>
                  <a:pt x="742" y="821"/>
                  <a:pt x="742" y="821"/>
                </a:cubicBezTo>
                <a:cubicBezTo>
                  <a:pt x="739" y="822"/>
                  <a:pt x="739" y="822"/>
                  <a:pt x="739" y="822"/>
                </a:cubicBezTo>
                <a:cubicBezTo>
                  <a:pt x="736" y="825"/>
                  <a:pt x="736" y="825"/>
                  <a:pt x="736" y="825"/>
                </a:cubicBezTo>
                <a:cubicBezTo>
                  <a:pt x="736" y="827"/>
                  <a:pt x="736" y="827"/>
                  <a:pt x="736" y="827"/>
                </a:cubicBezTo>
                <a:cubicBezTo>
                  <a:pt x="740" y="827"/>
                  <a:pt x="740" y="827"/>
                  <a:pt x="740" y="827"/>
                </a:cubicBezTo>
                <a:cubicBezTo>
                  <a:pt x="742" y="826"/>
                  <a:pt x="742" y="826"/>
                  <a:pt x="742" y="826"/>
                </a:cubicBezTo>
                <a:cubicBezTo>
                  <a:pt x="744" y="827"/>
                  <a:pt x="744" y="827"/>
                  <a:pt x="744" y="827"/>
                </a:cubicBezTo>
                <a:cubicBezTo>
                  <a:pt x="749" y="825"/>
                  <a:pt x="749" y="825"/>
                  <a:pt x="749" y="825"/>
                </a:cubicBezTo>
                <a:cubicBezTo>
                  <a:pt x="751" y="826"/>
                  <a:pt x="751" y="826"/>
                  <a:pt x="751" y="826"/>
                </a:cubicBezTo>
                <a:lnTo>
                  <a:pt x="755" y="827"/>
                </a:lnTo>
                <a:close/>
                <a:moveTo>
                  <a:pt x="816" y="1535"/>
                </a:moveTo>
                <a:cubicBezTo>
                  <a:pt x="816" y="1536"/>
                  <a:pt x="816" y="1536"/>
                  <a:pt x="816" y="1536"/>
                </a:cubicBezTo>
                <a:cubicBezTo>
                  <a:pt x="818" y="1535"/>
                  <a:pt x="818" y="1535"/>
                  <a:pt x="818" y="1535"/>
                </a:cubicBezTo>
                <a:cubicBezTo>
                  <a:pt x="817" y="1534"/>
                  <a:pt x="817" y="1534"/>
                  <a:pt x="817" y="1534"/>
                </a:cubicBezTo>
                <a:lnTo>
                  <a:pt x="816" y="1535"/>
                </a:lnTo>
                <a:close/>
                <a:moveTo>
                  <a:pt x="816" y="1542"/>
                </a:moveTo>
                <a:cubicBezTo>
                  <a:pt x="817" y="1544"/>
                  <a:pt x="817" y="1544"/>
                  <a:pt x="817" y="1544"/>
                </a:cubicBezTo>
                <a:cubicBezTo>
                  <a:pt x="818" y="1542"/>
                  <a:pt x="818" y="1542"/>
                  <a:pt x="818" y="1542"/>
                </a:cubicBezTo>
                <a:cubicBezTo>
                  <a:pt x="819" y="1543"/>
                  <a:pt x="819" y="1543"/>
                  <a:pt x="819" y="1543"/>
                </a:cubicBezTo>
                <a:cubicBezTo>
                  <a:pt x="820" y="1543"/>
                  <a:pt x="820" y="1543"/>
                  <a:pt x="820" y="1543"/>
                </a:cubicBezTo>
                <a:cubicBezTo>
                  <a:pt x="821" y="1543"/>
                  <a:pt x="821" y="1543"/>
                  <a:pt x="821" y="1543"/>
                </a:cubicBezTo>
                <a:cubicBezTo>
                  <a:pt x="822" y="1541"/>
                  <a:pt x="822" y="1541"/>
                  <a:pt x="822" y="1541"/>
                </a:cubicBezTo>
                <a:cubicBezTo>
                  <a:pt x="823" y="1540"/>
                  <a:pt x="823" y="1540"/>
                  <a:pt x="823" y="1540"/>
                </a:cubicBezTo>
                <a:cubicBezTo>
                  <a:pt x="821" y="1538"/>
                  <a:pt x="821" y="1538"/>
                  <a:pt x="821" y="1538"/>
                </a:cubicBezTo>
                <a:cubicBezTo>
                  <a:pt x="821" y="1537"/>
                  <a:pt x="821" y="1537"/>
                  <a:pt x="821" y="1537"/>
                </a:cubicBezTo>
                <a:cubicBezTo>
                  <a:pt x="819" y="1536"/>
                  <a:pt x="819" y="1536"/>
                  <a:pt x="819" y="1536"/>
                </a:cubicBezTo>
                <a:cubicBezTo>
                  <a:pt x="817" y="1537"/>
                  <a:pt x="817" y="1537"/>
                  <a:pt x="817" y="1537"/>
                </a:cubicBezTo>
                <a:cubicBezTo>
                  <a:pt x="816" y="1540"/>
                  <a:pt x="816" y="1540"/>
                  <a:pt x="816" y="1540"/>
                </a:cubicBezTo>
                <a:lnTo>
                  <a:pt x="816" y="1542"/>
                </a:lnTo>
                <a:close/>
                <a:moveTo>
                  <a:pt x="813" y="1508"/>
                </a:moveTo>
                <a:cubicBezTo>
                  <a:pt x="815" y="1510"/>
                  <a:pt x="815" y="1510"/>
                  <a:pt x="815" y="1510"/>
                </a:cubicBezTo>
                <a:cubicBezTo>
                  <a:pt x="816" y="1509"/>
                  <a:pt x="816" y="1509"/>
                  <a:pt x="816" y="1509"/>
                </a:cubicBezTo>
                <a:cubicBezTo>
                  <a:pt x="815" y="1508"/>
                  <a:pt x="815" y="1508"/>
                  <a:pt x="815" y="1508"/>
                </a:cubicBezTo>
                <a:lnTo>
                  <a:pt x="813" y="1508"/>
                </a:lnTo>
                <a:close/>
                <a:moveTo>
                  <a:pt x="817" y="1528"/>
                </a:moveTo>
                <a:cubicBezTo>
                  <a:pt x="816" y="1530"/>
                  <a:pt x="816" y="1530"/>
                  <a:pt x="816" y="1530"/>
                </a:cubicBezTo>
                <a:cubicBezTo>
                  <a:pt x="816" y="1531"/>
                  <a:pt x="816" y="1531"/>
                  <a:pt x="816" y="1531"/>
                </a:cubicBezTo>
                <a:cubicBezTo>
                  <a:pt x="817" y="1530"/>
                  <a:pt x="817" y="1530"/>
                  <a:pt x="817" y="1530"/>
                </a:cubicBezTo>
                <a:lnTo>
                  <a:pt x="817" y="1528"/>
                </a:lnTo>
                <a:close/>
                <a:moveTo>
                  <a:pt x="815" y="1546"/>
                </a:moveTo>
                <a:cubicBezTo>
                  <a:pt x="813" y="1546"/>
                  <a:pt x="813" y="1546"/>
                  <a:pt x="813" y="1546"/>
                </a:cubicBezTo>
                <a:cubicBezTo>
                  <a:pt x="811" y="1547"/>
                  <a:pt x="811" y="1547"/>
                  <a:pt x="811" y="1547"/>
                </a:cubicBezTo>
                <a:cubicBezTo>
                  <a:pt x="812" y="1548"/>
                  <a:pt x="812" y="1548"/>
                  <a:pt x="812" y="1548"/>
                </a:cubicBezTo>
                <a:cubicBezTo>
                  <a:pt x="813" y="1551"/>
                  <a:pt x="813" y="1551"/>
                  <a:pt x="813" y="1551"/>
                </a:cubicBezTo>
                <a:cubicBezTo>
                  <a:pt x="814" y="1551"/>
                  <a:pt x="814" y="1551"/>
                  <a:pt x="814" y="1551"/>
                </a:cubicBezTo>
                <a:cubicBezTo>
                  <a:pt x="815" y="1550"/>
                  <a:pt x="815" y="1550"/>
                  <a:pt x="815" y="1550"/>
                </a:cubicBezTo>
                <a:lnTo>
                  <a:pt x="815" y="1546"/>
                </a:lnTo>
                <a:close/>
                <a:moveTo>
                  <a:pt x="813" y="1554"/>
                </a:moveTo>
                <a:cubicBezTo>
                  <a:pt x="814" y="1552"/>
                  <a:pt x="814" y="1552"/>
                  <a:pt x="814" y="1552"/>
                </a:cubicBezTo>
                <a:cubicBezTo>
                  <a:pt x="812" y="1552"/>
                  <a:pt x="812" y="1552"/>
                  <a:pt x="812" y="1552"/>
                </a:cubicBezTo>
                <a:lnTo>
                  <a:pt x="813" y="1554"/>
                </a:lnTo>
                <a:close/>
                <a:moveTo>
                  <a:pt x="803" y="1508"/>
                </a:moveTo>
                <a:cubicBezTo>
                  <a:pt x="803" y="1510"/>
                  <a:pt x="803" y="1510"/>
                  <a:pt x="803" y="1510"/>
                </a:cubicBezTo>
                <a:cubicBezTo>
                  <a:pt x="803" y="1511"/>
                  <a:pt x="803" y="1511"/>
                  <a:pt x="803" y="1511"/>
                </a:cubicBezTo>
                <a:cubicBezTo>
                  <a:pt x="804" y="1511"/>
                  <a:pt x="804" y="1511"/>
                  <a:pt x="804" y="1511"/>
                </a:cubicBezTo>
                <a:cubicBezTo>
                  <a:pt x="805" y="1514"/>
                  <a:pt x="805" y="1514"/>
                  <a:pt x="805" y="1514"/>
                </a:cubicBezTo>
                <a:cubicBezTo>
                  <a:pt x="805" y="1520"/>
                  <a:pt x="805" y="1520"/>
                  <a:pt x="805" y="1520"/>
                </a:cubicBezTo>
                <a:cubicBezTo>
                  <a:pt x="804" y="1522"/>
                  <a:pt x="804" y="1522"/>
                  <a:pt x="804" y="1522"/>
                </a:cubicBezTo>
                <a:cubicBezTo>
                  <a:pt x="806" y="1523"/>
                  <a:pt x="806" y="1523"/>
                  <a:pt x="806" y="1523"/>
                </a:cubicBezTo>
                <a:cubicBezTo>
                  <a:pt x="810" y="1523"/>
                  <a:pt x="810" y="1523"/>
                  <a:pt x="810" y="1523"/>
                </a:cubicBezTo>
                <a:cubicBezTo>
                  <a:pt x="810" y="1522"/>
                  <a:pt x="810" y="1522"/>
                  <a:pt x="810" y="1522"/>
                </a:cubicBezTo>
                <a:cubicBezTo>
                  <a:pt x="809" y="1520"/>
                  <a:pt x="809" y="1520"/>
                  <a:pt x="809" y="1520"/>
                </a:cubicBezTo>
                <a:cubicBezTo>
                  <a:pt x="810" y="1519"/>
                  <a:pt x="810" y="1519"/>
                  <a:pt x="810" y="1519"/>
                </a:cubicBezTo>
                <a:cubicBezTo>
                  <a:pt x="812" y="1519"/>
                  <a:pt x="812" y="1519"/>
                  <a:pt x="812" y="1519"/>
                </a:cubicBezTo>
                <a:cubicBezTo>
                  <a:pt x="813" y="1519"/>
                  <a:pt x="813" y="1519"/>
                  <a:pt x="813" y="1519"/>
                </a:cubicBezTo>
                <a:cubicBezTo>
                  <a:pt x="810" y="1517"/>
                  <a:pt x="810" y="1517"/>
                  <a:pt x="810" y="1517"/>
                </a:cubicBezTo>
                <a:cubicBezTo>
                  <a:pt x="811" y="1516"/>
                  <a:pt x="811" y="1516"/>
                  <a:pt x="811" y="1516"/>
                </a:cubicBezTo>
                <a:cubicBezTo>
                  <a:pt x="809" y="1514"/>
                  <a:pt x="809" y="1514"/>
                  <a:pt x="809" y="1514"/>
                </a:cubicBezTo>
                <a:cubicBezTo>
                  <a:pt x="809" y="1512"/>
                  <a:pt x="809" y="1512"/>
                  <a:pt x="809" y="1512"/>
                </a:cubicBezTo>
                <a:cubicBezTo>
                  <a:pt x="810" y="1512"/>
                  <a:pt x="810" y="1512"/>
                  <a:pt x="810" y="1512"/>
                </a:cubicBezTo>
                <a:cubicBezTo>
                  <a:pt x="812" y="1513"/>
                  <a:pt x="812" y="1513"/>
                  <a:pt x="812" y="1513"/>
                </a:cubicBezTo>
                <a:cubicBezTo>
                  <a:pt x="812" y="1513"/>
                  <a:pt x="812" y="1513"/>
                  <a:pt x="812" y="1513"/>
                </a:cubicBezTo>
                <a:cubicBezTo>
                  <a:pt x="811" y="1512"/>
                  <a:pt x="811" y="1512"/>
                  <a:pt x="811" y="1512"/>
                </a:cubicBezTo>
                <a:cubicBezTo>
                  <a:pt x="809" y="1510"/>
                  <a:pt x="809" y="1510"/>
                  <a:pt x="809" y="1510"/>
                </a:cubicBezTo>
                <a:cubicBezTo>
                  <a:pt x="811" y="1511"/>
                  <a:pt x="811" y="1511"/>
                  <a:pt x="811" y="1511"/>
                </a:cubicBezTo>
                <a:cubicBezTo>
                  <a:pt x="811" y="1509"/>
                  <a:pt x="811" y="1509"/>
                  <a:pt x="811" y="1509"/>
                </a:cubicBezTo>
                <a:cubicBezTo>
                  <a:pt x="811" y="1508"/>
                  <a:pt x="811" y="1508"/>
                  <a:pt x="811" y="1508"/>
                </a:cubicBezTo>
                <a:cubicBezTo>
                  <a:pt x="811" y="1506"/>
                  <a:pt x="811" y="1506"/>
                  <a:pt x="811" y="1506"/>
                </a:cubicBezTo>
                <a:cubicBezTo>
                  <a:pt x="809" y="1503"/>
                  <a:pt x="809" y="1503"/>
                  <a:pt x="809" y="1503"/>
                </a:cubicBezTo>
                <a:cubicBezTo>
                  <a:pt x="807" y="1502"/>
                  <a:pt x="807" y="1502"/>
                  <a:pt x="807" y="1502"/>
                </a:cubicBezTo>
                <a:cubicBezTo>
                  <a:pt x="805" y="1502"/>
                  <a:pt x="805" y="1502"/>
                  <a:pt x="805" y="1502"/>
                </a:cubicBezTo>
                <a:cubicBezTo>
                  <a:pt x="804" y="1503"/>
                  <a:pt x="804" y="1503"/>
                  <a:pt x="804" y="1503"/>
                </a:cubicBezTo>
                <a:cubicBezTo>
                  <a:pt x="804" y="1505"/>
                  <a:pt x="804" y="1505"/>
                  <a:pt x="804" y="1505"/>
                </a:cubicBezTo>
                <a:cubicBezTo>
                  <a:pt x="804" y="1506"/>
                  <a:pt x="804" y="1506"/>
                  <a:pt x="804" y="1506"/>
                </a:cubicBezTo>
                <a:cubicBezTo>
                  <a:pt x="804" y="1507"/>
                  <a:pt x="804" y="1507"/>
                  <a:pt x="804" y="1507"/>
                </a:cubicBezTo>
                <a:lnTo>
                  <a:pt x="803" y="1508"/>
                </a:lnTo>
                <a:close/>
                <a:moveTo>
                  <a:pt x="540" y="773"/>
                </a:moveTo>
                <a:cubicBezTo>
                  <a:pt x="540" y="772"/>
                  <a:pt x="540" y="772"/>
                  <a:pt x="540" y="772"/>
                </a:cubicBezTo>
                <a:cubicBezTo>
                  <a:pt x="539" y="775"/>
                  <a:pt x="539" y="775"/>
                  <a:pt x="539" y="775"/>
                </a:cubicBezTo>
                <a:lnTo>
                  <a:pt x="540" y="773"/>
                </a:lnTo>
                <a:close/>
                <a:moveTo>
                  <a:pt x="540" y="771"/>
                </a:moveTo>
                <a:cubicBezTo>
                  <a:pt x="540" y="771"/>
                  <a:pt x="540" y="771"/>
                  <a:pt x="540" y="771"/>
                </a:cubicBezTo>
                <a:cubicBezTo>
                  <a:pt x="541" y="769"/>
                  <a:pt x="541" y="769"/>
                  <a:pt x="541" y="769"/>
                </a:cubicBezTo>
                <a:cubicBezTo>
                  <a:pt x="540" y="769"/>
                  <a:pt x="540" y="769"/>
                  <a:pt x="540" y="769"/>
                </a:cubicBezTo>
                <a:lnTo>
                  <a:pt x="540" y="771"/>
                </a:lnTo>
                <a:close/>
                <a:moveTo>
                  <a:pt x="1001" y="1040"/>
                </a:moveTo>
                <a:cubicBezTo>
                  <a:pt x="1000" y="1041"/>
                  <a:pt x="1000" y="1041"/>
                  <a:pt x="1000" y="1041"/>
                </a:cubicBezTo>
                <a:cubicBezTo>
                  <a:pt x="1000" y="1041"/>
                  <a:pt x="1000" y="1041"/>
                  <a:pt x="1000" y="1041"/>
                </a:cubicBezTo>
                <a:cubicBezTo>
                  <a:pt x="1002" y="1041"/>
                  <a:pt x="1002" y="1041"/>
                  <a:pt x="1002" y="1041"/>
                </a:cubicBezTo>
                <a:cubicBezTo>
                  <a:pt x="1002" y="1040"/>
                  <a:pt x="1002" y="1040"/>
                  <a:pt x="1002" y="1040"/>
                </a:cubicBezTo>
                <a:cubicBezTo>
                  <a:pt x="1002" y="1039"/>
                  <a:pt x="1002" y="1039"/>
                  <a:pt x="1002" y="1039"/>
                </a:cubicBezTo>
                <a:lnTo>
                  <a:pt x="1001" y="1040"/>
                </a:lnTo>
                <a:close/>
                <a:moveTo>
                  <a:pt x="541" y="767"/>
                </a:moveTo>
                <a:cubicBezTo>
                  <a:pt x="541" y="767"/>
                  <a:pt x="541" y="767"/>
                  <a:pt x="541" y="767"/>
                </a:cubicBezTo>
                <a:cubicBezTo>
                  <a:pt x="540" y="768"/>
                  <a:pt x="540" y="768"/>
                  <a:pt x="540" y="768"/>
                </a:cubicBezTo>
                <a:cubicBezTo>
                  <a:pt x="541" y="768"/>
                  <a:pt x="541" y="768"/>
                  <a:pt x="541" y="768"/>
                </a:cubicBezTo>
                <a:lnTo>
                  <a:pt x="541" y="767"/>
                </a:lnTo>
                <a:close/>
                <a:moveTo>
                  <a:pt x="1004" y="1035"/>
                </a:moveTo>
                <a:cubicBezTo>
                  <a:pt x="1003" y="1035"/>
                  <a:pt x="1003" y="1035"/>
                  <a:pt x="1003" y="1035"/>
                </a:cubicBezTo>
                <a:cubicBezTo>
                  <a:pt x="1002" y="1035"/>
                  <a:pt x="1002" y="1035"/>
                  <a:pt x="1002" y="1035"/>
                </a:cubicBezTo>
                <a:cubicBezTo>
                  <a:pt x="1001" y="1036"/>
                  <a:pt x="1001" y="1036"/>
                  <a:pt x="1001" y="1036"/>
                </a:cubicBezTo>
                <a:cubicBezTo>
                  <a:pt x="999" y="1038"/>
                  <a:pt x="999" y="1038"/>
                  <a:pt x="999" y="1038"/>
                </a:cubicBezTo>
                <a:cubicBezTo>
                  <a:pt x="998" y="1041"/>
                  <a:pt x="998" y="1041"/>
                  <a:pt x="998" y="1041"/>
                </a:cubicBezTo>
                <a:cubicBezTo>
                  <a:pt x="999" y="1041"/>
                  <a:pt x="999" y="1041"/>
                  <a:pt x="999" y="1041"/>
                </a:cubicBezTo>
                <a:cubicBezTo>
                  <a:pt x="999" y="1040"/>
                  <a:pt x="999" y="1040"/>
                  <a:pt x="999" y="1040"/>
                </a:cubicBezTo>
                <a:cubicBezTo>
                  <a:pt x="1001" y="1038"/>
                  <a:pt x="1001" y="1038"/>
                  <a:pt x="1001" y="1038"/>
                </a:cubicBezTo>
                <a:cubicBezTo>
                  <a:pt x="1002" y="1038"/>
                  <a:pt x="1002" y="1038"/>
                  <a:pt x="1002" y="1038"/>
                </a:cubicBezTo>
                <a:cubicBezTo>
                  <a:pt x="1004" y="1036"/>
                  <a:pt x="1004" y="1036"/>
                  <a:pt x="1004" y="1036"/>
                </a:cubicBezTo>
                <a:lnTo>
                  <a:pt x="1004" y="1035"/>
                </a:lnTo>
                <a:close/>
                <a:moveTo>
                  <a:pt x="1008" y="1031"/>
                </a:moveTo>
                <a:cubicBezTo>
                  <a:pt x="1009" y="1029"/>
                  <a:pt x="1009" y="1029"/>
                  <a:pt x="1009" y="1029"/>
                </a:cubicBezTo>
                <a:cubicBezTo>
                  <a:pt x="1010" y="1029"/>
                  <a:pt x="1010" y="1029"/>
                  <a:pt x="1010" y="1029"/>
                </a:cubicBezTo>
                <a:cubicBezTo>
                  <a:pt x="1011" y="1027"/>
                  <a:pt x="1011" y="1027"/>
                  <a:pt x="1011" y="1027"/>
                </a:cubicBezTo>
                <a:cubicBezTo>
                  <a:pt x="1010" y="1027"/>
                  <a:pt x="1010" y="1027"/>
                  <a:pt x="1010" y="1027"/>
                </a:cubicBezTo>
                <a:cubicBezTo>
                  <a:pt x="1009" y="1028"/>
                  <a:pt x="1009" y="1028"/>
                  <a:pt x="1009" y="1028"/>
                </a:cubicBezTo>
                <a:cubicBezTo>
                  <a:pt x="1007" y="1029"/>
                  <a:pt x="1007" y="1029"/>
                  <a:pt x="1007" y="1029"/>
                </a:cubicBezTo>
                <a:cubicBezTo>
                  <a:pt x="1006" y="1030"/>
                  <a:pt x="1006" y="1030"/>
                  <a:pt x="1006" y="1030"/>
                </a:cubicBezTo>
                <a:cubicBezTo>
                  <a:pt x="1007" y="1032"/>
                  <a:pt x="1007" y="1032"/>
                  <a:pt x="1007" y="1032"/>
                </a:cubicBezTo>
                <a:lnTo>
                  <a:pt x="1008" y="1031"/>
                </a:lnTo>
                <a:close/>
                <a:moveTo>
                  <a:pt x="1087" y="56"/>
                </a:moveTo>
                <a:cubicBezTo>
                  <a:pt x="1087" y="55"/>
                  <a:pt x="1087" y="55"/>
                  <a:pt x="1087" y="55"/>
                </a:cubicBezTo>
                <a:cubicBezTo>
                  <a:pt x="1086" y="54"/>
                  <a:pt x="1086" y="54"/>
                  <a:pt x="1086" y="54"/>
                </a:cubicBezTo>
                <a:cubicBezTo>
                  <a:pt x="1086" y="55"/>
                  <a:pt x="1086" y="55"/>
                  <a:pt x="1086" y="55"/>
                </a:cubicBezTo>
                <a:cubicBezTo>
                  <a:pt x="1086" y="57"/>
                  <a:pt x="1086" y="57"/>
                  <a:pt x="1086" y="57"/>
                </a:cubicBezTo>
                <a:cubicBezTo>
                  <a:pt x="1087" y="57"/>
                  <a:pt x="1087" y="57"/>
                  <a:pt x="1087" y="57"/>
                </a:cubicBezTo>
                <a:lnTo>
                  <a:pt x="1087" y="56"/>
                </a:lnTo>
                <a:close/>
                <a:moveTo>
                  <a:pt x="2964" y="187"/>
                </a:moveTo>
                <a:cubicBezTo>
                  <a:pt x="2965" y="185"/>
                  <a:pt x="2965" y="185"/>
                  <a:pt x="2965" y="185"/>
                </a:cubicBezTo>
                <a:cubicBezTo>
                  <a:pt x="2967" y="183"/>
                  <a:pt x="2967" y="183"/>
                  <a:pt x="2967" y="183"/>
                </a:cubicBezTo>
                <a:cubicBezTo>
                  <a:pt x="2969" y="181"/>
                  <a:pt x="2969" y="181"/>
                  <a:pt x="2969" y="181"/>
                </a:cubicBezTo>
                <a:cubicBezTo>
                  <a:pt x="2970" y="181"/>
                  <a:pt x="2970" y="181"/>
                  <a:pt x="2970" y="181"/>
                </a:cubicBezTo>
                <a:cubicBezTo>
                  <a:pt x="2970" y="178"/>
                  <a:pt x="2970" y="178"/>
                  <a:pt x="2970" y="178"/>
                </a:cubicBezTo>
                <a:cubicBezTo>
                  <a:pt x="2969" y="176"/>
                  <a:pt x="2969" y="176"/>
                  <a:pt x="2969" y="176"/>
                </a:cubicBezTo>
                <a:cubicBezTo>
                  <a:pt x="2966" y="173"/>
                  <a:pt x="2966" y="173"/>
                  <a:pt x="2966" y="173"/>
                </a:cubicBezTo>
                <a:cubicBezTo>
                  <a:pt x="2965" y="173"/>
                  <a:pt x="2965" y="173"/>
                  <a:pt x="2965" y="173"/>
                </a:cubicBezTo>
                <a:cubicBezTo>
                  <a:pt x="2964" y="174"/>
                  <a:pt x="2964" y="174"/>
                  <a:pt x="2964" y="174"/>
                </a:cubicBezTo>
                <a:cubicBezTo>
                  <a:pt x="2964" y="175"/>
                  <a:pt x="2964" y="175"/>
                  <a:pt x="2964" y="175"/>
                </a:cubicBezTo>
                <a:cubicBezTo>
                  <a:pt x="2963" y="175"/>
                  <a:pt x="2963" y="175"/>
                  <a:pt x="2963" y="175"/>
                </a:cubicBezTo>
                <a:cubicBezTo>
                  <a:pt x="2961" y="178"/>
                  <a:pt x="2961" y="178"/>
                  <a:pt x="2961" y="178"/>
                </a:cubicBezTo>
                <a:cubicBezTo>
                  <a:pt x="2960" y="179"/>
                  <a:pt x="2960" y="179"/>
                  <a:pt x="2960" y="179"/>
                </a:cubicBezTo>
                <a:cubicBezTo>
                  <a:pt x="2958" y="181"/>
                  <a:pt x="2958" y="181"/>
                  <a:pt x="2958" y="181"/>
                </a:cubicBezTo>
                <a:cubicBezTo>
                  <a:pt x="2959" y="181"/>
                  <a:pt x="2959" y="181"/>
                  <a:pt x="2959" y="181"/>
                </a:cubicBezTo>
                <a:cubicBezTo>
                  <a:pt x="2961" y="180"/>
                  <a:pt x="2961" y="180"/>
                  <a:pt x="2961" y="180"/>
                </a:cubicBezTo>
                <a:cubicBezTo>
                  <a:pt x="2962" y="180"/>
                  <a:pt x="2962" y="180"/>
                  <a:pt x="2962" y="180"/>
                </a:cubicBezTo>
                <a:cubicBezTo>
                  <a:pt x="2961" y="182"/>
                  <a:pt x="2961" y="182"/>
                  <a:pt x="2961" y="182"/>
                </a:cubicBezTo>
                <a:cubicBezTo>
                  <a:pt x="2962" y="185"/>
                  <a:pt x="2962" y="185"/>
                  <a:pt x="2962" y="185"/>
                </a:cubicBezTo>
                <a:cubicBezTo>
                  <a:pt x="2963" y="187"/>
                  <a:pt x="2963" y="187"/>
                  <a:pt x="2963" y="187"/>
                </a:cubicBezTo>
                <a:cubicBezTo>
                  <a:pt x="2963" y="189"/>
                  <a:pt x="2963" y="189"/>
                  <a:pt x="2963" y="189"/>
                </a:cubicBezTo>
                <a:cubicBezTo>
                  <a:pt x="2962" y="190"/>
                  <a:pt x="2962" y="190"/>
                  <a:pt x="2962" y="190"/>
                </a:cubicBezTo>
                <a:cubicBezTo>
                  <a:pt x="2962" y="191"/>
                  <a:pt x="2962" y="191"/>
                  <a:pt x="2962" y="191"/>
                </a:cubicBezTo>
                <a:cubicBezTo>
                  <a:pt x="2964" y="193"/>
                  <a:pt x="2964" y="193"/>
                  <a:pt x="2964" y="193"/>
                </a:cubicBezTo>
                <a:cubicBezTo>
                  <a:pt x="2965" y="194"/>
                  <a:pt x="2965" y="194"/>
                  <a:pt x="2965" y="194"/>
                </a:cubicBezTo>
                <a:cubicBezTo>
                  <a:pt x="2965" y="191"/>
                  <a:pt x="2965" y="191"/>
                  <a:pt x="2965" y="191"/>
                </a:cubicBezTo>
                <a:cubicBezTo>
                  <a:pt x="2964" y="189"/>
                  <a:pt x="2964" y="189"/>
                  <a:pt x="2964" y="189"/>
                </a:cubicBezTo>
                <a:cubicBezTo>
                  <a:pt x="2964" y="189"/>
                  <a:pt x="2964" y="189"/>
                  <a:pt x="2964" y="189"/>
                </a:cubicBezTo>
                <a:lnTo>
                  <a:pt x="2964" y="187"/>
                </a:lnTo>
                <a:close/>
                <a:moveTo>
                  <a:pt x="2922" y="119"/>
                </a:moveTo>
                <a:cubicBezTo>
                  <a:pt x="2922" y="120"/>
                  <a:pt x="2922" y="120"/>
                  <a:pt x="2922" y="120"/>
                </a:cubicBezTo>
                <a:cubicBezTo>
                  <a:pt x="2924" y="122"/>
                  <a:pt x="2924" y="122"/>
                  <a:pt x="2924" y="122"/>
                </a:cubicBezTo>
                <a:cubicBezTo>
                  <a:pt x="2925" y="122"/>
                  <a:pt x="2925" y="122"/>
                  <a:pt x="2925" y="122"/>
                </a:cubicBezTo>
                <a:cubicBezTo>
                  <a:pt x="2925" y="121"/>
                  <a:pt x="2925" y="121"/>
                  <a:pt x="2925" y="121"/>
                </a:cubicBezTo>
                <a:cubicBezTo>
                  <a:pt x="2923" y="119"/>
                  <a:pt x="2923" y="119"/>
                  <a:pt x="2923" y="119"/>
                </a:cubicBezTo>
                <a:lnTo>
                  <a:pt x="2922" y="119"/>
                </a:lnTo>
                <a:close/>
                <a:moveTo>
                  <a:pt x="1084" y="48"/>
                </a:moveTo>
                <a:cubicBezTo>
                  <a:pt x="1083" y="49"/>
                  <a:pt x="1083" y="49"/>
                  <a:pt x="1083" y="49"/>
                </a:cubicBezTo>
                <a:cubicBezTo>
                  <a:pt x="1084" y="50"/>
                  <a:pt x="1084" y="50"/>
                  <a:pt x="1084" y="50"/>
                </a:cubicBezTo>
                <a:cubicBezTo>
                  <a:pt x="1085" y="50"/>
                  <a:pt x="1085" y="50"/>
                  <a:pt x="1085" y="50"/>
                </a:cubicBezTo>
                <a:cubicBezTo>
                  <a:pt x="1087" y="49"/>
                  <a:pt x="1087" y="49"/>
                  <a:pt x="1087" y="49"/>
                </a:cubicBezTo>
                <a:cubicBezTo>
                  <a:pt x="1085" y="49"/>
                  <a:pt x="1085" y="49"/>
                  <a:pt x="1085" y="49"/>
                </a:cubicBezTo>
                <a:lnTo>
                  <a:pt x="1084" y="48"/>
                </a:lnTo>
                <a:close/>
                <a:moveTo>
                  <a:pt x="2924" y="124"/>
                </a:moveTo>
                <a:cubicBezTo>
                  <a:pt x="2925" y="126"/>
                  <a:pt x="2925" y="126"/>
                  <a:pt x="2925" y="126"/>
                </a:cubicBezTo>
                <a:cubicBezTo>
                  <a:pt x="2925" y="125"/>
                  <a:pt x="2925" y="125"/>
                  <a:pt x="2925" y="125"/>
                </a:cubicBezTo>
                <a:cubicBezTo>
                  <a:pt x="2925" y="124"/>
                  <a:pt x="2925" y="124"/>
                  <a:pt x="2925" y="124"/>
                </a:cubicBezTo>
                <a:cubicBezTo>
                  <a:pt x="2925" y="123"/>
                  <a:pt x="2925" y="123"/>
                  <a:pt x="2925" y="123"/>
                </a:cubicBezTo>
                <a:cubicBezTo>
                  <a:pt x="2924" y="124"/>
                  <a:pt x="2924" y="124"/>
                  <a:pt x="2924" y="124"/>
                </a:cubicBezTo>
                <a:close/>
                <a:moveTo>
                  <a:pt x="1089" y="46"/>
                </a:moveTo>
                <a:cubicBezTo>
                  <a:pt x="1089" y="44"/>
                  <a:pt x="1089" y="44"/>
                  <a:pt x="1089" y="44"/>
                </a:cubicBezTo>
                <a:cubicBezTo>
                  <a:pt x="1087" y="43"/>
                  <a:pt x="1087" y="43"/>
                  <a:pt x="1087" y="43"/>
                </a:cubicBezTo>
                <a:cubicBezTo>
                  <a:pt x="1086" y="43"/>
                  <a:pt x="1086" y="43"/>
                  <a:pt x="1086" y="43"/>
                </a:cubicBezTo>
                <a:cubicBezTo>
                  <a:pt x="1085" y="44"/>
                  <a:pt x="1085" y="44"/>
                  <a:pt x="1085" y="44"/>
                </a:cubicBezTo>
                <a:cubicBezTo>
                  <a:pt x="1086" y="45"/>
                  <a:pt x="1086" y="45"/>
                  <a:pt x="1086" y="45"/>
                </a:cubicBezTo>
                <a:cubicBezTo>
                  <a:pt x="1087" y="45"/>
                  <a:pt x="1087" y="45"/>
                  <a:pt x="1087" y="45"/>
                </a:cubicBezTo>
                <a:cubicBezTo>
                  <a:pt x="1088" y="46"/>
                  <a:pt x="1088" y="46"/>
                  <a:pt x="1088" y="46"/>
                </a:cubicBezTo>
                <a:lnTo>
                  <a:pt x="1089" y="46"/>
                </a:lnTo>
                <a:close/>
                <a:moveTo>
                  <a:pt x="2763" y="305"/>
                </a:moveTo>
                <a:cubicBezTo>
                  <a:pt x="2762" y="305"/>
                  <a:pt x="2762" y="305"/>
                  <a:pt x="2762" y="305"/>
                </a:cubicBezTo>
                <a:cubicBezTo>
                  <a:pt x="2760" y="305"/>
                  <a:pt x="2760" y="305"/>
                  <a:pt x="2760" y="305"/>
                </a:cubicBezTo>
                <a:cubicBezTo>
                  <a:pt x="2759" y="304"/>
                  <a:pt x="2759" y="304"/>
                  <a:pt x="2759" y="304"/>
                </a:cubicBezTo>
                <a:cubicBezTo>
                  <a:pt x="2758" y="305"/>
                  <a:pt x="2758" y="305"/>
                  <a:pt x="2758" y="305"/>
                </a:cubicBezTo>
                <a:cubicBezTo>
                  <a:pt x="2757" y="307"/>
                  <a:pt x="2757" y="307"/>
                  <a:pt x="2757" y="307"/>
                </a:cubicBezTo>
                <a:cubicBezTo>
                  <a:pt x="2756" y="308"/>
                  <a:pt x="2756" y="308"/>
                  <a:pt x="2756" y="308"/>
                </a:cubicBezTo>
                <a:cubicBezTo>
                  <a:pt x="2756" y="310"/>
                  <a:pt x="2756" y="310"/>
                  <a:pt x="2756" y="310"/>
                </a:cubicBezTo>
                <a:cubicBezTo>
                  <a:pt x="2757" y="313"/>
                  <a:pt x="2757" y="313"/>
                  <a:pt x="2757" y="313"/>
                </a:cubicBezTo>
                <a:cubicBezTo>
                  <a:pt x="2758" y="312"/>
                  <a:pt x="2758" y="312"/>
                  <a:pt x="2758" y="312"/>
                </a:cubicBezTo>
                <a:cubicBezTo>
                  <a:pt x="2758" y="311"/>
                  <a:pt x="2758" y="311"/>
                  <a:pt x="2758" y="311"/>
                </a:cubicBezTo>
                <a:cubicBezTo>
                  <a:pt x="2759" y="311"/>
                  <a:pt x="2759" y="311"/>
                  <a:pt x="2759" y="311"/>
                </a:cubicBezTo>
                <a:cubicBezTo>
                  <a:pt x="2760" y="311"/>
                  <a:pt x="2760" y="311"/>
                  <a:pt x="2760" y="311"/>
                </a:cubicBezTo>
                <a:cubicBezTo>
                  <a:pt x="2761" y="312"/>
                  <a:pt x="2761" y="312"/>
                  <a:pt x="2761" y="312"/>
                </a:cubicBezTo>
                <a:cubicBezTo>
                  <a:pt x="2763" y="313"/>
                  <a:pt x="2763" y="313"/>
                  <a:pt x="2763" y="313"/>
                </a:cubicBezTo>
                <a:cubicBezTo>
                  <a:pt x="2764" y="312"/>
                  <a:pt x="2764" y="312"/>
                  <a:pt x="2764" y="312"/>
                </a:cubicBezTo>
                <a:cubicBezTo>
                  <a:pt x="2764" y="310"/>
                  <a:pt x="2764" y="310"/>
                  <a:pt x="2764" y="310"/>
                </a:cubicBezTo>
                <a:cubicBezTo>
                  <a:pt x="2764" y="309"/>
                  <a:pt x="2764" y="309"/>
                  <a:pt x="2764" y="309"/>
                </a:cubicBezTo>
                <a:cubicBezTo>
                  <a:pt x="2764" y="308"/>
                  <a:pt x="2764" y="308"/>
                  <a:pt x="2764" y="308"/>
                </a:cubicBezTo>
                <a:cubicBezTo>
                  <a:pt x="2765" y="307"/>
                  <a:pt x="2765" y="307"/>
                  <a:pt x="2765" y="307"/>
                </a:cubicBezTo>
                <a:cubicBezTo>
                  <a:pt x="2765" y="306"/>
                  <a:pt x="2765" y="306"/>
                  <a:pt x="2765" y="306"/>
                </a:cubicBezTo>
                <a:cubicBezTo>
                  <a:pt x="2764" y="306"/>
                  <a:pt x="2764" y="306"/>
                  <a:pt x="2764" y="306"/>
                </a:cubicBezTo>
                <a:cubicBezTo>
                  <a:pt x="2763" y="307"/>
                  <a:pt x="2763" y="307"/>
                  <a:pt x="2763" y="307"/>
                </a:cubicBezTo>
                <a:cubicBezTo>
                  <a:pt x="2762" y="308"/>
                  <a:pt x="2762" y="308"/>
                  <a:pt x="2762" y="308"/>
                </a:cubicBezTo>
                <a:cubicBezTo>
                  <a:pt x="2762" y="307"/>
                  <a:pt x="2762" y="307"/>
                  <a:pt x="2762" y="307"/>
                </a:cubicBezTo>
                <a:cubicBezTo>
                  <a:pt x="2763" y="306"/>
                  <a:pt x="2763" y="306"/>
                  <a:pt x="2763" y="306"/>
                </a:cubicBezTo>
                <a:lnTo>
                  <a:pt x="2763" y="305"/>
                </a:lnTo>
                <a:close/>
                <a:moveTo>
                  <a:pt x="2754" y="306"/>
                </a:moveTo>
                <a:cubicBezTo>
                  <a:pt x="2753" y="306"/>
                  <a:pt x="2753" y="306"/>
                  <a:pt x="2753" y="306"/>
                </a:cubicBezTo>
                <a:cubicBezTo>
                  <a:pt x="2752" y="307"/>
                  <a:pt x="2752" y="307"/>
                  <a:pt x="2752" y="307"/>
                </a:cubicBezTo>
                <a:cubicBezTo>
                  <a:pt x="2750" y="308"/>
                  <a:pt x="2750" y="308"/>
                  <a:pt x="2750" y="308"/>
                </a:cubicBezTo>
                <a:cubicBezTo>
                  <a:pt x="2750" y="310"/>
                  <a:pt x="2750" y="310"/>
                  <a:pt x="2750" y="310"/>
                </a:cubicBezTo>
                <a:cubicBezTo>
                  <a:pt x="2751" y="311"/>
                  <a:pt x="2751" y="311"/>
                  <a:pt x="2751" y="311"/>
                </a:cubicBezTo>
                <a:cubicBezTo>
                  <a:pt x="2751" y="311"/>
                  <a:pt x="2751" y="311"/>
                  <a:pt x="2751" y="311"/>
                </a:cubicBezTo>
                <a:cubicBezTo>
                  <a:pt x="2751" y="310"/>
                  <a:pt x="2751" y="310"/>
                  <a:pt x="2751" y="310"/>
                </a:cubicBezTo>
                <a:cubicBezTo>
                  <a:pt x="2752" y="309"/>
                  <a:pt x="2752" y="309"/>
                  <a:pt x="2752" y="309"/>
                </a:cubicBezTo>
                <a:cubicBezTo>
                  <a:pt x="2753" y="310"/>
                  <a:pt x="2753" y="310"/>
                  <a:pt x="2753" y="310"/>
                </a:cubicBezTo>
                <a:cubicBezTo>
                  <a:pt x="2754" y="310"/>
                  <a:pt x="2754" y="310"/>
                  <a:pt x="2754" y="310"/>
                </a:cubicBezTo>
                <a:cubicBezTo>
                  <a:pt x="2753" y="308"/>
                  <a:pt x="2753" y="308"/>
                  <a:pt x="2753" y="308"/>
                </a:cubicBezTo>
                <a:cubicBezTo>
                  <a:pt x="2754" y="307"/>
                  <a:pt x="2754" y="307"/>
                  <a:pt x="2754" y="307"/>
                </a:cubicBezTo>
                <a:lnTo>
                  <a:pt x="2754" y="306"/>
                </a:lnTo>
                <a:close/>
                <a:moveTo>
                  <a:pt x="2711" y="676"/>
                </a:moveTo>
                <a:cubicBezTo>
                  <a:pt x="2709" y="675"/>
                  <a:pt x="2709" y="675"/>
                  <a:pt x="2709" y="675"/>
                </a:cubicBezTo>
                <a:cubicBezTo>
                  <a:pt x="2708" y="676"/>
                  <a:pt x="2708" y="676"/>
                  <a:pt x="2708" y="676"/>
                </a:cubicBezTo>
                <a:cubicBezTo>
                  <a:pt x="2710" y="677"/>
                  <a:pt x="2710" y="677"/>
                  <a:pt x="2710" y="677"/>
                </a:cubicBezTo>
                <a:cubicBezTo>
                  <a:pt x="2712" y="677"/>
                  <a:pt x="2712" y="677"/>
                  <a:pt x="2712" y="677"/>
                </a:cubicBezTo>
                <a:cubicBezTo>
                  <a:pt x="2714" y="678"/>
                  <a:pt x="2714" y="678"/>
                  <a:pt x="2714" y="678"/>
                </a:cubicBezTo>
                <a:cubicBezTo>
                  <a:pt x="2714" y="676"/>
                  <a:pt x="2714" y="676"/>
                  <a:pt x="2714" y="676"/>
                </a:cubicBezTo>
                <a:cubicBezTo>
                  <a:pt x="2712" y="676"/>
                  <a:pt x="2712" y="676"/>
                  <a:pt x="2712" y="676"/>
                </a:cubicBezTo>
                <a:lnTo>
                  <a:pt x="2711" y="676"/>
                </a:lnTo>
                <a:close/>
                <a:moveTo>
                  <a:pt x="2564" y="930"/>
                </a:moveTo>
                <a:cubicBezTo>
                  <a:pt x="2565" y="930"/>
                  <a:pt x="2565" y="930"/>
                  <a:pt x="2565" y="930"/>
                </a:cubicBezTo>
                <a:cubicBezTo>
                  <a:pt x="2566" y="927"/>
                  <a:pt x="2566" y="927"/>
                  <a:pt x="2566" y="927"/>
                </a:cubicBezTo>
                <a:cubicBezTo>
                  <a:pt x="2565" y="926"/>
                  <a:pt x="2565" y="926"/>
                  <a:pt x="2565" y="926"/>
                </a:cubicBezTo>
                <a:cubicBezTo>
                  <a:pt x="2564" y="925"/>
                  <a:pt x="2564" y="925"/>
                  <a:pt x="2564" y="925"/>
                </a:cubicBezTo>
                <a:cubicBezTo>
                  <a:pt x="2563" y="926"/>
                  <a:pt x="2563" y="926"/>
                  <a:pt x="2563" y="926"/>
                </a:cubicBezTo>
                <a:cubicBezTo>
                  <a:pt x="2564" y="928"/>
                  <a:pt x="2564" y="928"/>
                  <a:pt x="2564" y="928"/>
                </a:cubicBezTo>
                <a:cubicBezTo>
                  <a:pt x="2563" y="929"/>
                  <a:pt x="2563" y="929"/>
                  <a:pt x="2563" y="929"/>
                </a:cubicBezTo>
                <a:lnTo>
                  <a:pt x="2564" y="930"/>
                </a:lnTo>
                <a:close/>
                <a:moveTo>
                  <a:pt x="2763" y="320"/>
                </a:moveTo>
                <a:cubicBezTo>
                  <a:pt x="2761" y="322"/>
                  <a:pt x="2761" y="322"/>
                  <a:pt x="2761" y="322"/>
                </a:cubicBezTo>
                <a:cubicBezTo>
                  <a:pt x="2761" y="323"/>
                  <a:pt x="2761" y="323"/>
                  <a:pt x="2761" y="323"/>
                </a:cubicBezTo>
                <a:cubicBezTo>
                  <a:pt x="2763" y="325"/>
                  <a:pt x="2763" y="325"/>
                  <a:pt x="2763" y="325"/>
                </a:cubicBezTo>
                <a:cubicBezTo>
                  <a:pt x="2764" y="323"/>
                  <a:pt x="2764" y="323"/>
                  <a:pt x="2764" y="323"/>
                </a:cubicBezTo>
                <a:cubicBezTo>
                  <a:pt x="2765" y="322"/>
                  <a:pt x="2765" y="322"/>
                  <a:pt x="2765" y="322"/>
                </a:cubicBezTo>
                <a:cubicBezTo>
                  <a:pt x="2766" y="321"/>
                  <a:pt x="2766" y="321"/>
                  <a:pt x="2766" y="321"/>
                </a:cubicBezTo>
                <a:cubicBezTo>
                  <a:pt x="2765" y="320"/>
                  <a:pt x="2765" y="320"/>
                  <a:pt x="2765" y="320"/>
                </a:cubicBezTo>
                <a:cubicBezTo>
                  <a:pt x="2766" y="319"/>
                  <a:pt x="2766" y="319"/>
                  <a:pt x="2766" y="319"/>
                </a:cubicBezTo>
                <a:lnTo>
                  <a:pt x="2763" y="320"/>
                </a:lnTo>
                <a:close/>
                <a:moveTo>
                  <a:pt x="1083" y="60"/>
                </a:moveTo>
                <a:cubicBezTo>
                  <a:pt x="1083" y="60"/>
                  <a:pt x="1083" y="60"/>
                  <a:pt x="1083" y="60"/>
                </a:cubicBezTo>
                <a:cubicBezTo>
                  <a:pt x="1084" y="60"/>
                  <a:pt x="1084" y="60"/>
                  <a:pt x="1084" y="60"/>
                </a:cubicBezTo>
                <a:cubicBezTo>
                  <a:pt x="1083" y="59"/>
                  <a:pt x="1083" y="59"/>
                  <a:pt x="1083" y="59"/>
                </a:cubicBezTo>
                <a:lnTo>
                  <a:pt x="1083" y="60"/>
                </a:lnTo>
                <a:close/>
                <a:moveTo>
                  <a:pt x="2762" y="315"/>
                </a:moveTo>
                <a:cubicBezTo>
                  <a:pt x="2762" y="316"/>
                  <a:pt x="2762" y="316"/>
                  <a:pt x="2762" y="316"/>
                </a:cubicBezTo>
                <a:cubicBezTo>
                  <a:pt x="2763" y="318"/>
                  <a:pt x="2763" y="318"/>
                  <a:pt x="2763" y="318"/>
                </a:cubicBezTo>
                <a:cubicBezTo>
                  <a:pt x="2764" y="317"/>
                  <a:pt x="2764" y="317"/>
                  <a:pt x="2764" y="317"/>
                </a:cubicBezTo>
                <a:cubicBezTo>
                  <a:pt x="2763" y="315"/>
                  <a:pt x="2763" y="315"/>
                  <a:pt x="2763" y="315"/>
                </a:cubicBezTo>
                <a:cubicBezTo>
                  <a:pt x="2763" y="315"/>
                  <a:pt x="2763" y="315"/>
                  <a:pt x="2763" y="315"/>
                </a:cubicBezTo>
                <a:lnTo>
                  <a:pt x="2762" y="315"/>
                </a:lnTo>
                <a:close/>
                <a:moveTo>
                  <a:pt x="2766" y="316"/>
                </a:moveTo>
                <a:cubicBezTo>
                  <a:pt x="2765" y="315"/>
                  <a:pt x="2765" y="315"/>
                  <a:pt x="2765" y="315"/>
                </a:cubicBezTo>
                <a:cubicBezTo>
                  <a:pt x="2765" y="316"/>
                  <a:pt x="2765" y="316"/>
                  <a:pt x="2765" y="316"/>
                </a:cubicBezTo>
                <a:cubicBezTo>
                  <a:pt x="2765" y="316"/>
                  <a:pt x="2765" y="316"/>
                  <a:pt x="2765" y="316"/>
                </a:cubicBezTo>
                <a:cubicBezTo>
                  <a:pt x="2764" y="318"/>
                  <a:pt x="2764" y="318"/>
                  <a:pt x="2764" y="318"/>
                </a:cubicBezTo>
                <a:cubicBezTo>
                  <a:pt x="2765" y="318"/>
                  <a:pt x="2765" y="318"/>
                  <a:pt x="2765" y="318"/>
                </a:cubicBezTo>
                <a:cubicBezTo>
                  <a:pt x="2766" y="317"/>
                  <a:pt x="2766" y="317"/>
                  <a:pt x="2766" y="317"/>
                </a:cubicBezTo>
                <a:lnTo>
                  <a:pt x="2766" y="316"/>
                </a:lnTo>
                <a:close/>
                <a:moveTo>
                  <a:pt x="1003" y="474"/>
                </a:moveTo>
                <a:cubicBezTo>
                  <a:pt x="1002" y="474"/>
                  <a:pt x="1002" y="474"/>
                  <a:pt x="1002" y="474"/>
                </a:cubicBezTo>
                <a:cubicBezTo>
                  <a:pt x="1001" y="474"/>
                  <a:pt x="1001" y="474"/>
                  <a:pt x="1001" y="474"/>
                </a:cubicBezTo>
                <a:cubicBezTo>
                  <a:pt x="1001" y="474"/>
                  <a:pt x="1001" y="474"/>
                  <a:pt x="1001" y="474"/>
                </a:cubicBezTo>
                <a:cubicBezTo>
                  <a:pt x="1000" y="475"/>
                  <a:pt x="1000" y="475"/>
                  <a:pt x="1000" y="475"/>
                </a:cubicBezTo>
                <a:cubicBezTo>
                  <a:pt x="999" y="474"/>
                  <a:pt x="999" y="474"/>
                  <a:pt x="999" y="474"/>
                </a:cubicBezTo>
                <a:cubicBezTo>
                  <a:pt x="998" y="475"/>
                  <a:pt x="998" y="475"/>
                  <a:pt x="998" y="475"/>
                </a:cubicBezTo>
                <a:cubicBezTo>
                  <a:pt x="997" y="477"/>
                  <a:pt x="997" y="477"/>
                  <a:pt x="997" y="477"/>
                </a:cubicBezTo>
                <a:cubicBezTo>
                  <a:pt x="996" y="478"/>
                  <a:pt x="996" y="478"/>
                  <a:pt x="996" y="478"/>
                </a:cubicBezTo>
                <a:cubicBezTo>
                  <a:pt x="997" y="477"/>
                  <a:pt x="997" y="477"/>
                  <a:pt x="997" y="477"/>
                </a:cubicBezTo>
                <a:cubicBezTo>
                  <a:pt x="997" y="474"/>
                  <a:pt x="997" y="474"/>
                  <a:pt x="997" y="474"/>
                </a:cubicBezTo>
                <a:cubicBezTo>
                  <a:pt x="999" y="472"/>
                  <a:pt x="999" y="472"/>
                  <a:pt x="999" y="472"/>
                </a:cubicBezTo>
                <a:cubicBezTo>
                  <a:pt x="998" y="472"/>
                  <a:pt x="998" y="472"/>
                  <a:pt x="998" y="472"/>
                </a:cubicBezTo>
                <a:cubicBezTo>
                  <a:pt x="997" y="473"/>
                  <a:pt x="997" y="473"/>
                  <a:pt x="997" y="473"/>
                </a:cubicBezTo>
                <a:cubicBezTo>
                  <a:pt x="997" y="474"/>
                  <a:pt x="997" y="474"/>
                  <a:pt x="997" y="474"/>
                </a:cubicBezTo>
                <a:cubicBezTo>
                  <a:pt x="995" y="475"/>
                  <a:pt x="995" y="475"/>
                  <a:pt x="995" y="475"/>
                </a:cubicBezTo>
                <a:cubicBezTo>
                  <a:pt x="995" y="474"/>
                  <a:pt x="995" y="474"/>
                  <a:pt x="995" y="474"/>
                </a:cubicBezTo>
                <a:cubicBezTo>
                  <a:pt x="996" y="473"/>
                  <a:pt x="996" y="473"/>
                  <a:pt x="996" y="473"/>
                </a:cubicBezTo>
                <a:cubicBezTo>
                  <a:pt x="996" y="472"/>
                  <a:pt x="996" y="472"/>
                  <a:pt x="996" y="472"/>
                </a:cubicBezTo>
                <a:cubicBezTo>
                  <a:pt x="996" y="472"/>
                  <a:pt x="996" y="472"/>
                  <a:pt x="996" y="472"/>
                </a:cubicBezTo>
                <a:cubicBezTo>
                  <a:pt x="995" y="472"/>
                  <a:pt x="995" y="472"/>
                  <a:pt x="995" y="472"/>
                </a:cubicBezTo>
                <a:cubicBezTo>
                  <a:pt x="993" y="474"/>
                  <a:pt x="993" y="474"/>
                  <a:pt x="993" y="474"/>
                </a:cubicBezTo>
                <a:cubicBezTo>
                  <a:pt x="992" y="474"/>
                  <a:pt x="992" y="474"/>
                  <a:pt x="992" y="474"/>
                </a:cubicBezTo>
                <a:cubicBezTo>
                  <a:pt x="992" y="472"/>
                  <a:pt x="992" y="472"/>
                  <a:pt x="992" y="472"/>
                </a:cubicBezTo>
                <a:cubicBezTo>
                  <a:pt x="991" y="472"/>
                  <a:pt x="991" y="472"/>
                  <a:pt x="991" y="472"/>
                </a:cubicBezTo>
                <a:cubicBezTo>
                  <a:pt x="990" y="473"/>
                  <a:pt x="990" y="473"/>
                  <a:pt x="990" y="473"/>
                </a:cubicBezTo>
                <a:cubicBezTo>
                  <a:pt x="989" y="473"/>
                  <a:pt x="989" y="473"/>
                  <a:pt x="989" y="473"/>
                </a:cubicBezTo>
                <a:cubicBezTo>
                  <a:pt x="989" y="472"/>
                  <a:pt x="989" y="472"/>
                  <a:pt x="989" y="472"/>
                </a:cubicBezTo>
                <a:cubicBezTo>
                  <a:pt x="990" y="471"/>
                  <a:pt x="990" y="471"/>
                  <a:pt x="990" y="471"/>
                </a:cubicBezTo>
                <a:cubicBezTo>
                  <a:pt x="992" y="470"/>
                  <a:pt x="992" y="470"/>
                  <a:pt x="992" y="470"/>
                </a:cubicBezTo>
                <a:cubicBezTo>
                  <a:pt x="992" y="468"/>
                  <a:pt x="992" y="468"/>
                  <a:pt x="992" y="468"/>
                </a:cubicBezTo>
                <a:cubicBezTo>
                  <a:pt x="991" y="468"/>
                  <a:pt x="991" y="468"/>
                  <a:pt x="991" y="468"/>
                </a:cubicBezTo>
                <a:cubicBezTo>
                  <a:pt x="991" y="469"/>
                  <a:pt x="991" y="469"/>
                  <a:pt x="991" y="469"/>
                </a:cubicBezTo>
                <a:cubicBezTo>
                  <a:pt x="989" y="470"/>
                  <a:pt x="989" y="470"/>
                  <a:pt x="989" y="470"/>
                </a:cubicBezTo>
                <a:cubicBezTo>
                  <a:pt x="990" y="468"/>
                  <a:pt x="990" y="468"/>
                  <a:pt x="990" y="468"/>
                </a:cubicBezTo>
                <a:cubicBezTo>
                  <a:pt x="991" y="467"/>
                  <a:pt x="991" y="467"/>
                  <a:pt x="991" y="467"/>
                </a:cubicBezTo>
                <a:cubicBezTo>
                  <a:pt x="993" y="467"/>
                  <a:pt x="993" y="467"/>
                  <a:pt x="993" y="467"/>
                </a:cubicBezTo>
                <a:cubicBezTo>
                  <a:pt x="994" y="467"/>
                  <a:pt x="994" y="467"/>
                  <a:pt x="994" y="467"/>
                </a:cubicBezTo>
                <a:cubicBezTo>
                  <a:pt x="995" y="466"/>
                  <a:pt x="995" y="466"/>
                  <a:pt x="995" y="466"/>
                </a:cubicBezTo>
                <a:cubicBezTo>
                  <a:pt x="996" y="465"/>
                  <a:pt x="996" y="465"/>
                  <a:pt x="996" y="465"/>
                </a:cubicBezTo>
                <a:cubicBezTo>
                  <a:pt x="996" y="464"/>
                  <a:pt x="996" y="464"/>
                  <a:pt x="996" y="464"/>
                </a:cubicBezTo>
                <a:cubicBezTo>
                  <a:pt x="996" y="465"/>
                  <a:pt x="996" y="465"/>
                  <a:pt x="996" y="465"/>
                </a:cubicBezTo>
                <a:cubicBezTo>
                  <a:pt x="994" y="465"/>
                  <a:pt x="994" y="465"/>
                  <a:pt x="994" y="465"/>
                </a:cubicBezTo>
                <a:cubicBezTo>
                  <a:pt x="993" y="465"/>
                  <a:pt x="993" y="465"/>
                  <a:pt x="993" y="465"/>
                </a:cubicBezTo>
                <a:cubicBezTo>
                  <a:pt x="991" y="464"/>
                  <a:pt x="991" y="464"/>
                  <a:pt x="991" y="464"/>
                </a:cubicBezTo>
                <a:cubicBezTo>
                  <a:pt x="991" y="464"/>
                  <a:pt x="991" y="464"/>
                  <a:pt x="991" y="464"/>
                </a:cubicBezTo>
                <a:cubicBezTo>
                  <a:pt x="990" y="464"/>
                  <a:pt x="990" y="464"/>
                  <a:pt x="990" y="464"/>
                </a:cubicBezTo>
                <a:cubicBezTo>
                  <a:pt x="991" y="463"/>
                  <a:pt x="991" y="463"/>
                  <a:pt x="991" y="463"/>
                </a:cubicBezTo>
                <a:cubicBezTo>
                  <a:pt x="991" y="462"/>
                  <a:pt x="991" y="462"/>
                  <a:pt x="991" y="462"/>
                </a:cubicBezTo>
                <a:cubicBezTo>
                  <a:pt x="991" y="462"/>
                  <a:pt x="991" y="462"/>
                  <a:pt x="991" y="462"/>
                </a:cubicBezTo>
                <a:cubicBezTo>
                  <a:pt x="990" y="462"/>
                  <a:pt x="990" y="462"/>
                  <a:pt x="990" y="462"/>
                </a:cubicBezTo>
                <a:cubicBezTo>
                  <a:pt x="989" y="463"/>
                  <a:pt x="989" y="463"/>
                  <a:pt x="989" y="463"/>
                </a:cubicBezTo>
                <a:cubicBezTo>
                  <a:pt x="988" y="464"/>
                  <a:pt x="988" y="464"/>
                  <a:pt x="988" y="464"/>
                </a:cubicBezTo>
                <a:cubicBezTo>
                  <a:pt x="987" y="466"/>
                  <a:pt x="987" y="466"/>
                  <a:pt x="987" y="466"/>
                </a:cubicBezTo>
                <a:cubicBezTo>
                  <a:pt x="986" y="466"/>
                  <a:pt x="986" y="466"/>
                  <a:pt x="986" y="466"/>
                </a:cubicBezTo>
                <a:cubicBezTo>
                  <a:pt x="985" y="467"/>
                  <a:pt x="985" y="467"/>
                  <a:pt x="985" y="467"/>
                </a:cubicBezTo>
                <a:cubicBezTo>
                  <a:pt x="984" y="468"/>
                  <a:pt x="984" y="468"/>
                  <a:pt x="984" y="468"/>
                </a:cubicBezTo>
                <a:cubicBezTo>
                  <a:pt x="983" y="469"/>
                  <a:pt x="983" y="469"/>
                  <a:pt x="983" y="469"/>
                </a:cubicBezTo>
                <a:cubicBezTo>
                  <a:pt x="983" y="468"/>
                  <a:pt x="983" y="468"/>
                  <a:pt x="983" y="468"/>
                </a:cubicBezTo>
                <a:cubicBezTo>
                  <a:pt x="983" y="467"/>
                  <a:pt x="983" y="467"/>
                  <a:pt x="983" y="467"/>
                </a:cubicBezTo>
                <a:cubicBezTo>
                  <a:pt x="984" y="465"/>
                  <a:pt x="984" y="465"/>
                  <a:pt x="984" y="465"/>
                </a:cubicBezTo>
                <a:cubicBezTo>
                  <a:pt x="984" y="464"/>
                  <a:pt x="984" y="464"/>
                  <a:pt x="984" y="464"/>
                </a:cubicBezTo>
                <a:cubicBezTo>
                  <a:pt x="985" y="462"/>
                  <a:pt x="985" y="462"/>
                  <a:pt x="985" y="462"/>
                </a:cubicBezTo>
                <a:cubicBezTo>
                  <a:pt x="986" y="461"/>
                  <a:pt x="986" y="461"/>
                  <a:pt x="986" y="461"/>
                </a:cubicBezTo>
                <a:cubicBezTo>
                  <a:pt x="986" y="460"/>
                  <a:pt x="986" y="460"/>
                  <a:pt x="986" y="460"/>
                </a:cubicBezTo>
                <a:cubicBezTo>
                  <a:pt x="987" y="459"/>
                  <a:pt x="987" y="459"/>
                  <a:pt x="987" y="459"/>
                </a:cubicBezTo>
                <a:cubicBezTo>
                  <a:pt x="988" y="459"/>
                  <a:pt x="988" y="459"/>
                  <a:pt x="988" y="459"/>
                </a:cubicBezTo>
                <a:cubicBezTo>
                  <a:pt x="989" y="457"/>
                  <a:pt x="989" y="457"/>
                  <a:pt x="989" y="457"/>
                </a:cubicBezTo>
                <a:cubicBezTo>
                  <a:pt x="990" y="456"/>
                  <a:pt x="990" y="456"/>
                  <a:pt x="990" y="456"/>
                </a:cubicBezTo>
                <a:cubicBezTo>
                  <a:pt x="991" y="455"/>
                  <a:pt x="991" y="455"/>
                  <a:pt x="991" y="455"/>
                </a:cubicBezTo>
                <a:cubicBezTo>
                  <a:pt x="992" y="455"/>
                  <a:pt x="992" y="455"/>
                  <a:pt x="992" y="455"/>
                </a:cubicBezTo>
                <a:cubicBezTo>
                  <a:pt x="992" y="454"/>
                  <a:pt x="992" y="454"/>
                  <a:pt x="992" y="454"/>
                </a:cubicBezTo>
                <a:cubicBezTo>
                  <a:pt x="992" y="453"/>
                  <a:pt x="992" y="453"/>
                  <a:pt x="992" y="453"/>
                </a:cubicBezTo>
                <a:cubicBezTo>
                  <a:pt x="992" y="452"/>
                  <a:pt x="992" y="452"/>
                  <a:pt x="992" y="452"/>
                </a:cubicBezTo>
                <a:cubicBezTo>
                  <a:pt x="993" y="451"/>
                  <a:pt x="993" y="451"/>
                  <a:pt x="993" y="451"/>
                </a:cubicBezTo>
                <a:cubicBezTo>
                  <a:pt x="993" y="452"/>
                  <a:pt x="993" y="452"/>
                  <a:pt x="993" y="452"/>
                </a:cubicBezTo>
                <a:cubicBezTo>
                  <a:pt x="993" y="453"/>
                  <a:pt x="993" y="453"/>
                  <a:pt x="993" y="453"/>
                </a:cubicBezTo>
                <a:cubicBezTo>
                  <a:pt x="993" y="454"/>
                  <a:pt x="993" y="454"/>
                  <a:pt x="993" y="454"/>
                </a:cubicBezTo>
                <a:cubicBezTo>
                  <a:pt x="994" y="452"/>
                  <a:pt x="994" y="452"/>
                  <a:pt x="994" y="452"/>
                </a:cubicBezTo>
                <a:cubicBezTo>
                  <a:pt x="996" y="450"/>
                  <a:pt x="996" y="450"/>
                  <a:pt x="996" y="450"/>
                </a:cubicBezTo>
                <a:cubicBezTo>
                  <a:pt x="997" y="449"/>
                  <a:pt x="997" y="449"/>
                  <a:pt x="997" y="449"/>
                </a:cubicBezTo>
                <a:cubicBezTo>
                  <a:pt x="996" y="448"/>
                  <a:pt x="996" y="448"/>
                  <a:pt x="996" y="448"/>
                </a:cubicBezTo>
                <a:cubicBezTo>
                  <a:pt x="995" y="448"/>
                  <a:pt x="995" y="448"/>
                  <a:pt x="995" y="448"/>
                </a:cubicBezTo>
                <a:cubicBezTo>
                  <a:pt x="995" y="449"/>
                  <a:pt x="995" y="449"/>
                  <a:pt x="995" y="449"/>
                </a:cubicBezTo>
                <a:cubicBezTo>
                  <a:pt x="994" y="447"/>
                  <a:pt x="994" y="447"/>
                  <a:pt x="994" y="447"/>
                </a:cubicBezTo>
                <a:cubicBezTo>
                  <a:pt x="994" y="447"/>
                  <a:pt x="994" y="447"/>
                  <a:pt x="994" y="447"/>
                </a:cubicBezTo>
                <a:cubicBezTo>
                  <a:pt x="994" y="446"/>
                  <a:pt x="994" y="446"/>
                  <a:pt x="994" y="446"/>
                </a:cubicBezTo>
                <a:cubicBezTo>
                  <a:pt x="995" y="446"/>
                  <a:pt x="995" y="446"/>
                  <a:pt x="995" y="446"/>
                </a:cubicBezTo>
                <a:cubicBezTo>
                  <a:pt x="997" y="446"/>
                  <a:pt x="997" y="446"/>
                  <a:pt x="997" y="446"/>
                </a:cubicBezTo>
                <a:cubicBezTo>
                  <a:pt x="998" y="447"/>
                  <a:pt x="998" y="447"/>
                  <a:pt x="998" y="447"/>
                </a:cubicBezTo>
                <a:cubicBezTo>
                  <a:pt x="999" y="446"/>
                  <a:pt x="999" y="446"/>
                  <a:pt x="999" y="446"/>
                </a:cubicBezTo>
                <a:cubicBezTo>
                  <a:pt x="1000" y="445"/>
                  <a:pt x="1000" y="445"/>
                  <a:pt x="1000" y="445"/>
                </a:cubicBezTo>
                <a:cubicBezTo>
                  <a:pt x="1000" y="443"/>
                  <a:pt x="1000" y="443"/>
                  <a:pt x="1000" y="443"/>
                </a:cubicBezTo>
                <a:cubicBezTo>
                  <a:pt x="998" y="443"/>
                  <a:pt x="998" y="443"/>
                  <a:pt x="998" y="443"/>
                </a:cubicBezTo>
                <a:cubicBezTo>
                  <a:pt x="997" y="443"/>
                  <a:pt x="997" y="443"/>
                  <a:pt x="997" y="443"/>
                </a:cubicBezTo>
                <a:cubicBezTo>
                  <a:pt x="997" y="444"/>
                  <a:pt x="997" y="444"/>
                  <a:pt x="997" y="444"/>
                </a:cubicBezTo>
                <a:cubicBezTo>
                  <a:pt x="996" y="444"/>
                  <a:pt x="996" y="444"/>
                  <a:pt x="996" y="444"/>
                </a:cubicBezTo>
                <a:cubicBezTo>
                  <a:pt x="996" y="443"/>
                  <a:pt x="996" y="443"/>
                  <a:pt x="996" y="443"/>
                </a:cubicBezTo>
                <a:cubicBezTo>
                  <a:pt x="996" y="442"/>
                  <a:pt x="996" y="442"/>
                  <a:pt x="996" y="442"/>
                </a:cubicBezTo>
                <a:cubicBezTo>
                  <a:pt x="995" y="443"/>
                  <a:pt x="995" y="443"/>
                  <a:pt x="995" y="443"/>
                </a:cubicBezTo>
                <a:cubicBezTo>
                  <a:pt x="994" y="444"/>
                  <a:pt x="994" y="444"/>
                  <a:pt x="994" y="444"/>
                </a:cubicBezTo>
                <a:cubicBezTo>
                  <a:pt x="993" y="444"/>
                  <a:pt x="993" y="444"/>
                  <a:pt x="993" y="444"/>
                </a:cubicBezTo>
                <a:cubicBezTo>
                  <a:pt x="992" y="445"/>
                  <a:pt x="992" y="445"/>
                  <a:pt x="992" y="445"/>
                </a:cubicBezTo>
                <a:cubicBezTo>
                  <a:pt x="991" y="446"/>
                  <a:pt x="991" y="446"/>
                  <a:pt x="991" y="446"/>
                </a:cubicBezTo>
                <a:cubicBezTo>
                  <a:pt x="990" y="446"/>
                  <a:pt x="990" y="446"/>
                  <a:pt x="990" y="446"/>
                </a:cubicBezTo>
                <a:cubicBezTo>
                  <a:pt x="988" y="447"/>
                  <a:pt x="988" y="447"/>
                  <a:pt x="988" y="447"/>
                </a:cubicBezTo>
                <a:cubicBezTo>
                  <a:pt x="986" y="448"/>
                  <a:pt x="986" y="448"/>
                  <a:pt x="986" y="448"/>
                </a:cubicBezTo>
                <a:cubicBezTo>
                  <a:pt x="986" y="450"/>
                  <a:pt x="986" y="450"/>
                  <a:pt x="986" y="450"/>
                </a:cubicBezTo>
                <a:cubicBezTo>
                  <a:pt x="985" y="450"/>
                  <a:pt x="985" y="450"/>
                  <a:pt x="985" y="450"/>
                </a:cubicBezTo>
                <a:cubicBezTo>
                  <a:pt x="984" y="450"/>
                  <a:pt x="984" y="450"/>
                  <a:pt x="984" y="450"/>
                </a:cubicBezTo>
                <a:cubicBezTo>
                  <a:pt x="984" y="450"/>
                  <a:pt x="984" y="450"/>
                  <a:pt x="984" y="450"/>
                </a:cubicBezTo>
                <a:cubicBezTo>
                  <a:pt x="985" y="451"/>
                  <a:pt x="985" y="451"/>
                  <a:pt x="985" y="451"/>
                </a:cubicBezTo>
                <a:cubicBezTo>
                  <a:pt x="985" y="452"/>
                  <a:pt x="985" y="452"/>
                  <a:pt x="985" y="452"/>
                </a:cubicBezTo>
                <a:cubicBezTo>
                  <a:pt x="984" y="453"/>
                  <a:pt x="984" y="453"/>
                  <a:pt x="984" y="453"/>
                </a:cubicBezTo>
                <a:cubicBezTo>
                  <a:pt x="982" y="454"/>
                  <a:pt x="982" y="454"/>
                  <a:pt x="982" y="454"/>
                </a:cubicBezTo>
                <a:cubicBezTo>
                  <a:pt x="981" y="455"/>
                  <a:pt x="981" y="455"/>
                  <a:pt x="981" y="455"/>
                </a:cubicBezTo>
                <a:cubicBezTo>
                  <a:pt x="981" y="455"/>
                  <a:pt x="981" y="455"/>
                  <a:pt x="981" y="455"/>
                </a:cubicBezTo>
                <a:cubicBezTo>
                  <a:pt x="981" y="456"/>
                  <a:pt x="981" y="456"/>
                  <a:pt x="981" y="456"/>
                </a:cubicBezTo>
                <a:cubicBezTo>
                  <a:pt x="980" y="456"/>
                  <a:pt x="980" y="456"/>
                  <a:pt x="980" y="456"/>
                </a:cubicBezTo>
                <a:cubicBezTo>
                  <a:pt x="980" y="457"/>
                  <a:pt x="980" y="457"/>
                  <a:pt x="980" y="457"/>
                </a:cubicBezTo>
                <a:cubicBezTo>
                  <a:pt x="981" y="457"/>
                  <a:pt x="981" y="457"/>
                  <a:pt x="981" y="457"/>
                </a:cubicBezTo>
                <a:cubicBezTo>
                  <a:pt x="980" y="458"/>
                  <a:pt x="980" y="458"/>
                  <a:pt x="980" y="458"/>
                </a:cubicBezTo>
                <a:cubicBezTo>
                  <a:pt x="979" y="458"/>
                  <a:pt x="979" y="458"/>
                  <a:pt x="979" y="458"/>
                </a:cubicBezTo>
                <a:cubicBezTo>
                  <a:pt x="978" y="460"/>
                  <a:pt x="978" y="460"/>
                  <a:pt x="978" y="460"/>
                </a:cubicBezTo>
                <a:cubicBezTo>
                  <a:pt x="977" y="460"/>
                  <a:pt x="977" y="460"/>
                  <a:pt x="977" y="460"/>
                </a:cubicBezTo>
                <a:cubicBezTo>
                  <a:pt x="978" y="460"/>
                  <a:pt x="978" y="460"/>
                  <a:pt x="978" y="460"/>
                </a:cubicBezTo>
                <a:cubicBezTo>
                  <a:pt x="979" y="461"/>
                  <a:pt x="979" y="461"/>
                  <a:pt x="979" y="461"/>
                </a:cubicBezTo>
                <a:cubicBezTo>
                  <a:pt x="978" y="461"/>
                  <a:pt x="978" y="461"/>
                  <a:pt x="978" y="461"/>
                </a:cubicBezTo>
                <a:cubicBezTo>
                  <a:pt x="976" y="461"/>
                  <a:pt x="976" y="461"/>
                  <a:pt x="976" y="461"/>
                </a:cubicBezTo>
                <a:cubicBezTo>
                  <a:pt x="975" y="463"/>
                  <a:pt x="975" y="463"/>
                  <a:pt x="975" y="463"/>
                </a:cubicBezTo>
                <a:cubicBezTo>
                  <a:pt x="975" y="464"/>
                  <a:pt x="975" y="464"/>
                  <a:pt x="975" y="464"/>
                </a:cubicBezTo>
                <a:cubicBezTo>
                  <a:pt x="973" y="467"/>
                  <a:pt x="973" y="467"/>
                  <a:pt x="973" y="467"/>
                </a:cubicBezTo>
                <a:cubicBezTo>
                  <a:pt x="973" y="468"/>
                  <a:pt x="973" y="468"/>
                  <a:pt x="973" y="468"/>
                </a:cubicBezTo>
                <a:cubicBezTo>
                  <a:pt x="974" y="469"/>
                  <a:pt x="974" y="469"/>
                  <a:pt x="974" y="469"/>
                </a:cubicBezTo>
                <a:cubicBezTo>
                  <a:pt x="974" y="470"/>
                  <a:pt x="974" y="470"/>
                  <a:pt x="974" y="470"/>
                </a:cubicBezTo>
                <a:cubicBezTo>
                  <a:pt x="973" y="470"/>
                  <a:pt x="973" y="470"/>
                  <a:pt x="973" y="470"/>
                </a:cubicBezTo>
                <a:cubicBezTo>
                  <a:pt x="973" y="470"/>
                  <a:pt x="973" y="470"/>
                  <a:pt x="973" y="470"/>
                </a:cubicBezTo>
                <a:cubicBezTo>
                  <a:pt x="972" y="470"/>
                  <a:pt x="972" y="470"/>
                  <a:pt x="972" y="470"/>
                </a:cubicBezTo>
                <a:cubicBezTo>
                  <a:pt x="970" y="471"/>
                  <a:pt x="970" y="471"/>
                  <a:pt x="970" y="471"/>
                </a:cubicBezTo>
                <a:cubicBezTo>
                  <a:pt x="969" y="472"/>
                  <a:pt x="969" y="472"/>
                  <a:pt x="969" y="472"/>
                </a:cubicBezTo>
                <a:cubicBezTo>
                  <a:pt x="970" y="473"/>
                  <a:pt x="970" y="473"/>
                  <a:pt x="970" y="473"/>
                </a:cubicBezTo>
                <a:cubicBezTo>
                  <a:pt x="971" y="473"/>
                  <a:pt x="971" y="473"/>
                  <a:pt x="971" y="473"/>
                </a:cubicBezTo>
                <a:cubicBezTo>
                  <a:pt x="971" y="474"/>
                  <a:pt x="971" y="474"/>
                  <a:pt x="971" y="474"/>
                </a:cubicBezTo>
                <a:cubicBezTo>
                  <a:pt x="971" y="474"/>
                  <a:pt x="971" y="474"/>
                  <a:pt x="971" y="474"/>
                </a:cubicBezTo>
                <a:cubicBezTo>
                  <a:pt x="970" y="475"/>
                  <a:pt x="970" y="475"/>
                  <a:pt x="970" y="475"/>
                </a:cubicBezTo>
                <a:cubicBezTo>
                  <a:pt x="969" y="476"/>
                  <a:pt x="969" y="476"/>
                  <a:pt x="969" y="476"/>
                </a:cubicBezTo>
                <a:cubicBezTo>
                  <a:pt x="967" y="476"/>
                  <a:pt x="967" y="476"/>
                  <a:pt x="967" y="476"/>
                </a:cubicBezTo>
                <a:cubicBezTo>
                  <a:pt x="967" y="476"/>
                  <a:pt x="967" y="476"/>
                  <a:pt x="967" y="476"/>
                </a:cubicBezTo>
                <a:cubicBezTo>
                  <a:pt x="967" y="477"/>
                  <a:pt x="967" y="477"/>
                  <a:pt x="967" y="477"/>
                </a:cubicBezTo>
                <a:cubicBezTo>
                  <a:pt x="965" y="478"/>
                  <a:pt x="965" y="478"/>
                  <a:pt x="965" y="478"/>
                </a:cubicBezTo>
                <a:cubicBezTo>
                  <a:pt x="964" y="480"/>
                  <a:pt x="964" y="480"/>
                  <a:pt x="964" y="480"/>
                </a:cubicBezTo>
                <a:cubicBezTo>
                  <a:pt x="963" y="482"/>
                  <a:pt x="963" y="482"/>
                  <a:pt x="963" y="482"/>
                </a:cubicBezTo>
                <a:cubicBezTo>
                  <a:pt x="963" y="482"/>
                  <a:pt x="963" y="482"/>
                  <a:pt x="963" y="482"/>
                </a:cubicBezTo>
                <a:cubicBezTo>
                  <a:pt x="963" y="480"/>
                  <a:pt x="963" y="480"/>
                  <a:pt x="963" y="480"/>
                </a:cubicBezTo>
                <a:cubicBezTo>
                  <a:pt x="962" y="482"/>
                  <a:pt x="962" y="482"/>
                  <a:pt x="962" y="482"/>
                </a:cubicBezTo>
                <a:cubicBezTo>
                  <a:pt x="961" y="480"/>
                  <a:pt x="961" y="480"/>
                  <a:pt x="961" y="480"/>
                </a:cubicBezTo>
                <a:cubicBezTo>
                  <a:pt x="962" y="480"/>
                  <a:pt x="962" y="480"/>
                  <a:pt x="962" y="480"/>
                </a:cubicBezTo>
                <a:cubicBezTo>
                  <a:pt x="963" y="479"/>
                  <a:pt x="963" y="479"/>
                  <a:pt x="963" y="479"/>
                </a:cubicBezTo>
                <a:cubicBezTo>
                  <a:pt x="963" y="478"/>
                  <a:pt x="963" y="478"/>
                  <a:pt x="963" y="478"/>
                </a:cubicBezTo>
                <a:cubicBezTo>
                  <a:pt x="963" y="478"/>
                  <a:pt x="963" y="478"/>
                  <a:pt x="963" y="478"/>
                </a:cubicBezTo>
                <a:cubicBezTo>
                  <a:pt x="961" y="479"/>
                  <a:pt x="961" y="479"/>
                  <a:pt x="961" y="479"/>
                </a:cubicBezTo>
                <a:cubicBezTo>
                  <a:pt x="959" y="481"/>
                  <a:pt x="959" y="481"/>
                  <a:pt x="959" y="481"/>
                </a:cubicBezTo>
                <a:cubicBezTo>
                  <a:pt x="958" y="483"/>
                  <a:pt x="958" y="483"/>
                  <a:pt x="958" y="483"/>
                </a:cubicBezTo>
                <a:cubicBezTo>
                  <a:pt x="959" y="483"/>
                  <a:pt x="959" y="483"/>
                  <a:pt x="959" y="483"/>
                </a:cubicBezTo>
                <a:cubicBezTo>
                  <a:pt x="960" y="483"/>
                  <a:pt x="960" y="483"/>
                  <a:pt x="960" y="483"/>
                </a:cubicBezTo>
                <a:cubicBezTo>
                  <a:pt x="963" y="482"/>
                  <a:pt x="963" y="482"/>
                  <a:pt x="963" y="482"/>
                </a:cubicBezTo>
                <a:cubicBezTo>
                  <a:pt x="965" y="482"/>
                  <a:pt x="965" y="482"/>
                  <a:pt x="965" y="482"/>
                </a:cubicBezTo>
                <a:cubicBezTo>
                  <a:pt x="964" y="484"/>
                  <a:pt x="964" y="484"/>
                  <a:pt x="964" y="484"/>
                </a:cubicBezTo>
                <a:cubicBezTo>
                  <a:pt x="962" y="486"/>
                  <a:pt x="962" y="486"/>
                  <a:pt x="962" y="486"/>
                </a:cubicBezTo>
                <a:cubicBezTo>
                  <a:pt x="961" y="488"/>
                  <a:pt x="961" y="488"/>
                  <a:pt x="961" y="488"/>
                </a:cubicBezTo>
                <a:cubicBezTo>
                  <a:pt x="958" y="489"/>
                  <a:pt x="958" y="489"/>
                  <a:pt x="958" y="489"/>
                </a:cubicBezTo>
                <a:cubicBezTo>
                  <a:pt x="957" y="491"/>
                  <a:pt x="957" y="491"/>
                  <a:pt x="957" y="491"/>
                </a:cubicBezTo>
                <a:cubicBezTo>
                  <a:pt x="955" y="491"/>
                  <a:pt x="955" y="491"/>
                  <a:pt x="955" y="491"/>
                </a:cubicBezTo>
                <a:cubicBezTo>
                  <a:pt x="955" y="492"/>
                  <a:pt x="955" y="492"/>
                  <a:pt x="955" y="492"/>
                </a:cubicBezTo>
                <a:cubicBezTo>
                  <a:pt x="955" y="493"/>
                  <a:pt x="955" y="493"/>
                  <a:pt x="955" y="493"/>
                </a:cubicBezTo>
                <a:cubicBezTo>
                  <a:pt x="955" y="494"/>
                  <a:pt x="955" y="494"/>
                  <a:pt x="955" y="494"/>
                </a:cubicBezTo>
                <a:cubicBezTo>
                  <a:pt x="955" y="495"/>
                  <a:pt x="955" y="495"/>
                  <a:pt x="955" y="495"/>
                </a:cubicBezTo>
                <a:cubicBezTo>
                  <a:pt x="956" y="495"/>
                  <a:pt x="956" y="495"/>
                  <a:pt x="956" y="495"/>
                </a:cubicBezTo>
                <a:cubicBezTo>
                  <a:pt x="958" y="496"/>
                  <a:pt x="958" y="496"/>
                  <a:pt x="958" y="496"/>
                </a:cubicBezTo>
                <a:cubicBezTo>
                  <a:pt x="961" y="496"/>
                  <a:pt x="961" y="496"/>
                  <a:pt x="961" y="496"/>
                </a:cubicBezTo>
                <a:cubicBezTo>
                  <a:pt x="962" y="495"/>
                  <a:pt x="962" y="495"/>
                  <a:pt x="962" y="495"/>
                </a:cubicBezTo>
                <a:cubicBezTo>
                  <a:pt x="964" y="494"/>
                  <a:pt x="964" y="494"/>
                  <a:pt x="964" y="494"/>
                </a:cubicBezTo>
                <a:cubicBezTo>
                  <a:pt x="965" y="493"/>
                  <a:pt x="965" y="493"/>
                  <a:pt x="965" y="493"/>
                </a:cubicBezTo>
                <a:cubicBezTo>
                  <a:pt x="965" y="492"/>
                  <a:pt x="965" y="492"/>
                  <a:pt x="965" y="492"/>
                </a:cubicBezTo>
                <a:cubicBezTo>
                  <a:pt x="966" y="493"/>
                  <a:pt x="966" y="493"/>
                  <a:pt x="966" y="493"/>
                </a:cubicBezTo>
                <a:cubicBezTo>
                  <a:pt x="965" y="494"/>
                  <a:pt x="965" y="494"/>
                  <a:pt x="965" y="494"/>
                </a:cubicBezTo>
                <a:cubicBezTo>
                  <a:pt x="967" y="495"/>
                  <a:pt x="967" y="495"/>
                  <a:pt x="967" y="495"/>
                </a:cubicBezTo>
                <a:cubicBezTo>
                  <a:pt x="968" y="494"/>
                  <a:pt x="968" y="494"/>
                  <a:pt x="968" y="494"/>
                </a:cubicBezTo>
                <a:cubicBezTo>
                  <a:pt x="969" y="495"/>
                  <a:pt x="969" y="495"/>
                  <a:pt x="969" y="495"/>
                </a:cubicBezTo>
                <a:cubicBezTo>
                  <a:pt x="972" y="495"/>
                  <a:pt x="972" y="495"/>
                  <a:pt x="972" y="495"/>
                </a:cubicBezTo>
                <a:cubicBezTo>
                  <a:pt x="973" y="495"/>
                  <a:pt x="973" y="495"/>
                  <a:pt x="973" y="495"/>
                </a:cubicBezTo>
                <a:cubicBezTo>
                  <a:pt x="973" y="496"/>
                  <a:pt x="973" y="496"/>
                  <a:pt x="973" y="496"/>
                </a:cubicBezTo>
                <a:cubicBezTo>
                  <a:pt x="974" y="496"/>
                  <a:pt x="974" y="496"/>
                  <a:pt x="974" y="496"/>
                </a:cubicBezTo>
                <a:cubicBezTo>
                  <a:pt x="976" y="496"/>
                  <a:pt x="976" y="496"/>
                  <a:pt x="976" y="496"/>
                </a:cubicBezTo>
                <a:cubicBezTo>
                  <a:pt x="977" y="496"/>
                  <a:pt x="977" y="496"/>
                  <a:pt x="977" y="496"/>
                </a:cubicBezTo>
                <a:cubicBezTo>
                  <a:pt x="977" y="497"/>
                  <a:pt x="977" y="497"/>
                  <a:pt x="977" y="497"/>
                </a:cubicBezTo>
                <a:cubicBezTo>
                  <a:pt x="978" y="497"/>
                  <a:pt x="978" y="497"/>
                  <a:pt x="978" y="497"/>
                </a:cubicBezTo>
                <a:cubicBezTo>
                  <a:pt x="979" y="496"/>
                  <a:pt x="979" y="496"/>
                  <a:pt x="979" y="496"/>
                </a:cubicBezTo>
                <a:cubicBezTo>
                  <a:pt x="979" y="496"/>
                  <a:pt x="979" y="496"/>
                  <a:pt x="979" y="496"/>
                </a:cubicBezTo>
                <a:cubicBezTo>
                  <a:pt x="981" y="496"/>
                  <a:pt x="981" y="496"/>
                  <a:pt x="981" y="496"/>
                </a:cubicBezTo>
                <a:cubicBezTo>
                  <a:pt x="981" y="496"/>
                  <a:pt x="981" y="496"/>
                  <a:pt x="981" y="496"/>
                </a:cubicBezTo>
                <a:cubicBezTo>
                  <a:pt x="982" y="496"/>
                  <a:pt x="982" y="496"/>
                  <a:pt x="982" y="496"/>
                </a:cubicBezTo>
                <a:cubicBezTo>
                  <a:pt x="983" y="495"/>
                  <a:pt x="983" y="495"/>
                  <a:pt x="983" y="495"/>
                </a:cubicBezTo>
                <a:cubicBezTo>
                  <a:pt x="983" y="495"/>
                  <a:pt x="983" y="495"/>
                  <a:pt x="983" y="495"/>
                </a:cubicBezTo>
                <a:cubicBezTo>
                  <a:pt x="984" y="496"/>
                  <a:pt x="984" y="496"/>
                  <a:pt x="984" y="496"/>
                </a:cubicBezTo>
                <a:cubicBezTo>
                  <a:pt x="985" y="495"/>
                  <a:pt x="985" y="495"/>
                  <a:pt x="985" y="495"/>
                </a:cubicBezTo>
                <a:cubicBezTo>
                  <a:pt x="985" y="494"/>
                  <a:pt x="985" y="494"/>
                  <a:pt x="985" y="494"/>
                </a:cubicBezTo>
                <a:cubicBezTo>
                  <a:pt x="985" y="493"/>
                  <a:pt x="985" y="493"/>
                  <a:pt x="985" y="493"/>
                </a:cubicBezTo>
                <a:cubicBezTo>
                  <a:pt x="985" y="493"/>
                  <a:pt x="985" y="493"/>
                  <a:pt x="985" y="493"/>
                </a:cubicBezTo>
                <a:cubicBezTo>
                  <a:pt x="986" y="492"/>
                  <a:pt x="986" y="492"/>
                  <a:pt x="986" y="492"/>
                </a:cubicBezTo>
                <a:cubicBezTo>
                  <a:pt x="987" y="492"/>
                  <a:pt x="987" y="492"/>
                  <a:pt x="987" y="492"/>
                </a:cubicBezTo>
                <a:cubicBezTo>
                  <a:pt x="986" y="492"/>
                  <a:pt x="986" y="492"/>
                  <a:pt x="986" y="492"/>
                </a:cubicBezTo>
                <a:cubicBezTo>
                  <a:pt x="986" y="494"/>
                  <a:pt x="986" y="494"/>
                  <a:pt x="986" y="494"/>
                </a:cubicBezTo>
                <a:cubicBezTo>
                  <a:pt x="986" y="495"/>
                  <a:pt x="986" y="495"/>
                  <a:pt x="986" y="495"/>
                </a:cubicBezTo>
                <a:cubicBezTo>
                  <a:pt x="986" y="494"/>
                  <a:pt x="986" y="494"/>
                  <a:pt x="986" y="494"/>
                </a:cubicBezTo>
                <a:cubicBezTo>
                  <a:pt x="988" y="493"/>
                  <a:pt x="988" y="493"/>
                  <a:pt x="988" y="493"/>
                </a:cubicBezTo>
                <a:cubicBezTo>
                  <a:pt x="988" y="492"/>
                  <a:pt x="988" y="492"/>
                  <a:pt x="988" y="492"/>
                </a:cubicBezTo>
                <a:cubicBezTo>
                  <a:pt x="988" y="494"/>
                  <a:pt x="988" y="494"/>
                  <a:pt x="988" y="494"/>
                </a:cubicBezTo>
                <a:cubicBezTo>
                  <a:pt x="987" y="495"/>
                  <a:pt x="987" y="495"/>
                  <a:pt x="987" y="495"/>
                </a:cubicBezTo>
                <a:cubicBezTo>
                  <a:pt x="987" y="495"/>
                  <a:pt x="987" y="495"/>
                  <a:pt x="987" y="495"/>
                </a:cubicBezTo>
                <a:cubicBezTo>
                  <a:pt x="989" y="495"/>
                  <a:pt x="989" y="495"/>
                  <a:pt x="989" y="495"/>
                </a:cubicBezTo>
                <a:cubicBezTo>
                  <a:pt x="989" y="495"/>
                  <a:pt x="989" y="495"/>
                  <a:pt x="989" y="495"/>
                </a:cubicBezTo>
                <a:cubicBezTo>
                  <a:pt x="989" y="495"/>
                  <a:pt x="989" y="495"/>
                  <a:pt x="989" y="495"/>
                </a:cubicBezTo>
                <a:cubicBezTo>
                  <a:pt x="987" y="497"/>
                  <a:pt x="987" y="497"/>
                  <a:pt x="987" y="497"/>
                </a:cubicBezTo>
                <a:cubicBezTo>
                  <a:pt x="985" y="497"/>
                  <a:pt x="985" y="497"/>
                  <a:pt x="985" y="497"/>
                </a:cubicBezTo>
                <a:cubicBezTo>
                  <a:pt x="986" y="498"/>
                  <a:pt x="986" y="498"/>
                  <a:pt x="986" y="498"/>
                </a:cubicBezTo>
                <a:cubicBezTo>
                  <a:pt x="986" y="498"/>
                  <a:pt x="986" y="498"/>
                  <a:pt x="986" y="498"/>
                </a:cubicBezTo>
                <a:cubicBezTo>
                  <a:pt x="987" y="497"/>
                  <a:pt x="987" y="497"/>
                  <a:pt x="987" y="497"/>
                </a:cubicBezTo>
                <a:cubicBezTo>
                  <a:pt x="988" y="498"/>
                  <a:pt x="988" y="498"/>
                  <a:pt x="988" y="498"/>
                </a:cubicBezTo>
                <a:cubicBezTo>
                  <a:pt x="989" y="498"/>
                  <a:pt x="989" y="498"/>
                  <a:pt x="989" y="498"/>
                </a:cubicBezTo>
                <a:cubicBezTo>
                  <a:pt x="989" y="499"/>
                  <a:pt x="989" y="499"/>
                  <a:pt x="989" y="499"/>
                </a:cubicBezTo>
                <a:cubicBezTo>
                  <a:pt x="990" y="498"/>
                  <a:pt x="990" y="498"/>
                  <a:pt x="990" y="498"/>
                </a:cubicBezTo>
                <a:cubicBezTo>
                  <a:pt x="991" y="498"/>
                  <a:pt x="991" y="498"/>
                  <a:pt x="991" y="498"/>
                </a:cubicBezTo>
                <a:cubicBezTo>
                  <a:pt x="992" y="496"/>
                  <a:pt x="992" y="496"/>
                  <a:pt x="992" y="496"/>
                </a:cubicBezTo>
                <a:cubicBezTo>
                  <a:pt x="992" y="495"/>
                  <a:pt x="992" y="495"/>
                  <a:pt x="992" y="495"/>
                </a:cubicBezTo>
                <a:cubicBezTo>
                  <a:pt x="993" y="496"/>
                  <a:pt x="993" y="496"/>
                  <a:pt x="993" y="496"/>
                </a:cubicBezTo>
                <a:cubicBezTo>
                  <a:pt x="994" y="496"/>
                  <a:pt x="994" y="496"/>
                  <a:pt x="994" y="496"/>
                </a:cubicBezTo>
                <a:cubicBezTo>
                  <a:pt x="995" y="497"/>
                  <a:pt x="995" y="497"/>
                  <a:pt x="995" y="497"/>
                </a:cubicBezTo>
                <a:cubicBezTo>
                  <a:pt x="996" y="497"/>
                  <a:pt x="996" y="497"/>
                  <a:pt x="996" y="497"/>
                </a:cubicBezTo>
                <a:cubicBezTo>
                  <a:pt x="997" y="496"/>
                  <a:pt x="997" y="496"/>
                  <a:pt x="997" y="496"/>
                </a:cubicBezTo>
                <a:cubicBezTo>
                  <a:pt x="998" y="496"/>
                  <a:pt x="998" y="496"/>
                  <a:pt x="998" y="496"/>
                </a:cubicBezTo>
                <a:cubicBezTo>
                  <a:pt x="997" y="497"/>
                  <a:pt x="997" y="497"/>
                  <a:pt x="997" y="497"/>
                </a:cubicBezTo>
                <a:cubicBezTo>
                  <a:pt x="997" y="498"/>
                  <a:pt x="997" y="498"/>
                  <a:pt x="997" y="498"/>
                </a:cubicBezTo>
                <a:cubicBezTo>
                  <a:pt x="995" y="498"/>
                  <a:pt x="995" y="498"/>
                  <a:pt x="995" y="498"/>
                </a:cubicBezTo>
                <a:cubicBezTo>
                  <a:pt x="994" y="499"/>
                  <a:pt x="994" y="499"/>
                  <a:pt x="994" y="499"/>
                </a:cubicBezTo>
                <a:cubicBezTo>
                  <a:pt x="993" y="500"/>
                  <a:pt x="993" y="500"/>
                  <a:pt x="993" y="500"/>
                </a:cubicBezTo>
                <a:cubicBezTo>
                  <a:pt x="993" y="500"/>
                  <a:pt x="993" y="500"/>
                  <a:pt x="993" y="500"/>
                </a:cubicBezTo>
                <a:cubicBezTo>
                  <a:pt x="992" y="501"/>
                  <a:pt x="992" y="501"/>
                  <a:pt x="992" y="501"/>
                </a:cubicBezTo>
                <a:cubicBezTo>
                  <a:pt x="992" y="502"/>
                  <a:pt x="992" y="502"/>
                  <a:pt x="992" y="502"/>
                </a:cubicBezTo>
                <a:cubicBezTo>
                  <a:pt x="991" y="502"/>
                  <a:pt x="991" y="502"/>
                  <a:pt x="991" y="502"/>
                </a:cubicBezTo>
                <a:cubicBezTo>
                  <a:pt x="990" y="502"/>
                  <a:pt x="990" y="502"/>
                  <a:pt x="990" y="502"/>
                </a:cubicBezTo>
                <a:cubicBezTo>
                  <a:pt x="989" y="503"/>
                  <a:pt x="989" y="503"/>
                  <a:pt x="989" y="503"/>
                </a:cubicBezTo>
                <a:cubicBezTo>
                  <a:pt x="989" y="503"/>
                  <a:pt x="989" y="503"/>
                  <a:pt x="989" y="503"/>
                </a:cubicBezTo>
                <a:cubicBezTo>
                  <a:pt x="987" y="504"/>
                  <a:pt x="987" y="504"/>
                  <a:pt x="987" y="504"/>
                </a:cubicBezTo>
                <a:cubicBezTo>
                  <a:pt x="985" y="505"/>
                  <a:pt x="985" y="505"/>
                  <a:pt x="985" y="505"/>
                </a:cubicBezTo>
                <a:cubicBezTo>
                  <a:pt x="985" y="505"/>
                  <a:pt x="985" y="505"/>
                  <a:pt x="985" y="505"/>
                </a:cubicBezTo>
                <a:cubicBezTo>
                  <a:pt x="986" y="506"/>
                  <a:pt x="986" y="506"/>
                  <a:pt x="986" y="506"/>
                </a:cubicBezTo>
                <a:cubicBezTo>
                  <a:pt x="986" y="507"/>
                  <a:pt x="986" y="507"/>
                  <a:pt x="986" y="507"/>
                </a:cubicBezTo>
                <a:cubicBezTo>
                  <a:pt x="987" y="507"/>
                  <a:pt x="987" y="507"/>
                  <a:pt x="987" y="507"/>
                </a:cubicBezTo>
                <a:cubicBezTo>
                  <a:pt x="988" y="506"/>
                  <a:pt x="988" y="506"/>
                  <a:pt x="988" y="506"/>
                </a:cubicBezTo>
                <a:cubicBezTo>
                  <a:pt x="989" y="505"/>
                  <a:pt x="989" y="505"/>
                  <a:pt x="989" y="505"/>
                </a:cubicBezTo>
                <a:cubicBezTo>
                  <a:pt x="989" y="506"/>
                  <a:pt x="989" y="506"/>
                  <a:pt x="989" y="506"/>
                </a:cubicBezTo>
                <a:cubicBezTo>
                  <a:pt x="989" y="506"/>
                  <a:pt x="989" y="506"/>
                  <a:pt x="989" y="506"/>
                </a:cubicBezTo>
                <a:cubicBezTo>
                  <a:pt x="990" y="507"/>
                  <a:pt x="990" y="507"/>
                  <a:pt x="990" y="507"/>
                </a:cubicBezTo>
                <a:cubicBezTo>
                  <a:pt x="991" y="506"/>
                  <a:pt x="991" y="506"/>
                  <a:pt x="991" y="506"/>
                </a:cubicBezTo>
                <a:cubicBezTo>
                  <a:pt x="992" y="505"/>
                  <a:pt x="992" y="505"/>
                  <a:pt x="992" y="505"/>
                </a:cubicBezTo>
                <a:cubicBezTo>
                  <a:pt x="993" y="504"/>
                  <a:pt x="993" y="504"/>
                  <a:pt x="993" y="504"/>
                </a:cubicBezTo>
                <a:cubicBezTo>
                  <a:pt x="993" y="504"/>
                  <a:pt x="993" y="504"/>
                  <a:pt x="993" y="504"/>
                </a:cubicBezTo>
                <a:cubicBezTo>
                  <a:pt x="994" y="503"/>
                  <a:pt x="994" y="503"/>
                  <a:pt x="994" y="503"/>
                </a:cubicBezTo>
                <a:cubicBezTo>
                  <a:pt x="994" y="502"/>
                  <a:pt x="994" y="502"/>
                  <a:pt x="994" y="502"/>
                </a:cubicBezTo>
                <a:cubicBezTo>
                  <a:pt x="995" y="502"/>
                  <a:pt x="995" y="502"/>
                  <a:pt x="995" y="502"/>
                </a:cubicBezTo>
                <a:cubicBezTo>
                  <a:pt x="996" y="500"/>
                  <a:pt x="996" y="500"/>
                  <a:pt x="996" y="500"/>
                </a:cubicBezTo>
                <a:cubicBezTo>
                  <a:pt x="997" y="499"/>
                  <a:pt x="997" y="499"/>
                  <a:pt x="997" y="499"/>
                </a:cubicBezTo>
                <a:cubicBezTo>
                  <a:pt x="998" y="500"/>
                  <a:pt x="998" y="500"/>
                  <a:pt x="998" y="500"/>
                </a:cubicBezTo>
                <a:cubicBezTo>
                  <a:pt x="999" y="500"/>
                  <a:pt x="999" y="500"/>
                  <a:pt x="999" y="500"/>
                </a:cubicBezTo>
                <a:cubicBezTo>
                  <a:pt x="998" y="500"/>
                  <a:pt x="998" y="500"/>
                  <a:pt x="998" y="500"/>
                </a:cubicBezTo>
                <a:cubicBezTo>
                  <a:pt x="999" y="500"/>
                  <a:pt x="999" y="500"/>
                  <a:pt x="999" y="500"/>
                </a:cubicBezTo>
                <a:cubicBezTo>
                  <a:pt x="1000" y="500"/>
                  <a:pt x="1000" y="500"/>
                  <a:pt x="1000" y="500"/>
                </a:cubicBezTo>
                <a:cubicBezTo>
                  <a:pt x="1001" y="497"/>
                  <a:pt x="1001" y="497"/>
                  <a:pt x="1001" y="497"/>
                </a:cubicBezTo>
                <a:cubicBezTo>
                  <a:pt x="1002" y="495"/>
                  <a:pt x="1002" y="495"/>
                  <a:pt x="1002" y="495"/>
                </a:cubicBezTo>
                <a:cubicBezTo>
                  <a:pt x="1002" y="494"/>
                  <a:pt x="1002" y="494"/>
                  <a:pt x="1002" y="494"/>
                </a:cubicBezTo>
                <a:cubicBezTo>
                  <a:pt x="1002" y="493"/>
                  <a:pt x="1002" y="493"/>
                  <a:pt x="1002" y="493"/>
                </a:cubicBezTo>
                <a:cubicBezTo>
                  <a:pt x="1003" y="493"/>
                  <a:pt x="1003" y="493"/>
                  <a:pt x="1003" y="493"/>
                </a:cubicBezTo>
                <a:cubicBezTo>
                  <a:pt x="1004" y="494"/>
                  <a:pt x="1004" y="494"/>
                  <a:pt x="1004" y="494"/>
                </a:cubicBezTo>
                <a:cubicBezTo>
                  <a:pt x="1004" y="494"/>
                  <a:pt x="1004" y="494"/>
                  <a:pt x="1004" y="494"/>
                </a:cubicBezTo>
                <a:cubicBezTo>
                  <a:pt x="1005" y="495"/>
                  <a:pt x="1005" y="495"/>
                  <a:pt x="1005" y="495"/>
                </a:cubicBezTo>
                <a:cubicBezTo>
                  <a:pt x="1005" y="496"/>
                  <a:pt x="1005" y="496"/>
                  <a:pt x="1005" y="496"/>
                </a:cubicBezTo>
                <a:cubicBezTo>
                  <a:pt x="1005" y="498"/>
                  <a:pt x="1005" y="498"/>
                  <a:pt x="1005" y="498"/>
                </a:cubicBezTo>
                <a:cubicBezTo>
                  <a:pt x="1005" y="499"/>
                  <a:pt x="1005" y="499"/>
                  <a:pt x="1005" y="499"/>
                </a:cubicBezTo>
                <a:cubicBezTo>
                  <a:pt x="1005" y="500"/>
                  <a:pt x="1005" y="500"/>
                  <a:pt x="1005" y="500"/>
                </a:cubicBezTo>
                <a:cubicBezTo>
                  <a:pt x="1005" y="501"/>
                  <a:pt x="1005" y="501"/>
                  <a:pt x="1005" y="501"/>
                </a:cubicBezTo>
                <a:cubicBezTo>
                  <a:pt x="1003" y="502"/>
                  <a:pt x="1003" y="502"/>
                  <a:pt x="1003" y="502"/>
                </a:cubicBezTo>
                <a:cubicBezTo>
                  <a:pt x="1002" y="505"/>
                  <a:pt x="1002" y="505"/>
                  <a:pt x="1002" y="505"/>
                </a:cubicBezTo>
                <a:cubicBezTo>
                  <a:pt x="1002" y="507"/>
                  <a:pt x="1002" y="507"/>
                  <a:pt x="1002" y="507"/>
                </a:cubicBezTo>
                <a:cubicBezTo>
                  <a:pt x="1002" y="507"/>
                  <a:pt x="1002" y="507"/>
                  <a:pt x="1002" y="507"/>
                </a:cubicBezTo>
                <a:cubicBezTo>
                  <a:pt x="1002" y="508"/>
                  <a:pt x="1002" y="508"/>
                  <a:pt x="1002" y="508"/>
                </a:cubicBezTo>
                <a:cubicBezTo>
                  <a:pt x="1003" y="509"/>
                  <a:pt x="1003" y="509"/>
                  <a:pt x="1003" y="509"/>
                </a:cubicBezTo>
                <a:cubicBezTo>
                  <a:pt x="1004" y="508"/>
                  <a:pt x="1004" y="508"/>
                  <a:pt x="1004" y="508"/>
                </a:cubicBezTo>
                <a:cubicBezTo>
                  <a:pt x="1005" y="505"/>
                  <a:pt x="1005" y="505"/>
                  <a:pt x="1005" y="505"/>
                </a:cubicBezTo>
                <a:cubicBezTo>
                  <a:pt x="1006" y="505"/>
                  <a:pt x="1006" y="505"/>
                  <a:pt x="1006" y="505"/>
                </a:cubicBezTo>
                <a:cubicBezTo>
                  <a:pt x="1007" y="503"/>
                  <a:pt x="1007" y="503"/>
                  <a:pt x="1007" y="503"/>
                </a:cubicBezTo>
                <a:cubicBezTo>
                  <a:pt x="1008" y="502"/>
                  <a:pt x="1008" y="502"/>
                  <a:pt x="1008" y="502"/>
                </a:cubicBezTo>
                <a:cubicBezTo>
                  <a:pt x="1008" y="503"/>
                  <a:pt x="1008" y="503"/>
                  <a:pt x="1008" y="503"/>
                </a:cubicBezTo>
                <a:cubicBezTo>
                  <a:pt x="1010" y="503"/>
                  <a:pt x="1010" y="503"/>
                  <a:pt x="1010" y="503"/>
                </a:cubicBezTo>
                <a:cubicBezTo>
                  <a:pt x="1010" y="504"/>
                  <a:pt x="1010" y="504"/>
                  <a:pt x="1010" y="504"/>
                </a:cubicBezTo>
                <a:cubicBezTo>
                  <a:pt x="1009" y="504"/>
                  <a:pt x="1009" y="504"/>
                  <a:pt x="1009" y="504"/>
                </a:cubicBezTo>
                <a:cubicBezTo>
                  <a:pt x="1007" y="506"/>
                  <a:pt x="1007" y="506"/>
                  <a:pt x="1007" y="506"/>
                </a:cubicBezTo>
                <a:cubicBezTo>
                  <a:pt x="1007" y="507"/>
                  <a:pt x="1007" y="507"/>
                  <a:pt x="1007" y="507"/>
                </a:cubicBezTo>
                <a:cubicBezTo>
                  <a:pt x="1007" y="508"/>
                  <a:pt x="1007" y="508"/>
                  <a:pt x="1007" y="508"/>
                </a:cubicBezTo>
                <a:cubicBezTo>
                  <a:pt x="1007" y="509"/>
                  <a:pt x="1007" y="509"/>
                  <a:pt x="1007" y="509"/>
                </a:cubicBezTo>
                <a:cubicBezTo>
                  <a:pt x="1007" y="511"/>
                  <a:pt x="1007" y="511"/>
                  <a:pt x="1007" y="511"/>
                </a:cubicBezTo>
                <a:cubicBezTo>
                  <a:pt x="1008" y="512"/>
                  <a:pt x="1008" y="512"/>
                  <a:pt x="1008" y="512"/>
                </a:cubicBezTo>
                <a:cubicBezTo>
                  <a:pt x="1009" y="510"/>
                  <a:pt x="1009" y="510"/>
                  <a:pt x="1009" y="510"/>
                </a:cubicBezTo>
                <a:cubicBezTo>
                  <a:pt x="1010" y="509"/>
                  <a:pt x="1010" y="509"/>
                  <a:pt x="1010" y="509"/>
                </a:cubicBezTo>
                <a:cubicBezTo>
                  <a:pt x="1010" y="509"/>
                  <a:pt x="1010" y="509"/>
                  <a:pt x="1011" y="509"/>
                </a:cubicBezTo>
                <a:cubicBezTo>
                  <a:pt x="1011" y="509"/>
                  <a:pt x="1011" y="511"/>
                  <a:pt x="1011" y="511"/>
                </a:cubicBezTo>
                <a:cubicBezTo>
                  <a:pt x="1012" y="511"/>
                  <a:pt x="1012" y="511"/>
                  <a:pt x="1012" y="511"/>
                </a:cubicBezTo>
                <a:cubicBezTo>
                  <a:pt x="1014" y="510"/>
                  <a:pt x="1014" y="510"/>
                  <a:pt x="1014" y="510"/>
                </a:cubicBezTo>
                <a:cubicBezTo>
                  <a:pt x="1014" y="509"/>
                  <a:pt x="1014" y="509"/>
                  <a:pt x="1014" y="509"/>
                </a:cubicBezTo>
                <a:cubicBezTo>
                  <a:pt x="1014" y="509"/>
                  <a:pt x="1014" y="509"/>
                  <a:pt x="1014" y="509"/>
                </a:cubicBezTo>
                <a:cubicBezTo>
                  <a:pt x="1015" y="508"/>
                  <a:pt x="1015" y="508"/>
                  <a:pt x="1015" y="508"/>
                </a:cubicBezTo>
                <a:cubicBezTo>
                  <a:pt x="1015" y="507"/>
                  <a:pt x="1015" y="507"/>
                  <a:pt x="1015" y="507"/>
                </a:cubicBezTo>
                <a:cubicBezTo>
                  <a:pt x="1015" y="506"/>
                  <a:pt x="1015" y="506"/>
                  <a:pt x="1015" y="506"/>
                </a:cubicBezTo>
                <a:cubicBezTo>
                  <a:pt x="1015" y="506"/>
                  <a:pt x="1015" y="506"/>
                  <a:pt x="1015" y="506"/>
                </a:cubicBezTo>
                <a:cubicBezTo>
                  <a:pt x="1015" y="505"/>
                  <a:pt x="1015" y="505"/>
                  <a:pt x="1015" y="505"/>
                </a:cubicBezTo>
                <a:cubicBezTo>
                  <a:pt x="1015" y="503"/>
                  <a:pt x="1015" y="503"/>
                  <a:pt x="1015" y="503"/>
                </a:cubicBezTo>
                <a:cubicBezTo>
                  <a:pt x="1017" y="501"/>
                  <a:pt x="1017" y="501"/>
                  <a:pt x="1017" y="501"/>
                </a:cubicBezTo>
                <a:cubicBezTo>
                  <a:pt x="1018" y="499"/>
                  <a:pt x="1018" y="499"/>
                  <a:pt x="1018" y="499"/>
                </a:cubicBezTo>
                <a:cubicBezTo>
                  <a:pt x="1018" y="496"/>
                  <a:pt x="1018" y="496"/>
                  <a:pt x="1018" y="496"/>
                </a:cubicBezTo>
                <a:cubicBezTo>
                  <a:pt x="1018" y="495"/>
                  <a:pt x="1018" y="495"/>
                  <a:pt x="1018" y="495"/>
                </a:cubicBezTo>
                <a:cubicBezTo>
                  <a:pt x="1017" y="495"/>
                  <a:pt x="1017" y="495"/>
                  <a:pt x="1017" y="495"/>
                </a:cubicBezTo>
                <a:cubicBezTo>
                  <a:pt x="1017" y="496"/>
                  <a:pt x="1017" y="496"/>
                  <a:pt x="1017" y="496"/>
                </a:cubicBezTo>
                <a:cubicBezTo>
                  <a:pt x="1016" y="497"/>
                  <a:pt x="1016" y="497"/>
                  <a:pt x="1016" y="497"/>
                </a:cubicBezTo>
                <a:cubicBezTo>
                  <a:pt x="1015" y="498"/>
                  <a:pt x="1015" y="498"/>
                  <a:pt x="1015" y="498"/>
                </a:cubicBezTo>
                <a:cubicBezTo>
                  <a:pt x="1014" y="500"/>
                  <a:pt x="1014" y="500"/>
                  <a:pt x="1014" y="500"/>
                </a:cubicBezTo>
                <a:cubicBezTo>
                  <a:pt x="1013" y="500"/>
                  <a:pt x="1013" y="500"/>
                  <a:pt x="1013" y="500"/>
                </a:cubicBezTo>
                <a:cubicBezTo>
                  <a:pt x="1012" y="499"/>
                  <a:pt x="1012" y="499"/>
                  <a:pt x="1012" y="499"/>
                </a:cubicBezTo>
                <a:cubicBezTo>
                  <a:pt x="1013" y="497"/>
                  <a:pt x="1013" y="497"/>
                  <a:pt x="1013" y="497"/>
                </a:cubicBezTo>
                <a:cubicBezTo>
                  <a:pt x="1013" y="496"/>
                  <a:pt x="1013" y="496"/>
                  <a:pt x="1013" y="496"/>
                </a:cubicBezTo>
                <a:cubicBezTo>
                  <a:pt x="1014" y="494"/>
                  <a:pt x="1014" y="494"/>
                  <a:pt x="1014" y="494"/>
                </a:cubicBezTo>
                <a:cubicBezTo>
                  <a:pt x="1015" y="494"/>
                  <a:pt x="1015" y="494"/>
                  <a:pt x="1015" y="494"/>
                </a:cubicBezTo>
                <a:cubicBezTo>
                  <a:pt x="1016" y="492"/>
                  <a:pt x="1016" y="492"/>
                  <a:pt x="1016" y="492"/>
                </a:cubicBezTo>
                <a:cubicBezTo>
                  <a:pt x="1017" y="492"/>
                  <a:pt x="1017" y="492"/>
                  <a:pt x="1017" y="492"/>
                </a:cubicBezTo>
                <a:cubicBezTo>
                  <a:pt x="1017" y="492"/>
                  <a:pt x="1017" y="492"/>
                  <a:pt x="1017" y="492"/>
                </a:cubicBezTo>
                <a:cubicBezTo>
                  <a:pt x="1017" y="491"/>
                  <a:pt x="1017" y="491"/>
                  <a:pt x="1017" y="491"/>
                </a:cubicBezTo>
                <a:cubicBezTo>
                  <a:pt x="1016" y="492"/>
                  <a:pt x="1016" y="492"/>
                  <a:pt x="1016" y="492"/>
                </a:cubicBezTo>
                <a:cubicBezTo>
                  <a:pt x="1015" y="492"/>
                  <a:pt x="1015" y="492"/>
                  <a:pt x="1015" y="492"/>
                </a:cubicBezTo>
                <a:cubicBezTo>
                  <a:pt x="1014" y="492"/>
                  <a:pt x="1014" y="492"/>
                  <a:pt x="1014" y="492"/>
                </a:cubicBezTo>
                <a:cubicBezTo>
                  <a:pt x="1013" y="493"/>
                  <a:pt x="1013" y="493"/>
                  <a:pt x="1013" y="493"/>
                </a:cubicBezTo>
                <a:cubicBezTo>
                  <a:pt x="1012" y="494"/>
                  <a:pt x="1012" y="494"/>
                  <a:pt x="1012" y="494"/>
                </a:cubicBezTo>
                <a:cubicBezTo>
                  <a:pt x="1011" y="495"/>
                  <a:pt x="1011" y="495"/>
                  <a:pt x="1011" y="495"/>
                </a:cubicBezTo>
                <a:cubicBezTo>
                  <a:pt x="1009" y="496"/>
                  <a:pt x="1009" y="496"/>
                  <a:pt x="1009" y="496"/>
                </a:cubicBezTo>
                <a:cubicBezTo>
                  <a:pt x="1009" y="497"/>
                  <a:pt x="1009" y="497"/>
                  <a:pt x="1009" y="497"/>
                </a:cubicBezTo>
                <a:cubicBezTo>
                  <a:pt x="1008" y="498"/>
                  <a:pt x="1008" y="498"/>
                  <a:pt x="1008" y="498"/>
                </a:cubicBezTo>
                <a:cubicBezTo>
                  <a:pt x="1007" y="497"/>
                  <a:pt x="1007" y="497"/>
                  <a:pt x="1007" y="497"/>
                </a:cubicBezTo>
                <a:cubicBezTo>
                  <a:pt x="1007" y="495"/>
                  <a:pt x="1007" y="495"/>
                  <a:pt x="1007" y="495"/>
                </a:cubicBezTo>
                <a:cubicBezTo>
                  <a:pt x="1006" y="494"/>
                  <a:pt x="1006" y="494"/>
                  <a:pt x="1006" y="494"/>
                </a:cubicBezTo>
                <a:cubicBezTo>
                  <a:pt x="1006" y="493"/>
                  <a:pt x="1006" y="493"/>
                  <a:pt x="1006" y="493"/>
                </a:cubicBezTo>
                <a:cubicBezTo>
                  <a:pt x="1007" y="494"/>
                  <a:pt x="1007" y="494"/>
                  <a:pt x="1007" y="494"/>
                </a:cubicBezTo>
                <a:cubicBezTo>
                  <a:pt x="1008" y="494"/>
                  <a:pt x="1008" y="494"/>
                  <a:pt x="1008" y="494"/>
                </a:cubicBezTo>
                <a:cubicBezTo>
                  <a:pt x="1009" y="492"/>
                  <a:pt x="1009" y="492"/>
                  <a:pt x="1009" y="492"/>
                </a:cubicBezTo>
                <a:cubicBezTo>
                  <a:pt x="1008" y="493"/>
                  <a:pt x="1008" y="493"/>
                  <a:pt x="1008" y="493"/>
                </a:cubicBezTo>
                <a:cubicBezTo>
                  <a:pt x="1006" y="492"/>
                  <a:pt x="1006" y="492"/>
                  <a:pt x="1006" y="492"/>
                </a:cubicBezTo>
                <a:cubicBezTo>
                  <a:pt x="1007" y="492"/>
                  <a:pt x="1007" y="492"/>
                  <a:pt x="1007" y="492"/>
                </a:cubicBezTo>
                <a:cubicBezTo>
                  <a:pt x="1009" y="492"/>
                  <a:pt x="1009" y="492"/>
                  <a:pt x="1009" y="492"/>
                </a:cubicBezTo>
                <a:cubicBezTo>
                  <a:pt x="1007" y="492"/>
                  <a:pt x="1007" y="492"/>
                  <a:pt x="1007" y="492"/>
                </a:cubicBezTo>
                <a:cubicBezTo>
                  <a:pt x="1007" y="491"/>
                  <a:pt x="1007" y="491"/>
                  <a:pt x="1007" y="491"/>
                </a:cubicBezTo>
                <a:cubicBezTo>
                  <a:pt x="1007" y="490"/>
                  <a:pt x="1007" y="490"/>
                  <a:pt x="1007" y="490"/>
                </a:cubicBezTo>
                <a:cubicBezTo>
                  <a:pt x="1007" y="489"/>
                  <a:pt x="1007" y="489"/>
                  <a:pt x="1007" y="489"/>
                </a:cubicBezTo>
                <a:cubicBezTo>
                  <a:pt x="1009" y="489"/>
                  <a:pt x="1009" y="489"/>
                  <a:pt x="1009" y="489"/>
                </a:cubicBezTo>
                <a:cubicBezTo>
                  <a:pt x="1009" y="489"/>
                  <a:pt x="1009" y="489"/>
                  <a:pt x="1009" y="489"/>
                </a:cubicBezTo>
                <a:cubicBezTo>
                  <a:pt x="1011" y="488"/>
                  <a:pt x="1011" y="488"/>
                  <a:pt x="1011" y="488"/>
                </a:cubicBezTo>
                <a:cubicBezTo>
                  <a:pt x="1012" y="486"/>
                  <a:pt x="1012" y="486"/>
                  <a:pt x="1012" y="486"/>
                </a:cubicBezTo>
                <a:cubicBezTo>
                  <a:pt x="1013" y="486"/>
                  <a:pt x="1013" y="486"/>
                  <a:pt x="1013" y="486"/>
                </a:cubicBezTo>
                <a:cubicBezTo>
                  <a:pt x="1014" y="487"/>
                  <a:pt x="1014" y="487"/>
                  <a:pt x="1014" y="487"/>
                </a:cubicBezTo>
                <a:cubicBezTo>
                  <a:pt x="1015" y="486"/>
                  <a:pt x="1015" y="486"/>
                  <a:pt x="1015" y="486"/>
                </a:cubicBezTo>
                <a:cubicBezTo>
                  <a:pt x="1016" y="484"/>
                  <a:pt x="1016" y="484"/>
                  <a:pt x="1016" y="484"/>
                </a:cubicBezTo>
                <a:cubicBezTo>
                  <a:pt x="1016" y="483"/>
                  <a:pt x="1016" y="483"/>
                  <a:pt x="1016" y="483"/>
                </a:cubicBezTo>
                <a:cubicBezTo>
                  <a:pt x="1016" y="482"/>
                  <a:pt x="1016" y="482"/>
                  <a:pt x="1016" y="482"/>
                </a:cubicBezTo>
                <a:cubicBezTo>
                  <a:pt x="1014" y="483"/>
                  <a:pt x="1014" y="483"/>
                  <a:pt x="1014" y="483"/>
                </a:cubicBezTo>
                <a:cubicBezTo>
                  <a:pt x="1013" y="484"/>
                  <a:pt x="1013" y="484"/>
                  <a:pt x="1013" y="484"/>
                </a:cubicBezTo>
                <a:cubicBezTo>
                  <a:pt x="1013" y="483"/>
                  <a:pt x="1013" y="483"/>
                  <a:pt x="1013" y="483"/>
                </a:cubicBezTo>
                <a:cubicBezTo>
                  <a:pt x="1012" y="483"/>
                  <a:pt x="1012" y="483"/>
                  <a:pt x="1012" y="483"/>
                </a:cubicBezTo>
                <a:cubicBezTo>
                  <a:pt x="1012" y="484"/>
                  <a:pt x="1012" y="484"/>
                  <a:pt x="1012" y="484"/>
                </a:cubicBezTo>
                <a:cubicBezTo>
                  <a:pt x="1012" y="485"/>
                  <a:pt x="1012" y="485"/>
                  <a:pt x="1012" y="485"/>
                </a:cubicBezTo>
                <a:cubicBezTo>
                  <a:pt x="1011" y="486"/>
                  <a:pt x="1011" y="486"/>
                  <a:pt x="1011" y="486"/>
                </a:cubicBezTo>
                <a:cubicBezTo>
                  <a:pt x="1010" y="486"/>
                  <a:pt x="1010" y="486"/>
                  <a:pt x="1010" y="486"/>
                </a:cubicBezTo>
                <a:cubicBezTo>
                  <a:pt x="1009" y="486"/>
                  <a:pt x="1009" y="486"/>
                  <a:pt x="1009" y="486"/>
                </a:cubicBezTo>
                <a:cubicBezTo>
                  <a:pt x="1008" y="487"/>
                  <a:pt x="1008" y="487"/>
                  <a:pt x="1008" y="487"/>
                </a:cubicBezTo>
                <a:cubicBezTo>
                  <a:pt x="1008" y="488"/>
                  <a:pt x="1008" y="488"/>
                  <a:pt x="1008" y="488"/>
                </a:cubicBezTo>
                <a:cubicBezTo>
                  <a:pt x="1007" y="488"/>
                  <a:pt x="1007" y="488"/>
                  <a:pt x="1007" y="488"/>
                </a:cubicBezTo>
                <a:cubicBezTo>
                  <a:pt x="1007" y="488"/>
                  <a:pt x="1007" y="488"/>
                  <a:pt x="1007" y="488"/>
                </a:cubicBezTo>
                <a:cubicBezTo>
                  <a:pt x="1007" y="486"/>
                  <a:pt x="1007" y="486"/>
                  <a:pt x="1007" y="486"/>
                </a:cubicBezTo>
                <a:cubicBezTo>
                  <a:pt x="1007" y="487"/>
                  <a:pt x="1007" y="487"/>
                  <a:pt x="1007" y="487"/>
                </a:cubicBezTo>
                <a:cubicBezTo>
                  <a:pt x="1006" y="487"/>
                  <a:pt x="1006" y="487"/>
                  <a:pt x="1006" y="487"/>
                </a:cubicBezTo>
                <a:cubicBezTo>
                  <a:pt x="1007" y="486"/>
                  <a:pt x="1007" y="486"/>
                  <a:pt x="1007" y="486"/>
                </a:cubicBezTo>
                <a:cubicBezTo>
                  <a:pt x="1008" y="485"/>
                  <a:pt x="1008" y="485"/>
                  <a:pt x="1008" y="485"/>
                </a:cubicBezTo>
                <a:cubicBezTo>
                  <a:pt x="1008" y="485"/>
                  <a:pt x="1008" y="485"/>
                  <a:pt x="1008" y="485"/>
                </a:cubicBezTo>
                <a:cubicBezTo>
                  <a:pt x="1007" y="484"/>
                  <a:pt x="1007" y="484"/>
                  <a:pt x="1007" y="484"/>
                </a:cubicBezTo>
                <a:cubicBezTo>
                  <a:pt x="1008" y="484"/>
                  <a:pt x="1008" y="484"/>
                  <a:pt x="1008" y="484"/>
                </a:cubicBezTo>
                <a:cubicBezTo>
                  <a:pt x="1009" y="482"/>
                  <a:pt x="1009" y="482"/>
                  <a:pt x="1009" y="482"/>
                </a:cubicBezTo>
                <a:cubicBezTo>
                  <a:pt x="1008" y="482"/>
                  <a:pt x="1008" y="482"/>
                  <a:pt x="1008" y="482"/>
                </a:cubicBezTo>
                <a:cubicBezTo>
                  <a:pt x="1007" y="483"/>
                  <a:pt x="1007" y="483"/>
                  <a:pt x="1007" y="483"/>
                </a:cubicBezTo>
                <a:cubicBezTo>
                  <a:pt x="1008" y="482"/>
                  <a:pt x="1008" y="482"/>
                  <a:pt x="1008" y="482"/>
                </a:cubicBezTo>
                <a:cubicBezTo>
                  <a:pt x="1008" y="481"/>
                  <a:pt x="1008" y="481"/>
                  <a:pt x="1008" y="481"/>
                </a:cubicBezTo>
                <a:cubicBezTo>
                  <a:pt x="1007" y="480"/>
                  <a:pt x="1007" y="480"/>
                  <a:pt x="1007" y="480"/>
                </a:cubicBezTo>
                <a:cubicBezTo>
                  <a:pt x="1006" y="481"/>
                  <a:pt x="1006" y="481"/>
                  <a:pt x="1006" y="481"/>
                </a:cubicBezTo>
                <a:cubicBezTo>
                  <a:pt x="1004" y="480"/>
                  <a:pt x="1004" y="480"/>
                  <a:pt x="1004" y="480"/>
                </a:cubicBezTo>
                <a:cubicBezTo>
                  <a:pt x="1006" y="480"/>
                  <a:pt x="1006" y="480"/>
                  <a:pt x="1006" y="480"/>
                </a:cubicBezTo>
                <a:cubicBezTo>
                  <a:pt x="1007" y="480"/>
                  <a:pt x="1007" y="480"/>
                  <a:pt x="1007" y="480"/>
                </a:cubicBezTo>
                <a:cubicBezTo>
                  <a:pt x="1008" y="480"/>
                  <a:pt x="1008" y="480"/>
                  <a:pt x="1008" y="480"/>
                </a:cubicBezTo>
                <a:cubicBezTo>
                  <a:pt x="1010" y="479"/>
                  <a:pt x="1010" y="479"/>
                  <a:pt x="1010" y="479"/>
                </a:cubicBezTo>
                <a:cubicBezTo>
                  <a:pt x="1010" y="478"/>
                  <a:pt x="1010" y="478"/>
                  <a:pt x="1010" y="478"/>
                </a:cubicBezTo>
                <a:cubicBezTo>
                  <a:pt x="1011" y="478"/>
                  <a:pt x="1011" y="478"/>
                  <a:pt x="1011" y="478"/>
                </a:cubicBezTo>
                <a:cubicBezTo>
                  <a:pt x="1012" y="477"/>
                  <a:pt x="1012" y="477"/>
                  <a:pt x="1012" y="477"/>
                </a:cubicBezTo>
                <a:cubicBezTo>
                  <a:pt x="1012" y="476"/>
                  <a:pt x="1012" y="476"/>
                  <a:pt x="1012" y="476"/>
                </a:cubicBezTo>
                <a:cubicBezTo>
                  <a:pt x="1013" y="475"/>
                  <a:pt x="1013" y="475"/>
                  <a:pt x="1013" y="475"/>
                </a:cubicBezTo>
                <a:cubicBezTo>
                  <a:pt x="1013" y="474"/>
                  <a:pt x="1013" y="474"/>
                  <a:pt x="1013" y="474"/>
                </a:cubicBezTo>
                <a:cubicBezTo>
                  <a:pt x="1012" y="474"/>
                  <a:pt x="1012" y="474"/>
                  <a:pt x="1012" y="474"/>
                </a:cubicBezTo>
                <a:cubicBezTo>
                  <a:pt x="1010" y="472"/>
                  <a:pt x="1010" y="472"/>
                  <a:pt x="1010" y="472"/>
                </a:cubicBezTo>
                <a:cubicBezTo>
                  <a:pt x="1009" y="472"/>
                  <a:pt x="1009" y="472"/>
                  <a:pt x="1009" y="472"/>
                </a:cubicBezTo>
                <a:cubicBezTo>
                  <a:pt x="1007" y="472"/>
                  <a:pt x="1007" y="472"/>
                  <a:pt x="1007" y="472"/>
                </a:cubicBezTo>
                <a:cubicBezTo>
                  <a:pt x="1006" y="472"/>
                  <a:pt x="1006" y="472"/>
                  <a:pt x="1006" y="472"/>
                </a:cubicBezTo>
                <a:cubicBezTo>
                  <a:pt x="1006" y="473"/>
                  <a:pt x="1006" y="473"/>
                  <a:pt x="1006" y="473"/>
                </a:cubicBezTo>
                <a:cubicBezTo>
                  <a:pt x="1005" y="475"/>
                  <a:pt x="1005" y="475"/>
                  <a:pt x="1005" y="475"/>
                </a:cubicBezTo>
                <a:cubicBezTo>
                  <a:pt x="1005" y="476"/>
                  <a:pt x="1005" y="476"/>
                  <a:pt x="1005" y="476"/>
                </a:cubicBezTo>
                <a:cubicBezTo>
                  <a:pt x="1004" y="477"/>
                  <a:pt x="1004" y="477"/>
                  <a:pt x="1004" y="477"/>
                </a:cubicBezTo>
                <a:cubicBezTo>
                  <a:pt x="1005" y="476"/>
                  <a:pt x="1005" y="476"/>
                  <a:pt x="1005" y="476"/>
                </a:cubicBezTo>
                <a:cubicBezTo>
                  <a:pt x="1005" y="475"/>
                  <a:pt x="1005" y="475"/>
                  <a:pt x="1005" y="475"/>
                </a:cubicBezTo>
                <a:cubicBezTo>
                  <a:pt x="1004" y="474"/>
                  <a:pt x="1004" y="474"/>
                  <a:pt x="1004" y="474"/>
                </a:cubicBezTo>
                <a:cubicBezTo>
                  <a:pt x="1005" y="473"/>
                  <a:pt x="1005" y="473"/>
                  <a:pt x="1005" y="473"/>
                </a:cubicBezTo>
                <a:cubicBezTo>
                  <a:pt x="1006" y="472"/>
                  <a:pt x="1006" y="472"/>
                  <a:pt x="1006" y="472"/>
                </a:cubicBezTo>
                <a:cubicBezTo>
                  <a:pt x="1005" y="471"/>
                  <a:pt x="1005" y="471"/>
                  <a:pt x="1005" y="471"/>
                </a:cubicBezTo>
                <a:cubicBezTo>
                  <a:pt x="1004" y="473"/>
                  <a:pt x="1004" y="473"/>
                  <a:pt x="1004" y="473"/>
                </a:cubicBezTo>
                <a:lnTo>
                  <a:pt x="1003" y="474"/>
                </a:lnTo>
                <a:close/>
                <a:moveTo>
                  <a:pt x="1017" y="1036"/>
                </a:moveTo>
                <a:cubicBezTo>
                  <a:pt x="1018" y="1035"/>
                  <a:pt x="1018" y="1035"/>
                  <a:pt x="1018" y="1035"/>
                </a:cubicBezTo>
                <a:cubicBezTo>
                  <a:pt x="1016" y="1034"/>
                  <a:pt x="1016" y="1034"/>
                  <a:pt x="1016" y="1034"/>
                </a:cubicBezTo>
                <a:cubicBezTo>
                  <a:pt x="1015" y="1034"/>
                  <a:pt x="1015" y="1034"/>
                  <a:pt x="1015" y="1034"/>
                </a:cubicBezTo>
                <a:cubicBezTo>
                  <a:pt x="1015" y="1035"/>
                  <a:pt x="1015" y="1035"/>
                  <a:pt x="1015" y="1035"/>
                </a:cubicBezTo>
                <a:cubicBezTo>
                  <a:pt x="1013" y="1035"/>
                  <a:pt x="1013" y="1035"/>
                  <a:pt x="1013" y="1035"/>
                </a:cubicBezTo>
                <a:cubicBezTo>
                  <a:pt x="1015" y="1036"/>
                  <a:pt x="1015" y="1036"/>
                  <a:pt x="1015" y="1036"/>
                </a:cubicBezTo>
                <a:lnTo>
                  <a:pt x="1017" y="1036"/>
                </a:lnTo>
                <a:close/>
                <a:moveTo>
                  <a:pt x="1011" y="1034"/>
                </a:moveTo>
                <a:cubicBezTo>
                  <a:pt x="1012" y="1034"/>
                  <a:pt x="1012" y="1034"/>
                  <a:pt x="1012" y="1034"/>
                </a:cubicBezTo>
                <a:cubicBezTo>
                  <a:pt x="1013" y="1034"/>
                  <a:pt x="1013" y="1034"/>
                  <a:pt x="1013" y="1034"/>
                </a:cubicBezTo>
                <a:cubicBezTo>
                  <a:pt x="1013" y="1032"/>
                  <a:pt x="1013" y="1032"/>
                  <a:pt x="1013" y="1032"/>
                </a:cubicBezTo>
                <a:cubicBezTo>
                  <a:pt x="1012" y="1031"/>
                  <a:pt x="1012" y="1031"/>
                  <a:pt x="1012" y="1031"/>
                </a:cubicBezTo>
                <a:cubicBezTo>
                  <a:pt x="1009" y="1032"/>
                  <a:pt x="1009" y="1032"/>
                  <a:pt x="1009" y="1032"/>
                </a:cubicBezTo>
                <a:cubicBezTo>
                  <a:pt x="1008" y="1032"/>
                  <a:pt x="1008" y="1032"/>
                  <a:pt x="1008" y="1032"/>
                </a:cubicBezTo>
                <a:cubicBezTo>
                  <a:pt x="1007" y="1033"/>
                  <a:pt x="1007" y="1033"/>
                  <a:pt x="1007" y="1033"/>
                </a:cubicBezTo>
                <a:cubicBezTo>
                  <a:pt x="1008" y="1034"/>
                  <a:pt x="1008" y="1034"/>
                  <a:pt x="1008" y="1034"/>
                </a:cubicBezTo>
                <a:lnTo>
                  <a:pt x="1011" y="1034"/>
                </a:lnTo>
                <a:close/>
                <a:moveTo>
                  <a:pt x="1005" y="1010"/>
                </a:moveTo>
                <a:cubicBezTo>
                  <a:pt x="1005" y="1010"/>
                  <a:pt x="1005" y="1010"/>
                  <a:pt x="1005" y="1010"/>
                </a:cubicBezTo>
                <a:cubicBezTo>
                  <a:pt x="1006" y="1013"/>
                  <a:pt x="1006" y="1013"/>
                  <a:pt x="1006" y="1013"/>
                </a:cubicBezTo>
                <a:cubicBezTo>
                  <a:pt x="1007" y="1014"/>
                  <a:pt x="1007" y="1014"/>
                  <a:pt x="1007" y="1014"/>
                </a:cubicBezTo>
                <a:cubicBezTo>
                  <a:pt x="1007" y="1014"/>
                  <a:pt x="1008" y="1015"/>
                  <a:pt x="1008" y="1015"/>
                </a:cubicBezTo>
                <a:cubicBezTo>
                  <a:pt x="1008" y="1013"/>
                  <a:pt x="1008" y="1013"/>
                  <a:pt x="1008" y="1013"/>
                </a:cubicBezTo>
                <a:cubicBezTo>
                  <a:pt x="1007" y="1011"/>
                  <a:pt x="1007" y="1011"/>
                  <a:pt x="1007" y="1011"/>
                </a:cubicBezTo>
                <a:lnTo>
                  <a:pt x="1005" y="1010"/>
                </a:lnTo>
                <a:close/>
                <a:moveTo>
                  <a:pt x="986" y="495"/>
                </a:moveTo>
                <a:cubicBezTo>
                  <a:pt x="986" y="496"/>
                  <a:pt x="986" y="496"/>
                  <a:pt x="986" y="496"/>
                </a:cubicBezTo>
                <a:cubicBezTo>
                  <a:pt x="987" y="496"/>
                  <a:pt x="987" y="496"/>
                  <a:pt x="987" y="496"/>
                </a:cubicBezTo>
                <a:cubicBezTo>
                  <a:pt x="987" y="496"/>
                  <a:pt x="987" y="496"/>
                  <a:pt x="987" y="496"/>
                </a:cubicBezTo>
                <a:lnTo>
                  <a:pt x="986" y="495"/>
                </a:lnTo>
                <a:close/>
                <a:moveTo>
                  <a:pt x="1005" y="1034"/>
                </a:moveTo>
                <a:cubicBezTo>
                  <a:pt x="1006" y="1034"/>
                  <a:pt x="1006" y="1034"/>
                  <a:pt x="1006" y="1034"/>
                </a:cubicBezTo>
                <a:cubicBezTo>
                  <a:pt x="1007" y="1035"/>
                  <a:pt x="1007" y="1035"/>
                  <a:pt x="1007" y="1035"/>
                </a:cubicBezTo>
                <a:cubicBezTo>
                  <a:pt x="1007" y="1034"/>
                  <a:pt x="1007" y="1034"/>
                  <a:pt x="1007" y="1034"/>
                </a:cubicBezTo>
                <a:cubicBezTo>
                  <a:pt x="1006" y="1033"/>
                  <a:pt x="1006" y="1033"/>
                  <a:pt x="1006" y="1033"/>
                </a:cubicBezTo>
                <a:cubicBezTo>
                  <a:pt x="1005" y="1032"/>
                  <a:pt x="1005" y="1032"/>
                  <a:pt x="1005" y="1032"/>
                </a:cubicBezTo>
                <a:lnTo>
                  <a:pt x="1005" y="1034"/>
                </a:lnTo>
                <a:close/>
                <a:moveTo>
                  <a:pt x="1455" y="396"/>
                </a:moveTo>
                <a:cubicBezTo>
                  <a:pt x="1457" y="393"/>
                  <a:pt x="1457" y="393"/>
                  <a:pt x="1457" y="393"/>
                </a:cubicBezTo>
                <a:cubicBezTo>
                  <a:pt x="1453" y="396"/>
                  <a:pt x="1453" y="396"/>
                  <a:pt x="1453" y="396"/>
                </a:cubicBezTo>
                <a:cubicBezTo>
                  <a:pt x="1454" y="398"/>
                  <a:pt x="1454" y="398"/>
                  <a:pt x="1454" y="398"/>
                </a:cubicBezTo>
                <a:lnTo>
                  <a:pt x="1455" y="396"/>
                </a:lnTo>
                <a:close/>
                <a:moveTo>
                  <a:pt x="1083" y="72"/>
                </a:moveTo>
                <a:cubicBezTo>
                  <a:pt x="1084" y="72"/>
                  <a:pt x="1084" y="72"/>
                  <a:pt x="1084" y="72"/>
                </a:cubicBezTo>
                <a:cubicBezTo>
                  <a:pt x="1084" y="71"/>
                  <a:pt x="1084" y="71"/>
                  <a:pt x="1084" y="71"/>
                </a:cubicBezTo>
                <a:cubicBezTo>
                  <a:pt x="1082" y="71"/>
                  <a:pt x="1082" y="71"/>
                  <a:pt x="1082" y="71"/>
                </a:cubicBezTo>
                <a:cubicBezTo>
                  <a:pt x="1081" y="72"/>
                  <a:pt x="1081" y="72"/>
                  <a:pt x="1081" y="72"/>
                </a:cubicBezTo>
                <a:cubicBezTo>
                  <a:pt x="1081" y="73"/>
                  <a:pt x="1081" y="73"/>
                  <a:pt x="1081" y="73"/>
                </a:cubicBezTo>
                <a:lnTo>
                  <a:pt x="1083" y="72"/>
                </a:lnTo>
                <a:close/>
                <a:moveTo>
                  <a:pt x="1083" y="85"/>
                </a:moveTo>
                <a:cubicBezTo>
                  <a:pt x="1085" y="84"/>
                  <a:pt x="1085" y="84"/>
                  <a:pt x="1085" y="84"/>
                </a:cubicBezTo>
                <a:cubicBezTo>
                  <a:pt x="1086" y="83"/>
                  <a:pt x="1086" y="83"/>
                  <a:pt x="1086" y="83"/>
                </a:cubicBezTo>
                <a:cubicBezTo>
                  <a:pt x="1085" y="83"/>
                  <a:pt x="1085" y="83"/>
                  <a:pt x="1085" y="83"/>
                </a:cubicBezTo>
                <a:cubicBezTo>
                  <a:pt x="1084" y="83"/>
                  <a:pt x="1084" y="83"/>
                  <a:pt x="1084" y="83"/>
                </a:cubicBezTo>
                <a:cubicBezTo>
                  <a:pt x="1082" y="83"/>
                  <a:pt x="1082" y="83"/>
                  <a:pt x="1082" y="83"/>
                </a:cubicBezTo>
                <a:cubicBezTo>
                  <a:pt x="1081" y="85"/>
                  <a:pt x="1081" y="85"/>
                  <a:pt x="1081" y="85"/>
                </a:cubicBezTo>
                <a:cubicBezTo>
                  <a:pt x="1081" y="85"/>
                  <a:pt x="1080" y="85"/>
                  <a:pt x="1080" y="85"/>
                </a:cubicBezTo>
                <a:cubicBezTo>
                  <a:pt x="1080" y="87"/>
                  <a:pt x="1080" y="87"/>
                  <a:pt x="1080" y="87"/>
                </a:cubicBezTo>
                <a:cubicBezTo>
                  <a:pt x="1082" y="87"/>
                  <a:pt x="1082" y="87"/>
                  <a:pt x="1082" y="87"/>
                </a:cubicBezTo>
                <a:lnTo>
                  <a:pt x="1083" y="85"/>
                </a:lnTo>
                <a:close/>
                <a:moveTo>
                  <a:pt x="1090" y="60"/>
                </a:moveTo>
                <a:cubicBezTo>
                  <a:pt x="1089" y="59"/>
                  <a:pt x="1089" y="59"/>
                  <a:pt x="1089" y="59"/>
                </a:cubicBezTo>
                <a:cubicBezTo>
                  <a:pt x="1089" y="59"/>
                  <a:pt x="1089" y="59"/>
                  <a:pt x="1089" y="59"/>
                </a:cubicBezTo>
                <a:cubicBezTo>
                  <a:pt x="1089" y="60"/>
                  <a:pt x="1089" y="60"/>
                  <a:pt x="1089" y="60"/>
                </a:cubicBezTo>
                <a:lnTo>
                  <a:pt x="1090" y="60"/>
                </a:lnTo>
                <a:close/>
                <a:moveTo>
                  <a:pt x="983" y="510"/>
                </a:moveTo>
                <a:cubicBezTo>
                  <a:pt x="983" y="510"/>
                  <a:pt x="983" y="510"/>
                  <a:pt x="983" y="510"/>
                </a:cubicBezTo>
                <a:cubicBezTo>
                  <a:pt x="984" y="509"/>
                  <a:pt x="984" y="509"/>
                  <a:pt x="984" y="509"/>
                </a:cubicBezTo>
                <a:cubicBezTo>
                  <a:pt x="984" y="508"/>
                  <a:pt x="984" y="508"/>
                  <a:pt x="984" y="508"/>
                </a:cubicBezTo>
                <a:cubicBezTo>
                  <a:pt x="983" y="509"/>
                  <a:pt x="983" y="509"/>
                  <a:pt x="983" y="509"/>
                </a:cubicBezTo>
                <a:lnTo>
                  <a:pt x="983" y="510"/>
                </a:lnTo>
                <a:close/>
                <a:moveTo>
                  <a:pt x="1080" y="93"/>
                </a:moveTo>
                <a:cubicBezTo>
                  <a:pt x="1081" y="92"/>
                  <a:pt x="1081" y="92"/>
                  <a:pt x="1081" y="92"/>
                </a:cubicBezTo>
                <a:cubicBezTo>
                  <a:pt x="1080" y="91"/>
                  <a:pt x="1080" y="91"/>
                  <a:pt x="1080" y="91"/>
                </a:cubicBezTo>
                <a:cubicBezTo>
                  <a:pt x="1079" y="91"/>
                  <a:pt x="1079" y="91"/>
                  <a:pt x="1079" y="91"/>
                </a:cubicBezTo>
                <a:cubicBezTo>
                  <a:pt x="1079" y="93"/>
                  <a:pt x="1079" y="93"/>
                  <a:pt x="1079" y="93"/>
                </a:cubicBezTo>
                <a:lnTo>
                  <a:pt x="1080" y="93"/>
                </a:lnTo>
                <a:close/>
                <a:moveTo>
                  <a:pt x="1082" y="19"/>
                </a:moveTo>
                <a:cubicBezTo>
                  <a:pt x="1082" y="21"/>
                  <a:pt x="1082" y="21"/>
                  <a:pt x="1082" y="21"/>
                </a:cubicBezTo>
                <a:cubicBezTo>
                  <a:pt x="1083" y="21"/>
                  <a:pt x="1083" y="21"/>
                  <a:pt x="1083" y="21"/>
                </a:cubicBezTo>
                <a:cubicBezTo>
                  <a:pt x="1083" y="20"/>
                  <a:pt x="1083" y="20"/>
                  <a:pt x="1083" y="20"/>
                </a:cubicBezTo>
                <a:cubicBezTo>
                  <a:pt x="1083" y="19"/>
                  <a:pt x="1083" y="19"/>
                  <a:pt x="1083" y="19"/>
                </a:cubicBezTo>
                <a:lnTo>
                  <a:pt x="1082" y="19"/>
                </a:lnTo>
                <a:close/>
                <a:moveTo>
                  <a:pt x="1462" y="397"/>
                </a:moveTo>
                <a:cubicBezTo>
                  <a:pt x="1461" y="397"/>
                  <a:pt x="1461" y="397"/>
                  <a:pt x="1461" y="397"/>
                </a:cubicBezTo>
                <a:cubicBezTo>
                  <a:pt x="1461" y="398"/>
                  <a:pt x="1461" y="398"/>
                  <a:pt x="1461" y="398"/>
                </a:cubicBezTo>
                <a:cubicBezTo>
                  <a:pt x="1462" y="399"/>
                  <a:pt x="1462" y="399"/>
                  <a:pt x="1462" y="399"/>
                </a:cubicBezTo>
                <a:lnTo>
                  <a:pt x="1462" y="397"/>
                </a:lnTo>
                <a:close/>
                <a:moveTo>
                  <a:pt x="1464" y="420"/>
                </a:moveTo>
                <a:cubicBezTo>
                  <a:pt x="1463" y="423"/>
                  <a:pt x="1463" y="423"/>
                  <a:pt x="1463" y="423"/>
                </a:cubicBezTo>
                <a:cubicBezTo>
                  <a:pt x="1465" y="422"/>
                  <a:pt x="1465" y="422"/>
                  <a:pt x="1465" y="422"/>
                </a:cubicBezTo>
                <a:cubicBezTo>
                  <a:pt x="1468" y="420"/>
                  <a:pt x="1468" y="420"/>
                  <a:pt x="1468" y="420"/>
                </a:cubicBezTo>
                <a:cubicBezTo>
                  <a:pt x="1467" y="419"/>
                  <a:pt x="1467" y="419"/>
                  <a:pt x="1467" y="419"/>
                </a:cubicBezTo>
                <a:cubicBezTo>
                  <a:pt x="1468" y="417"/>
                  <a:pt x="1468" y="417"/>
                  <a:pt x="1468" y="417"/>
                </a:cubicBezTo>
                <a:lnTo>
                  <a:pt x="1464" y="420"/>
                </a:lnTo>
                <a:close/>
                <a:moveTo>
                  <a:pt x="1459" y="400"/>
                </a:moveTo>
                <a:cubicBezTo>
                  <a:pt x="1459" y="403"/>
                  <a:pt x="1459" y="403"/>
                  <a:pt x="1459" y="403"/>
                </a:cubicBezTo>
                <a:cubicBezTo>
                  <a:pt x="1461" y="404"/>
                  <a:pt x="1461" y="404"/>
                  <a:pt x="1461" y="404"/>
                </a:cubicBezTo>
                <a:cubicBezTo>
                  <a:pt x="1462" y="402"/>
                  <a:pt x="1462" y="402"/>
                  <a:pt x="1462" y="402"/>
                </a:cubicBezTo>
                <a:cubicBezTo>
                  <a:pt x="1460" y="399"/>
                  <a:pt x="1460" y="399"/>
                  <a:pt x="1460" y="399"/>
                </a:cubicBezTo>
                <a:lnTo>
                  <a:pt x="1459" y="400"/>
                </a:lnTo>
                <a:close/>
                <a:moveTo>
                  <a:pt x="1468" y="435"/>
                </a:moveTo>
                <a:cubicBezTo>
                  <a:pt x="1471" y="433"/>
                  <a:pt x="1471" y="433"/>
                  <a:pt x="1471" y="433"/>
                </a:cubicBezTo>
                <a:cubicBezTo>
                  <a:pt x="1469" y="433"/>
                  <a:pt x="1469" y="433"/>
                  <a:pt x="1469" y="433"/>
                </a:cubicBezTo>
                <a:cubicBezTo>
                  <a:pt x="1468" y="431"/>
                  <a:pt x="1468" y="431"/>
                  <a:pt x="1468" y="431"/>
                </a:cubicBezTo>
                <a:cubicBezTo>
                  <a:pt x="1466" y="432"/>
                  <a:pt x="1466" y="432"/>
                  <a:pt x="1466" y="432"/>
                </a:cubicBezTo>
                <a:cubicBezTo>
                  <a:pt x="1466" y="432"/>
                  <a:pt x="1465" y="433"/>
                  <a:pt x="1465" y="433"/>
                </a:cubicBezTo>
                <a:lnTo>
                  <a:pt x="1468" y="435"/>
                </a:lnTo>
                <a:close/>
                <a:moveTo>
                  <a:pt x="1515" y="458"/>
                </a:moveTo>
                <a:cubicBezTo>
                  <a:pt x="1515" y="459"/>
                  <a:pt x="1515" y="459"/>
                  <a:pt x="1515" y="459"/>
                </a:cubicBezTo>
                <a:cubicBezTo>
                  <a:pt x="1516" y="459"/>
                  <a:pt x="1516" y="459"/>
                  <a:pt x="1516" y="459"/>
                </a:cubicBezTo>
                <a:cubicBezTo>
                  <a:pt x="1517" y="459"/>
                  <a:pt x="1517" y="459"/>
                  <a:pt x="1517" y="459"/>
                </a:cubicBezTo>
                <a:cubicBezTo>
                  <a:pt x="1516" y="458"/>
                  <a:pt x="1516" y="458"/>
                  <a:pt x="1516" y="458"/>
                </a:cubicBezTo>
                <a:lnTo>
                  <a:pt x="1515" y="458"/>
                </a:lnTo>
                <a:close/>
                <a:moveTo>
                  <a:pt x="1496" y="469"/>
                </a:moveTo>
                <a:cubicBezTo>
                  <a:pt x="1494" y="470"/>
                  <a:pt x="1494" y="470"/>
                  <a:pt x="1494" y="470"/>
                </a:cubicBezTo>
                <a:cubicBezTo>
                  <a:pt x="1495" y="470"/>
                  <a:pt x="1495" y="470"/>
                  <a:pt x="1495" y="470"/>
                </a:cubicBezTo>
                <a:cubicBezTo>
                  <a:pt x="1496" y="471"/>
                  <a:pt x="1496" y="471"/>
                  <a:pt x="1496" y="471"/>
                </a:cubicBezTo>
                <a:cubicBezTo>
                  <a:pt x="1498" y="471"/>
                  <a:pt x="1498" y="471"/>
                  <a:pt x="1498" y="471"/>
                </a:cubicBezTo>
                <a:cubicBezTo>
                  <a:pt x="1498" y="470"/>
                  <a:pt x="1498" y="470"/>
                  <a:pt x="1498" y="470"/>
                </a:cubicBezTo>
                <a:cubicBezTo>
                  <a:pt x="1498" y="469"/>
                  <a:pt x="1498" y="469"/>
                  <a:pt x="1498" y="469"/>
                </a:cubicBezTo>
                <a:cubicBezTo>
                  <a:pt x="1497" y="469"/>
                  <a:pt x="1497" y="469"/>
                  <a:pt x="1497" y="469"/>
                </a:cubicBezTo>
                <a:lnTo>
                  <a:pt x="1496" y="469"/>
                </a:lnTo>
                <a:close/>
                <a:moveTo>
                  <a:pt x="1453" y="399"/>
                </a:moveTo>
                <a:cubicBezTo>
                  <a:pt x="1452" y="396"/>
                  <a:pt x="1452" y="396"/>
                  <a:pt x="1452" y="396"/>
                </a:cubicBezTo>
                <a:cubicBezTo>
                  <a:pt x="1450" y="397"/>
                  <a:pt x="1450" y="397"/>
                  <a:pt x="1450" y="397"/>
                </a:cubicBezTo>
                <a:cubicBezTo>
                  <a:pt x="1450" y="400"/>
                  <a:pt x="1450" y="400"/>
                  <a:pt x="1450" y="400"/>
                </a:cubicBezTo>
                <a:cubicBezTo>
                  <a:pt x="1451" y="398"/>
                  <a:pt x="1451" y="398"/>
                  <a:pt x="1451" y="398"/>
                </a:cubicBezTo>
                <a:cubicBezTo>
                  <a:pt x="1451" y="400"/>
                  <a:pt x="1451" y="400"/>
                  <a:pt x="1451" y="400"/>
                </a:cubicBezTo>
                <a:lnTo>
                  <a:pt x="1453" y="399"/>
                </a:lnTo>
                <a:close/>
                <a:moveTo>
                  <a:pt x="1452" y="394"/>
                </a:moveTo>
                <a:cubicBezTo>
                  <a:pt x="1452" y="393"/>
                  <a:pt x="1452" y="393"/>
                  <a:pt x="1452" y="393"/>
                </a:cubicBezTo>
                <a:cubicBezTo>
                  <a:pt x="1452" y="395"/>
                  <a:pt x="1452" y="395"/>
                  <a:pt x="1452" y="395"/>
                </a:cubicBezTo>
                <a:lnTo>
                  <a:pt x="1452" y="394"/>
                </a:lnTo>
                <a:close/>
                <a:moveTo>
                  <a:pt x="1451" y="380"/>
                </a:moveTo>
                <a:cubicBezTo>
                  <a:pt x="1451" y="382"/>
                  <a:pt x="1451" y="382"/>
                  <a:pt x="1451" y="382"/>
                </a:cubicBezTo>
                <a:cubicBezTo>
                  <a:pt x="1452" y="381"/>
                  <a:pt x="1452" y="381"/>
                  <a:pt x="1452" y="381"/>
                </a:cubicBezTo>
                <a:cubicBezTo>
                  <a:pt x="1452" y="380"/>
                  <a:pt x="1452" y="380"/>
                  <a:pt x="1452" y="380"/>
                </a:cubicBezTo>
                <a:lnTo>
                  <a:pt x="1451" y="380"/>
                </a:lnTo>
                <a:close/>
                <a:moveTo>
                  <a:pt x="1448" y="387"/>
                </a:moveTo>
                <a:cubicBezTo>
                  <a:pt x="1450" y="386"/>
                  <a:pt x="1450" y="386"/>
                  <a:pt x="1450" y="386"/>
                </a:cubicBezTo>
                <a:cubicBezTo>
                  <a:pt x="1450" y="384"/>
                  <a:pt x="1450" y="384"/>
                  <a:pt x="1450" y="384"/>
                </a:cubicBezTo>
                <a:lnTo>
                  <a:pt x="1448" y="387"/>
                </a:lnTo>
                <a:close/>
                <a:moveTo>
                  <a:pt x="1476" y="355"/>
                </a:moveTo>
                <a:cubicBezTo>
                  <a:pt x="1476" y="354"/>
                  <a:pt x="1476" y="354"/>
                  <a:pt x="1476" y="354"/>
                </a:cubicBezTo>
                <a:cubicBezTo>
                  <a:pt x="1475" y="354"/>
                  <a:pt x="1475" y="354"/>
                  <a:pt x="1475" y="354"/>
                </a:cubicBezTo>
                <a:cubicBezTo>
                  <a:pt x="1476" y="356"/>
                  <a:pt x="1476" y="356"/>
                  <a:pt x="1476" y="356"/>
                </a:cubicBezTo>
                <a:lnTo>
                  <a:pt x="1476" y="355"/>
                </a:lnTo>
                <a:close/>
                <a:moveTo>
                  <a:pt x="1455" y="391"/>
                </a:moveTo>
                <a:cubicBezTo>
                  <a:pt x="1457" y="389"/>
                  <a:pt x="1457" y="389"/>
                  <a:pt x="1457" y="389"/>
                </a:cubicBezTo>
                <a:cubicBezTo>
                  <a:pt x="1456" y="388"/>
                  <a:pt x="1456" y="388"/>
                  <a:pt x="1456" y="388"/>
                </a:cubicBezTo>
                <a:cubicBezTo>
                  <a:pt x="1455" y="387"/>
                  <a:pt x="1455" y="387"/>
                  <a:pt x="1455" y="387"/>
                </a:cubicBezTo>
                <a:cubicBezTo>
                  <a:pt x="1453" y="386"/>
                  <a:pt x="1453" y="386"/>
                  <a:pt x="1453" y="386"/>
                </a:cubicBezTo>
                <a:cubicBezTo>
                  <a:pt x="1451" y="387"/>
                  <a:pt x="1451" y="387"/>
                  <a:pt x="1451" y="387"/>
                </a:cubicBezTo>
                <a:cubicBezTo>
                  <a:pt x="1454" y="388"/>
                  <a:pt x="1454" y="388"/>
                  <a:pt x="1454" y="388"/>
                </a:cubicBezTo>
                <a:cubicBezTo>
                  <a:pt x="1452" y="389"/>
                  <a:pt x="1452" y="389"/>
                  <a:pt x="1452" y="389"/>
                </a:cubicBezTo>
                <a:cubicBezTo>
                  <a:pt x="1453" y="390"/>
                  <a:pt x="1453" y="390"/>
                  <a:pt x="1453" y="390"/>
                </a:cubicBezTo>
                <a:cubicBezTo>
                  <a:pt x="1451" y="391"/>
                  <a:pt x="1451" y="391"/>
                  <a:pt x="1451" y="391"/>
                </a:cubicBezTo>
                <a:cubicBezTo>
                  <a:pt x="1455" y="390"/>
                  <a:pt x="1455" y="390"/>
                  <a:pt x="1455" y="390"/>
                </a:cubicBezTo>
                <a:lnTo>
                  <a:pt x="1455" y="391"/>
                </a:lnTo>
                <a:close/>
                <a:moveTo>
                  <a:pt x="1442" y="379"/>
                </a:moveTo>
                <a:cubicBezTo>
                  <a:pt x="1442" y="380"/>
                  <a:pt x="1442" y="380"/>
                  <a:pt x="1442" y="380"/>
                </a:cubicBezTo>
                <a:cubicBezTo>
                  <a:pt x="1442" y="382"/>
                  <a:pt x="1442" y="382"/>
                  <a:pt x="1442" y="382"/>
                </a:cubicBezTo>
                <a:cubicBezTo>
                  <a:pt x="1443" y="381"/>
                  <a:pt x="1443" y="381"/>
                  <a:pt x="1443" y="381"/>
                </a:cubicBezTo>
                <a:lnTo>
                  <a:pt x="1442" y="379"/>
                </a:lnTo>
                <a:close/>
                <a:moveTo>
                  <a:pt x="1478" y="350"/>
                </a:moveTo>
                <a:cubicBezTo>
                  <a:pt x="1477" y="350"/>
                  <a:pt x="1477" y="350"/>
                  <a:pt x="1477" y="350"/>
                </a:cubicBezTo>
                <a:cubicBezTo>
                  <a:pt x="1478" y="351"/>
                  <a:pt x="1478" y="351"/>
                  <a:pt x="1478" y="351"/>
                </a:cubicBezTo>
                <a:lnTo>
                  <a:pt x="1478" y="350"/>
                </a:lnTo>
                <a:close/>
                <a:moveTo>
                  <a:pt x="1443" y="373"/>
                </a:moveTo>
                <a:cubicBezTo>
                  <a:pt x="1443" y="374"/>
                  <a:pt x="1443" y="374"/>
                  <a:pt x="1443" y="374"/>
                </a:cubicBezTo>
                <a:cubicBezTo>
                  <a:pt x="1444" y="375"/>
                  <a:pt x="1444" y="375"/>
                  <a:pt x="1444" y="375"/>
                </a:cubicBezTo>
                <a:cubicBezTo>
                  <a:pt x="1445" y="373"/>
                  <a:pt x="1445" y="373"/>
                  <a:pt x="1445" y="373"/>
                </a:cubicBezTo>
                <a:lnTo>
                  <a:pt x="1443" y="373"/>
                </a:lnTo>
                <a:close/>
                <a:moveTo>
                  <a:pt x="1418" y="447"/>
                </a:moveTo>
                <a:cubicBezTo>
                  <a:pt x="1416" y="449"/>
                  <a:pt x="1416" y="449"/>
                  <a:pt x="1416" y="449"/>
                </a:cubicBezTo>
                <a:cubicBezTo>
                  <a:pt x="1414" y="449"/>
                  <a:pt x="1414" y="449"/>
                  <a:pt x="1414" y="449"/>
                </a:cubicBezTo>
                <a:cubicBezTo>
                  <a:pt x="1413" y="452"/>
                  <a:pt x="1413" y="452"/>
                  <a:pt x="1413" y="452"/>
                </a:cubicBezTo>
                <a:cubicBezTo>
                  <a:pt x="1414" y="452"/>
                  <a:pt x="1414" y="452"/>
                  <a:pt x="1414" y="452"/>
                </a:cubicBezTo>
                <a:cubicBezTo>
                  <a:pt x="1415" y="453"/>
                  <a:pt x="1415" y="453"/>
                  <a:pt x="1415" y="453"/>
                </a:cubicBezTo>
                <a:cubicBezTo>
                  <a:pt x="1420" y="451"/>
                  <a:pt x="1420" y="451"/>
                  <a:pt x="1420" y="451"/>
                </a:cubicBezTo>
                <a:cubicBezTo>
                  <a:pt x="1416" y="454"/>
                  <a:pt x="1416" y="454"/>
                  <a:pt x="1416" y="454"/>
                </a:cubicBezTo>
                <a:cubicBezTo>
                  <a:pt x="1415" y="455"/>
                  <a:pt x="1415" y="455"/>
                  <a:pt x="1415" y="455"/>
                </a:cubicBezTo>
                <a:cubicBezTo>
                  <a:pt x="1417" y="455"/>
                  <a:pt x="1417" y="455"/>
                  <a:pt x="1417" y="455"/>
                </a:cubicBezTo>
                <a:cubicBezTo>
                  <a:pt x="1420" y="453"/>
                  <a:pt x="1420" y="453"/>
                  <a:pt x="1420" y="453"/>
                </a:cubicBezTo>
                <a:cubicBezTo>
                  <a:pt x="1420" y="454"/>
                  <a:pt x="1420" y="454"/>
                  <a:pt x="1420" y="454"/>
                </a:cubicBezTo>
                <a:cubicBezTo>
                  <a:pt x="1417" y="456"/>
                  <a:pt x="1417" y="456"/>
                  <a:pt x="1417" y="456"/>
                </a:cubicBezTo>
                <a:cubicBezTo>
                  <a:pt x="1419" y="456"/>
                  <a:pt x="1419" y="456"/>
                  <a:pt x="1419" y="456"/>
                </a:cubicBezTo>
                <a:cubicBezTo>
                  <a:pt x="1418" y="457"/>
                  <a:pt x="1418" y="457"/>
                  <a:pt x="1418" y="457"/>
                </a:cubicBezTo>
                <a:cubicBezTo>
                  <a:pt x="1421" y="456"/>
                  <a:pt x="1421" y="456"/>
                  <a:pt x="1421" y="456"/>
                </a:cubicBezTo>
                <a:cubicBezTo>
                  <a:pt x="1422" y="457"/>
                  <a:pt x="1422" y="457"/>
                  <a:pt x="1422" y="457"/>
                </a:cubicBezTo>
                <a:cubicBezTo>
                  <a:pt x="1426" y="456"/>
                  <a:pt x="1426" y="456"/>
                  <a:pt x="1426" y="456"/>
                </a:cubicBezTo>
                <a:cubicBezTo>
                  <a:pt x="1429" y="455"/>
                  <a:pt x="1429" y="455"/>
                  <a:pt x="1429" y="455"/>
                </a:cubicBezTo>
                <a:cubicBezTo>
                  <a:pt x="1431" y="454"/>
                  <a:pt x="1431" y="454"/>
                  <a:pt x="1431" y="454"/>
                </a:cubicBezTo>
                <a:cubicBezTo>
                  <a:pt x="1430" y="452"/>
                  <a:pt x="1430" y="452"/>
                  <a:pt x="1430" y="452"/>
                </a:cubicBezTo>
                <a:cubicBezTo>
                  <a:pt x="1432" y="452"/>
                  <a:pt x="1432" y="452"/>
                  <a:pt x="1432" y="452"/>
                </a:cubicBezTo>
                <a:cubicBezTo>
                  <a:pt x="1432" y="453"/>
                  <a:pt x="1432" y="453"/>
                  <a:pt x="1432" y="453"/>
                </a:cubicBezTo>
                <a:cubicBezTo>
                  <a:pt x="1434" y="453"/>
                  <a:pt x="1434" y="453"/>
                  <a:pt x="1434" y="453"/>
                </a:cubicBezTo>
                <a:cubicBezTo>
                  <a:pt x="1436" y="451"/>
                  <a:pt x="1436" y="451"/>
                  <a:pt x="1436" y="451"/>
                </a:cubicBezTo>
                <a:cubicBezTo>
                  <a:pt x="1437" y="451"/>
                  <a:pt x="1437" y="451"/>
                  <a:pt x="1437" y="451"/>
                </a:cubicBezTo>
                <a:cubicBezTo>
                  <a:pt x="1438" y="449"/>
                  <a:pt x="1438" y="449"/>
                  <a:pt x="1438" y="449"/>
                </a:cubicBezTo>
                <a:cubicBezTo>
                  <a:pt x="1443" y="449"/>
                  <a:pt x="1443" y="449"/>
                  <a:pt x="1443" y="449"/>
                </a:cubicBezTo>
                <a:cubicBezTo>
                  <a:pt x="1444" y="447"/>
                  <a:pt x="1444" y="447"/>
                  <a:pt x="1444" y="447"/>
                </a:cubicBezTo>
                <a:cubicBezTo>
                  <a:pt x="1445" y="449"/>
                  <a:pt x="1445" y="449"/>
                  <a:pt x="1445" y="449"/>
                </a:cubicBezTo>
                <a:cubicBezTo>
                  <a:pt x="1446" y="448"/>
                  <a:pt x="1446" y="448"/>
                  <a:pt x="1446" y="448"/>
                </a:cubicBezTo>
                <a:cubicBezTo>
                  <a:pt x="1447" y="448"/>
                  <a:pt x="1447" y="448"/>
                  <a:pt x="1447" y="448"/>
                </a:cubicBezTo>
                <a:cubicBezTo>
                  <a:pt x="1450" y="448"/>
                  <a:pt x="1450" y="448"/>
                  <a:pt x="1450" y="448"/>
                </a:cubicBezTo>
                <a:cubicBezTo>
                  <a:pt x="1448" y="446"/>
                  <a:pt x="1448" y="446"/>
                  <a:pt x="1448" y="446"/>
                </a:cubicBezTo>
                <a:cubicBezTo>
                  <a:pt x="1449" y="445"/>
                  <a:pt x="1449" y="445"/>
                  <a:pt x="1449" y="445"/>
                </a:cubicBezTo>
                <a:cubicBezTo>
                  <a:pt x="1451" y="443"/>
                  <a:pt x="1451" y="443"/>
                  <a:pt x="1451" y="443"/>
                </a:cubicBezTo>
                <a:cubicBezTo>
                  <a:pt x="1451" y="441"/>
                  <a:pt x="1451" y="441"/>
                  <a:pt x="1451" y="441"/>
                </a:cubicBezTo>
                <a:cubicBezTo>
                  <a:pt x="1452" y="440"/>
                  <a:pt x="1452" y="440"/>
                  <a:pt x="1452" y="440"/>
                </a:cubicBezTo>
                <a:cubicBezTo>
                  <a:pt x="1453" y="438"/>
                  <a:pt x="1453" y="438"/>
                  <a:pt x="1453" y="438"/>
                </a:cubicBezTo>
                <a:cubicBezTo>
                  <a:pt x="1452" y="433"/>
                  <a:pt x="1452" y="433"/>
                  <a:pt x="1452" y="433"/>
                </a:cubicBezTo>
                <a:cubicBezTo>
                  <a:pt x="1451" y="432"/>
                  <a:pt x="1451" y="432"/>
                  <a:pt x="1451" y="432"/>
                </a:cubicBezTo>
                <a:cubicBezTo>
                  <a:pt x="1452" y="431"/>
                  <a:pt x="1452" y="431"/>
                  <a:pt x="1452" y="431"/>
                </a:cubicBezTo>
                <a:cubicBezTo>
                  <a:pt x="1452" y="429"/>
                  <a:pt x="1452" y="429"/>
                  <a:pt x="1452" y="429"/>
                </a:cubicBezTo>
                <a:cubicBezTo>
                  <a:pt x="1451" y="427"/>
                  <a:pt x="1451" y="427"/>
                  <a:pt x="1451" y="427"/>
                </a:cubicBezTo>
                <a:cubicBezTo>
                  <a:pt x="1451" y="425"/>
                  <a:pt x="1451" y="425"/>
                  <a:pt x="1451" y="425"/>
                </a:cubicBezTo>
                <a:cubicBezTo>
                  <a:pt x="1450" y="424"/>
                  <a:pt x="1450" y="424"/>
                  <a:pt x="1450" y="424"/>
                </a:cubicBezTo>
                <a:cubicBezTo>
                  <a:pt x="1450" y="423"/>
                  <a:pt x="1450" y="423"/>
                  <a:pt x="1450" y="423"/>
                </a:cubicBezTo>
                <a:cubicBezTo>
                  <a:pt x="1452" y="423"/>
                  <a:pt x="1452" y="423"/>
                  <a:pt x="1452" y="423"/>
                </a:cubicBezTo>
                <a:cubicBezTo>
                  <a:pt x="1452" y="423"/>
                  <a:pt x="1452" y="423"/>
                  <a:pt x="1452" y="423"/>
                </a:cubicBezTo>
                <a:cubicBezTo>
                  <a:pt x="1452" y="422"/>
                  <a:pt x="1452" y="422"/>
                  <a:pt x="1452" y="422"/>
                </a:cubicBezTo>
                <a:cubicBezTo>
                  <a:pt x="1453" y="422"/>
                  <a:pt x="1453" y="422"/>
                  <a:pt x="1453" y="422"/>
                </a:cubicBezTo>
                <a:cubicBezTo>
                  <a:pt x="1454" y="421"/>
                  <a:pt x="1454" y="421"/>
                  <a:pt x="1454" y="421"/>
                </a:cubicBezTo>
                <a:cubicBezTo>
                  <a:pt x="1455" y="419"/>
                  <a:pt x="1455" y="419"/>
                  <a:pt x="1455" y="419"/>
                </a:cubicBezTo>
                <a:cubicBezTo>
                  <a:pt x="1457" y="420"/>
                  <a:pt x="1457" y="420"/>
                  <a:pt x="1457" y="420"/>
                </a:cubicBezTo>
                <a:cubicBezTo>
                  <a:pt x="1457" y="418"/>
                  <a:pt x="1457" y="418"/>
                  <a:pt x="1457" y="418"/>
                </a:cubicBezTo>
                <a:cubicBezTo>
                  <a:pt x="1456" y="418"/>
                  <a:pt x="1456" y="418"/>
                  <a:pt x="1456" y="418"/>
                </a:cubicBezTo>
                <a:cubicBezTo>
                  <a:pt x="1456" y="416"/>
                  <a:pt x="1456" y="416"/>
                  <a:pt x="1456" y="416"/>
                </a:cubicBezTo>
                <a:cubicBezTo>
                  <a:pt x="1456" y="415"/>
                  <a:pt x="1456" y="415"/>
                  <a:pt x="1456" y="415"/>
                </a:cubicBezTo>
                <a:cubicBezTo>
                  <a:pt x="1457" y="415"/>
                  <a:pt x="1457" y="415"/>
                  <a:pt x="1457" y="415"/>
                </a:cubicBezTo>
                <a:cubicBezTo>
                  <a:pt x="1458" y="418"/>
                  <a:pt x="1458" y="418"/>
                  <a:pt x="1458" y="418"/>
                </a:cubicBezTo>
                <a:cubicBezTo>
                  <a:pt x="1457" y="414"/>
                  <a:pt x="1457" y="414"/>
                  <a:pt x="1457" y="414"/>
                </a:cubicBezTo>
                <a:cubicBezTo>
                  <a:pt x="1455" y="414"/>
                  <a:pt x="1455" y="414"/>
                  <a:pt x="1455" y="414"/>
                </a:cubicBezTo>
                <a:cubicBezTo>
                  <a:pt x="1456" y="413"/>
                  <a:pt x="1456" y="413"/>
                  <a:pt x="1456" y="413"/>
                </a:cubicBezTo>
                <a:cubicBezTo>
                  <a:pt x="1453" y="408"/>
                  <a:pt x="1453" y="408"/>
                  <a:pt x="1453" y="408"/>
                </a:cubicBezTo>
                <a:cubicBezTo>
                  <a:pt x="1453" y="407"/>
                  <a:pt x="1453" y="407"/>
                  <a:pt x="1453" y="407"/>
                </a:cubicBezTo>
                <a:cubicBezTo>
                  <a:pt x="1452" y="406"/>
                  <a:pt x="1452" y="406"/>
                  <a:pt x="1452" y="406"/>
                </a:cubicBezTo>
                <a:cubicBezTo>
                  <a:pt x="1448" y="405"/>
                  <a:pt x="1448" y="405"/>
                  <a:pt x="1448" y="405"/>
                </a:cubicBezTo>
                <a:cubicBezTo>
                  <a:pt x="1447" y="407"/>
                  <a:pt x="1447" y="407"/>
                  <a:pt x="1447" y="407"/>
                </a:cubicBezTo>
                <a:cubicBezTo>
                  <a:pt x="1445" y="407"/>
                  <a:pt x="1445" y="407"/>
                  <a:pt x="1445" y="407"/>
                </a:cubicBezTo>
                <a:cubicBezTo>
                  <a:pt x="1445" y="408"/>
                  <a:pt x="1445" y="408"/>
                  <a:pt x="1445" y="408"/>
                </a:cubicBezTo>
                <a:cubicBezTo>
                  <a:pt x="1443" y="408"/>
                  <a:pt x="1443" y="408"/>
                  <a:pt x="1443" y="408"/>
                </a:cubicBezTo>
                <a:cubicBezTo>
                  <a:pt x="1442" y="408"/>
                  <a:pt x="1442" y="408"/>
                  <a:pt x="1442" y="408"/>
                </a:cubicBezTo>
                <a:cubicBezTo>
                  <a:pt x="1444" y="406"/>
                  <a:pt x="1444" y="406"/>
                  <a:pt x="1444" y="406"/>
                </a:cubicBezTo>
                <a:cubicBezTo>
                  <a:pt x="1446" y="405"/>
                  <a:pt x="1446" y="405"/>
                  <a:pt x="1446" y="405"/>
                </a:cubicBezTo>
                <a:cubicBezTo>
                  <a:pt x="1444" y="404"/>
                  <a:pt x="1444" y="404"/>
                  <a:pt x="1444" y="404"/>
                </a:cubicBezTo>
                <a:cubicBezTo>
                  <a:pt x="1442" y="403"/>
                  <a:pt x="1442" y="403"/>
                  <a:pt x="1442" y="403"/>
                </a:cubicBezTo>
                <a:cubicBezTo>
                  <a:pt x="1443" y="404"/>
                  <a:pt x="1443" y="404"/>
                  <a:pt x="1443" y="404"/>
                </a:cubicBezTo>
                <a:cubicBezTo>
                  <a:pt x="1441" y="404"/>
                  <a:pt x="1441" y="404"/>
                  <a:pt x="1441" y="404"/>
                </a:cubicBezTo>
                <a:cubicBezTo>
                  <a:pt x="1441" y="407"/>
                  <a:pt x="1441" y="407"/>
                  <a:pt x="1441" y="407"/>
                </a:cubicBezTo>
                <a:cubicBezTo>
                  <a:pt x="1440" y="409"/>
                  <a:pt x="1440" y="409"/>
                  <a:pt x="1440" y="409"/>
                </a:cubicBezTo>
                <a:cubicBezTo>
                  <a:pt x="1440" y="407"/>
                  <a:pt x="1440" y="407"/>
                  <a:pt x="1440" y="407"/>
                </a:cubicBezTo>
                <a:cubicBezTo>
                  <a:pt x="1441" y="406"/>
                  <a:pt x="1441" y="406"/>
                  <a:pt x="1441" y="406"/>
                </a:cubicBezTo>
                <a:cubicBezTo>
                  <a:pt x="1440" y="405"/>
                  <a:pt x="1440" y="405"/>
                  <a:pt x="1440" y="405"/>
                </a:cubicBezTo>
                <a:cubicBezTo>
                  <a:pt x="1438" y="405"/>
                  <a:pt x="1438" y="405"/>
                  <a:pt x="1438" y="405"/>
                </a:cubicBezTo>
                <a:cubicBezTo>
                  <a:pt x="1439" y="406"/>
                  <a:pt x="1439" y="406"/>
                  <a:pt x="1439" y="406"/>
                </a:cubicBezTo>
                <a:cubicBezTo>
                  <a:pt x="1438" y="406"/>
                  <a:pt x="1438" y="406"/>
                  <a:pt x="1438" y="406"/>
                </a:cubicBezTo>
                <a:cubicBezTo>
                  <a:pt x="1437" y="405"/>
                  <a:pt x="1437" y="405"/>
                  <a:pt x="1437" y="405"/>
                </a:cubicBezTo>
                <a:cubicBezTo>
                  <a:pt x="1434" y="406"/>
                  <a:pt x="1434" y="406"/>
                  <a:pt x="1434" y="406"/>
                </a:cubicBezTo>
                <a:cubicBezTo>
                  <a:pt x="1434" y="407"/>
                  <a:pt x="1434" y="407"/>
                  <a:pt x="1434" y="407"/>
                </a:cubicBezTo>
                <a:cubicBezTo>
                  <a:pt x="1433" y="407"/>
                  <a:pt x="1433" y="407"/>
                  <a:pt x="1433" y="407"/>
                </a:cubicBezTo>
                <a:cubicBezTo>
                  <a:pt x="1432" y="409"/>
                  <a:pt x="1432" y="409"/>
                  <a:pt x="1432" y="409"/>
                </a:cubicBezTo>
                <a:cubicBezTo>
                  <a:pt x="1434" y="410"/>
                  <a:pt x="1434" y="410"/>
                  <a:pt x="1434" y="410"/>
                </a:cubicBezTo>
                <a:cubicBezTo>
                  <a:pt x="1433" y="410"/>
                  <a:pt x="1433" y="410"/>
                  <a:pt x="1433" y="410"/>
                </a:cubicBezTo>
                <a:cubicBezTo>
                  <a:pt x="1432" y="410"/>
                  <a:pt x="1432" y="410"/>
                  <a:pt x="1432" y="410"/>
                </a:cubicBezTo>
                <a:cubicBezTo>
                  <a:pt x="1432" y="411"/>
                  <a:pt x="1432" y="411"/>
                  <a:pt x="1432" y="411"/>
                </a:cubicBezTo>
                <a:cubicBezTo>
                  <a:pt x="1430" y="412"/>
                  <a:pt x="1430" y="412"/>
                  <a:pt x="1430" y="412"/>
                </a:cubicBezTo>
                <a:cubicBezTo>
                  <a:pt x="1431" y="413"/>
                  <a:pt x="1431" y="413"/>
                  <a:pt x="1431" y="413"/>
                </a:cubicBezTo>
                <a:cubicBezTo>
                  <a:pt x="1433" y="413"/>
                  <a:pt x="1433" y="413"/>
                  <a:pt x="1433" y="413"/>
                </a:cubicBezTo>
                <a:cubicBezTo>
                  <a:pt x="1432" y="414"/>
                  <a:pt x="1432" y="414"/>
                  <a:pt x="1432" y="414"/>
                </a:cubicBezTo>
                <a:cubicBezTo>
                  <a:pt x="1434" y="413"/>
                  <a:pt x="1434" y="413"/>
                  <a:pt x="1434" y="413"/>
                </a:cubicBezTo>
                <a:cubicBezTo>
                  <a:pt x="1435" y="413"/>
                  <a:pt x="1435" y="413"/>
                  <a:pt x="1435" y="413"/>
                </a:cubicBezTo>
                <a:cubicBezTo>
                  <a:pt x="1433" y="416"/>
                  <a:pt x="1433" y="416"/>
                  <a:pt x="1433" y="416"/>
                </a:cubicBezTo>
                <a:cubicBezTo>
                  <a:pt x="1430" y="417"/>
                  <a:pt x="1430" y="417"/>
                  <a:pt x="1430" y="417"/>
                </a:cubicBezTo>
                <a:cubicBezTo>
                  <a:pt x="1431" y="418"/>
                  <a:pt x="1431" y="418"/>
                  <a:pt x="1431" y="418"/>
                </a:cubicBezTo>
                <a:cubicBezTo>
                  <a:pt x="1428" y="418"/>
                  <a:pt x="1428" y="418"/>
                  <a:pt x="1428" y="418"/>
                </a:cubicBezTo>
                <a:cubicBezTo>
                  <a:pt x="1427" y="418"/>
                  <a:pt x="1427" y="418"/>
                  <a:pt x="1427" y="418"/>
                </a:cubicBezTo>
                <a:cubicBezTo>
                  <a:pt x="1426" y="419"/>
                  <a:pt x="1426" y="419"/>
                  <a:pt x="1426" y="419"/>
                </a:cubicBezTo>
                <a:cubicBezTo>
                  <a:pt x="1425" y="417"/>
                  <a:pt x="1425" y="417"/>
                  <a:pt x="1425" y="417"/>
                </a:cubicBezTo>
                <a:cubicBezTo>
                  <a:pt x="1420" y="417"/>
                  <a:pt x="1420" y="417"/>
                  <a:pt x="1420" y="417"/>
                </a:cubicBezTo>
                <a:cubicBezTo>
                  <a:pt x="1420" y="417"/>
                  <a:pt x="1420" y="417"/>
                  <a:pt x="1420" y="417"/>
                </a:cubicBezTo>
                <a:cubicBezTo>
                  <a:pt x="1418" y="417"/>
                  <a:pt x="1418" y="417"/>
                  <a:pt x="1418" y="417"/>
                </a:cubicBezTo>
                <a:cubicBezTo>
                  <a:pt x="1417" y="419"/>
                  <a:pt x="1417" y="419"/>
                  <a:pt x="1417" y="419"/>
                </a:cubicBezTo>
                <a:cubicBezTo>
                  <a:pt x="1419" y="418"/>
                  <a:pt x="1419" y="418"/>
                  <a:pt x="1419" y="418"/>
                </a:cubicBezTo>
                <a:cubicBezTo>
                  <a:pt x="1419" y="420"/>
                  <a:pt x="1419" y="420"/>
                  <a:pt x="1419" y="420"/>
                </a:cubicBezTo>
                <a:cubicBezTo>
                  <a:pt x="1420" y="420"/>
                  <a:pt x="1420" y="420"/>
                  <a:pt x="1420" y="420"/>
                </a:cubicBezTo>
                <a:cubicBezTo>
                  <a:pt x="1420" y="422"/>
                  <a:pt x="1420" y="422"/>
                  <a:pt x="1420" y="422"/>
                </a:cubicBezTo>
                <a:cubicBezTo>
                  <a:pt x="1419" y="422"/>
                  <a:pt x="1419" y="422"/>
                  <a:pt x="1419" y="422"/>
                </a:cubicBezTo>
                <a:cubicBezTo>
                  <a:pt x="1419" y="421"/>
                  <a:pt x="1419" y="421"/>
                  <a:pt x="1419" y="421"/>
                </a:cubicBezTo>
                <a:cubicBezTo>
                  <a:pt x="1416" y="421"/>
                  <a:pt x="1416" y="421"/>
                  <a:pt x="1416" y="421"/>
                </a:cubicBezTo>
                <a:cubicBezTo>
                  <a:pt x="1419" y="423"/>
                  <a:pt x="1419" y="423"/>
                  <a:pt x="1419" y="423"/>
                </a:cubicBezTo>
                <a:cubicBezTo>
                  <a:pt x="1421" y="423"/>
                  <a:pt x="1421" y="423"/>
                  <a:pt x="1421" y="423"/>
                </a:cubicBezTo>
                <a:cubicBezTo>
                  <a:pt x="1422" y="424"/>
                  <a:pt x="1422" y="424"/>
                  <a:pt x="1422" y="424"/>
                </a:cubicBezTo>
                <a:cubicBezTo>
                  <a:pt x="1419" y="425"/>
                  <a:pt x="1419" y="425"/>
                  <a:pt x="1419" y="425"/>
                </a:cubicBezTo>
                <a:cubicBezTo>
                  <a:pt x="1419" y="426"/>
                  <a:pt x="1419" y="426"/>
                  <a:pt x="1419" y="426"/>
                </a:cubicBezTo>
                <a:cubicBezTo>
                  <a:pt x="1420" y="427"/>
                  <a:pt x="1420" y="427"/>
                  <a:pt x="1420" y="427"/>
                </a:cubicBezTo>
                <a:cubicBezTo>
                  <a:pt x="1417" y="427"/>
                  <a:pt x="1417" y="427"/>
                  <a:pt x="1417" y="427"/>
                </a:cubicBezTo>
                <a:cubicBezTo>
                  <a:pt x="1417" y="429"/>
                  <a:pt x="1417" y="429"/>
                  <a:pt x="1417" y="429"/>
                </a:cubicBezTo>
                <a:cubicBezTo>
                  <a:pt x="1416" y="429"/>
                  <a:pt x="1416" y="429"/>
                  <a:pt x="1416" y="429"/>
                </a:cubicBezTo>
                <a:cubicBezTo>
                  <a:pt x="1418" y="430"/>
                  <a:pt x="1418" y="430"/>
                  <a:pt x="1418" y="430"/>
                </a:cubicBezTo>
                <a:cubicBezTo>
                  <a:pt x="1419" y="429"/>
                  <a:pt x="1419" y="429"/>
                  <a:pt x="1419" y="429"/>
                </a:cubicBezTo>
                <a:cubicBezTo>
                  <a:pt x="1418" y="430"/>
                  <a:pt x="1418" y="430"/>
                  <a:pt x="1418" y="430"/>
                </a:cubicBezTo>
                <a:cubicBezTo>
                  <a:pt x="1421" y="430"/>
                  <a:pt x="1421" y="430"/>
                  <a:pt x="1421" y="430"/>
                </a:cubicBezTo>
                <a:cubicBezTo>
                  <a:pt x="1421" y="432"/>
                  <a:pt x="1421" y="432"/>
                  <a:pt x="1421" y="432"/>
                </a:cubicBezTo>
                <a:cubicBezTo>
                  <a:pt x="1427" y="432"/>
                  <a:pt x="1427" y="432"/>
                  <a:pt x="1427" y="432"/>
                </a:cubicBezTo>
                <a:cubicBezTo>
                  <a:pt x="1425" y="434"/>
                  <a:pt x="1425" y="434"/>
                  <a:pt x="1425" y="434"/>
                </a:cubicBezTo>
                <a:cubicBezTo>
                  <a:pt x="1424" y="433"/>
                  <a:pt x="1424" y="433"/>
                  <a:pt x="1424" y="433"/>
                </a:cubicBezTo>
                <a:cubicBezTo>
                  <a:pt x="1422" y="437"/>
                  <a:pt x="1422" y="437"/>
                  <a:pt x="1422" y="437"/>
                </a:cubicBezTo>
                <a:cubicBezTo>
                  <a:pt x="1423" y="437"/>
                  <a:pt x="1423" y="437"/>
                  <a:pt x="1423" y="437"/>
                </a:cubicBezTo>
                <a:cubicBezTo>
                  <a:pt x="1421" y="439"/>
                  <a:pt x="1421" y="439"/>
                  <a:pt x="1421" y="439"/>
                </a:cubicBezTo>
                <a:cubicBezTo>
                  <a:pt x="1417" y="441"/>
                  <a:pt x="1417" y="441"/>
                  <a:pt x="1417" y="441"/>
                </a:cubicBezTo>
                <a:cubicBezTo>
                  <a:pt x="1419" y="441"/>
                  <a:pt x="1419" y="441"/>
                  <a:pt x="1419" y="441"/>
                </a:cubicBezTo>
                <a:cubicBezTo>
                  <a:pt x="1421" y="440"/>
                  <a:pt x="1421" y="440"/>
                  <a:pt x="1421" y="440"/>
                </a:cubicBezTo>
                <a:cubicBezTo>
                  <a:pt x="1422" y="441"/>
                  <a:pt x="1422" y="441"/>
                  <a:pt x="1422" y="441"/>
                </a:cubicBezTo>
                <a:cubicBezTo>
                  <a:pt x="1424" y="441"/>
                  <a:pt x="1424" y="441"/>
                  <a:pt x="1424" y="441"/>
                </a:cubicBezTo>
                <a:cubicBezTo>
                  <a:pt x="1426" y="439"/>
                  <a:pt x="1426" y="439"/>
                  <a:pt x="1426" y="439"/>
                </a:cubicBezTo>
                <a:cubicBezTo>
                  <a:pt x="1426" y="440"/>
                  <a:pt x="1426" y="440"/>
                  <a:pt x="1426" y="440"/>
                </a:cubicBezTo>
                <a:cubicBezTo>
                  <a:pt x="1428" y="440"/>
                  <a:pt x="1428" y="440"/>
                  <a:pt x="1428" y="440"/>
                </a:cubicBezTo>
                <a:cubicBezTo>
                  <a:pt x="1424" y="441"/>
                  <a:pt x="1424" y="441"/>
                  <a:pt x="1424" y="441"/>
                </a:cubicBezTo>
                <a:cubicBezTo>
                  <a:pt x="1420" y="442"/>
                  <a:pt x="1420" y="442"/>
                  <a:pt x="1420" y="442"/>
                </a:cubicBezTo>
                <a:cubicBezTo>
                  <a:pt x="1420" y="443"/>
                  <a:pt x="1420" y="443"/>
                  <a:pt x="1420" y="443"/>
                </a:cubicBezTo>
                <a:cubicBezTo>
                  <a:pt x="1417" y="444"/>
                  <a:pt x="1417" y="444"/>
                  <a:pt x="1417" y="444"/>
                </a:cubicBezTo>
                <a:cubicBezTo>
                  <a:pt x="1418" y="445"/>
                  <a:pt x="1418" y="445"/>
                  <a:pt x="1418" y="445"/>
                </a:cubicBezTo>
                <a:cubicBezTo>
                  <a:pt x="1418" y="446"/>
                  <a:pt x="1418" y="446"/>
                  <a:pt x="1418" y="446"/>
                </a:cubicBezTo>
                <a:cubicBezTo>
                  <a:pt x="1419" y="446"/>
                  <a:pt x="1419" y="446"/>
                  <a:pt x="1419" y="446"/>
                </a:cubicBezTo>
                <a:cubicBezTo>
                  <a:pt x="1417" y="446"/>
                  <a:pt x="1417" y="446"/>
                  <a:pt x="1417" y="446"/>
                </a:cubicBezTo>
                <a:cubicBezTo>
                  <a:pt x="1416" y="445"/>
                  <a:pt x="1416" y="445"/>
                  <a:pt x="1416" y="445"/>
                </a:cubicBezTo>
                <a:cubicBezTo>
                  <a:pt x="1415" y="446"/>
                  <a:pt x="1415" y="446"/>
                  <a:pt x="1415" y="446"/>
                </a:cubicBezTo>
                <a:cubicBezTo>
                  <a:pt x="1415" y="445"/>
                  <a:pt x="1415" y="445"/>
                  <a:pt x="1415" y="445"/>
                </a:cubicBezTo>
                <a:cubicBezTo>
                  <a:pt x="1412" y="447"/>
                  <a:pt x="1412" y="447"/>
                  <a:pt x="1412" y="447"/>
                </a:cubicBezTo>
                <a:cubicBezTo>
                  <a:pt x="1412" y="447"/>
                  <a:pt x="1412" y="447"/>
                  <a:pt x="1412" y="447"/>
                </a:cubicBezTo>
                <a:lnTo>
                  <a:pt x="1418" y="447"/>
                </a:lnTo>
                <a:close/>
                <a:moveTo>
                  <a:pt x="2522" y="932"/>
                </a:moveTo>
                <a:cubicBezTo>
                  <a:pt x="2523" y="933"/>
                  <a:pt x="2523" y="933"/>
                  <a:pt x="2523" y="933"/>
                </a:cubicBezTo>
                <a:cubicBezTo>
                  <a:pt x="2524" y="932"/>
                  <a:pt x="2524" y="932"/>
                  <a:pt x="2524" y="932"/>
                </a:cubicBezTo>
                <a:lnTo>
                  <a:pt x="2522" y="932"/>
                </a:lnTo>
                <a:close/>
                <a:moveTo>
                  <a:pt x="1445" y="372"/>
                </a:moveTo>
                <a:cubicBezTo>
                  <a:pt x="1445" y="371"/>
                  <a:pt x="1445" y="371"/>
                  <a:pt x="1445" y="371"/>
                </a:cubicBezTo>
                <a:cubicBezTo>
                  <a:pt x="1443" y="371"/>
                  <a:pt x="1443" y="371"/>
                  <a:pt x="1443" y="371"/>
                </a:cubicBezTo>
                <a:cubicBezTo>
                  <a:pt x="1442" y="371"/>
                  <a:pt x="1442" y="371"/>
                  <a:pt x="1442" y="371"/>
                </a:cubicBezTo>
                <a:cubicBezTo>
                  <a:pt x="1443" y="373"/>
                  <a:pt x="1443" y="373"/>
                  <a:pt x="1443" y="373"/>
                </a:cubicBezTo>
                <a:lnTo>
                  <a:pt x="1445" y="372"/>
                </a:lnTo>
                <a:close/>
                <a:moveTo>
                  <a:pt x="2525" y="937"/>
                </a:moveTo>
                <a:cubicBezTo>
                  <a:pt x="2525" y="935"/>
                  <a:pt x="2525" y="935"/>
                  <a:pt x="2525" y="935"/>
                </a:cubicBezTo>
                <a:cubicBezTo>
                  <a:pt x="2524" y="934"/>
                  <a:pt x="2524" y="934"/>
                  <a:pt x="2524" y="934"/>
                </a:cubicBezTo>
                <a:cubicBezTo>
                  <a:pt x="2523" y="935"/>
                  <a:pt x="2523" y="935"/>
                  <a:pt x="2523" y="935"/>
                </a:cubicBezTo>
                <a:cubicBezTo>
                  <a:pt x="2523" y="936"/>
                  <a:pt x="2523" y="936"/>
                  <a:pt x="2523" y="936"/>
                </a:cubicBezTo>
                <a:lnTo>
                  <a:pt x="2525" y="937"/>
                </a:lnTo>
                <a:close/>
                <a:moveTo>
                  <a:pt x="1444" y="375"/>
                </a:moveTo>
                <a:cubicBezTo>
                  <a:pt x="1443" y="375"/>
                  <a:pt x="1443" y="375"/>
                  <a:pt x="1443" y="375"/>
                </a:cubicBezTo>
                <a:cubicBezTo>
                  <a:pt x="1443" y="376"/>
                  <a:pt x="1443" y="376"/>
                  <a:pt x="1443" y="376"/>
                </a:cubicBezTo>
                <a:cubicBezTo>
                  <a:pt x="1443" y="377"/>
                  <a:pt x="1443" y="377"/>
                  <a:pt x="1443" y="377"/>
                </a:cubicBezTo>
                <a:cubicBezTo>
                  <a:pt x="1443" y="379"/>
                  <a:pt x="1443" y="379"/>
                  <a:pt x="1443" y="379"/>
                </a:cubicBezTo>
                <a:cubicBezTo>
                  <a:pt x="1444" y="379"/>
                  <a:pt x="1444" y="379"/>
                  <a:pt x="1444" y="379"/>
                </a:cubicBezTo>
                <a:cubicBezTo>
                  <a:pt x="1444" y="377"/>
                  <a:pt x="1444" y="377"/>
                  <a:pt x="1444" y="377"/>
                </a:cubicBezTo>
                <a:cubicBezTo>
                  <a:pt x="1444" y="376"/>
                  <a:pt x="1444" y="376"/>
                  <a:pt x="1444" y="376"/>
                </a:cubicBezTo>
                <a:lnTo>
                  <a:pt x="1444" y="375"/>
                </a:lnTo>
                <a:close/>
                <a:moveTo>
                  <a:pt x="2544" y="908"/>
                </a:moveTo>
                <a:cubicBezTo>
                  <a:pt x="2545" y="910"/>
                  <a:pt x="2545" y="910"/>
                  <a:pt x="2545" y="910"/>
                </a:cubicBezTo>
                <a:cubicBezTo>
                  <a:pt x="2546" y="909"/>
                  <a:pt x="2546" y="909"/>
                  <a:pt x="2546" y="909"/>
                </a:cubicBezTo>
                <a:cubicBezTo>
                  <a:pt x="2544" y="907"/>
                  <a:pt x="2544" y="907"/>
                  <a:pt x="2544" y="907"/>
                </a:cubicBezTo>
                <a:lnTo>
                  <a:pt x="2544" y="908"/>
                </a:lnTo>
                <a:close/>
                <a:moveTo>
                  <a:pt x="1476" y="352"/>
                </a:moveTo>
                <a:cubicBezTo>
                  <a:pt x="1476" y="353"/>
                  <a:pt x="1476" y="353"/>
                  <a:pt x="1476" y="353"/>
                </a:cubicBezTo>
                <a:cubicBezTo>
                  <a:pt x="1478" y="353"/>
                  <a:pt x="1478" y="353"/>
                  <a:pt x="1478" y="353"/>
                </a:cubicBezTo>
                <a:cubicBezTo>
                  <a:pt x="1479" y="354"/>
                  <a:pt x="1479" y="354"/>
                  <a:pt x="1479" y="354"/>
                </a:cubicBezTo>
                <a:cubicBezTo>
                  <a:pt x="1479" y="352"/>
                  <a:pt x="1479" y="352"/>
                  <a:pt x="1479" y="352"/>
                </a:cubicBezTo>
                <a:cubicBezTo>
                  <a:pt x="1477" y="353"/>
                  <a:pt x="1477" y="353"/>
                  <a:pt x="1477" y="353"/>
                </a:cubicBezTo>
                <a:cubicBezTo>
                  <a:pt x="1478" y="352"/>
                  <a:pt x="1478" y="352"/>
                  <a:pt x="1478" y="352"/>
                </a:cubicBezTo>
                <a:cubicBezTo>
                  <a:pt x="1476" y="351"/>
                  <a:pt x="1476" y="351"/>
                  <a:pt x="1476" y="351"/>
                </a:cubicBezTo>
                <a:cubicBezTo>
                  <a:pt x="1475" y="351"/>
                  <a:pt x="1475" y="351"/>
                  <a:pt x="1475" y="351"/>
                </a:cubicBezTo>
                <a:cubicBezTo>
                  <a:pt x="1475" y="353"/>
                  <a:pt x="1475" y="353"/>
                  <a:pt x="1475" y="353"/>
                </a:cubicBezTo>
                <a:cubicBezTo>
                  <a:pt x="1476" y="353"/>
                  <a:pt x="1476" y="353"/>
                  <a:pt x="1476" y="353"/>
                </a:cubicBezTo>
                <a:lnTo>
                  <a:pt x="1476" y="352"/>
                </a:lnTo>
                <a:close/>
                <a:moveTo>
                  <a:pt x="1456" y="373"/>
                </a:moveTo>
                <a:cubicBezTo>
                  <a:pt x="1456" y="375"/>
                  <a:pt x="1456" y="375"/>
                  <a:pt x="1456" y="375"/>
                </a:cubicBezTo>
                <a:cubicBezTo>
                  <a:pt x="1456" y="376"/>
                  <a:pt x="1456" y="376"/>
                  <a:pt x="1456" y="376"/>
                </a:cubicBezTo>
                <a:cubicBezTo>
                  <a:pt x="1458" y="375"/>
                  <a:pt x="1458" y="375"/>
                  <a:pt x="1458" y="375"/>
                </a:cubicBezTo>
                <a:cubicBezTo>
                  <a:pt x="1457" y="376"/>
                  <a:pt x="1457" y="376"/>
                  <a:pt x="1457" y="376"/>
                </a:cubicBezTo>
                <a:cubicBezTo>
                  <a:pt x="1457" y="377"/>
                  <a:pt x="1457" y="377"/>
                  <a:pt x="1457" y="377"/>
                </a:cubicBezTo>
                <a:cubicBezTo>
                  <a:pt x="1457" y="377"/>
                  <a:pt x="1457" y="377"/>
                  <a:pt x="1457" y="377"/>
                </a:cubicBezTo>
                <a:cubicBezTo>
                  <a:pt x="1459" y="376"/>
                  <a:pt x="1459" y="376"/>
                  <a:pt x="1459" y="376"/>
                </a:cubicBezTo>
                <a:cubicBezTo>
                  <a:pt x="1458" y="377"/>
                  <a:pt x="1458" y="377"/>
                  <a:pt x="1458" y="377"/>
                </a:cubicBezTo>
                <a:cubicBezTo>
                  <a:pt x="1459" y="378"/>
                  <a:pt x="1459" y="378"/>
                  <a:pt x="1459" y="378"/>
                </a:cubicBezTo>
                <a:cubicBezTo>
                  <a:pt x="1458" y="377"/>
                  <a:pt x="1458" y="377"/>
                  <a:pt x="1458" y="377"/>
                </a:cubicBezTo>
                <a:cubicBezTo>
                  <a:pt x="1457" y="377"/>
                  <a:pt x="1457" y="377"/>
                  <a:pt x="1457" y="377"/>
                </a:cubicBezTo>
                <a:cubicBezTo>
                  <a:pt x="1457" y="378"/>
                  <a:pt x="1457" y="378"/>
                  <a:pt x="1457" y="378"/>
                </a:cubicBezTo>
                <a:cubicBezTo>
                  <a:pt x="1458" y="379"/>
                  <a:pt x="1458" y="379"/>
                  <a:pt x="1458" y="379"/>
                </a:cubicBezTo>
                <a:cubicBezTo>
                  <a:pt x="1457" y="379"/>
                  <a:pt x="1457" y="379"/>
                  <a:pt x="1457" y="379"/>
                </a:cubicBezTo>
                <a:cubicBezTo>
                  <a:pt x="1456" y="380"/>
                  <a:pt x="1456" y="380"/>
                  <a:pt x="1456" y="380"/>
                </a:cubicBezTo>
                <a:cubicBezTo>
                  <a:pt x="1457" y="380"/>
                  <a:pt x="1457" y="380"/>
                  <a:pt x="1457" y="380"/>
                </a:cubicBezTo>
                <a:cubicBezTo>
                  <a:pt x="1457" y="381"/>
                  <a:pt x="1457" y="381"/>
                  <a:pt x="1457" y="381"/>
                </a:cubicBezTo>
                <a:cubicBezTo>
                  <a:pt x="1456" y="381"/>
                  <a:pt x="1456" y="381"/>
                  <a:pt x="1456" y="381"/>
                </a:cubicBezTo>
                <a:cubicBezTo>
                  <a:pt x="1455" y="382"/>
                  <a:pt x="1455" y="382"/>
                  <a:pt x="1455" y="382"/>
                </a:cubicBezTo>
                <a:cubicBezTo>
                  <a:pt x="1456" y="382"/>
                  <a:pt x="1456" y="382"/>
                  <a:pt x="1456" y="382"/>
                </a:cubicBezTo>
                <a:cubicBezTo>
                  <a:pt x="1456" y="383"/>
                  <a:pt x="1456" y="383"/>
                  <a:pt x="1456" y="383"/>
                </a:cubicBezTo>
                <a:cubicBezTo>
                  <a:pt x="1455" y="384"/>
                  <a:pt x="1455" y="384"/>
                  <a:pt x="1455" y="384"/>
                </a:cubicBezTo>
                <a:cubicBezTo>
                  <a:pt x="1453" y="384"/>
                  <a:pt x="1453" y="384"/>
                  <a:pt x="1453" y="384"/>
                </a:cubicBezTo>
                <a:cubicBezTo>
                  <a:pt x="1452" y="385"/>
                  <a:pt x="1452" y="385"/>
                  <a:pt x="1452" y="385"/>
                </a:cubicBezTo>
                <a:cubicBezTo>
                  <a:pt x="1453" y="385"/>
                  <a:pt x="1453" y="385"/>
                  <a:pt x="1453" y="385"/>
                </a:cubicBezTo>
                <a:cubicBezTo>
                  <a:pt x="1454" y="385"/>
                  <a:pt x="1454" y="385"/>
                  <a:pt x="1454" y="385"/>
                </a:cubicBezTo>
                <a:cubicBezTo>
                  <a:pt x="1455" y="385"/>
                  <a:pt x="1455" y="385"/>
                  <a:pt x="1455" y="385"/>
                </a:cubicBezTo>
                <a:cubicBezTo>
                  <a:pt x="1455" y="386"/>
                  <a:pt x="1455" y="386"/>
                  <a:pt x="1455" y="386"/>
                </a:cubicBezTo>
                <a:cubicBezTo>
                  <a:pt x="1454" y="386"/>
                  <a:pt x="1454" y="386"/>
                  <a:pt x="1454" y="386"/>
                </a:cubicBezTo>
                <a:cubicBezTo>
                  <a:pt x="1456" y="387"/>
                  <a:pt x="1456" y="387"/>
                  <a:pt x="1456" y="387"/>
                </a:cubicBezTo>
                <a:cubicBezTo>
                  <a:pt x="1456" y="387"/>
                  <a:pt x="1456" y="387"/>
                  <a:pt x="1456" y="387"/>
                </a:cubicBezTo>
                <a:cubicBezTo>
                  <a:pt x="1457" y="388"/>
                  <a:pt x="1457" y="388"/>
                  <a:pt x="1457" y="388"/>
                </a:cubicBezTo>
                <a:cubicBezTo>
                  <a:pt x="1461" y="384"/>
                  <a:pt x="1461" y="384"/>
                  <a:pt x="1461" y="384"/>
                </a:cubicBezTo>
                <a:cubicBezTo>
                  <a:pt x="1460" y="385"/>
                  <a:pt x="1460" y="385"/>
                  <a:pt x="1460" y="385"/>
                </a:cubicBezTo>
                <a:cubicBezTo>
                  <a:pt x="1461" y="385"/>
                  <a:pt x="1461" y="385"/>
                  <a:pt x="1461" y="385"/>
                </a:cubicBezTo>
                <a:cubicBezTo>
                  <a:pt x="1460" y="386"/>
                  <a:pt x="1460" y="386"/>
                  <a:pt x="1460" y="386"/>
                </a:cubicBezTo>
                <a:cubicBezTo>
                  <a:pt x="1459" y="388"/>
                  <a:pt x="1459" y="388"/>
                  <a:pt x="1459" y="388"/>
                </a:cubicBezTo>
                <a:cubicBezTo>
                  <a:pt x="1459" y="389"/>
                  <a:pt x="1459" y="389"/>
                  <a:pt x="1459" y="389"/>
                </a:cubicBezTo>
                <a:cubicBezTo>
                  <a:pt x="1457" y="391"/>
                  <a:pt x="1457" y="391"/>
                  <a:pt x="1457" y="391"/>
                </a:cubicBezTo>
                <a:cubicBezTo>
                  <a:pt x="1458" y="391"/>
                  <a:pt x="1458" y="391"/>
                  <a:pt x="1458" y="391"/>
                </a:cubicBezTo>
                <a:cubicBezTo>
                  <a:pt x="1457" y="394"/>
                  <a:pt x="1457" y="394"/>
                  <a:pt x="1457" y="394"/>
                </a:cubicBezTo>
                <a:cubicBezTo>
                  <a:pt x="1457" y="396"/>
                  <a:pt x="1457" y="396"/>
                  <a:pt x="1457" y="396"/>
                </a:cubicBezTo>
                <a:cubicBezTo>
                  <a:pt x="1456" y="397"/>
                  <a:pt x="1456" y="397"/>
                  <a:pt x="1456" y="397"/>
                </a:cubicBezTo>
                <a:cubicBezTo>
                  <a:pt x="1457" y="398"/>
                  <a:pt x="1457" y="398"/>
                  <a:pt x="1457" y="398"/>
                </a:cubicBezTo>
                <a:cubicBezTo>
                  <a:pt x="1458" y="398"/>
                  <a:pt x="1458" y="398"/>
                  <a:pt x="1458" y="398"/>
                </a:cubicBezTo>
                <a:cubicBezTo>
                  <a:pt x="1456" y="400"/>
                  <a:pt x="1456" y="400"/>
                  <a:pt x="1456" y="400"/>
                </a:cubicBezTo>
                <a:cubicBezTo>
                  <a:pt x="1456" y="403"/>
                  <a:pt x="1456" y="403"/>
                  <a:pt x="1456" y="403"/>
                </a:cubicBezTo>
                <a:cubicBezTo>
                  <a:pt x="1455" y="404"/>
                  <a:pt x="1455" y="404"/>
                  <a:pt x="1455" y="404"/>
                </a:cubicBezTo>
                <a:cubicBezTo>
                  <a:pt x="1455" y="404"/>
                  <a:pt x="1455" y="404"/>
                  <a:pt x="1455" y="404"/>
                </a:cubicBezTo>
                <a:cubicBezTo>
                  <a:pt x="1457" y="404"/>
                  <a:pt x="1457" y="404"/>
                  <a:pt x="1457" y="404"/>
                </a:cubicBezTo>
                <a:cubicBezTo>
                  <a:pt x="1457" y="403"/>
                  <a:pt x="1457" y="403"/>
                  <a:pt x="1457" y="403"/>
                </a:cubicBezTo>
                <a:cubicBezTo>
                  <a:pt x="1458" y="401"/>
                  <a:pt x="1458" y="401"/>
                  <a:pt x="1458" y="401"/>
                </a:cubicBezTo>
                <a:cubicBezTo>
                  <a:pt x="1458" y="399"/>
                  <a:pt x="1458" y="399"/>
                  <a:pt x="1458" y="399"/>
                </a:cubicBezTo>
                <a:cubicBezTo>
                  <a:pt x="1459" y="398"/>
                  <a:pt x="1459" y="398"/>
                  <a:pt x="1459" y="398"/>
                </a:cubicBezTo>
                <a:cubicBezTo>
                  <a:pt x="1458" y="394"/>
                  <a:pt x="1458" y="394"/>
                  <a:pt x="1458" y="394"/>
                </a:cubicBezTo>
                <a:cubicBezTo>
                  <a:pt x="1459" y="394"/>
                  <a:pt x="1459" y="394"/>
                  <a:pt x="1459" y="394"/>
                </a:cubicBezTo>
                <a:cubicBezTo>
                  <a:pt x="1462" y="391"/>
                  <a:pt x="1462" y="391"/>
                  <a:pt x="1462" y="391"/>
                </a:cubicBezTo>
                <a:cubicBezTo>
                  <a:pt x="1460" y="394"/>
                  <a:pt x="1460" y="394"/>
                  <a:pt x="1460" y="394"/>
                </a:cubicBezTo>
                <a:cubicBezTo>
                  <a:pt x="1459" y="396"/>
                  <a:pt x="1459" y="396"/>
                  <a:pt x="1459" y="396"/>
                </a:cubicBezTo>
                <a:cubicBezTo>
                  <a:pt x="1460" y="397"/>
                  <a:pt x="1460" y="397"/>
                  <a:pt x="1460" y="397"/>
                </a:cubicBezTo>
                <a:cubicBezTo>
                  <a:pt x="1460" y="396"/>
                  <a:pt x="1460" y="396"/>
                  <a:pt x="1460" y="396"/>
                </a:cubicBezTo>
                <a:cubicBezTo>
                  <a:pt x="1462" y="395"/>
                  <a:pt x="1462" y="395"/>
                  <a:pt x="1462" y="395"/>
                </a:cubicBezTo>
                <a:cubicBezTo>
                  <a:pt x="1462" y="397"/>
                  <a:pt x="1462" y="397"/>
                  <a:pt x="1462" y="397"/>
                </a:cubicBezTo>
                <a:cubicBezTo>
                  <a:pt x="1463" y="394"/>
                  <a:pt x="1463" y="394"/>
                  <a:pt x="1463" y="394"/>
                </a:cubicBezTo>
                <a:cubicBezTo>
                  <a:pt x="1463" y="393"/>
                  <a:pt x="1463" y="393"/>
                  <a:pt x="1463" y="393"/>
                </a:cubicBezTo>
                <a:cubicBezTo>
                  <a:pt x="1464" y="392"/>
                  <a:pt x="1464" y="392"/>
                  <a:pt x="1464" y="392"/>
                </a:cubicBezTo>
                <a:cubicBezTo>
                  <a:pt x="1464" y="394"/>
                  <a:pt x="1464" y="394"/>
                  <a:pt x="1464" y="394"/>
                </a:cubicBezTo>
                <a:cubicBezTo>
                  <a:pt x="1466" y="396"/>
                  <a:pt x="1466" y="396"/>
                  <a:pt x="1466" y="396"/>
                </a:cubicBezTo>
                <a:cubicBezTo>
                  <a:pt x="1464" y="395"/>
                  <a:pt x="1464" y="395"/>
                  <a:pt x="1464" y="395"/>
                </a:cubicBezTo>
                <a:cubicBezTo>
                  <a:pt x="1463" y="398"/>
                  <a:pt x="1463" y="398"/>
                  <a:pt x="1463" y="398"/>
                </a:cubicBezTo>
                <a:cubicBezTo>
                  <a:pt x="1464" y="400"/>
                  <a:pt x="1464" y="400"/>
                  <a:pt x="1464" y="400"/>
                </a:cubicBezTo>
                <a:cubicBezTo>
                  <a:pt x="1465" y="400"/>
                  <a:pt x="1465" y="400"/>
                  <a:pt x="1465" y="400"/>
                </a:cubicBezTo>
                <a:cubicBezTo>
                  <a:pt x="1465" y="402"/>
                  <a:pt x="1465" y="402"/>
                  <a:pt x="1465" y="402"/>
                </a:cubicBezTo>
                <a:cubicBezTo>
                  <a:pt x="1464" y="404"/>
                  <a:pt x="1464" y="404"/>
                  <a:pt x="1464" y="404"/>
                </a:cubicBezTo>
                <a:cubicBezTo>
                  <a:pt x="1462" y="408"/>
                  <a:pt x="1462" y="408"/>
                  <a:pt x="1462" y="408"/>
                </a:cubicBezTo>
                <a:cubicBezTo>
                  <a:pt x="1462" y="410"/>
                  <a:pt x="1462" y="410"/>
                  <a:pt x="1462" y="410"/>
                </a:cubicBezTo>
                <a:cubicBezTo>
                  <a:pt x="1461" y="409"/>
                  <a:pt x="1461" y="409"/>
                  <a:pt x="1461" y="409"/>
                </a:cubicBezTo>
                <a:cubicBezTo>
                  <a:pt x="1461" y="411"/>
                  <a:pt x="1461" y="411"/>
                  <a:pt x="1461" y="411"/>
                </a:cubicBezTo>
                <a:cubicBezTo>
                  <a:pt x="1463" y="414"/>
                  <a:pt x="1463" y="414"/>
                  <a:pt x="1463" y="414"/>
                </a:cubicBezTo>
                <a:cubicBezTo>
                  <a:pt x="1462" y="411"/>
                  <a:pt x="1462" y="411"/>
                  <a:pt x="1462" y="411"/>
                </a:cubicBezTo>
                <a:cubicBezTo>
                  <a:pt x="1464" y="411"/>
                  <a:pt x="1464" y="411"/>
                  <a:pt x="1464" y="411"/>
                </a:cubicBezTo>
                <a:cubicBezTo>
                  <a:pt x="1467" y="414"/>
                  <a:pt x="1467" y="414"/>
                  <a:pt x="1467" y="414"/>
                </a:cubicBezTo>
                <a:cubicBezTo>
                  <a:pt x="1467" y="412"/>
                  <a:pt x="1467" y="412"/>
                  <a:pt x="1467" y="412"/>
                </a:cubicBezTo>
                <a:cubicBezTo>
                  <a:pt x="1466" y="410"/>
                  <a:pt x="1466" y="410"/>
                  <a:pt x="1466" y="410"/>
                </a:cubicBezTo>
                <a:cubicBezTo>
                  <a:pt x="1467" y="410"/>
                  <a:pt x="1467" y="410"/>
                  <a:pt x="1467" y="410"/>
                </a:cubicBezTo>
                <a:cubicBezTo>
                  <a:pt x="1470" y="412"/>
                  <a:pt x="1470" y="412"/>
                  <a:pt x="1470" y="412"/>
                </a:cubicBezTo>
                <a:cubicBezTo>
                  <a:pt x="1472" y="412"/>
                  <a:pt x="1472" y="412"/>
                  <a:pt x="1472" y="412"/>
                </a:cubicBezTo>
                <a:cubicBezTo>
                  <a:pt x="1472" y="411"/>
                  <a:pt x="1472" y="411"/>
                  <a:pt x="1472" y="411"/>
                </a:cubicBezTo>
                <a:cubicBezTo>
                  <a:pt x="1474" y="411"/>
                  <a:pt x="1474" y="411"/>
                  <a:pt x="1474" y="411"/>
                </a:cubicBezTo>
                <a:cubicBezTo>
                  <a:pt x="1474" y="409"/>
                  <a:pt x="1474" y="409"/>
                  <a:pt x="1474" y="409"/>
                </a:cubicBezTo>
                <a:cubicBezTo>
                  <a:pt x="1479" y="409"/>
                  <a:pt x="1479" y="409"/>
                  <a:pt x="1479" y="409"/>
                </a:cubicBezTo>
                <a:cubicBezTo>
                  <a:pt x="1476" y="410"/>
                  <a:pt x="1476" y="410"/>
                  <a:pt x="1476" y="410"/>
                </a:cubicBezTo>
                <a:cubicBezTo>
                  <a:pt x="1474" y="416"/>
                  <a:pt x="1474" y="416"/>
                  <a:pt x="1474" y="416"/>
                </a:cubicBezTo>
                <a:cubicBezTo>
                  <a:pt x="1476" y="420"/>
                  <a:pt x="1476" y="420"/>
                  <a:pt x="1476" y="420"/>
                </a:cubicBezTo>
                <a:cubicBezTo>
                  <a:pt x="1477" y="420"/>
                  <a:pt x="1477" y="420"/>
                  <a:pt x="1477" y="420"/>
                </a:cubicBezTo>
                <a:cubicBezTo>
                  <a:pt x="1477" y="422"/>
                  <a:pt x="1477" y="422"/>
                  <a:pt x="1477" y="422"/>
                </a:cubicBezTo>
                <a:cubicBezTo>
                  <a:pt x="1479" y="420"/>
                  <a:pt x="1479" y="420"/>
                  <a:pt x="1479" y="420"/>
                </a:cubicBezTo>
                <a:cubicBezTo>
                  <a:pt x="1481" y="420"/>
                  <a:pt x="1481" y="420"/>
                  <a:pt x="1481" y="420"/>
                </a:cubicBezTo>
                <a:cubicBezTo>
                  <a:pt x="1480" y="423"/>
                  <a:pt x="1480" y="423"/>
                  <a:pt x="1480" y="423"/>
                </a:cubicBezTo>
                <a:cubicBezTo>
                  <a:pt x="1481" y="423"/>
                  <a:pt x="1481" y="423"/>
                  <a:pt x="1481" y="423"/>
                </a:cubicBezTo>
                <a:cubicBezTo>
                  <a:pt x="1479" y="425"/>
                  <a:pt x="1479" y="425"/>
                  <a:pt x="1479" y="425"/>
                </a:cubicBezTo>
                <a:cubicBezTo>
                  <a:pt x="1480" y="427"/>
                  <a:pt x="1480" y="427"/>
                  <a:pt x="1480" y="427"/>
                </a:cubicBezTo>
                <a:cubicBezTo>
                  <a:pt x="1479" y="430"/>
                  <a:pt x="1479" y="430"/>
                  <a:pt x="1479" y="430"/>
                </a:cubicBezTo>
                <a:cubicBezTo>
                  <a:pt x="1480" y="431"/>
                  <a:pt x="1480" y="431"/>
                  <a:pt x="1480" y="431"/>
                </a:cubicBezTo>
                <a:cubicBezTo>
                  <a:pt x="1481" y="432"/>
                  <a:pt x="1481" y="432"/>
                  <a:pt x="1481" y="432"/>
                </a:cubicBezTo>
                <a:cubicBezTo>
                  <a:pt x="1482" y="433"/>
                  <a:pt x="1482" y="433"/>
                  <a:pt x="1482" y="433"/>
                </a:cubicBezTo>
                <a:cubicBezTo>
                  <a:pt x="1482" y="433"/>
                  <a:pt x="1482" y="433"/>
                  <a:pt x="1482" y="433"/>
                </a:cubicBezTo>
                <a:cubicBezTo>
                  <a:pt x="1480" y="433"/>
                  <a:pt x="1480" y="433"/>
                  <a:pt x="1480" y="433"/>
                </a:cubicBezTo>
                <a:cubicBezTo>
                  <a:pt x="1479" y="432"/>
                  <a:pt x="1479" y="432"/>
                  <a:pt x="1479" y="432"/>
                </a:cubicBezTo>
                <a:cubicBezTo>
                  <a:pt x="1478" y="432"/>
                  <a:pt x="1478" y="432"/>
                  <a:pt x="1478" y="432"/>
                </a:cubicBezTo>
                <a:cubicBezTo>
                  <a:pt x="1479" y="434"/>
                  <a:pt x="1479" y="434"/>
                  <a:pt x="1479" y="434"/>
                </a:cubicBezTo>
                <a:cubicBezTo>
                  <a:pt x="1480" y="434"/>
                  <a:pt x="1480" y="434"/>
                  <a:pt x="1480" y="434"/>
                </a:cubicBezTo>
                <a:cubicBezTo>
                  <a:pt x="1478" y="434"/>
                  <a:pt x="1478" y="434"/>
                  <a:pt x="1478" y="434"/>
                </a:cubicBezTo>
                <a:cubicBezTo>
                  <a:pt x="1477" y="433"/>
                  <a:pt x="1477" y="433"/>
                  <a:pt x="1477" y="433"/>
                </a:cubicBezTo>
                <a:cubicBezTo>
                  <a:pt x="1474" y="434"/>
                  <a:pt x="1474" y="434"/>
                  <a:pt x="1474" y="434"/>
                </a:cubicBezTo>
                <a:cubicBezTo>
                  <a:pt x="1472" y="433"/>
                  <a:pt x="1472" y="433"/>
                  <a:pt x="1472" y="433"/>
                </a:cubicBezTo>
                <a:cubicBezTo>
                  <a:pt x="1469" y="435"/>
                  <a:pt x="1469" y="435"/>
                  <a:pt x="1469" y="435"/>
                </a:cubicBezTo>
                <a:cubicBezTo>
                  <a:pt x="1467" y="437"/>
                  <a:pt x="1467" y="437"/>
                  <a:pt x="1467" y="437"/>
                </a:cubicBezTo>
                <a:cubicBezTo>
                  <a:pt x="1465" y="439"/>
                  <a:pt x="1465" y="439"/>
                  <a:pt x="1465" y="439"/>
                </a:cubicBezTo>
                <a:cubicBezTo>
                  <a:pt x="1464" y="440"/>
                  <a:pt x="1464" y="440"/>
                  <a:pt x="1464" y="440"/>
                </a:cubicBezTo>
                <a:cubicBezTo>
                  <a:pt x="1465" y="440"/>
                  <a:pt x="1465" y="440"/>
                  <a:pt x="1465" y="440"/>
                </a:cubicBezTo>
                <a:cubicBezTo>
                  <a:pt x="1466" y="440"/>
                  <a:pt x="1466" y="440"/>
                  <a:pt x="1466" y="440"/>
                </a:cubicBezTo>
                <a:cubicBezTo>
                  <a:pt x="1466" y="440"/>
                  <a:pt x="1466" y="440"/>
                  <a:pt x="1466" y="440"/>
                </a:cubicBezTo>
                <a:cubicBezTo>
                  <a:pt x="1470" y="439"/>
                  <a:pt x="1470" y="439"/>
                  <a:pt x="1470" y="439"/>
                </a:cubicBezTo>
                <a:cubicBezTo>
                  <a:pt x="1470" y="440"/>
                  <a:pt x="1470" y="440"/>
                  <a:pt x="1470" y="440"/>
                </a:cubicBezTo>
                <a:cubicBezTo>
                  <a:pt x="1471" y="442"/>
                  <a:pt x="1471" y="442"/>
                  <a:pt x="1471" y="442"/>
                </a:cubicBezTo>
                <a:cubicBezTo>
                  <a:pt x="1469" y="443"/>
                  <a:pt x="1469" y="443"/>
                  <a:pt x="1469" y="443"/>
                </a:cubicBezTo>
                <a:cubicBezTo>
                  <a:pt x="1470" y="444"/>
                  <a:pt x="1470" y="444"/>
                  <a:pt x="1470" y="444"/>
                </a:cubicBezTo>
                <a:cubicBezTo>
                  <a:pt x="1471" y="444"/>
                  <a:pt x="1471" y="444"/>
                  <a:pt x="1471" y="444"/>
                </a:cubicBezTo>
                <a:cubicBezTo>
                  <a:pt x="1469" y="448"/>
                  <a:pt x="1469" y="448"/>
                  <a:pt x="1469" y="448"/>
                </a:cubicBezTo>
                <a:cubicBezTo>
                  <a:pt x="1467" y="449"/>
                  <a:pt x="1467" y="449"/>
                  <a:pt x="1467" y="449"/>
                </a:cubicBezTo>
                <a:cubicBezTo>
                  <a:pt x="1466" y="450"/>
                  <a:pt x="1466" y="450"/>
                  <a:pt x="1466" y="450"/>
                </a:cubicBezTo>
                <a:cubicBezTo>
                  <a:pt x="1465" y="450"/>
                  <a:pt x="1465" y="450"/>
                  <a:pt x="1465" y="450"/>
                </a:cubicBezTo>
                <a:cubicBezTo>
                  <a:pt x="1463" y="451"/>
                  <a:pt x="1463" y="451"/>
                  <a:pt x="1463" y="451"/>
                </a:cubicBezTo>
                <a:cubicBezTo>
                  <a:pt x="1461" y="451"/>
                  <a:pt x="1461" y="451"/>
                  <a:pt x="1461" y="451"/>
                </a:cubicBezTo>
                <a:cubicBezTo>
                  <a:pt x="1459" y="453"/>
                  <a:pt x="1459" y="453"/>
                  <a:pt x="1459" y="453"/>
                </a:cubicBezTo>
                <a:cubicBezTo>
                  <a:pt x="1461" y="453"/>
                  <a:pt x="1461" y="453"/>
                  <a:pt x="1461" y="453"/>
                </a:cubicBezTo>
                <a:cubicBezTo>
                  <a:pt x="1461" y="455"/>
                  <a:pt x="1461" y="455"/>
                  <a:pt x="1461" y="455"/>
                </a:cubicBezTo>
                <a:cubicBezTo>
                  <a:pt x="1459" y="455"/>
                  <a:pt x="1459" y="455"/>
                  <a:pt x="1459" y="455"/>
                </a:cubicBezTo>
                <a:cubicBezTo>
                  <a:pt x="1462" y="456"/>
                  <a:pt x="1462" y="456"/>
                  <a:pt x="1462" y="456"/>
                </a:cubicBezTo>
                <a:cubicBezTo>
                  <a:pt x="1461" y="456"/>
                  <a:pt x="1461" y="456"/>
                  <a:pt x="1461" y="456"/>
                </a:cubicBezTo>
                <a:cubicBezTo>
                  <a:pt x="1462" y="457"/>
                  <a:pt x="1462" y="457"/>
                  <a:pt x="1462" y="457"/>
                </a:cubicBezTo>
                <a:cubicBezTo>
                  <a:pt x="1464" y="457"/>
                  <a:pt x="1464" y="457"/>
                  <a:pt x="1464" y="457"/>
                </a:cubicBezTo>
                <a:cubicBezTo>
                  <a:pt x="1465" y="456"/>
                  <a:pt x="1465" y="456"/>
                  <a:pt x="1465" y="456"/>
                </a:cubicBezTo>
                <a:cubicBezTo>
                  <a:pt x="1468" y="455"/>
                  <a:pt x="1468" y="455"/>
                  <a:pt x="1468" y="455"/>
                </a:cubicBezTo>
                <a:cubicBezTo>
                  <a:pt x="1468" y="456"/>
                  <a:pt x="1468" y="456"/>
                  <a:pt x="1468" y="456"/>
                </a:cubicBezTo>
                <a:cubicBezTo>
                  <a:pt x="1470" y="456"/>
                  <a:pt x="1470" y="456"/>
                  <a:pt x="1470" y="456"/>
                </a:cubicBezTo>
                <a:cubicBezTo>
                  <a:pt x="1468" y="457"/>
                  <a:pt x="1468" y="457"/>
                  <a:pt x="1468" y="457"/>
                </a:cubicBezTo>
                <a:cubicBezTo>
                  <a:pt x="1468" y="458"/>
                  <a:pt x="1468" y="458"/>
                  <a:pt x="1468" y="458"/>
                </a:cubicBezTo>
                <a:cubicBezTo>
                  <a:pt x="1471" y="458"/>
                  <a:pt x="1471" y="458"/>
                  <a:pt x="1471" y="458"/>
                </a:cubicBezTo>
                <a:cubicBezTo>
                  <a:pt x="1471" y="457"/>
                  <a:pt x="1471" y="457"/>
                  <a:pt x="1471" y="457"/>
                </a:cubicBezTo>
                <a:cubicBezTo>
                  <a:pt x="1473" y="457"/>
                  <a:pt x="1473" y="457"/>
                  <a:pt x="1473" y="457"/>
                </a:cubicBezTo>
                <a:cubicBezTo>
                  <a:pt x="1474" y="459"/>
                  <a:pt x="1474" y="459"/>
                  <a:pt x="1474" y="459"/>
                </a:cubicBezTo>
                <a:cubicBezTo>
                  <a:pt x="1475" y="460"/>
                  <a:pt x="1475" y="460"/>
                  <a:pt x="1475" y="460"/>
                </a:cubicBezTo>
                <a:cubicBezTo>
                  <a:pt x="1479" y="460"/>
                  <a:pt x="1479" y="460"/>
                  <a:pt x="1479" y="460"/>
                </a:cubicBezTo>
                <a:cubicBezTo>
                  <a:pt x="1479" y="459"/>
                  <a:pt x="1479" y="459"/>
                  <a:pt x="1479" y="459"/>
                </a:cubicBezTo>
                <a:cubicBezTo>
                  <a:pt x="1481" y="458"/>
                  <a:pt x="1481" y="458"/>
                  <a:pt x="1481" y="458"/>
                </a:cubicBezTo>
                <a:cubicBezTo>
                  <a:pt x="1483" y="457"/>
                  <a:pt x="1483" y="457"/>
                  <a:pt x="1483" y="457"/>
                </a:cubicBezTo>
                <a:cubicBezTo>
                  <a:pt x="1484" y="456"/>
                  <a:pt x="1484" y="456"/>
                  <a:pt x="1484" y="456"/>
                </a:cubicBezTo>
                <a:cubicBezTo>
                  <a:pt x="1485" y="455"/>
                  <a:pt x="1485" y="455"/>
                  <a:pt x="1485" y="455"/>
                </a:cubicBezTo>
                <a:cubicBezTo>
                  <a:pt x="1483" y="458"/>
                  <a:pt x="1483" y="458"/>
                  <a:pt x="1483" y="458"/>
                </a:cubicBezTo>
                <a:cubicBezTo>
                  <a:pt x="1481" y="461"/>
                  <a:pt x="1481" y="461"/>
                  <a:pt x="1481" y="461"/>
                </a:cubicBezTo>
                <a:cubicBezTo>
                  <a:pt x="1481" y="463"/>
                  <a:pt x="1481" y="463"/>
                  <a:pt x="1481" y="463"/>
                </a:cubicBezTo>
                <a:cubicBezTo>
                  <a:pt x="1479" y="463"/>
                  <a:pt x="1479" y="463"/>
                  <a:pt x="1479" y="463"/>
                </a:cubicBezTo>
                <a:cubicBezTo>
                  <a:pt x="1478" y="464"/>
                  <a:pt x="1478" y="464"/>
                  <a:pt x="1478" y="464"/>
                </a:cubicBezTo>
                <a:cubicBezTo>
                  <a:pt x="1476" y="463"/>
                  <a:pt x="1476" y="463"/>
                  <a:pt x="1476" y="463"/>
                </a:cubicBezTo>
                <a:cubicBezTo>
                  <a:pt x="1472" y="462"/>
                  <a:pt x="1472" y="462"/>
                  <a:pt x="1472" y="462"/>
                </a:cubicBezTo>
                <a:cubicBezTo>
                  <a:pt x="1469" y="463"/>
                  <a:pt x="1469" y="463"/>
                  <a:pt x="1469" y="463"/>
                </a:cubicBezTo>
                <a:cubicBezTo>
                  <a:pt x="1469" y="465"/>
                  <a:pt x="1469" y="465"/>
                  <a:pt x="1469" y="465"/>
                </a:cubicBezTo>
                <a:cubicBezTo>
                  <a:pt x="1468" y="466"/>
                  <a:pt x="1468" y="466"/>
                  <a:pt x="1468" y="466"/>
                </a:cubicBezTo>
                <a:cubicBezTo>
                  <a:pt x="1466" y="466"/>
                  <a:pt x="1466" y="466"/>
                  <a:pt x="1466" y="466"/>
                </a:cubicBezTo>
                <a:cubicBezTo>
                  <a:pt x="1466" y="469"/>
                  <a:pt x="1466" y="469"/>
                  <a:pt x="1466" y="469"/>
                </a:cubicBezTo>
                <a:cubicBezTo>
                  <a:pt x="1464" y="471"/>
                  <a:pt x="1464" y="471"/>
                  <a:pt x="1464" y="471"/>
                </a:cubicBezTo>
                <a:cubicBezTo>
                  <a:pt x="1464" y="472"/>
                  <a:pt x="1464" y="472"/>
                  <a:pt x="1464" y="472"/>
                </a:cubicBezTo>
                <a:cubicBezTo>
                  <a:pt x="1462" y="472"/>
                  <a:pt x="1462" y="472"/>
                  <a:pt x="1462" y="472"/>
                </a:cubicBezTo>
                <a:cubicBezTo>
                  <a:pt x="1461" y="474"/>
                  <a:pt x="1461" y="474"/>
                  <a:pt x="1461" y="474"/>
                </a:cubicBezTo>
                <a:cubicBezTo>
                  <a:pt x="1460" y="474"/>
                  <a:pt x="1460" y="474"/>
                  <a:pt x="1460" y="474"/>
                </a:cubicBezTo>
                <a:cubicBezTo>
                  <a:pt x="1460" y="475"/>
                  <a:pt x="1460" y="475"/>
                  <a:pt x="1460" y="475"/>
                </a:cubicBezTo>
                <a:cubicBezTo>
                  <a:pt x="1457" y="477"/>
                  <a:pt x="1457" y="477"/>
                  <a:pt x="1457" y="477"/>
                </a:cubicBezTo>
                <a:cubicBezTo>
                  <a:pt x="1456" y="477"/>
                  <a:pt x="1456" y="477"/>
                  <a:pt x="1456" y="477"/>
                </a:cubicBezTo>
                <a:cubicBezTo>
                  <a:pt x="1455" y="478"/>
                  <a:pt x="1455" y="478"/>
                  <a:pt x="1455" y="478"/>
                </a:cubicBezTo>
                <a:cubicBezTo>
                  <a:pt x="1455" y="479"/>
                  <a:pt x="1455" y="479"/>
                  <a:pt x="1455" y="479"/>
                </a:cubicBezTo>
                <a:cubicBezTo>
                  <a:pt x="1457" y="479"/>
                  <a:pt x="1457" y="479"/>
                  <a:pt x="1457" y="479"/>
                </a:cubicBezTo>
                <a:cubicBezTo>
                  <a:pt x="1457" y="478"/>
                  <a:pt x="1457" y="478"/>
                  <a:pt x="1457" y="478"/>
                </a:cubicBezTo>
                <a:cubicBezTo>
                  <a:pt x="1459" y="479"/>
                  <a:pt x="1459" y="479"/>
                  <a:pt x="1459" y="479"/>
                </a:cubicBezTo>
                <a:cubicBezTo>
                  <a:pt x="1460" y="480"/>
                  <a:pt x="1460" y="480"/>
                  <a:pt x="1460" y="480"/>
                </a:cubicBezTo>
                <a:cubicBezTo>
                  <a:pt x="1461" y="479"/>
                  <a:pt x="1461" y="479"/>
                  <a:pt x="1461" y="479"/>
                </a:cubicBezTo>
                <a:cubicBezTo>
                  <a:pt x="1460" y="478"/>
                  <a:pt x="1460" y="478"/>
                  <a:pt x="1460" y="478"/>
                </a:cubicBezTo>
                <a:cubicBezTo>
                  <a:pt x="1461" y="477"/>
                  <a:pt x="1461" y="477"/>
                  <a:pt x="1461" y="477"/>
                </a:cubicBezTo>
                <a:cubicBezTo>
                  <a:pt x="1462" y="478"/>
                  <a:pt x="1462" y="478"/>
                  <a:pt x="1462" y="478"/>
                </a:cubicBezTo>
                <a:cubicBezTo>
                  <a:pt x="1463" y="477"/>
                  <a:pt x="1463" y="477"/>
                  <a:pt x="1463" y="477"/>
                </a:cubicBezTo>
                <a:cubicBezTo>
                  <a:pt x="1464" y="477"/>
                  <a:pt x="1464" y="477"/>
                  <a:pt x="1464" y="477"/>
                </a:cubicBezTo>
                <a:cubicBezTo>
                  <a:pt x="1464" y="475"/>
                  <a:pt x="1464" y="475"/>
                  <a:pt x="1464" y="475"/>
                </a:cubicBezTo>
                <a:cubicBezTo>
                  <a:pt x="1466" y="476"/>
                  <a:pt x="1466" y="476"/>
                  <a:pt x="1466" y="476"/>
                </a:cubicBezTo>
                <a:cubicBezTo>
                  <a:pt x="1468" y="475"/>
                  <a:pt x="1468" y="475"/>
                  <a:pt x="1468" y="475"/>
                </a:cubicBezTo>
                <a:cubicBezTo>
                  <a:pt x="1469" y="475"/>
                  <a:pt x="1469" y="475"/>
                  <a:pt x="1469" y="475"/>
                </a:cubicBezTo>
                <a:cubicBezTo>
                  <a:pt x="1470" y="475"/>
                  <a:pt x="1470" y="475"/>
                  <a:pt x="1470" y="475"/>
                </a:cubicBezTo>
                <a:cubicBezTo>
                  <a:pt x="1471" y="476"/>
                  <a:pt x="1471" y="476"/>
                  <a:pt x="1471" y="476"/>
                </a:cubicBezTo>
                <a:cubicBezTo>
                  <a:pt x="1472" y="476"/>
                  <a:pt x="1472" y="476"/>
                  <a:pt x="1472" y="476"/>
                </a:cubicBezTo>
                <a:cubicBezTo>
                  <a:pt x="1473" y="477"/>
                  <a:pt x="1473" y="477"/>
                  <a:pt x="1473" y="477"/>
                </a:cubicBezTo>
                <a:cubicBezTo>
                  <a:pt x="1475" y="477"/>
                  <a:pt x="1475" y="477"/>
                  <a:pt x="1475" y="477"/>
                </a:cubicBezTo>
                <a:cubicBezTo>
                  <a:pt x="1474" y="476"/>
                  <a:pt x="1474" y="476"/>
                  <a:pt x="1474" y="476"/>
                </a:cubicBezTo>
                <a:cubicBezTo>
                  <a:pt x="1476" y="475"/>
                  <a:pt x="1476" y="475"/>
                  <a:pt x="1476" y="475"/>
                </a:cubicBezTo>
                <a:cubicBezTo>
                  <a:pt x="1476" y="474"/>
                  <a:pt x="1476" y="474"/>
                  <a:pt x="1476" y="474"/>
                </a:cubicBezTo>
                <a:cubicBezTo>
                  <a:pt x="1476" y="472"/>
                  <a:pt x="1476" y="472"/>
                  <a:pt x="1476" y="472"/>
                </a:cubicBezTo>
                <a:cubicBezTo>
                  <a:pt x="1477" y="471"/>
                  <a:pt x="1477" y="471"/>
                  <a:pt x="1477" y="471"/>
                </a:cubicBezTo>
                <a:cubicBezTo>
                  <a:pt x="1478" y="471"/>
                  <a:pt x="1478" y="471"/>
                  <a:pt x="1478" y="471"/>
                </a:cubicBezTo>
                <a:cubicBezTo>
                  <a:pt x="1478" y="470"/>
                  <a:pt x="1478" y="470"/>
                  <a:pt x="1478" y="470"/>
                </a:cubicBezTo>
                <a:cubicBezTo>
                  <a:pt x="1482" y="470"/>
                  <a:pt x="1482" y="470"/>
                  <a:pt x="1482" y="470"/>
                </a:cubicBezTo>
                <a:cubicBezTo>
                  <a:pt x="1483" y="470"/>
                  <a:pt x="1483" y="470"/>
                  <a:pt x="1483" y="470"/>
                </a:cubicBezTo>
                <a:cubicBezTo>
                  <a:pt x="1486" y="471"/>
                  <a:pt x="1486" y="471"/>
                  <a:pt x="1486" y="471"/>
                </a:cubicBezTo>
                <a:cubicBezTo>
                  <a:pt x="1486" y="471"/>
                  <a:pt x="1486" y="471"/>
                  <a:pt x="1486" y="471"/>
                </a:cubicBezTo>
                <a:cubicBezTo>
                  <a:pt x="1489" y="471"/>
                  <a:pt x="1489" y="471"/>
                  <a:pt x="1489" y="471"/>
                </a:cubicBezTo>
                <a:cubicBezTo>
                  <a:pt x="1490" y="472"/>
                  <a:pt x="1490" y="472"/>
                  <a:pt x="1490" y="472"/>
                </a:cubicBezTo>
                <a:cubicBezTo>
                  <a:pt x="1491" y="470"/>
                  <a:pt x="1491" y="470"/>
                  <a:pt x="1491" y="470"/>
                </a:cubicBezTo>
                <a:cubicBezTo>
                  <a:pt x="1493" y="469"/>
                  <a:pt x="1493" y="469"/>
                  <a:pt x="1493" y="469"/>
                </a:cubicBezTo>
                <a:cubicBezTo>
                  <a:pt x="1494" y="469"/>
                  <a:pt x="1494" y="469"/>
                  <a:pt x="1494" y="469"/>
                </a:cubicBezTo>
                <a:cubicBezTo>
                  <a:pt x="1496" y="468"/>
                  <a:pt x="1496" y="468"/>
                  <a:pt x="1496" y="468"/>
                </a:cubicBezTo>
                <a:cubicBezTo>
                  <a:pt x="1498" y="468"/>
                  <a:pt x="1498" y="468"/>
                  <a:pt x="1498" y="468"/>
                </a:cubicBezTo>
                <a:cubicBezTo>
                  <a:pt x="1499" y="468"/>
                  <a:pt x="1499" y="468"/>
                  <a:pt x="1499" y="468"/>
                </a:cubicBezTo>
                <a:cubicBezTo>
                  <a:pt x="1500" y="467"/>
                  <a:pt x="1500" y="467"/>
                  <a:pt x="1500" y="467"/>
                </a:cubicBezTo>
                <a:cubicBezTo>
                  <a:pt x="1500" y="468"/>
                  <a:pt x="1500" y="468"/>
                  <a:pt x="1500" y="468"/>
                </a:cubicBezTo>
                <a:cubicBezTo>
                  <a:pt x="1501" y="469"/>
                  <a:pt x="1501" y="469"/>
                  <a:pt x="1501" y="469"/>
                </a:cubicBezTo>
                <a:cubicBezTo>
                  <a:pt x="1503" y="468"/>
                  <a:pt x="1503" y="468"/>
                  <a:pt x="1503" y="468"/>
                </a:cubicBezTo>
                <a:cubicBezTo>
                  <a:pt x="1506" y="468"/>
                  <a:pt x="1506" y="468"/>
                  <a:pt x="1506" y="468"/>
                </a:cubicBezTo>
                <a:cubicBezTo>
                  <a:pt x="1508" y="467"/>
                  <a:pt x="1508" y="467"/>
                  <a:pt x="1508" y="467"/>
                </a:cubicBezTo>
                <a:cubicBezTo>
                  <a:pt x="1510" y="468"/>
                  <a:pt x="1510" y="468"/>
                  <a:pt x="1510" y="468"/>
                </a:cubicBezTo>
                <a:cubicBezTo>
                  <a:pt x="1511" y="468"/>
                  <a:pt x="1511" y="468"/>
                  <a:pt x="1511" y="468"/>
                </a:cubicBezTo>
                <a:cubicBezTo>
                  <a:pt x="1513" y="467"/>
                  <a:pt x="1513" y="467"/>
                  <a:pt x="1513" y="467"/>
                </a:cubicBezTo>
                <a:cubicBezTo>
                  <a:pt x="1514" y="467"/>
                  <a:pt x="1514" y="467"/>
                  <a:pt x="1514" y="467"/>
                </a:cubicBezTo>
                <a:cubicBezTo>
                  <a:pt x="1516" y="465"/>
                  <a:pt x="1516" y="465"/>
                  <a:pt x="1516" y="465"/>
                </a:cubicBezTo>
                <a:cubicBezTo>
                  <a:pt x="1517" y="465"/>
                  <a:pt x="1517" y="465"/>
                  <a:pt x="1517" y="465"/>
                </a:cubicBezTo>
                <a:cubicBezTo>
                  <a:pt x="1518" y="465"/>
                  <a:pt x="1518" y="465"/>
                  <a:pt x="1518" y="465"/>
                </a:cubicBezTo>
                <a:cubicBezTo>
                  <a:pt x="1517" y="464"/>
                  <a:pt x="1517" y="464"/>
                  <a:pt x="1517" y="464"/>
                </a:cubicBezTo>
                <a:cubicBezTo>
                  <a:pt x="1520" y="463"/>
                  <a:pt x="1520" y="463"/>
                  <a:pt x="1520" y="463"/>
                </a:cubicBezTo>
                <a:cubicBezTo>
                  <a:pt x="1521" y="462"/>
                  <a:pt x="1521" y="462"/>
                  <a:pt x="1521" y="462"/>
                </a:cubicBezTo>
                <a:cubicBezTo>
                  <a:pt x="1521" y="461"/>
                  <a:pt x="1521" y="461"/>
                  <a:pt x="1521" y="461"/>
                </a:cubicBezTo>
                <a:cubicBezTo>
                  <a:pt x="1521" y="460"/>
                  <a:pt x="1521" y="460"/>
                  <a:pt x="1521" y="460"/>
                </a:cubicBezTo>
                <a:cubicBezTo>
                  <a:pt x="1521" y="459"/>
                  <a:pt x="1521" y="459"/>
                  <a:pt x="1521" y="459"/>
                </a:cubicBezTo>
                <a:cubicBezTo>
                  <a:pt x="1519" y="459"/>
                  <a:pt x="1519" y="459"/>
                  <a:pt x="1519" y="459"/>
                </a:cubicBezTo>
                <a:cubicBezTo>
                  <a:pt x="1517" y="459"/>
                  <a:pt x="1517" y="459"/>
                  <a:pt x="1517" y="459"/>
                </a:cubicBezTo>
                <a:cubicBezTo>
                  <a:pt x="1516" y="460"/>
                  <a:pt x="1516" y="460"/>
                  <a:pt x="1516" y="460"/>
                </a:cubicBezTo>
                <a:cubicBezTo>
                  <a:pt x="1514" y="459"/>
                  <a:pt x="1514" y="459"/>
                  <a:pt x="1514" y="459"/>
                </a:cubicBezTo>
                <a:cubicBezTo>
                  <a:pt x="1513" y="459"/>
                  <a:pt x="1513" y="459"/>
                  <a:pt x="1513" y="459"/>
                </a:cubicBezTo>
                <a:cubicBezTo>
                  <a:pt x="1514" y="458"/>
                  <a:pt x="1514" y="458"/>
                  <a:pt x="1514" y="458"/>
                </a:cubicBezTo>
                <a:cubicBezTo>
                  <a:pt x="1515" y="458"/>
                  <a:pt x="1515" y="458"/>
                  <a:pt x="1515" y="458"/>
                </a:cubicBezTo>
                <a:cubicBezTo>
                  <a:pt x="1515" y="458"/>
                  <a:pt x="1515" y="458"/>
                  <a:pt x="1515" y="458"/>
                </a:cubicBezTo>
                <a:cubicBezTo>
                  <a:pt x="1513" y="457"/>
                  <a:pt x="1513" y="457"/>
                  <a:pt x="1513" y="457"/>
                </a:cubicBezTo>
                <a:cubicBezTo>
                  <a:pt x="1512" y="458"/>
                  <a:pt x="1512" y="458"/>
                  <a:pt x="1512" y="458"/>
                </a:cubicBezTo>
                <a:cubicBezTo>
                  <a:pt x="1514" y="457"/>
                  <a:pt x="1514" y="457"/>
                  <a:pt x="1514" y="457"/>
                </a:cubicBezTo>
                <a:cubicBezTo>
                  <a:pt x="1515" y="457"/>
                  <a:pt x="1515" y="457"/>
                  <a:pt x="1515" y="457"/>
                </a:cubicBezTo>
                <a:cubicBezTo>
                  <a:pt x="1517" y="456"/>
                  <a:pt x="1517" y="456"/>
                  <a:pt x="1517" y="456"/>
                </a:cubicBezTo>
                <a:cubicBezTo>
                  <a:pt x="1516" y="455"/>
                  <a:pt x="1516" y="455"/>
                  <a:pt x="1516" y="455"/>
                </a:cubicBezTo>
                <a:cubicBezTo>
                  <a:pt x="1515" y="455"/>
                  <a:pt x="1515" y="455"/>
                  <a:pt x="1515" y="455"/>
                </a:cubicBezTo>
                <a:cubicBezTo>
                  <a:pt x="1516" y="454"/>
                  <a:pt x="1516" y="454"/>
                  <a:pt x="1516" y="454"/>
                </a:cubicBezTo>
                <a:cubicBezTo>
                  <a:pt x="1517" y="453"/>
                  <a:pt x="1517" y="453"/>
                  <a:pt x="1517" y="453"/>
                </a:cubicBezTo>
                <a:cubicBezTo>
                  <a:pt x="1517" y="454"/>
                  <a:pt x="1517" y="454"/>
                  <a:pt x="1517" y="454"/>
                </a:cubicBezTo>
                <a:cubicBezTo>
                  <a:pt x="1519" y="453"/>
                  <a:pt x="1519" y="453"/>
                  <a:pt x="1519" y="453"/>
                </a:cubicBezTo>
                <a:cubicBezTo>
                  <a:pt x="1519" y="452"/>
                  <a:pt x="1519" y="452"/>
                  <a:pt x="1519" y="452"/>
                </a:cubicBezTo>
                <a:cubicBezTo>
                  <a:pt x="1519" y="452"/>
                  <a:pt x="1519" y="452"/>
                  <a:pt x="1519" y="452"/>
                </a:cubicBezTo>
                <a:cubicBezTo>
                  <a:pt x="1519" y="451"/>
                  <a:pt x="1519" y="451"/>
                  <a:pt x="1519" y="451"/>
                </a:cubicBezTo>
                <a:cubicBezTo>
                  <a:pt x="1518" y="451"/>
                  <a:pt x="1518" y="451"/>
                  <a:pt x="1518" y="451"/>
                </a:cubicBezTo>
                <a:cubicBezTo>
                  <a:pt x="1518" y="450"/>
                  <a:pt x="1518" y="450"/>
                  <a:pt x="1518" y="450"/>
                </a:cubicBezTo>
                <a:cubicBezTo>
                  <a:pt x="1519" y="450"/>
                  <a:pt x="1519" y="450"/>
                  <a:pt x="1519" y="450"/>
                </a:cubicBezTo>
                <a:cubicBezTo>
                  <a:pt x="1520" y="451"/>
                  <a:pt x="1520" y="451"/>
                  <a:pt x="1520" y="451"/>
                </a:cubicBezTo>
                <a:cubicBezTo>
                  <a:pt x="1521" y="449"/>
                  <a:pt x="1521" y="449"/>
                  <a:pt x="1521" y="449"/>
                </a:cubicBezTo>
                <a:cubicBezTo>
                  <a:pt x="1522" y="449"/>
                  <a:pt x="1522" y="449"/>
                  <a:pt x="1522" y="449"/>
                </a:cubicBezTo>
                <a:cubicBezTo>
                  <a:pt x="1522" y="446"/>
                  <a:pt x="1522" y="446"/>
                  <a:pt x="1522" y="446"/>
                </a:cubicBezTo>
                <a:cubicBezTo>
                  <a:pt x="1523" y="443"/>
                  <a:pt x="1523" y="443"/>
                  <a:pt x="1523" y="443"/>
                </a:cubicBezTo>
                <a:cubicBezTo>
                  <a:pt x="1522" y="442"/>
                  <a:pt x="1522" y="442"/>
                  <a:pt x="1522" y="442"/>
                </a:cubicBezTo>
                <a:cubicBezTo>
                  <a:pt x="1522" y="439"/>
                  <a:pt x="1522" y="439"/>
                  <a:pt x="1522" y="439"/>
                </a:cubicBezTo>
                <a:cubicBezTo>
                  <a:pt x="1518" y="437"/>
                  <a:pt x="1518" y="437"/>
                  <a:pt x="1518" y="437"/>
                </a:cubicBezTo>
                <a:cubicBezTo>
                  <a:pt x="1514" y="437"/>
                  <a:pt x="1514" y="437"/>
                  <a:pt x="1514" y="437"/>
                </a:cubicBezTo>
                <a:cubicBezTo>
                  <a:pt x="1511" y="437"/>
                  <a:pt x="1511" y="437"/>
                  <a:pt x="1511" y="437"/>
                </a:cubicBezTo>
                <a:cubicBezTo>
                  <a:pt x="1511" y="439"/>
                  <a:pt x="1511" y="439"/>
                  <a:pt x="1511" y="439"/>
                </a:cubicBezTo>
                <a:cubicBezTo>
                  <a:pt x="1510" y="440"/>
                  <a:pt x="1510" y="440"/>
                  <a:pt x="1510" y="440"/>
                </a:cubicBezTo>
                <a:cubicBezTo>
                  <a:pt x="1508" y="438"/>
                  <a:pt x="1508" y="438"/>
                  <a:pt x="1508" y="438"/>
                </a:cubicBezTo>
                <a:cubicBezTo>
                  <a:pt x="1506" y="438"/>
                  <a:pt x="1506" y="438"/>
                  <a:pt x="1506" y="438"/>
                </a:cubicBezTo>
                <a:cubicBezTo>
                  <a:pt x="1509" y="435"/>
                  <a:pt x="1509" y="435"/>
                  <a:pt x="1509" y="435"/>
                </a:cubicBezTo>
                <a:cubicBezTo>
                  <a:pt x="1509" y="433"/>
                  <a:pt x="1509" y="433"/>
                  <a:pt x="1509" y="433"/>
                </a:cubicBezTo>
                <a:cubicBezTo>
                  <a:pt x="1507" y="429"/>
                  <a:pt x="1507" y="429"/>
                  <a:pt x="1507" y="429"/>
                </a:cubicBezTo>
                <a:cubicBezTo>
                  <a:pt x="1506" y="429"/>
                  <a:pt x="1506" y="429"/>
                  <a:pt x="1506" y="429"/>
                </a:cubicBezTo>
                <a:cubicBezTo>
                  <a:pt x="1504" y="428"/>
                  <a:pt x="1504" y="428"/>
                  <a:pt x="1504" y="428"/>
                </a:cubicBezTo>
                <a:cubicBezTo>
                  <a:pt x="1503" y="427"/>
                  <a:pt x="1503" y="427"/>
                  <a:pt x="1503" y="427"/>
                </a:cubicBezTo>
                <a:cubicBezTo>
                  <a:pt x="1502" y="427"/>
                  <a:pt x="1502" y="427"/>
                  <a:pt x="1502" y="427"/>
                </a:cubicBezTo>
                <a:cubicBezTo>
                  <a:pt x="1502" y="427"/>
                  <a:pt x="1502" y="427"/>
                  <a:pt x="1502" y="427"/>
                </a:cubicBezTo>
                <a:cubicBezTo>
                  <a:pt x="1500" y="427"/>
                  <a:pt x="1500" y="427"/>
                  <a:pt x="1500" y="427"/>
                </a:cubicBezTo>
                <a:cubicBezTo>
                  <a:pt x="1500" y="427"/>
                  <a:pt x="1500" y="427"/>
                  <a:pt x="1500" y="427"/>
                </a:cubicBezTo>
                <a:cubicBezTo>
                  <a:pt x="1501" y="426"/>
                  <a:pt x="1501" y="426"/>
                  <a:pt x="1501" y="426"/>
                </a:cubicBezTo>
                <a:cubicBezTo>
                  <a:pt x="1502" y="427"/>
                  <a:pt x="1502" y="427"/>
                  <a:pt x="1502" y="427"/>
                </a:cubicBezTo>
                <a:cubicBezTo>
                  <a:pt x="1503" y="426"/>
                  <a:pt x="1503" y="426"/>
                  <a:pt x="1503" y="426"/>
                </a:cubicBezTo>
                <a:cubicBezTo>
                  <a:pt x="1504" y="427"/>
                  <a:pt x="1504" y="427"/>
                  <a:pt x="1504" y="427"/>
                </a:cubicBezTo>
                <a:cubicBezTo>
                  <a:pt x="1505" y="428"/>
                  <a:pt x="1505" y="428"/>
                  <a:pt x="1505" y="428"/>
                </a:cubicBezTo>
                <a:cubicBezTo>
                  <a:pt x="1506" y="427"/>
                  <a:pt x="1506" y="427"/>
                  <a:pt x="1506" y="427"/>
                </a:cubicBezTo>
                <a:cubicBezTo>
                  <a:pt x="1507" y="428"/>
                  <a:pt x="1507" y="428"/>
                  <a:pt x="1507" y="428"/>
                </a:cubicBezTo>
                <a:cubicBezTo>
                  <a:pt x="1504" y="424"/>
                  <a:pt x="1504" y="424"/>
                  <a:pt x="1504" y="424"/>
                </a:cubicBezTo>
                <a:cubicBezTo>
                  <a:pt x="1503" y="423"/>
                  <a:pt x="1503" y="423"/>
                  <a:pt x="1503" y="423"/>
                </a:cubicBezTo>
                <a:cubicBezTo>
                  <a:pt x="1504" y="421"/>
                  <a:pt x="1504" y="421"/>
                  <a:pt x="1504" y="421"/>
                </a:cubicBezTo>
                <a:cubicBezTo>
                  <a:pt x="1505" y="421"/>
                  <a:pt x="1505" y="421"/>
                  <a:pt x="1505" y="421"/>
                </a:cubicBezTo>
                <a:cubicBezTo>
                  <a:pt x="1503" y="420"/>
                  <a:pt x="1503" y="420"/>
                  <a:pt x="1503" y="420"/>
                </a:cubicBezTo>
                <a:cubicBezTo>
                  <a:pt x="1503" y="419"/>
                  <a:pt x="1503" y="419"/>
                  <a:pt x="1503" y="419"/>
                </a:cubicBezTo>
                <a:cubicBezTo>
                  <a:pt x="1502" y="419"/>
                  <a:pt x="1502" y="419"/>
                  <a:pt x="1502" y="419"/>
                </a:cubicBezTo>
                <a:cubicBezTo>
                  <a:pt x="1501" y="416"/>
                  <a:pt x="1501" y="416"/>
                  <a:pt x="1501" y="416"/>
                </a:cubicBezTo>
                <a:cubicBezTo>
                  <a:pt x="1498" y="415"/>
                  <a:pt x="1498" y="415"/>
                  <a:pt x="1498" y="415"/>
                </a:cubicBezTo>
                <a:cubicBezTo>
                  <a:pt x="1495" y="414"/>
                  <a:pt x="1495" y="414"/>
                  <a:pt x="1495" y="414"/>
                </a:cubicBezTo>
                <a:cubicBezTo>
                  <a:pt x="1495" y="413"/>
                  <a:pt x="1495" y="413"/>
                  <a:pt x="1495" y="413"/>
                </a:cubicBezTo>
                <a:cubicBezTo>
                  <a:pt x="1494" y="412"/>
                  <a:pt x="1494" y="412"/>
                  <a:pt x="1494" y="412"/>
                </a:cubicBezTo>
                <a:cubicBezTo>
                  <a:pt x="1493" y="409"/>
                  <a:pt x="1493" y="409"/>
                  <a:pt x="1493" y="409"/>
                </a:cubicBezTo>
                <a:cubicBezTo>
                  <a:pt x="1492" y="407"/>
                  <a:pt x="1492" y="407"/>
                  <a:pt x="1492" y="407"/>
                </a:cubicBezTo>
                <a:cubicBezTo>
                  <a:pt x="1491" y="402"/>
                  <a:pt x="1491" y="402"/>
                  <a:pt x="1491" y="402"/>
                </a:cubicBezTo>
                <a:cubicBezTo>
                  <a:pt x="1490" y="401"/>
                  <a:pt x="1490" y="401"/>
                  <a:pt x="1490" y="401"/>
                </a:cubicBezTo>
                <a:cubicBezTo>
                  <a:pt x="1489" y="401"/>
                  <a:pt x="1489" y="401"/>
                  <a:pt x="1489" y="401"/>
                </a:cubicBezTo>
                <a:cubicBezTo>
                  <a:pt x="1486" y="396"/>
                  <a:pt x="1486" y="396"/>
                  <a:pt x="1486" y="396"/>
                </a:cubicBezTo>
                <a:cubicBezTo>
                  <a:pt x="1484" y="396"/>
                  <a:pt x="1484" y="396"/>
                  <a:pt x="1484" y="396"/>
                </a:cubicBezTo>
                <a:cubicBezTo>
                  <a:pt x="1483" y="395"/>
                  <a:pt x="1483" y="395"/>
                  <a:pt x="1483" y="395"/>
                </a:cubicBezTo>
                <a:cubicBezTo>
                  <a:pt x="1481" y="394"/>
                  <a:pt x="1481" y="394"/>
                  <a:pt x="1481" y="394"/>
                </a:cubicBezTo>
                <a:cubicBezTo>
                  <a:pt x="1480" y="395"/>
                  <a:pt x="1480" y="395"/>
                  <a:pt x="1480" y="395"/>
                </a:cubicBezTo>
                <a:cubicBezTo>
                  <a:pt x="1478" y="396"/>
                  <a:pt x="1478" y="396"/>
                  <a:pt x="1478" y="396"/>
                </a:cubicBezTo>
                <a:cubicBezTo>
                  <a:pt x="1476" y="395"/>
                  <a:pt x="1476" y="395"/>
                  <a:pt x="1476" y="395"/>
                </a:cubicBezTo>
                <a:cubicBezTo>
                  <a:pt x="1475" y="395"/>
                  <a:pt x="1475" y="395"/>
                  <a:pt x="1475" y="395"/>
                </a:cubicBezTo>
                <a:cubicBezTo>
                  <a:pt x="1473" y="395"/>
                  <a:pt x="1473" y="395"/>
                  <a:pt x="1473" y="395"/>
                </a:cubicBezTo>
                <a:cubicBezTo>
                  <a:pt x="1472" y="394"/>
                  <a:pt x="1472" y="394"/>
                  <a:pt x="1472" y="394"/>
                </a:cubicBezTo>
                <a:cubicBezTo>
                  <a:pt x="1473" y="394"/>
                  <a:pt x="1473" y="394"/>
                  <a:pt x="1473" y="394"/>
                </a:cubicBezTo>
                <a:cubicBezTo>
                  <a:pt x="1476" y="394"/>
                  <a:pt x="1476" y="394"/>
                  <a:pt x="1476" y="394"/>
                </a:cubicBezTo>
                <a:cubicBezTo>
                  <a:pt x="1478" y="394"/>
                  <a:pt x="1478" y="394"/>
                  <a:pt x="1478" y="394"/>
                </a:cubicBezTo>
                <a:cubicBezTo>
                  <a:pt x="1478" y="392"/>
                  <a:pt x="1478" y="392"/>
                  <a:pt x="1478" y="392"/>
                </a:cubicBezTo>
                <a:cubicBezTo>
                  <a:pt x="1480" y="392"/>
                  <a:pt x="1480" y="392"/>
                  <a:pt x="1480" y="392"/>
                </a:cubicBezTo>
                <a:cubicBezTo>
                  <a:pt x="1482" y="391"/>
                  <a:pt x="1482" y="391"/>
                  <a:pt x="1482" y="391"/>
                </a:cubicBezTo>
                <a:cubicBezTo>
                  <a:pt x="1480" y="390"/>
                  <a:pt x="1480" y="390"/>
                  <a:pt x="1480" y="390"/>
                </a:cubicBezTo>
                <a:cubicBezTo>
                  <a:pt x="1480" y="389"/>
                  <a:pt x="1480" y="389"/>
                  <a:pt x="1480" y="389"/>
                </a:cubicBezTo>
                <a:cubicBezTo>
                  <a:pt x="1479" y="389"/>
                  <a:pt x="1479" y="389"/>
                  <a:pt x="1479" y="389"/>
                </a:cubicBezTo>
                <a:cubicBezTo>
                  <a:pt x="1477" y="390"/>
                  <a:pt x="1477" y="390"/>
                  <a:pt x="1477" y="390"/>
                </a:cubicBezTo>
                <a:cubicBezTo>
                  <a:pt x="1476" y="389"/>
                  <a:pt x="1476" y="389"/>
                  <a:pt x="1476" y="389"/>
                </a:cubicBezTo>
                <a:cubicBezTo>
                  <a:pt x="1478" y="388"/>
                  <a:pt x="1478" y="388"/>
                  <a:pt x="1478" y="388"/>
                </a:cubicBezTo>
                <a:cubicBezTo>
                  <a:pt x="1481" y="388"/>
                  <a:pt x="1481" y="388"/>
                  <a:pt x="1481" y="388"/>
                </a:cubicBezTo>
                <a:cubicBezTo>
                  <a:pt x="1482" y="387"/>
                  <a:pt x="1482" y="387"/>
                  <a:pt x="1482" y="387"/>
                </a:cubicBezTo>
                <a:cubicBezTo>
                  <a:pt x="1482" y="386"/>
                  <a:pt x="1482" y="386"/>
                  <a:pt x="1482" y="386"/>
                </a:cubicBezTo>
                <a:cubicBezTo>
                  <a:pt x="1483" y="385"/>
                  <a:pt x="1483" y="385"/>
                  <a:pt x="1483" y="385"/>
                </a:cubicBezTo>
                <a:cubicBezTo>
                  <a:pt x="1484" y="383"/>
                  <a:pt x="1484" y="383"/>
                  <a:pt x="1484" y="383"/>
                </a:cubicBezTo>
                <a:cubicBezTo>
                  <a:pt x="1485" y="381"/>
                  <a:pt x="1485" y="381"/>
                  <a:pt x="1485" y="381"/>
                </a:cubicBezTo>
                <a:cubicBezTo>
                  <a:pt x="1485" y="381"/>
                  <a:pt x="1485" y="381"/>
                  <a:pt x="1485" y="381"/>
                </a:cubicBezTo>
                <a:cubicBezTo>
                  <a:pt x="1486" y="379"/>
                  <a:pt x="1486" y="379"/>
                  <a:pt x="1486" y="379"/>
                </a:cubicBezTo>
                <a:cubicBezTo>
                  <a:pt x="1486" y="378"/>
                  <a:pt x="1486" y="378"/>
                  <a:pt x="1486" y="378"/>
                </a:cubicBezTo>
                <a:cubicBezTo>
                  <a:pt x="1487" y="376"/>
                  <a:pt x="1487" y="376"/>
                  <a:pt x="1487" y="376"/>
                </a:cubicBezTo>
                <a:cubicBezTo>
                  <a:pt x="1488" y="374"/>
                  <a:pt x="1488" y="374"/>
                  <a:pt x="1488" y="374"/>
                </a:cubicBezTo>
                <a:cubicBezTo>
                  <a:pt x="1488" y="373"/>
                  <a:pt x="1488" y="373"/>
                  <a:pt x="1488" y="373"/>
                </a:cubicBezTo>
                <a:cubicBezTo>
                  <a:pt x="1486" y="371"/>
                  <a:pt x="1486" y="371"/>
                  <a:pt x="1486" y="371"/>
                </a:cubicBezTo>
                <a:cubicBezTo>
                  <a:pt x="1485" y="371"/>
                  <a:pt x="1485" y="371"/>
                  <a:pt x="1485" y="371"/>
                </a:cubicBezTo>
                <a:cubicBezTo>
                  <a:pt x="1481" y="371"/>
                  <a:pt x="1481" y="371"/>
                  <a:pt x="1481" y="371"/>
                </a:cubicBezTo>
                <a:cubicBezTo>
                  <a:pt x="1479" y="371"/>
                  <a:pt x="1479" y="371"/>
                  <a:pt x="1479" y="371"/>
                </a:cubicBezTo>
                <a:cubicBezTo>
                  <a:pt x="1478" y="371"/>
                  <a:pt x="1478" y="371"/>
                  <a:pt x="1478" y="371"/>
                </a:cubicBezTo>
                <a:cubicBezTo>
                  <a:pt x="1477" y="371"/>
                  <a:pt x="1477" y="371"/>
                  <a:pt x="1477" y="371"/>
                </a:cubicBezTo>
                <a:cubicBezTo>
                  <a:pt x="1475" y="371"/>
                  <a:pt x="1475" y="371"/>
                  <a:pt x="1475" y="371"/>
                </a:cubicBezTo>
                <a:cubicBezTo>
                  <a:pt x="1474" y="371"/>
                  <a:pt x="1474" y="371"/>
                  <a:pt x="1474" y="371"/>
                </a:cubicBezTo>
                <a:cubicBezTo>
                  <a:pt x="1474" y="371"/>
                  <a:pt x="1474" y="371"/>
                  <a:pt x="1474" y="371"/>
                </a:cubicBezTo>
                <a:cubicBezTo>
                  <a:pt x="1473" y="372"/>
                  <a:pt x="1473" y="372"/>
                  <a:pt x="1473" y="372"/>
                </a:cubicBezTo>
                <a:cubicBezTo>
                  <a:pt x="1471" y="373"/>
                  <a:pt x="1471" y="373"/>
                  <a:pt x="1471" y="373"/>
                </a:cubicBezTo>
                <a:cubicBezTo>
                  <a:pt x="1470" y="373"/>
                  <a:pt x="1470" y="373"/>
                  <a:pt x="1470" y="373"/>
                </a:cubicBezTo>
                <a:cubicBezTo>
                  <a:pt x="1469" y="374"/>
                  <a:pt x="1469" y="374"/>
                  <a:pt x="1469" y="374"/>
                </a:cubicBezTo>
                <a:cubicBezTo>
                  <a:pt x="1469" y="373"/>
                  <a:pt x="1469" y="373"/>
                  <a:pt x="1469" y="373"/>
                </a:cubicBezTo>
                <a:cubicBezTo>
                  <a:pt x="1470" y="372"/>
                  <a:pt x="1470" y="372"/>
                  <a:pt x="1470" y="372"/>
                </a:cubicBezTo>
                <a:cubicBezTo>
                  <a:pt x="1472" y="369"/>
                  <a:pt x="1472" y="369"/>
                  <a:pt x="1472" y="369"/>
                </a:cubicBezTo>
                <a:cubicBezTo>
                  <a:pt x="1471" y="370"/>
                  <a:pt x="1471" y="370"/>
                  <a:pt x="1471" y="370"/>
                </a:cubicBezTo>
                <a:cubicBezTo>
                  <a:pt x="1469" y="369"/>
                  <a:pt x="1469" y="369"/>
                  <a:pt x="1469" y="369"/>
                </a:cubicBezTo>
                <a:cubicBezTo>
                  <a:pt x="1470" y="369"/>
                  <a:pt x="1470" y="369"/>
                  <a:pt x="1470" y="369"/>
                </a:cubicBezTo>
                <a:cubicBezTo>
                  <a:pt x="1470" y="367"/>
                  <a:pt x="1470" y="367"/>
                  <a:pt x="1470" y="367"/>
                </a:cubicBezTo>
                <a:cubicBezTo>
                  <a:pt x="1474" y="364"/>
                  <a:pt x="1474" y="364"/>
                  <a:pt x="1474" y="364"/>
                </a:cubicBezTo>
                <a:cubicBezTo>
                  <a:pt x="1476" y="362"/>
                  <a:pt x="1476" y="362"/>
                  <a:pt x="1476" y="362"/>
                </a:cubicBezTo>
                <a:cubicBezTo>
                  <a:pt x="1477" y="362"/>
                  <a:pt x="1477" y="362"/>
                  <a:pt x="1477" y="362"/>
                </a:cubicBezTo>
                <a:cubicBezTo>
                  <a:pt x="1478" y="360"/>
                  <a:pt x="1478" y="360"/>
                  <a:pt x="1478" y="360"/>
                </a:cubicBezTo>
                <a:cubicBezTo>
                  <a:pt x="1477" y="359"/>
                  <a:pt x="1477" y="359"/>
                  <a:pt x="1477" y="359"/>
                </a:cubicBezTo>
                <a:cubicBezTo>
                  <a:pt x="1478" y="358"/>
                  <a:pt x="1478" y="358"/>
                  <a:pt x="1478" y="358"/>
                </a:cubicBezTo>
                <a:cubicBezTo>
                  <a:pt x="1478" y="357"/>
                  <a:pt x="1478" y="357"/>
                  <a:pt x="1478" y="357"/>
                </a:cubicBezTo>
                <a:cubicBezTo>
                  <a:pt x="1476" y="357"/>
                  <a:pt x="1476" y="357"/>
                  <a:pt x="1476" y="357"/>
                </a:cubicBezTo>
                <a:cubicBezTo>
                  <a:pt x="1475" y="358"/>
                  <a:pt x="1475" y="358"/>
                  <a:pt x="1475" y="358"/>
                </a:cubicBezTo>
                <a:cubicBezTo>
                  <a:pt x="1473" y="358"/>
                  <a:pt x="1473" y="358"/>
                  <a:pt x="1473" y="358"/>
                </a:cubicBezTo>
                <a:cubicBezTo>
                  <a:pt x="1472" y="359"/>
                  <a:pt x="1472" y="359"/>
                  <a:pt x="1472" y="359"/>
                </a:cubicBezTo>
                <a:cubicBezTo>
                  <a:pt x="1470" y="359"/>
                  <a:pt x="1470" y="359"/>
                  <a:pt x="1470" y="359"/>
                </a:cubicBezTo>
                <a:cubicBezTo>
                  <a:pt x="1468" y="359"/>
                  <a:pt x="1468" y="359"/>
                  <a:pt x="1468" y="359"/>
                </a:cubicBezTo>
                <a:cubicBezTo>
                  <a:pt x="1467" y="359"/>
                  <a:pt x="1467" y="359"/>
                  <a:pt x="1467" y="359"/>
                </a:cubicBezTo>
                <a:cubicBezTo>
                  <a:pt x="1467" y="360"/>
                  <a:pt x="1467" y="360"/>
                  <a:pt x="1467" y="360"/>
                </a:cubicBezTo>
                <a:cubicBezTo>
                  <a:pt x="1467" y="359"/>
                  <a:pt x="1467" y="359"/>
                  <a:pt x="1467" y="359"/>
                </a:cubicBezTo>
                <a:cubicBezTo>
                  <a:pt x="1466" y="359"/>
                  <a:pt x="1466" y="359"/>
                  <a:pt x="1466" y="359"/>
                </a:cubicBezTo>
                <a:cubicBezTo>
                  <a:pt x="1464" y="360"/>
                  <a:pt x="1464" y="360"/>
                  <a:pt x="1464" y="360"/>
                </a:cubicBezTo>
                <a:cubicBezTo>
                  <a:pt x="1465" y="359"/>
                  <a:pt x="1465" y="359"/>
                  <a:pt x="1465" y="359"/>
                </a:cubicBezTo>
                <a:cubicBezTo>
                  <a:pt x="1463" y="358"/>
                  <a:pt x="1463" y="358"/>
                  <a:pt x="1463" y="358"/>
                </a:cubicBezTo>
                <a:cubicBezTo>
                  <a:pt x="1462" y="359"/>
                  <a:pt x="1462" y="359"/>
                  <a:pt x="1462" y="359"/>
                </a:cubicBezTo>
                <a:cubicBezTo>
                  <a:pt x="1461" y="360"/>
                  <a:pt x="1461" y="360"/>
                  <a:pt x="1461" y="360"/>
                </a:cubicBezTo>
                <a:cubicBezTo>
                  <a:pt x="1462" y="361"/>
                  <a:pt x="1462" y="361"/>
                  <a:pt x="1462" y="361"/>
                </a:cubicBezTo>
                <a:cubicBezTo>
                  <a:pt x="1461" y="361"/>
                  <a:pt x="1461" y="361"/>
                  <a:pt x="1461" y="361"/>
                </a:cubicBezTo>
                <a:cubicBezTo>
                  <a:pt x="1461" y="363"/>
                  <a:pt x="1461" y="363"/>
                  <a:pt x="1461" y="363"/>
                </a:cubicBezTo>
                <a:cubicBezTo>
                  <a:pt x="1460" y="363"/>
                  <a:pt x="1460" y="363"/>
                  <a:pt x="1460" y="363"/>
                </a:cubicBezTo>
                <a:cubicBezTo>
                  <a:pt x="1460" y="365"/>
                  <a:pt x="1460" y="365"/>
                  <a:pt x="1460" y="365"/>
                </a:cubicBezTo>
                <a:cubicBezTo>
                  <a:pt x="1460" y="366"/>
                  <a:pt x="1460" y="366"/>
                  <a:pt x="1460" y="366"/>
                </a:cubicBezTo>
                <a:cubicBezTo>
                  <a:pt x="1459" y="366"/>
                  <a:pt x="1459" y="366"/>
                  <a:pt x="1459" y="366"/>
                </a:cubicBezTo>
                <a:cubicBezTo>
                  <a:pt x="1461" y="368"/>
                  <a:pt x="1461" y="368"/>
                  <a:pt x="1461" y="368"/>
                </a:cubicBezTo>
                <a:cubicBezTo>
                  <a:pt x="1462" y="369"/>
                  <a:pt x="1462" y="369"/>
                  <a:pt x="1462" y="369"/>
                </a:cubicBezTo>
                <a:cubicBezTo>
                  <a:pt x="1460" y="368"/>
                  <a:pt x="1460" y="368"/>
                  <a:pt x="1460" y="368"/>
                </a:cubicBezTo>
                <a:cubicBezTo>
                  <a:pt x="1459" y="369"/>
                  <a:pt x="1459" y="369"/>
                  <a:pt x="1459" y="369"/>
                </a:cubicBezTo>
                <a:cubicBezTo>
                  <a:pt x="1457" y="368"/>
                  <a:pt x="1457" y="368"/>
                  <a:pt x="1457" y="368"/>
                </a:cubicBezTo>
                <a:cubicBezTo>
                  <a:pt x="1457" y="368"/>
                  <a:pt x="1457" y="368"/>
                  <a:pt x="1457" y="368"/>
                </a:cubicBezTo>
                <a:cubicBezTo>
                  <a:pt x="1458" y="369"/>
                  <a:pt x="1458" y="369"/>
                  <a:pt x="1458" y="369"/>
                </a:cubicBezTo>
                <a:cubicBezTo>
                  <a:pt x="1457" y="370"/>
                  <a:pt x="1457" y="370"/>
                  <a:pt x="1457" y="370"/>
                </a:cubicBezTo>
                <a:cubicBezTo>
                  <a:pt x="1457" y="368"/>
                  <a:pt x="1457" y="368"/>
                  <a:pt x="1457" y="368"/>
                </a:cubicBezTo>
                <a:cubicBezTo>
                  <a:pt x="1456" y="370"/>
                  <a:pt x="1456" y="370"/>
                  <a:pt x="1456" y="370"/>
                </a:cubicBezTo>
                <a:cubicBezTo>
                  <a:pt x="1457" y="371"/>
                  <a:pt x="1457" y="371"/>
                  <a:pt x="1457" y="371"/>
                </a:cubicBezTo>
                <a:cubicBezTo>
                  <a:pt x="1456" y="372"/>
                  <a:pt x="1456" y="372"/>
                  <a:pt x="1456" y="372"/>
                </a:cubicBezTo>
                <a:cubicBezTo>
                  <a:pt x="1457" y="373"/>
                  <a:pt x="1457" y="373"/>
                  <a:pt x="1457" y="373"/>
                </a:cubicBezTo>
                <a:cubicBezTo>
                  <a:pt x="1458" y="373"/>
                  <a:pt x="1458" y="373"/>
                  <a:pt x="1458" y="373"/>
                </a:cubicBezTo>
                <a:cubicBezTo>
                  <a:pt x="1457" y="374"/>
                  <a:pt x="1457" y="374"/>
                  <a:pt x="1457" y="374"/>
                </a:cubicBezTo>
                <a:lnTo>
                  <a:pt x="1456" y="373"/>
                </a:lnTo>
                <a:close/>
                <a:moveTo>
                  <a:pt x="1452" y="371"/>
                </a:moveTo>
                <a:cubicBezTo>
                  <a:pt x="1451" y="371"/>
                  <a:pt x="1451" y="371"/>
                  <a:pt x="1451" y="371"/>
                </a:cubicBezTo>
                <a:cubicBezTo>
                  <a:pt x="1451" y="374"/>
                  <a:pt x="1451" y="374"/>
                  <a:pt x="1451" y="374"/>
                </a:cubicBezTo>
                <a:cubicBezTo>
                  <a:pt x="1449" y="372"/>
                  <a:pt x="1449" y="372"/>
                  <a:pt x="1449" y="372"/>
                </a:cubicBezTo>
                <a:cubicBezTo>
                  <a:pt x="1449" y="374"/>
                  <a:pt x="1449" y="374"/>
                  <a:pt x="1449" y="374"/>
                </a:cubicBezTo>
                <a:cubicBezTo>
                  <a:pt x="1449" y="373"/>
                  <a:pt x="1449" y="373"/>
                  <a:pt x="1449" y="373"/>
                </a:cubicBezTo>
                <a:cubicBezTo>
                  <a:pt x="1448" y="374"/>
                  <a:pt x="1448" y="374"/>
                  <a:pt x="1448" y="374"/>
                </a:cubicBezTo>
                <a:cubicBezTo>
                  <a:pt x="1450" y="375"/>
                  <a:pt x="1450" y="375"/>
                  <a:pt x="1450" y="375"/>
                </a:cubicBezTo>
                <a:cubicBezTo>
                  <a:pt x="1450" y="375"/>
                  <a:pt x="1450" y="375"/>
                  <a:pt x="1450" y="375"/>
                </a:cubicBezTo>
                <a:cubicBezTo>
                  <a:pt x="1451" y="375"/>
                  <a:pt x="1451" y="375"/>
                  <a:pt x="1451" y="375"/>
                </a:cubicBezTo>
                <a:cubicBezTo>
                  <a:pt x="1450" y="376"/>
                  <a:pt x="1450" y="376"/>
                  <a:pt x="1450" y="376"/>
                </a:cubicBezTo>
                <a:cubicBezTo>
                  <a:pt x="1452" y="378"/>
                  <a:pt x="1452" y="378"/>
                  <a:pt x="1452" y="378"/>
                </a:cubicBezTo>
                <a:cubicBezTo>
                  <a:pt x="1454" y="378"/>
                  <a:pt x="1454" y="378"/>
                  <a:pt x="1454" y="378"/>
                </a:cubicBezTo>
                <a:cubicBezTo>
                  <a:pt x="1454" y="380"/>
                  <a:pt x="1454" y="380"/>
                  <a:pt x="1454" y="380"/>
                </a:cubicBezTo>
                <a:cubicBezTo>
                  <a:pt x="1455" y="380"/>
                  <a:pt x="1455" y="380"/>
                  <a:pt x="1455" y="380"/>
                </a:cubicBezTo>
                <a:cubicBezTo>
                  <a:pt x="1456" y="378"/>
                  <a:pt x="1456" y="378"/>
                  <a:pt x="1456" y="378"/>
                </a:cubicBezTo>
                <a:cubicBezTo>
                  <a:pt x="1457" y="377"/>
                  <a:pt x="1457" y="377"/>
                  <a:pt x="1457" y="377"/>
                </a:cubicBezTo>
                <a:cubicBezTo>
                  <a:pt x="1456" y="377"/>
                  <a:pt x="1456" y="377"/>
                  <a:pt x="1456" y="377"/>
                </a:cubicBezTo>
                <a:cubicBezTo>
                  <a:pt x="1455" y="377"/>
                  <a:pt x="1455" y="377"/>
                  <a:pt x="1455" y="377"/>
                </a:cubicBezTo>
                <a:cubicBezTo>
                  <a:pt x="1453" y="376"/>
                  <a:pt x="1453" y="376"/>
                  <a:pt x="1453" y="376"/>
                </a:cubicBezTo>
                <a:cubicBezTo>
                  <a:pt x="1453" y="373"/>
                  <a:pt x="1453" y="373"/>
                  <a:pt x="1453" y="373"/>
                </a:cubicBezTo>
                <a:lnTo>
                  <a:pt x="1452" y="371"/>
                </a:lnTo>
                <a:close/>
                <a:moveTo>
                  <a:pt x="1446" y="366"/>
                </a:moveTo>
                <a:cubicBezTo>
                  <a:pt x="1447" y="367"/>
                  <a:pt x="1447" y="367"/>
                  <a:pt x="1447" y="367"/>
                </a:cubicBezTo>
                <a:cubicBezTo>
                  <a:pt x="1448" y="367"/>
                  <a:pt x="1448" y="367"/>
                  <a:pt x="1448" y="367"/>
                </a:cubicBezTo>
                <a:cubicBezTo>
                  <a:pt x="1450" y="367"/>
                  <a:pt x="1450" y="367"/>
                  <a:pt x="1450" y="367"/>
                </a:cubicBezTo>
                <a:cubicBezTo>
                  <a:pt x="1451" y="365"/>
                  <a:pt x="1451" y="365"/>
                  <a:pt x="1451" y="365"/>
                </a:cubicBezTo>
                <a:cubicBezTo>
                  <a:pt x="1451" y="365"/>
                  <a:pt x="1451" y="365"/>
                  <a:pt x="1451" y="365"/>
                </a:cubicBezTo>
                <a:cubicBezTo>
                  <a:pt x="1451" y="363"/>
                  <a:pt x="1451" y="363"/>
                  <a:pt x="1451" y="363"/>
                </a:cubicBezTo>
                <a:cubicBezTo>
                  <a:pt x="1453" y="362"/>
                  <a:pt x="1453" y="362"/>
                  <a:pt x="1453" y="362"/>
                </a:cubicBezTo>
                <a:cubicBezTo>
                  <a:pt x="1453" y="359"/>
                  <a:pt x="1453" y="359"/>
                  <a:pt x="1453" y="359"/>
                </a:cubicBezTo>
                <a:cubicBezTo>
                  <a:pt x="1448" y="362"/>
                  <a:pt x="1448" y="362"/>
                  <a:pt x="1448" y="362"/>
                </a:cubicBezTo>
                <a:cubicBezTo>
                  <a:pt x="1449" y="364"/>
                  <a:pt x="1449" y="364"/>
                  <a:pt x="1449" y="364"/>
                </a:cubicBezTo>
                <a:cubicBezTo>
                  <a:pt x="1447" y="363"/>
                  <a:pt x="1447" y="363"/>
                  <a:pt x="1447" y="363"/>
                </a:cubicBezTo>
                <a:cubicBezTo>
                  <a:pt x="1446" y="364"/>
                  <a:pt x="1446" y="364"/>
                  <a:pt x="1446" y="364"/>
                </a:cubicBezTo>
                <a:cubicBezTo>
                  <a:pt x="1447" y="366"/>
                  <a:pt x="1447" y="366"/>
                  <a:pt x="1447" y="366"/>
                </a:cubicBezTo>
                <a:lnTo>
                  <a:pt x="1446" y="366"/>
                </a:lnTo>
                <a:close/>
                <a:moveTo>
                  <a:pt x="903" y="48"/>
                </a:moveTo>
                <a:cubicBezTo>
                  <a:pt x="903" y="49"/>
                  <a:pt x="903" y="49"/>
                  <a:pt x="903" y="49"/>
                </a:cubicBezTo>
                <a:cubicBezTo>
                  <a:pt x="904" y="50"/>
                  <a:pt x="904" y="50"/>
                  <a:pt x="904" y="50"/>
                </a:cubicBezTo>
                <a:cubicBezTo>
                  <a:pt x="905" y="49"/>
                  <a:pt x="905" y="49"/>
                  <a:pt x="905" y="49"/>
                </a:cubicBezTo>
                <a:cubicBezTo>
                  <a:pt x="904" y="48"/>
                  <a:pt x="904" y="48"/>
                  <a:pt x="904" y="48"/>
                </a:cubicBezTo>
                <a:lnTo>
                  <a:pt x="903" y="48"/>
                </a:lnTo>
                <a:close/>
                <a:moveTo>
                  <a:pt x="848" y="105"/>
                </a:moveTo>
                <a:cubicBezTo>
                  <a:pt x="847" y="104"/>
                  <a:pt x="847" y="104"/>
                  <a:pt x="847" y="104"/>
                </a:cubicBezTo>
                <a:cubicBezTo>
                  <a:pt x="846" y="105"/>
                  <a:pt x="846" y="105"/>
                  <a:pt x="846" y="105"/>
                </a:cubicBezTo>
                <a:lnTo>
                  <a:pt x="848" y="105"/>
                </a:lnTo>
                <a:close/>
                <a:moveTo>
                  <a:pt x="842" y="103"/>
                </a:moveTo>
                <a:cubicBezTo>
                  <a:pt x="843" y="105"/>
                  <a:pt x="843" y="105"/>
                  <a:pt x="843" y="105"/>
                </a:cubicBezTo>
                <a:cubicBezTo>
                  <a:pt x="844" y="105"/>
                  <a:pt x="844" y="105"/>
                  <a:pt x="844" y="105"/>
                </a:cubicBezTo>
                <a:cubicBezTo>
                  <a:pt x="844" y="104"/>
                  <a:pt x="844" y="104"/>
                  <a:pt x="844" y="104"/>
                </a:cubicBezTo>
                <a:cubicBezTo>
                  <a:pt x="844" y="103"/>
                  <a:pt x="844" y="103"/>
                  <a:pt x="844" y="103"/>
                </a:cubicBezTo>
                <a:cubicBezTo>
                  <a:pt x="843" y="103"/>
                  <a:pt x="843" y="103"/>
                  <a:pt x="843" y="103"/>
                </a:cubicBezTo>
                <a:lnTo>
                  <a:pt x="842" y="103"/>
                </a:lnTo>
                <a:close/>
                <a:moveTo>
                  <a:pt x="907" y="143"/>
                </a:moveTo>
                <a:cubicBezTo>
                  <a:pt x="908" y="142"/>
                  <a:pt x="908" y="142"/>
                  <a:pt x="908" y="142"/>
                </a:cubicBezTo>
                <a:cubicBezTo>
                  <a:pt x="907" y="141"/>
                  <a:pt x="907" y="141"/>
                  <a:pt x="907" y="141"/>
                </a:cubicBezTo>
                <a:cubicBezTo>
                  <a:pt x="906" y="139"/>
                  <a:pt x="906" y="139"/>
                  <a:pt x="906" y="139"/>
                </a:cubicBezTo>
                <a:cubicBezTo>
                  <a:pt x="906" y="141"/>
                  <a:pt x="906" y="141"/>
                  <a:pt x="906" y="141"/>
                </a:cubicBezTo>
                <a:cubicBezTo>
                  <a:pt x="906" y="143"/>
                  <a:pt x="906" y="143"/>
                  <a:pt x="906" y="143"/>
                </a:cubicBezTo>
                <a:lnTo>
                  <a:pt x="907" y="143"/>
                </a:lnTo>
                <a:close/>
                <a:moveTo>
                  <a:pt x="820" y="91"/>
                </a:moveTo>
                <a:cubicBezTo>
                  <a:pt x="819" y="91"/>
                  <a:pt x="819" y="91"/>
                  <a:pt x="819" y="91"/>
                </a:cubicBezTo>
                <a:cubicBezTo>
                  <a:pt x="818" y="91"/>
                  <a:pt x="818" y="91"/>
                  <a:pt x="818" y="91"/>
                </a:cubicBezTo>
                <a:cubicBezTo>
                  <a:pt x="816" y="92"/>
                  <a:pt x="816" y="92"/>
                  <a:pt x="816" y="92"/>
                </a:cubicBezTo>
                <a:cubicBezTo>
                  <a:pt x="817" y="93"/>
                  <a:pt x="817" y="93"/>
                  <a:pt x="817" y="93"/>
                </a:cubicBezTo>
                <a:cubicBezTo>
                  <a:pt x="817" y="94"/>
                  <a:pt x="817" y="94"/>
                  <a:pt x="817" y="94"/>
                </a:cubicBezTo>
                <a:cubicBezTo>
                  <a:pt x="818" y="95"/>
                  <a:pt x="818" y="95"/>
                  <a:pt x="818" y="95"/>
                </a:cubicBezTo>
                <a:cubicBezTo>
                  <a:pt x="819" y="94"/>
                  <a:pt x="819" y="94"/>
                  <a:pt x="819" y="94"/>
                </a:cubicBezTo>
                <a:cubicBezTo>
                  <a:pt x="820" y="95"/>
                  <a:pt x="820" y="95"/>
                  <a:pt x="820" y="95"/>
                </a:cubicBezTo>
                <a:cubicBezTo>
                  <a:pt x="821" y="95"/>
                  <a:pt x="821" y="95"/>
                  <a:pt x="821" y="95"/>
                </a:cubicBezTo>
                <a:cubicBezTo>
                  <a:pt x="822" y="96"/>
                  <a:pt x="822" y="96"/>
                  <a:pt x="822" y="96"/>
                </a:cubicBezTo>
                <a:cubicBezTo>
                  <a:pt x="822" y="96"/>
                  <a:pt x="823" y="96"/>
                  <a:pt x="823" y="96"/>
                </a:cubicBezTo>
                <a:cubicBezTo>
                  <a:pt x="824" y="94"/>
                  <a:pt x="824" y="94"/>
                  <a:pt x="824" y="94"/>
                </a:cubicBezTo>
                <a:cubicBezTo>
                  <a:pt x="823" y="93"/>
                  <a:pt x="823" y="93"/>
                  <a:pt x="823" y="93"/>
                </a:cubicBezTo>
                <a:cubicBezTo>
                  <a:pt x="821" y="92"/>
                  <a:pt x="821" y="92"/>
                  <a:pt x="821" y="92"/>
                </a:cubicBezTo>
                <a:lnTo>
                  <a:pt x="820" y="91"/>
                </a:lnTo>
                <a:close/>
                <a:moveTo>
                  <a:pt x="1007" y="470"/>
                </a:moveTo>
                <a:cubicBezTo>
                  <a:pt x="1007" y="470"/>
                  <a:pt x="1008" y="470"/>
                  <a:pt x="1008" y="470"/>
                </a:cubicBezTo>
                <a:cubicBezTo>
                  <a:pt x="1009" y="470"/>
                  <a:pt x="1009" y="470"/>
                  <a:pt x="1009" y="470"/>
                </a:cubicBezTo>
                <a:cubicBezTo>
                  <a:pt x="1009" y="469"/>
                  <a:pt x="1009" y="469"/>
                  <a:pt x="1009" y="469"/>
                </a:cubicBezTo>
                <a:cubicBezTo>
                  <a:pt x="1008" y="468"/>
                  <a:pt x="1008" y="468"/>
                  <a:pt x="1008" y="468"/>
                </a:cubicBezTo>
                <a:cubicBezTo>
                  <a:pt x="1008" y="468"/>
                  <a:pt x="1008" y="468"/>
                  <a:pt x="1008" y="468"/>
                </a:cubicBezTo>
                <a:cubicBezTo>
                  <a:pt x="1007" y="468"/>
                  <a:pt x="1007" y="468"/>
                  <a:pt x="1007" y="468"/>
                </a:cubicBezTo>
                <a:cubicBezTo>
                  <a:pt x="1007" y="468"/>
                  <a:pt x="1007" y="468"/>
                  <a:pt x="1007" y="468"/>
                </a:cubicBezTo>
                <a:cubicBezTo>
                  <a:pt x="1007" y="468"/>
                  <a:pt x="1007" y="468"/>
                  <a:pt x="1007" y="468"/>
                </a:cubicBezTo>
                <a:lnTo>
                  <a:pt x="1007" y="470"/>
                </a:lnTo>
                <a:close/>
                <a:moveTo>
                  <a:pt x="898" y="48"/>
                </a:moveTo>
                <a:cubicBezTo>
                  <a:pt x="899" y="50"/>
                  <a:pt x="899" y="50"/>
                  <a:pt x="899" y="50"/>
                </a:cubicBezTo>
                <a:cubicBezTo>
                  <a:pt x="900" y="49"/>
                  <a:pt x="900" y="49"/>
                  <a:pt x="900" y="49"/>
                </a:cubicBezTo>
                <a:cubicBezTo>
                  <a:pt x="900" y="48"/>
                  <a:pt x="900" y="48"/>
                  <a:pt x="900" y="48"/>
                </a:cubicBezTo>
                <a:cubicBezTo>
                  <a:pt x="899" y="48"/>
                  <a:pt x="899" y="48"/>
                  <a:pt x="899" y="48"/>
                </a:cubicBezTo>
                <a:lnTo>
                  <a:pt x="898" y="48"/>
                </a:lnTo>
                <a:close/>
                <a:moveTo>
                  <a:pt x="896" y="46"/>
                </a:moveTo>
                <a:cubicBezTo>
                  <a:pt x="896" y="48"/>
                  <a:pt x="896" y="48"/>
                  <a:pt x="896" y="48"/>
                </a:cubicBezTo>
                <a:cubicBezTo>
                  <a:pt x="897" y="47"/>
                  <a:pt x="897" y="47"/>
                  <a:pt x="897" y="47"/>
                </a:cubicBezTo>
                <a:cubicBezTo>
                  <a:pt x="897" y="46"/>
                  <a:pt x="897" y="46"/>
                  <a:pt x="897" y="46"/>
                </a:cubicBezTo>
                <a:cubicBezTo>
                  <a:pt x="897" y="45"/>
                  <a:pt x="897" y="45"/>
                  <a:pt x="897" y="45"/>
                </a:cubicBezTo>
                <a:lnTo>
                  <a:pt x="896" y="46"/>
                </a:lnTo>
                <a:close/>
                <a:moveTo>
                  <a:pt x="904" y="137"/>
                </a:moveTo>
                <a:cubicBezTo>
                  <a:pt x="903" y="137"/>
                  <a:pt x="903" y="137"/>
                  <a:pt x="903" y="137"/>
                </a:cubicBezTo>
                <a:cubicBezTo>
                  <a:pt x="902" y="139"/>
                  <a:pt x="902" y="139"/>
                  <a:pt x="902" y="139"/>
                </a:cubicBezTo>
                <a:cubicBezTo>
                  <a:pt x="901" y="141"/>
                  <a:pt x="901" y="141"/>
                  <a:pt x="901" y="141"/>
                </a:cubicBezTo>
                <a:cubicBezTo>
                  <a:pt x="902" y="143"/>
                  <a:pt x="902" y="143"/>
                  <a:pt x="902" y="143"/>
                </a:cubicBezTo>
                <a:cubicBezTo>
                  <a:pt x="902" y="144"/>
                  <a:pt x="902" y="144"/>
                  <a:pt x="902" y="144"/>
                </a:cubicBezTo>
                <a:cubicBezTo>
                  <a:pt x="903" y="145"/>
                  <a:pt x="903" y="145"/>
                  <a:pt x="903" y="145"/>
                </a:cubicBezTo>
                <a:cubicBezTo>
                  <a:pt x="904" y="145"/>
                  <a:pt x="904" y="145"/>
                  <a:pt x="904" y="145"/>
                </a:cubicBezTo>
                <a:cubicBezTo>
                  <a:pt x="905" y="144"/>
                  <a:pt x="905" y="144"/>
                  <a:pt x="905" y="144"/>
                </a:cubicBezTo>
                <a:cubicBezTo>
                  <a:pt x="904" y="141"/>
                  <a:pt x="904" y="141"/>
                  <a:pt x="904" y="141"/>
                </a:cubicBezTo>
                <a:cubicBezTo>
                  <a:pt x="905" y="139"/>
                  <a:pt x="905" y="139"/>
                  <a:pt x="905" y="139"/>
                </a:cubicBezTo>
                <a:lnTo>
                  <a:pt x="904" y="137"/>
                </a:lnTo>
                <a:close/>
                <a:moveTo>
                  <a:pt x="851" y="105"/>
                </a:moveTo>
                <a:cubicBezTo>
                  <a:pt x="849" y="105"/>
                  <a:pt x="849" y="105"/>
                  <a:pt x="849" y="105"/>
                </a:cubicBezTo>
                <a:cubicBezTo>
                  <a:pt x="849" y="105"/>
                  <a:pt x="849" y="105"/>
                  <a:pt x="849" y="105"/>
                </a:cubicBezTo>
                <a:cubicBezTo>
                  <a:pt x="849" y="106"/>
                  <a:pt x="849" y="106"/>
                  <a:pt x="849" y="106"/>
                </a:cubicBezTo>
                <a:cubicBezTo>
                  <a:pt x="851" y="106"/>
                  <a:pt x="851" y="106"/>
                  <a:pt x="851" y="106"/>
                </a:cubicBezTo>
                <a:cubicBezTo>
                  <a:pt x="852" y="107"/>
                  <a:pt x="852" y="107"/>
                  <a:pt x="852" y="107"/>
                </a:cubicBezTo>
                <a:cubicBezTo>
                  <a:pt x="853" y="107"/>
                  <a:pt x="853" y="107"/>
                  <a:pt x="853" y="107"/>
                </a:cubicBezTo>
                <a:cubicBezTo>
                  <a:pt x="853" y="106"/>
                  <a:pt x="853" y="106"/>
                  <a:pt x="853" y="106"/>
                </a:cubicBezTo>
                <a:cubicBezTo>
                  <a:pt x="851" y="105"/>
                  <a:pt x="851" y="105"/>
                  <a:pt x="851" y="105"/>
                </a:cubicBezTo>
                <a:close/>
                <a:moveTo>
                  <a:pt x="855" y="115"/>
                </a:moveTo>
                <a:cubicBezTo>
                  <a:pt x="855" y="116"/>
                  <a:pt x="855" y="116"/>
                  <a:pt x="855" y="116"/>
                </a:cubicBezTo>
                <a:cubicBezTo>
                  <a:pt x="856" y="116"/>
                  <a:pt x="856" y="116"/>
                  <a:pt x="856" y="116"/>
                </a:cubicBezTo>
                <a:cubicBezTo>
                  <a:pt x="858" y="116"/>
                  <a:pt x="858" y="116"/>
                  <a:pt x="858" y="116"/>
                </a:cubicBezTo>
                <a:cubicBezTo>
                  <a:pt x="858" y="115"/>
                  <a:pt x="858" y="115"/>
                  <a:pt x="858" y="115"/>
                </a:cubicBezTo>
                <a:cubicBezTo>
                  <a:pt x="857" y="114"/>
                  <a:pt x="857" y="114"/>
                  <a:pt x="857" y="114"/>
                </a:cubicBezTo>
                <a:cubicBezTo>
                  <a:pt x="855" y="114"/>
                  <a:pt x="855" y="114"/>
                  <a:pt x="855" y="114"/>
                </a:cubicBezTo>
                <a:lnTo>
                  <a:pt x="855" y="115"/>
                </a:lnTo>
                <a:close/>
                <a:moveTo>
                  <a:pt x="910" y="146"/>
                </a:moveTo>
                <a:cubicBezTo>
                  <a:pt x="909" y="145"/>
                  <a:pt x="909" y="145"/>
                  <a:pt x="909" y="145"/>
                </a:cubicBezTo>
                <a:cubicBezTo>
                  <a:pt x="909" y="145"/>
                  <a:pt x="909" y="145"/>
                  <a:pt x="909" y="145"/>
                </a:cubicBezTo>
                <a:cubicBezTo>
                  <a:pt x="908" y="146"/>
                  <a:pt x="908" y="146"/>
                  <a:pt x="908" y="146"/>
                </a:cubicBezTo>
                <a:cubicBezTo>
                  <a:pt x="909" y="147"/>
                  <a:pt x="909" y="147"/>
                  <a:pt x="909" y="147"/>
                </a:cubicBezTo>
                <a:lnTo>
                  <a:pt x="910" y="146"/>
                </a:lnTo>
                <a:close/>
                <a:moveTo>
                  <a:pt x="857" y="112"/>
                </a:moveTo>
                <a:cubicBezTo>
                  <a:pt x="856" y="112"/>
                  <a:pt x="856" y="112"/>
                  <a:pt x="856" y="112"/>
                </a:cubicBezTo>
                <a:cubicBezTo>
                  <a:pt x="857" y="113"/>
                  <a:pt x="857" y="113"/>
                  <a:pt x="857" y="113"/>
                </a:cubicBezTo>
                <a:lnTo>
                  <a:pt x="857" y="112"/>
                </a:lnTo>
                <a:close/>
                <a:moveTo>
                  <a:pt x="854" y="113"/>
                </a:moveTo>
                <a:cubicBezTo>
                  <a:pt x="854" y="113"/>
                  <a:pt x="854" y="113"/>
                  <a:pt x="854" y="113"/>
                </a:cubicBezTo>
                <a:cubicBezTo>
                  <a:pt x="854" y="112"/>
                  <a:pt x="854" y="112"/>
                  <a:pt x="854" y="112"/>
                </a:cubicBezTo>
                <a:cubicBezTo>
                  <a:pt x="853" y="112"/>
                  <a:pt x="853" y="112"/>
                  <a:pt x="853" y="112"/>
                </a:cubicBezTo>
                <a:lnTo>
                  <a:pt x="854" y="113"/>
                </a:lnTo>
                <a:close/>
                <a:moveTo>
                  <a:pt x="901" y="29"/>
                </a:moveTo>
                <a:cubicBezTo>
                  <a:pt x="903" y="29"/>
                  <a:pt x="903" y="29"/>
                  <a:pt x="903" y="29"/>
                </a:cubicBezTo>
                <a:cubicBezTo>
                  <a:pt x="903" y="31"/>
                  <a:pt x="903" y="31"/>
                  <a:pt x="903" y="31"/>
                </a:cubicBezTo>
                <a:cubicBezTo>
                  <a:pt x="902" y="32"/>
                  <a:pt x="902" y="32"/>
                  <a:pt x="902" y="32"/>
                </a:cubicBezTo>
                <a:cubicBezTo>
                  <a:pt x="902" y="34"/>
                  <a:pt x="902" y="34"/>
                  <a:pt x="902" y="34"/>
                </a:cubicBezTo>
                <a:cubicBezTo>
                  <a:pt x="900" y="35"/>
                  <a:pt x="900" y="35"/>
                  <a:pt x="900" y="35"/>
                </a:cubicBezTo>
                <a:cubicBezTo>
                  <a:pt x="900" y="38"/>
                  <a:pt x="900" y="38"/>
                  <a:pt x="900" y="38"/>
                </a:cubicBezTo>
                <a:cubicBezTo>
                  <a:pt x="901" y="40"/>
                  <a:pt x="901" y="40"/>
                  <a:pt x="901" y="40"/>
                </a:cubicBezTo>
                <a:cubicBezTo>
                  <a:pt x="902" y="40"/>
                  <a:pt x="902" y="40"/>
                  <a:pt x="902" y="40"/>
                </a:cubicBezTo>
                <a:cubicBezTo>
                  <a:pt x="903" y="43"/>
                  <a:pt x="903" y="43"/>
                  <a:pt x="903" y="43"/>
                </a:cubicBezTo>
                <a:cubicBezTo>
                  <a:pt x="905" y="43"/>
                  <a:pt x="905" y="43"/>
                  <a:pt x="905" y="43"/>
                </a:cubicBezTo>
                <a:cubicBezTo>
                  <a:pt x="908" y="45"/>
                  <a:pt x="908" y="45"/>
                  <a:pt x="908" y="45"/>
                </a:cubicBezTo>
                <a:cubicBezTo>
                  <a:pt x="909" y="44"/>
                  <a:pt x="909" y="44"/>
                  <a:pt x="909" y="44"/>
                </a:cubicBezTo>
                <a:cubicBezTo>
                  <a:pt x="911" y="43"/>
                  <a:pt x="911" y="43"/>
                  <a:pt x="911" y="43"/>
                </a:cubicBezTo>
                <a:cubicBezTo>
                  <a:pt x="912" y="42"/>
                  <a:pt x="912" y="42"/>
                  <a:pt x="912" y="42"/>
                </a:cubicBezTo>
                <a:cubicBezTo>
                  <a:pt x="915" y="42"/>
                  <a:pt x="915" y="42"/>
                  <a:pt x="915" y="42"/>
                </a:cubicBezTo>
                <a:cubicBezTo>
                  <a:pt x="917" y="43"/>
                  <a:pt x="917" y="43"/>
                  <a:pt x="917" y="43"/>
                </a:cubicBezTo>
                <a:cubicBezTo>
                  <a:pt x="918" y="43"/>
                  <a:pt x="918" y="43"/>
                  <a:pt x="918" y="43"/>
                </a:cubicBezTo>
                <a:cubicBezTo>
                  <a:pt x="920" y="43"/>
                  <a:pt x="920" y="43"/>
                  <a:pt x="920" y="43"/>
                </a:cubicBezTo>
                <a:cubicBezTo>
                  <a:pt x="922" y="44"/>
                  <a:pt x="922" y="44"/>
                  <a:pt x="922" y="44"/>
                </a:cubicBezTo>
                <a:cubicBezTo>
                  <a:pt x="925" y="45"/>
                  <a:pt x="925" y="45"/>
                  <a:pt x="925" y="45"/>
                </a:cubicBezTo>
                <a:cubicBezTo>
                  <a:pt x="926" y="46"/>
                  <a:pt x="926" y="46"/>
                  <a:pt x="926" y="46"/>
                </a:cubicBezTo>
                <a:cubicBezTo>
                  <a:pt x="930" y="47"/>
                  <a:pt x="930" y="47"/>
                  <a:pt x="930" y="47"/>
                </a:cubicBezTo>
                <a:cubicBezTo>
                  <a:pt x="930" y="45"/>
                  <a:pt x="930" y="45"/>
                  <a:pt x="930" y="45"/>
                </a:cubicBezTo>
                <a:cubicBezTo>
                  <a:pt x="932" y="45"/>
                  <a:pt x="932" y="45"/>
                  <a:pt x="932" y="45"/>
                </a:cubicBezTo>
                <a:cubicBezTo>
                  <a:pt x="932" y="44"/>
                  <a:pt x="932" y="44"/>
                  <a:pt x="932" y="44"/>
                </a:cubicBezTo>
                <a:cubicBezTo>
                  <a:pt x="929" y="43"/>
                  <a:pt x="929" y="43"/>
                  <a:pt x="929" y="43"/>
                </a:cubicBezTo>
                <a:cubicBezTo>
                  <a:pt x="930" y="41"/>
                  <a:pt x="930" y="41"/>
                  <a:pt x="930" y="41"/>
                </a:cubicBezTo>
                <a:cubicBezTo>
                  <a:pt x="930" y="40"/>
                  <a:pt x="930" y="40"/>
                  <a:pt x="930" y="40"/>
                </a:cubicBezTo>
                <a:cubicBezTo>
                  <a:pt x="929" y="38"/>
                  <a:pt x="929" y="38"/>
                  <a:pt x="929" y="38"/>
                </a:cubicBezTo>
                <a:cubicBezTo>
                  <a:pt x="930" y="36"/>
                  <a:pt x="930" y="36"/>
                  <a:pt x="930" y="36"/>
                </a:cubicBezTo>
                <a:cubicBezTo>
                  <a:pt x="929" y="35"/>
                  <a:pt x="929" y="35"/>
                  <a:pt x="929" y="35"/>
                </a:cubicBezTo>
                <a:cubicBezTo>
                  <a:pt x="930" y="34"/>
                  <a:pt x="930" y="34"/>
                  <a:pt x="930" y="34"/>
                </a:cubicBezTo>
                <a:cubicBezTo>
                  <a:pt x="928" y="32"/>
                  <a:pt x="928" y="32"/>
                  <a:pt x="928" y="32"/>
                </a:cubicBezTo>
                <a:cubicBezTo>
                  <a:pt x="928" y="31"/>
                  <a:pt x="928" y="31"/>
                  <a:pt x="928" y="31"/>
                </a:cubicBezTo>
                <a:cubicBezTo>
                  <a:pt x="929" y="29"/>
                  <a:pt x="929" y="29"/>
                  <a:pt x="929" y="29"/>
                </a:cubicBezTo>
                <a:cubicBezTo>
                  <a:pt x="928" y="27"/>
                  <a:pt x="928" y="27"/>
                  <a:pt x="928" y="27"/>
                </a:cubicBezTo>
                <a:cubicBezTo>
                  <a:pt x="925" y="25"/>
                  <a:pt x="925" y="25"/>
                  <a:pt x="925" y="25"/>
                </a:cubicBezTo>
                <a:cubicBezTo>
                  <a:pt x="924" y="23"/>
                  <a:pt x="924" y="23"/>
                  <a:pt x="924" y="23"/>
                </a:cubicBezTo>
                <a:cubicBezTo>
                  <a:pt x="923" y="22"/>
                  <a:pt x="923" y="22"/>
                  <a:pt x="923" y="22"/>
                </a:cubicBezTo>
                <a:cubicBezTo>
                  <a:pt x="920" y="22"/>
                  <a:pt x="920" y="22"/>
                  <a:pt x="920" y="22"/>
                </a:cubicBezTo>
                <a:cubicBezTo>
                  <a:pt x="916" y="21"/>
                  <a:pt x="916" y="21"/>
                  <a:pt x="916" y="21"/>
                </a:cubicBezTo>
                <a:cubicBezTo>
                  <a:pt x="916" y="22"/>
                  <a:pt x="916" y="22"/>
                  <a:pt x="916" y="22"/>
                </a:cubicBezTo>
                <a:cubicBezTo>
                  <a:pt x="913" y="21"/>
                  <a:pt x="913" y="21"/>
                  <a:pt x="913" y="21"/>
                </a:cubicBezTo>
                <a:cubicBezTo>
                  <a:pt x="912" y="20"/>
                  <a:pt x="912" y="20"/>
                  <a:pt x="912" y="20"/>
                </a:cubicBezTo>
                <a:cubicBezTo>
                  <a:pt x="908" y="19"/>
                  <a:pt x="908" y="19"/>
                  <a:pt x="908" y="19"/>
                </a:cubicBezTo>
                <a:cubicBezTo>
                  <a:pt x="908" y="17"/>
                  <a:pt x="908" y="17"/>
                  <a:pt x="908" y="17"/>
                </a:cubicBezTo>
                <a:cubicBezTo>
                  <a:pt x="906" y="16"/>
                  <a:pt x="906" y="16"/>
                  <a:pt x="906" y="16"/>
                </a:cubicBezTo>
                <a:cubicBezTo>
                  <a:pt x="905" y="16"/>
                  <a:pt x="905" y="16"/>
                  <a:pt x="905" y="16"/>
                </a:cubicBezTo>
                <a:cubicBezTo>
                  <a:pt x="904" y="19"/>
                  <a:pt x="904" y="19"/>
                  <a:pt x="904" y="19"/>
                </a:cubicBezTo>
                <a:cubicBezTo>
                  <a:pt x="903" y="20"/>
                  <a:pt x="903" y="20"/>
                  <a:pt x="903" y="20"/>
                </a:cubicBezTo>
                <a:cubicBezTo>
                  <a:pt x="903" y="22"/>
                  <a:pt x="903" y="22"/>
                  <a:pt x="903" y="22"/>
                </a:cubicBezTo>
                <a:cubicBezTo>
                  <a:pt x="903" y="24"/>
                  <a:pt x="903" y="24"/>
                  <a:pt x="903" y="24"/>
                </a:cubicBezTo>
                <a:cubicBezTo>
                  <a:pt x="901" y="23"/>
                  <a:pt x="901" y="23"/>
                  <a:pt x="901" y="23"/>
                </a:cubicBezTo>
                <a:cubicBezTo>
                  <a:pt x="899" y="28"/>
                  <a:pt x="899" y="28"/>
                  <a:pt x="899" y="28"/>
                </a:cubicBezTo>
                <a:lnTo>
                  <a:pt x="901" y="29"/>
                </a:lnTo>
                <a:close/>
                <a:moveTo>
                  <a:pt x="996" y="182"/>
                </a:moveTo>
                <a:cubicBezTo>
                  <a:pt x="997" y="180"/>
                  <a:pt x="997" y="180"/>
                  <a:pt x="997" y="180"/>
                </a:cubicBezTo>
                <a:cubicBezTo>
                  <a:pt x="996" y="180"/>
                  <a:pt x="996" y="180"/>
                  <a:pt x="996" y="180"/>
                </a:cubicBezTo>
                <a:cubicBezTo>
                  <a:pt x="995" y="180"/>
                  <a:pt x="995" y="180"/>
                  <a:pt x="995" y="180"/>
                </a:cubicBezTo>
                <a:cubicBezTo>
                  <a:pt x="994" y="181"/>
                  <a:pt x="994" y="181"/>
                  <a:pt x="994" y="181"/>
                </a:cubicBezTo>
                <a:cubicBezTo>
                  <a:pt x="994" y="183"/>
                  <a:pt x="994" y="183"/>
                  <a:pt x="994" y="183"/>
                </a:cubicBezTo>
                <a:cubicBezTo>
                  <a:pt x="994" y="183"/>
                  <a:pt x="995" y="182"/>
                  <a:pt x="995" y="182"/>
                </a:cubicBezTo>
                <a:lnTo>
                  <a:pt x="996" y="182"/>
                </a:lnTo>
                <a:close/>
                <a:moveTo>
                  <a:pt x="987" y="173"/>
                </a:moveTo>
                <a:cubicBezTo>
                  <a:pt x="988" y="173"/>
                  <a:pt x="988" y="173"/>
                  <a:pt x="988" y="173"/>
                </a:cubicBezTo>
                <a:cubicBezTo>
                  <a:pt x="988" y="171"/>
                  <a:pt x="988" y="171"/>
                  <a:pt x="988" y="171"/>
                </a:cubicBezTo>
                <a:cubicBezTo>
                  <a:pt x="987" y="170"/>
                  <a:pt x="987" y="170"/>
                  <a:pt x="987" y="170"/>
                </a:cubicBezTo>
                <a:cubicBezTo>
                  <a:pt x="985" y="171"/>
                  <a:pt x="985" y="171"/>
                  <a:pt x="985" y="171"/>
                </a:cubicBezTo>
                <a:cubicBezTo>
                  <a:pt x="986" y="173"/>
                  <a:pt x="986" y="173"/>
                  <a:pt x="986" y="173"/>
                </a:cubicBezTo>
                <a:lnTo>
                  <a:pt x="987" y="173"/>
                </a:lnTo>
                <a:close/>
                <a:moveTo>
                  <a:pt x="940" y="82"/>
                </a:moveTo>
                <a:cubicBezTo>
                  <a:pt x="941" y="83"/>
                  <a:pt x="941" y="83"/>
                  <a:pt x="941" y="83"/>
                </a:cubicBezTo>
                <a:cubicBezTo>
                  <a:pt x="942" y="83"/>
                  <a:pt x="942" y="83"/>
                  <a:pt x="942" y="83"/>
                </a:cubicBezTo>
                <a:cubicBezTo>
                  <a:pt x="942" y="81"/>
                  <a:pt x="942" y="81"/>
                  <a:pt x="942" y="81"/>
                </a:cubicBezTo>
                <a:cubicBezTo>
                  <a:pt x="944" y="80"/>
                  <a:pt x="944" y="80"/>
                  <a:pt x="944" y="80"/>
                </a:cubicBezTo>
                <a:cubicBezTo>
                  <a:pt x="943" y="79"/>
                  <a:pt x="943" y="79"/>
                  <a:pt x="943" y="79"/>
                </a:cubicBezTo>
                <a:cubicBezTo>
                  <a:pt x="942" y="80"/>
                  <a:pt x="942" y="80"/>
                  <a:pt x="942" y="80"/>
                </a:cubicBezTo>
                <a:cubicBezTo>
                  <a:pt x="942" y="78"/>
                  <a:pt x="942" y="78"/>
                  <a:pt x="942" y="78"/>
                </a:cubicBezTo>
                <a:cubicBezTo>
                  <a:pt x="941" y="79"/>
                  <a:pt x="941" y="79"/>
                  <a:pt x="941" y="79"/>
                </a:cubicBezTo>
                <a:cubicBezTo>
                  <a:pt x="941" y="81"/>
                  <a:pt x="941" y="81"/>
                  <a:pt x="941" y="81"/>
                </a:cubicBezTo>
                <a:lnTo>
                  <a:pt x="940" y="82"/>
                </a:lnTo>
                <a:close/>
                <a:moveTo>
                  <a:pt x="1004" y="468"/>
                </a:moveTo>
                <a:cubicBezTo>
                  <a:pt x="1004" y="469"/>
                  <a:pt x="1004" y="469"/>
                  <a:pt x="1004" y="469"/>
                </a:cubicBezTo>
                <a:cubicBezTo>
                  <a:pt x="1004" y="470"/>
                  <a:pt x="1004" y="470"/>
                  <a:pt x="1004" y="470"/>
                </a:cubicBezTo>
                <a:cubicBezTo>
                  <a:pt x="1003" y="470"/>
                  <a:pt x="1003" y="470"/>
                  <a:pt x="1003" y="470"/>
                </a:cubicBezTo>
                <a:cubicBezTo>
                  <a:pt x="1002" y="470"/>
                  <a:pt x="1002" y="470"/>
                  <a:pt x="1002" y="470"/>
                </a:cubicBezTo>
                <a:cubicBezTo>
                  <a:pt x="1002" y="470"/>
                  <a:pt x="1002" y="470"/>
                  <a:pt x="1002" y="470"/>
                </a:cubicBezTo>
                <a:cubicBezTo>
                  <a:pt x="1002" y="471"/>
                  <a:pt x="1002" y="471"/>
                  <a:pt x="1002" y="471"/>
                </a:cubicBezTo>
                <a:cubicBezTo>
                  <a:pt x="1003" y="472"/>
                  <a:pt x="1003" y="472"/>
                  <a:pt x="1003" y="472"/>
                </a:cubicBezTo>
                <a:cubicBezTo>
                  <a:pt x="1004" y="471"/>
                  <a:pt x="1004" y="471"/>
                  <a:pt x="1004" y="471"/>
                </a:cubicBezTo>
                <a:cubicBezTo>
                  <a:pt x="1005" y="470"/>
                  <a:pt x="1005" y="470"/>
                  <a:pt x="1005" y="470"/>
                </a:cubicBezTo>
                <a:cubicBezTo>
                  <a:pt x="1005" y="469"/>
                  <a:pt x="1005" y="469"/>
                  <a:pt x="1005" y="469"/>
                </a:cubicBezTo>
                <a:lnTo>
                  <a:pt x="1004" y="468"/>
                </a:lnTo>
                <a:close/>
                <a:moveTo>
                  <a:pt x="1005" y="437"/>
                </a:moveTo>
                <a:cubicBezTo>
                  <a:pt x="1005" y="436"/>
                  <a:pt x="1005" y="436"/>
                  <a:pt x="1005" y="436"/>
                </a:cubicBezTo>
                <a:cubicBezTo>
                  <a:pt x="1003" y="437"/>
                  <a:pt x="1003" y="437"/>
                  <a:pt x="1003" y="437"/>
                </a:cubicBezTo>
                <a:cubicBezTo>
                  <a:pt x="1003" y="439"/>
                  <a:pt x="1003" y="439"/>
                  <a:pt x="1003" y="439"/>
                </a:cubicBezTo>
                <a:cubicBezTo>
                  <a:pt x="1003" y="439"/>
                  <a:pt x="1003" y="439"/>
                  <a:pt x="1003" y="439"/>
                </a:cubicBezTo>
                <a:cubicBezTo>
                  <a:pt x="1004" y="438"/>
                  <a:pt x="1004" y="438"/>
                  <a:pt x="1004" y="438"/>
                </a:cubicBezTo>
                <a:lnTo>
                  <a:pt x="1005" y="437"/>
                </a:lnTo>
                <a:close/>
                <a:moveTo>
                  <a:pt x="971" y="157"/>
                </a:moveTo>
                <a:cubicBezTo>
                  <a:pt x="971" y="157"/>
                  <a:pt x="970" y="158"/>
                  <a:pt x="970" y="158"/>
                </a:cubicBezTo>
                <a:cubicBezTo>
                  <a:pt x="972" y="159"/>
                  <a:pt x="972" y="159"/>
                  <a:pt x="972" y="159"/>
                </a:cubicBezTo>
                <a:cubicBezTo>
                  <a:pt x="973" y="158"/>
                  <a:pt x="973" y="158"/>
                  <a:pt x="973" y="158"/>
                </a:cubicBezTo>
                <a:cubicBezTo>
                  <a:pt x="973" y="157"/>
                  <a:pt x="973" y="157"/>
                  <a:pt x="973" y="157"/>
                </a:cubicBezTo>
                <a:lnTo>
                  <a:pt x="971" y="157"/>
                </a:lnTo>
                <a:close/>
                <a:moveTo>
                  <a:pt x="962" y="149"/>
                </a:moveTo>
                <a:cubicBezTo>
                  <a:pt x="963" y="150"/>
                  <a:pt x="963" y="150"/>
                  <a:pt x="963" y="150"/>
                </a:cubicBezTo>
                <a:cubicBezTo>
                  <a:pt x="964" y="149"/>
                  <a:pt x="964" y="149"/>
                  <a:pt x="964" y="149"/>
                </a:cubicBezTo>
                <a:cubicBezTo>
                  <a:pt x="963" y="149"/>
                  <a:pt x="963" y="149"/>
                  <a:pt x="963" y="149"/>
                </a:cubicBezTo>
                <a:lnTo>
                  <a:pt x="962" y="149"/>
                </a:lnTo>
                <a:close/>
                <a:moveTo>
                  <a:pt x="1086" y="59"/>
                </a:moveTo>
                <a:cubicBezTo>
                  <a:pt x="1086" y="60"/>
                  <a:pt x="1086" y="60"/>
                  <a:pt x="1086" y="60"/>
                </a:cubicBezTo>
                <a:cubicBezTo>
                  <a:pt x="1086" y="60"/>
                  <a:pt x="1086" y="60"/>
                  <a:pt x="1086" y="60"/>
                </a:cubicBezTo>
                <a:cubicBezTo>
                  <a:pt x="1087" y="60"/>
                  <a:pt x="1087" y="60"/>
                  <a:pt x="1087" y="60"/>
                </a:cubicBezTo>
                <a:lnTo>
                  <a:pt x="1086" y="59"/>
                </a:lnTo>
                <a:close/>
                <a:moveTo>
                  <a:pt x="945" y="78"/>
                </a:moveTo>
                <a:cubicBezTo>
                  <a:pt x="946" y="76"/>
                  <a:pt x="946" y="76"/>
                  <a:pt x="946" y="76"/>
                </a:cubicBezTo>
                <a:cubicBezTo>
                  <a:pt x="945" y="75"/>
                  <a:pt x="945" y="75"/>
                  <a:pt x="945" y="75"/>
                </a:cubicBezTo>
                <a:cubicBezTo>
                  <a:pt x="944" y="76"/>
                  <a:pt x="944" y="76"/>
                  <a:pt x="944" y="76"/>
                </a:cubicBezTo>
                <a:cubicBezTo>
                  <a:pt x="944" y="77"/>
                  <a:pt x="944" y="77"/>
                  <a:pt x="944" y="77"/>
                </a:cubicBezTo>
                <a:cubicBezTo>
                  <a:pt x="944" y="78"/>
                  <a:pt x="944" y="78"/>
                  <a:pt x="944" y="78"/>
                </a:cubicBezTo>
                <a:lnTo>
                  <a:pt x="945" y="78"/>
                </a:lnTo>
                <a:close/>
                <a:moveTo>
                  <a:pt x="942" y="76"/>
                </a:moveTo>
                <a:cubicBezTo>
                  <a:pt x="942" y="74"/>
                  <a:pt x="942" y="74"/>
                  <a:pt x="942" y="74"/>
                </a:cubicBezTo>
                <a:cubicBezTo>
                  <a:pt x="942" y="75"/>
                  <a:pt x="942" y="75"/>
                  <a:pt x="942" y="75"/>
                </a:cubicBezTo>
                <a:cubicBezTo>
                  <a:pt x="942" y="76"/>
                  <a:pt x="942" y="76"/>
                  <a:pt x="942" y="76"/>
                </a:cubicBezTo>
                <a:close/>
                <a:moveTo>
                  <a:pt x="950" y="93"/>
                </a:moveTo>
                <a:cubicBezTo>
                  <a:pt x="949" y="92"/>
                  <a:pt x="949" y="92"/>
                  <a:pt x="949" y="92"/>
                </a:cubicBezTo>
                <a:cubicBezTo>
                  <a:pt x="948" y="91"/>
                  <a:pt x="948" y="91"/>
                  <a:pt x="948" y="91"/>
                </a:cubicBezTo>
                <a:cubicBezTo>
                  <a:pt x="946" y="92"/>
                  <a:pt x="946" y="92"/>
                  <a:pt x="946" y="92"/>
                </a:cubicBezTo>
                <a:cubicBezTo>
                  <a:pt x="945" y="94"/>
                  <a:pt x="945" y="94"/>
                  <a:pt x="945" y="94"/>
                </a:cubicBezTo>
                <a:cubicBezTo>
                  <a:pt x="946" y="95"/>
                  <a:pt x="946" y="95"/>
                  <a:pt x="946" y="95"/>
                </a:cubicBezTo>
                <a:cubicBezTo>
                  <a:pt x="946" y="97"/>
                  <a:pt x="946" y="97"/>
                  <a:pt x="946" y="97"/>
                </a:cubicBezTo>
                <a:cubicBezTo>
                  <a:pt x="946" y="97"/>
                  <a:pt x="947" y="97"/>
                  <a:pt x="947" y="97"/>
                </a:cubicBezTo>
                <a:cubicBezTo>
                  <a:pt x="947" y="96"/>
                  <a:pt x="947" y="96"/>
                  <a:pt x="947" y="96"/>
                </a:cubicBezTo>
                <a:cubicBezTo>
                  <a:pt x="948" y="95"/>
                  <a:pt x="948" y="95"/>
                  <a:pt x="948" y="95"/>
                </a:cubicBezTo>
                <a:cubicBezTo>
                  <a:pt x="949" y="96"/>
                  <a:pt x="949" y="96"/>
                  <a:pt x="949" y="96"/>
                </a:cubicBezTo>
                <a:cubicBezTo>
                  <a:pt x="951" y="96"/>
                  <a:pt x="951" y="96"/>
                  <a:pt x="951" y="96"/>
                </a:cubicBezTo>
                <a:cubicBezTo>
                  <a:pt x="952" y="94"/>
                  <a:pt x="952" y="94"/>
                  <a:pt x="952" y="94"/>
                </a:cubicBezTo>
                <a:cubicBezTo>
                  <a:pt x="951" y="93"/>
                  <a:pt x="951" y="93"/>
                  <a:pt x="951" y="93"/>
                </a:cubicBezTo>
                <a:lnTo>
                  <a:pt x="950" y="93"/>
                </a:lnTo>
                <a:close/>
                <a:moveTo>
                  <a:pt x="972" y="128"/>
                </a:moveTo>
                <a:cubicBezTo>
                  <a:pt x="972" y="129"/>
                  <a:pt x="972" y="129"/>
                  <a:pt x="972" y="129"/>
                </a:cubicBezTo>
                <a:cubicBezTo>
                  <a:pt x="973" y="129"/>
                  <a:pt x="973" y="129"/>
                  <a:pt x="973" y="129"/>
                </a:cubicBezTo>
                <a:cubicBezTo>
                  <a:pt x="974" y="128"/>
                  <a:pt x="974" y="128"/>
                  <a:pt x="974" y="128"/>
                </a:cubicBezTo>
                <a:cubicBezTo>
                  <a:pt x="973" y="127"/>
                  <a:pt x="973" y="127"/>
                  <a:pt x="973" y="127"/>
                </a:cubicBezTo>
                <a:lnTo>
                  <a:pt x="972" y="128"/>
                </a:lnTo>
                <a:close/>
                <a:moveTo>
                  <a:pt x="887" y="113"/>
                </a:moveTo>
                <a:cubicBezTo>
                  <a:pt x="886" y="114"/>
                  <a:pt x="886" y="114"/>
                  <a:pt x="886" y="114"/>
                </a:cubicBezTo>
                <a:cubicBezTo>
                  <a:pt x="885" y="114"/>
                  <a:pt x="885" y="114"/>
                  <a:pt x="885" y="114"/>
                </a:cubicBezTo>
                <a:cubicBezTo>
                  <a:pt x="884" y="116"/>
                  <a:pt x="884" y="116"/>
                  <a:pt x="884" y="116"/>
                </a:cubicBezTo>
                <a:cubicBezTo>
                  <a:pt x="883" y="117"/>
                  <a:pt x="883" y="117"/>
                  <a:pt x="883" y="117"/>
                </a:cubicBezTo>
                <a:cubicBezTo>
                  <a:pt x="884" y="117"/>
                  <a:pt x="884" y="117"/>
                  <a:pt x="884" y="117"/>
                </a:cubicBezTo>
                <a:cubicBezTo>
                  <a:pt x="885" y="117"/>
                  <a:pt x="885" y="117"/>
                  <a:pt x="885" y="117"/>
                </a:cubicBezTo>
                <a:cubicBezTo>
                  <a:pt x="887" y="116"/>
                  <a:pt x="887" y="116"/>
                  <a:pt x="887" y="116"/>
                </a:cubicBezTo>
                <a:cubicBezTo>
                  <a:pt x="889" y="115"/>
                  <a:pt x="889" y="115"/>
                  <a:pt x="889" y="115"/>
                </a:cubicBezTo>
                <a:cubicBezTo>
                  <a:pt x="889" y="114"/>
                  <a:pt x="889" y="114"/>
                  <a:pt x="889" y="114"/>
                </a:cubicBezTo>
                <a:cubicBezTo>
                  <a:pt x="888" y="113"/>
                  <a:pt x="888" y="113"/>
                  <a:pt x="888" y="113"/>
                </a:cubicBezTo>
                <a:lnTo>
                  <a:pt x="887" y="113"/>
                </a:lnTo>
                <a:close/>
                <a:moveTo>
                  <a:pt x="873" y="253"/>
                </a:moveTo>
                <a:cubicBezTo>
                  <a:pt x="871" y="251"/>
                  <a:pt x="871" y="251"/>
                  <a:pt x="871" y="251"/>
                </a:cubicBezTo>
                <a:cubicBezTo>
                  <a:pt x="870" y="251"/>
                  <a:pt x="870" y="251"/>
                  <a:pt x="870" y="251"/>
                </a:cubicBezTo>
                <a:cubicBezTo>
                  <a:pt x="869" y="251"/>
                  <a:pt x="869" y="251"/>
                  <a:pt x="869" y="251"/>
                </a:cubicBezTo>
                <a:cubicBezTo>
                  <a:pt x="871" y="252"/>
                  <a:pt x="871" y="252"/>
                  <a:pt x="871" y="252"/>
                </a:cubicBezTo>
                <a:cubicBezTo>
                  <a:pt x="872" y="254"/>
                  <a:pt x="872" y="254"/>
                  <a:pt x="872" y="254"/>
                </a:cubicBezTo>
                <a:cubicBezTo>
                  <a:pt x="874" y="254"/>
                  <a:pt x="874" y="254"/>
                  <a:pt x="874" y="254"/>
                </a:cubicBezTo>
                <a:cubicBezTo>
                  <a:pt x="876" y="255"/>
                  <a:pt x="876" y="255"/>
                  <a:pt x="876" y="255"/>
                </a:cubicBezTo>
                <a:cubicBezTo>
                  <a:pt x="875" y="254"/>
                  <a:pt x="875" y="254"/>
                  <a:pt x="875" y="254"/>
                </a:cubicBezTo>
                <a:lnTo>
                  <a:pt x="873" y="253"/>
                </a:lnTo>
                <a:close/>
                <a:moveTo>
                  <a:pt x="905" y="151"/>
                </a:moveTo>
                <a:cubicBezTo>
                  <a:pt x="904" y="151"/>
                  <a:pt x="904" y="151"/>
                  <a:pt x="904" y="151"/>
                </a:cubicBezTo>
                <a:cubicBezTo>
                  <a:pt x="902" y="151"/>
                  <a:pt x="902" y="151"/>
                  <a:pt x="902" y="151"/>
                </a:cubicBezTo>
                <a:cubicBezTo>
                  <a:pt x="902" y="152"/>
                  <a:pt x="902" y="152"/>
                  <a:pt x="902" y="152"/>
                </a:cubicBezTo>
                <a:cubicBezTo>
                  <a:pt x="902" y="154"/>
                  <a:pt x="902" y="154"/>
                  <a:pt x="902" y="154"/>
                </a:cubicBezTo>
                <a:cubicBezTo>
                  <a:pt x="903" y="156"/>
                  <a:pt x="903" y="156"/>
                  <a:pt x="903" y="156"/>
                </a:cubicBezTo>
                <a:cubicBezTo>
                  <a:pt x="904" y="157"/>
                  <a:pt x="904" y="157"/>
                  <a:pt x="904" y="157"/>
                </a:cubicBezTo>
                <a:cubicBezTo>
                  <a:pt x="905" y="156"/>
                  <a:pt x="905" y="156"/>
                  <a:pt x="905" y="156"/>
                </a:cubicBezTo>
                <a:cubicBezTo>
                  <a:pt x="907" y="157"/>
                  <a:pt x="907" y="157"/>
                  <a:pt x="907" y="157"/>
                </a:cubicBezTo>
                <a:cubicBezTo>
                  <a:pt x="908" y="157"/>
                  <a:pt x="908" y="157"/>
                  <a:pt x="908" y="157"/>
                </a:cubicBezTo>
                <a:cubicBezTo>
                  <a:pt x="909" y="157"/>
                  <a:pt x="909" y="157"/>
                  <a:pt x="909" y="157"/>
                </a:cubicBezTo>
                <a:cubicBezTo>
                  <a:pt x="911" y="158"/>
                  <a:pt x="911" y="158"/>
                  <a:pt x="911" y="158"/>
                </a:cubicBezTo>
                <a:cubicBezTo>
                  <a:pt x="912" y="156"/>
                  <a:pt x="912" y="156"/>
                  <a:pt x="912" y="156"/>
                </a:cubicBezTo>
                <a:cubicBezTo>
                  <a:pt x="911" y="155"/>
                  <a:pt x="911" y="155"/>
                  <a:pt x="911" y="155"/>
                </a:cubicBezTo>
                <a:cubicBezTo>
                  <a:pt x="911" y="153"/>
                  <a:pt x="911" y="153"/>
                  <a:pt x="911" y="153"/>
                </a:cubicBezTo>
                <a:cubicBezTo>
                  <a:pt x="909" y="153"/>
                  <a:pt x="909" y="153"/>
                  <a:pt x="909" y="153"/>
                </a:cubicBezTo>
                <a:cubicBezTo>
                  <a:pt x="908" y="151"/>
                  <a:pt x="908" y="151"/>
                  <a:pt x="908" y="151"/>
                </a:cubicBezTo>
                <a:cubicBezTo>
                  <a:pt x="907" y="151"/>
                  <a:pt x="907" y="151"/>
                  <a:pt x="907" y="151"/>
                </a:cubicBezTo>
                <a:cubicBezTo>
                  <a:pt x="906" y="152"/>
                  <a:pt x="906" y="152"/>
                  <a:pt x="906" y="152"/>
                </a:cubicBezTo>
                <a:cubicBezTo>
                  <a:pt x="906" y="151"/>
                  <a:pt x="906" y="151"/>
                  <a:pt x="906" y="151"/>
                </a:cubicBezTo>
                <a:cubicBezTo>
                  <a:pt x="906" y="150"/>
                  <a:pt x="906" y="150"/>
                  <a:pt x="906" y="150"/>
                </a:cubicBezTo>
                <a:cubicBezTo>
                  <a:pt x="905" y="150"/>
                  <a:pt x="905" y="150"/>
                  <a:pt x="905" y="150"/>
                </a:cubicBezTo>
                <a:lnTo>
                  <a:pt x="905" y="151"/>
                </a:lnTo>
                <a:close/>
                <a:moveTo>
                  <a:pt x="852" y="233"/>
                </a:moveTo>
                <a:cubicBezTo>
                  <a:pt x="852" y="234"/>
                  <a:pt x="852" y="234"/>
                  <a:pt x="852" y="234"/>
                </a:cubicBezTo>
                <a:cubicBezTo>
                  <a:pt x="853" y="235"/>
                  <a:pt x="853" y="235"/>
                  <a:pt x="853" y="235"/>
                </a:cubicBezTo>
                <a:cubicBezTo>
                  <a:pt x="854" y="236"/>
                  <a:pt x="854" y="236"/>
                  <a:pt x="854" y="236"/>
                </a:cubicBezTo>
                <a:cubicBezTo>
                  <a:pt x="854" y="237"/>
                  <a:pt x="854" y="237"/>
                  <a:pt x="854" y="237"/>
                </a:cubicBezTo>
                <a:cubicBezTo>
                  <a:pt x="855" y="238"/>
                  <a:pt x="855" y="238"/>
                  <a:pt x="855" y="238"/>
                </a:cubicBezTo>
                <a:cubicBezTo>
                  <a:pt x="856" y="238"/>
                  <a:pt x="856" y="238"/>
                  <a:pt x="856" y="238"/>
                </a:cubicBezTo>
                <a:cubicBezTo>
                  <a:pt x="856" y="239"/>
                  <a:pt x="856" y="239"/>
                  <a:pt x="856" y="239"/>
                </a:cubicBezTo>
                <a:cubicBezTo>
                  <a:pt x="857" y="238"/>
                  <a:pt x="857" y="238"/>
                  <a:pt x="857" y="238"/>
                </a:cubicBezTo>
                <a:cubicBezTo>
                  <a:pt x="858" y="237"/>
                  <a:pt x="858" y="237"/>
                  <a:pt x="858" y="237"/>
                </a:cubicBezTo>
                <a:cubicBezTo>
                  <a:pt x="858" y="237"/>
                  <a:pt x="858" y="237"/>
                  <a:pt x="858" y="237"/>
                </a:cubicBezTo>
                <a:cubicBezTo>
                  <a:pt x="858" y="236"/>
                  <a:pt x="858" y="236"/>
                  <a:pt x="858" y="236"/>
                </a:cubicBezTo>
                <a:cubicBezTo>
                  <a:pt x="857" y="236"/>
                  <a:pt x="857" y="236"/>
                  <a:pt x="857" y="236"/>
                </a:cubicBezTo>
                <a:cubicBezTo>
                  <a:pt x="858" y="235"/>
                  <a:pt x="858" y="235"/>
                  <a:pt x="858" y="235"/>
                </a:cubicBezTo>
                <a:cubicBezTo>
                  <a:pt x="858" y="234"/>
                  <a:pt x="858" y="234"/>
                  <a:pt x="858" y="234"/>
                </a:cubicBezTo>
                <a:cubicBezTo>
                  <a:pt x="857" y="233"/>
                  <a:pt x="857" y="233"/>
                  <a:pt x="857" y="233"/>
                </a:cubicBezTo>
                <a:cubicBezTo>
                  <a:pt x="855" y="233"/>
                  <a:pt x="855" y="233"/>
                  <a:pt x="855" y="233"/>
                </a:cubicBezTo>
                <a:cubicBezTo>
                  <a:pt x="855" y="232"/>
                  <a:pt x="855" y="232"/>
                  <a:pt x="855" y="232"/>
                </a:cubicBezTo>
                <a:cubicBezTo>
                  <a:pt x="854" y="232"/>
                  <a:pt x="854" y="232"/>
                  <a:pt x="854" y="232"/>
                </a:cubicBezTo>
                <a:cubicBezTo>
                  <a:pt x="853" y="232"/>
                  <a:pt x="853" y="232"/>
                  <a:pt x="853" y="232"/>
                </a:cubicBezTo>
                <a:cubicBezTo>
                  <a:pt x="852" y="231"/>
                  <a:pt x="852" y="231"/>
                  <a:pt x="852" y="231"/>
                </a:cubicBezTo>
                <a:cubicBezTo>
                  <a:pt x="851" y="232"/>
                  <a:pt x="851" y="232"/>
                  <a:pt x="851" y="232"/>
                </a:cubicBezTo>
                <a:cubicBezTo>
                  <a:pt x="851" y="232"/>
                  <a:pt x="851" y="232"/>
                  <a:pt x="851" y="232"/>
                </a:cubicBezTo>
                <a:cubicBezTo>
                  <a:pt x="851" y="233"/>
                  <a:pt x="851" y="233"/>
                  <a:pt x="851" y="233"/>
                </a:cubicBezTo>
                <a:lnTo>
                  <a:pt x="852" y="233"/>
                </a:lnTo>
                <a:close/>
                <a:moveTo>
                  <a:pt x="963" y="245"/>
                </a:moveTo>
                <a:cubicBezTo>
                  <a:pt x="963" y="245"/>
                  <a:pt x="963" y="245"/>
                  <a:pt x="963" y="245"/>
                </a:cubicBezTo>
                <a:cubicBezTo>
                  <a:pt x="962" y="248"/>
                  <a:pt x="962" y="248"/>
                  <a:pt x="962" y="248"/>
                </a:cubicBezTo>
                <a:cubicBezTo>
                  <a:pt x="962" y="250"/>
                  <a:pt x="962" y="250"/>
                  <a:pt x="962" y="250"/>
                </a:cubicBezTo>
                <a:cubicBezTo>
                  <a:pt x="963" y="252"/>
                  <a:pt x="963" y="252"/>
                  <a:pt x="963" y="252"/>
                </a:cubicBezTo>
                <a:cubicBezTo>
                  <a:pt x="963" y="251"/>
                  <a:pt x="963" y="251"/>
                  <a:pt x="963" y="251"/>
                </a:cubicBezTo>
                <a:cubicBezTo>
                  <a:pt x="963" y="250"/>
                  <a:pt x="963" y="250"/>
                  <a:pt x="963" y="250"/>
                </a:cubicBezTo>
                <a:cubicBezTo>
                  <a:pt x="964" y="247"/>
                  <a:pt x="964" y="247"/>
                  <a:pt x="964" y="247"/>
                </a:cubicBezTo>
                <a:lnTo>
                  <a:pt x="963" y="245"/>
                </a:lnTo>
                <a:close/>
                <a:moveTo>
                  <a:pt x="852" y="225"/>
                </a:moveTo>
                <a:cubicBezTo>
                  <a:pt x="851" y="224"/>
                  <a:pt x="851" y="224"/>
                  <a:pt x="851" y="224"/>
                </a:cubicBezTo>
                <a:cubicBezTo>
                  <a:pt x="850" y="224"/>
                  <a:pt x="850" y="224"/>
                  <a:pt x="850" y="224"/>
                </a:cubicBezTo>
                <a:cubicBezTo>
                  <a:pt x="849" y="225"/>
                  <a:pt x="849" y="225"/>
                  <a:pt x="849" y="225"/>
                </a:cubicBezTo>
                <a:cubicBezTo>
                  <a:pt x="851" y="226"/>
                  <a:pt x="851" y="226"/>
                  <a:pt x="851" y="226"/>
                </a:cubicBezTo>
                <a:lnTo>
                  <a:pt x="852" y="225"/>
                </a:lnTo>
                <a:close/>
                <a:moveTo>
                  <a:pt x="904" y="257"/>
                </a:moveTo>
                <a:cubicBezTo>
                  <a:pt x="905" y="258"/>
                  <a:pt x="905" y="258"/>
                  <a:pt x="905" y="258"/>
                </a:cubicBezTo>
                <a:cubicBezTo>
                  <a:pt x="906" y="258"/>
                  <a:pt x="906" y="258"/>
                  <a:pt x="906" y="258"/>
                </a:cubicBezTo>
                <a:cubicBezTo>
                  <a:pt x="907" y="258"/>
                  <a:pt x="907" y="258"/>
                  <a:pt x="907" y="258"/>
                </a:cubicBezTo>
                <a:cubicBezTo>
                  <a:pt x="907" y="258"/>
                  <a:pt x="907" y="258"/>
                  <a:pt x="907" y="258"/>
                </a:cubicBezTo>
                <a:cubicBezTo>
                  <a:pt x="908" y="257"/>
                  <a:pt x="908" y="257"/>
                  <a:pt x="908" y="257"/>
                </a:cubicBezTo>
                <a:cubicBezTo>
                  <a:pt x="908" y="256"/>
                  <a:pt x="908" y="256"/>
                  <a:pt x="908" y="256"/>
                </a:cubicBezTo>
                <a:cubicBezTo>
                  <a:pt x="907" y="255"/>
                  <a:pt x="907" y="255"/>
                  <a:pt x="907" y="255"/>
                </a:cubicBezTo>
                <a:cubicBezTo>
                  <a:pt x="905" y="254"/>
                  <a:pt x="905" y="254"/>
                  <a:pt x="905" y="254"/>
                </a:cubicBezTo>
                <a:cubicBezTo>
                  <a:pt x="905" y="254"/>
                  <a:pt x="905" y="254"/>
                  <a:pt x="905" y="254"/>
                </a:cubicBezTo>
                <a:cubicBezTo>
                  <a:pt x="903" y="253"/>
                  <a:pt x="903" y="253"/>
                  <a:pt x="903" y="253"/>
                </a:cubicBezTo>
                <a:cubicBezTo>
                  <a:pt x="902" y="253"/>
                  <a:pt x="902" y="253"/>
                  <a:pt x="902" y="253"/>
                </a:cubicBezTo>
                <a:cubicBezTo>
                  <a:pt x="901" y="253"/>
                  <a:pt x="901" y="253"/>
                  <a:pt x="901" y="253"/>
                </a:cubicBezTo>
                <a:cubicBezTo>
                  <a:pt x="901" y="254"/>
                  <a:pt x="901" y="254"/>
                  <a:pt x="901" y="254"/>
                </a:cubicBezTo>
                <a:cubicBezTo>
                  <a:pt x="904" y="254"/>
                  <a:pt x="904" y="254"/>
                  <a:pt x="904" y="254"/>
                </a:cubicBezTo>
                <a:cubicBezTo>
                  <a:pt x="904" y="255"/>
                  <a:pt x="904" y="255"/>
                  <a:pt x="904" y="255"/>
                </a:cubicBezTo>
                <a:cubicBezTo>
                  <a:pt x="904" y="256"/>
                  <a:pt x="904" y="256"/>
                  <a:pt x="904" y="256"/>
                </a:cubicBezTo>
                <a:lnTo>
                  <a:pt x="904" y="257"/>
                </a:lnTo>
                <a:close/>
                <a:moveTo>
                  <a:pt x="959" y="225"/>
                </a:moveTo>
                <a:cubicBezTo>
                  <a:pt x="958" y="228"/>
                  <a:pt x="958" y="228"/>
                  <a:pt x="958" y="228"/>
                </a:cubicBezTo>
                <a:cubicBezTo>
                  <a:pt x="959" y="228"/>
                  <a:pt x="959" y="228"/>
                  <a:pt x="959" y="228"/>
                </a:cubicBezTo>
                <a:cubicBezTo>
                  <a:pt x="959" y="227"/>
                  <a:pt x="959" y="227"/>
                  <a:pt x="959" y="227"/>
                </a:cubicBezTo>
                <a:cubicBezTo>
                  <a:pt x="961" y="226"/>
                  <a:pt x="961" y="226"/>
                  <a:pt x="961" y="226"/>
                </a:cubicBezTo>
                <a:cubicBezTo>
                  <a:pt x="961" y="225"/>
                  <a:pt x="961" y="225"/>
                  <a:pt x="961" y="225"/>
                </a:cubicBezTo>
                <a:lnTo>
                  <a:pt x="959" y="225"/>
                </a:lnTo>
                <a:close/>
                <a:moveTo>
                  <a:pt x="955" y="265"/>
                </a:moveTo>
                <a:cubicBezTo>
                  <a:pt x="953" y="266"/>
                  <a:pt x="953" y="266"/>
                  <a:pt x="953" y="266"/>
                </a:cubicBezTo>
                <a:cubicBezTo>
                  <a:pt x="952" y="267"/>
                  <a:pt x="952" y="267"/>
                  <a:pt x="952" y="267"/>
                </a:cubicBezTo>
                <a:cubicBezTo>
                  <a:pt x="952" y="267"/>
                  <a:pt x="952" y="267"/>
                  <a:pt x="952" y="267"/>
                </a:cubicBezTo>
                <a:cubicBezTo>
                  <a:pt x="954" y="267"/>
                  <a:pt x="954" y="267"/>
                  <a:pt x="954" y="267"/>
                </a:cubicBezTo>
                <a:cubicBezTo>
                  <a:pt x="956" y="269"/>
                  <a:pt x="956" y="269"/>
                  <a:pt x="956" y="269"/>
                </a:cubicBezTo>
                <a:cubicBezTo>
                  <a:pt x="957" y="268"/>
                  <a:pt x="957" y="268"/>
                  <a:pt x="957" y="268"/>
                </a:cubicBezTo>
                <a:cubicBezTo>
                  <a:pt x="957" y="267"/>
                  <a:pt x="957" y="267"/>
                  <a:pt x="957" y="267"/>
                </a:cubicBezTo>
                <a:cubicBezTo>
                  <a:pt x="958" y="266"/>
                  <a:pt x="958" y="266"/>
                  <a:pt x="958" y="266"/>
                </a:cubicBezTo>
                <a:cubicBezTo>
                  <a:pt x="958" y="265"/>
                  <a:pt x="958" y="265"/>
                  <a:pt x="958" y="265"/>
                </a:cubicBezTo>
                <a:cubicBezTo>
                  <a:pt x="957" y="265"/>
                  <a:pt x="957" y="265"/>
                  <a:pt x="957" y="265"/>
                </a:cubicBezTo>
                <a:lnTo>
                  <a:pt x="955" y="265"/>
                </a:lnTo>
                <a:close/>
                <a:moveTo>
                  <a:pt x="950" y="280"/>
                </a:moveTo>
                <a:cubicBezTo>
                  <a:pt x="950" y="279"/>
                  <a:pt x="950" y="279"/>
                  <a:pt x="950" y="279"/>
                </a:cubicBezTo>
                <a:cubicBezTo>
                  <a:pt x="950" y="278"/>
                  <a:pt x="950" y="278"/>
                  <a:pt x="950" y="278"/>
                </a:cubicBezTo>
                <a:cubicBezTo>
                  <a:pt x="949" y="277"/>
                  <a:pt x="949" y="277"/>
                  <a:pt x="949" y="277"/>
                </a:cubicBezTo>
                <a:cubicBezTo>
                  <a:pt x="949" y="276"/>
                  <a:pt x="949" y="276"/>
                  <a:pt x="949" y="276"/>
                </a:cubicBezTo>
                <a:cubicBezTo>
                  <a:pt x="948" y="274"/>
                  <a:pt x="948" y="274"/>
                  <a:pt x="948" y="274"/>
                </a:cubicBezTo>
                <a:cubicBezTo>
                  <a:pt x="947" y="275"/>
                  <a:pt x="947" y="275"/>
                  <a:pt x="947" y="275"/>
                </a:cubicBezTo>
                <a:cubicBezTo>
                  <a:pt x="947" y="276"/>
                  <a:pt x="947" y="276"/>
                  <a:pt x="947" y="276"/>
                </a:cubicBezTo>
                <a:cubicBezTo>
                  <a:pt x="948" y="277"/>
                  <a:pt x="948" y="277"/>
                  <a:pt x="948" y="277"/>
                </a:cubicBezTo>
                <a:cubicBezTo>
                  <a:pt x="948" y="278"/>
                  <a:pt x="948" y="278"/>
                  <a:pt x="948" y="278"/>
                </a:cubicBezTo>
                <a:lnTo>
                  <a:pt x="950" y="280"/>
                </a:lnTo>
                <a:close/>
                <a:moveTo>
                  <a:pt x="919" y="294"/>
                </a:moveTo>
                <a:cubicBezTo>
                  <a:pt x="917" y="295"/>
                  <a:pt x="917" y="295"/>
                  <a:pt x="917" y="295"/>
                </a:cubicBezTo>
                <a:cubicBezTo>
                  <a:pt x="915" y="296"/>
                  <a:pt x="915" y="296"/>
                  <a:pt x="915" y="296"/>
                </a:cubicBezTo>
                <a:cubicBezTo>
                  <a:pt x="915" y="297"/>
                  <a:pt x="915" y="297"/>
                  <a:pt x="915" y="297"/>
                </a:cubicBezTo>
                <a:cubicBezTo>
                  <a:pt x="914" y="298"/>
                  <a:pt x="914" y="298"/>
                  <a:pt x="914" y="298"/>
                </a:cubicBezTo>
                <a:cubicBezTo>
                  <a:pt x="913" y="300"/>
                  <a:pt x="913" y="300"/>
                  <a:pt x="913" y="300"/>
                </a:cubicBezTo>
                <a:cubicBezTo>
                  <a:pt x="913" y="301"/>
                  <a:pt x="913" y="301"/>
                  <a:pt x="913" y="301"/>
                </a:cubicBezTo>
                <a:cubicBezTo>
                  <a:pt x="914" y="301"/>
                  <a:pt x="914" y="301"/>
                  <a:pt x="914" y="301"/>
                </a:cubicBezTo>
                <a:cubicBezTo>
                  <a:pt x="916" y="300"/>
                  <a:pt x="916" y="300"/>
                  <a:pt x="916" y="300"/>
                </a:cubicBezTo>
                <a:cubicBezTo>
                  <a:pt x="917" y="300"/>
                  <a:pt x="917" y="300"/>
                  <a:pt x="917" y="300"/>
                </a:cubicBezTo>
                <a:cubicBezTo>
                  <a:pt x="918" y="298"/>
                  <a:pt x="918" y="298"/>
                  <a:pt x="918" y="298"/>
                </a:cubicBezTo>
                <a:cubicBezTo>
                  <a:pt x="920" y="297"/>
                  <a:pt x="920" y="297"/>
                  <a:pt x="920" y="297"/>
                </a:cubicBezTo>
                <a:cubicBezTo>
                  <a:pt x="920" y="296"/>
                  <a:pt x="920" y="296"/>
                  <a:pt x="920" y="296"/>
                </a:cubicBezTo>
                <a:cubicBezTo>
                  <a:pt x="919" y="296"/>
                  <a:pt x="919" y="296"/>
                  <a:pt x="919" y="296"/>
                </a:cubicBezTo>
                <a:cubicBezTo>
                  <a:pt x="919" y="295"/>
                  <a:pt x="919" y="295"/>
                  <a:pt x="919" y="295"/>
                </a:cubicBezTo>
                <a:lnTo>
                  <a:pt x="919" y="294"/>
                </a:lnTo>
                <a:close/>
                <a:moveTo>
                  <a:pt x="945" y="280"/>
                </a:moveTo>
                <a:cubicBezTo>
                  <a:pt x="944" y="280"/>
                  <a:pt x="944" y="280"/>
                  <a:pt x="944" y="280"/>
                </a:cubicBezTo>
                <a:cubicBezTo>
                  <a:pt x="944" y="281"/>
                  <a:pt x="944" y="281"/>
                  <a:pt x="944" y="281"/>
                </a:cubicBezTo>
                <a:cubicBezTo>
                  <a:pt x="945" y="283"/>
                  <a:pt x="945" y="283"/>
                  <a:pt x="945" y="283"/>
                </a:cubicBezTo>
                <a:cubicBezTo>
                  <a:pt x="946" y="283"/>
                  <a:pt x="946" y="283"/>
                  <a:pt x="946" y="283"/>
                </a:cubicBezTo>
                <a:cubicBezTo>
                  <a:pt x="947" y="284"/>
                  <a:pt x="947" y="284"/>
                  <a:pt x="947" y="284"/>
                </a:cubicBezTo>
                <a:cubicBezTo>
                  <a:pt x="947" y="285"/>
                  <a:pt x="947" y="285"/>
                  <a:pt x="947" y="285"/>
                </a:cubicBezTo>
                <a:cubicBezTo>
                  <a:pt x="948" y="286"/>
                  <a:pt x="948" y="286"/>
                  <a:pt x="948" y="286"/>
                </a:cubicBezTo>
                <a:cubicBezTo>
                  <a:pt x="949" y="286"/>
                  <a:pt x="949" y="286"/>
                  <a:pt x="949" y="286"/>
                </a:cubicBezTo>
                <a:cubicBezTo>
                  <a:pt x="949" y="285"/>
                  <a:pt x="949" y="285"/>
                  <a:pt x="949" y="285"/>
                </a:cubicBezTo>
                <a:cubicBezTo>
                  <a:pt x="950" y="284"/>
                  <a:pt x="950" y="284"/>
                  <a:pt x="950" y="284"/>
                </a:cubicBezTo>
                <a:cubicBezTo>
                  <a:pt x="950" y="283"/>
                  <a:pt x="950" y="283"/>
                  <a:pt x="950" y="283"/>
                </a:cubicBezTo>
                <a:cubicBezTo>
                  <a:pt x="951" y="282"/>
                  <a:pt x="951" y="282"/>
                  <a:pt x="951" y="282"/>
                </a:cubicBezTo>
                <a:cubicBezTo>
                  <a:pt x="951" y="281"/>
                  <a:pt x="951" y="281"/>
                  <a:pt x="951" y="281"/>
                </a:cubicBezTo>
                <a:cubicBezTo>
                  <a:pt x="949" y="280"/>
                  <a:pt x="949" y="280"/>
                  <a:pt x="949" y="280"/>
                </a:cubicBezTo>
                <a:cubicBezTo>
                  <a:pt x="946" y="280"/>
                  <a:pt x="946" y="280"/>
                  <a:pt x="946" y="280"/>
                </a:cubicBezTo>
                <a:lnTo>
                  <a:pt x="945" y="280"/>
                </a:lnTo>
                <a:close/>
                <a:moveTo>
                  <a:pt x="892" y="106"/>
                </a:moveTo>
                <a:cubicBezTo>
                  <a:pt x="891" y="107"/>
                  <a:pt x="891" y="107"/>
                  <a:pt x="891" y="107"/>
                </a:cubicBezTo>
                <a:cubicBezTo>
                  <a:pt x="891" y="108"/>
                  <a:pt x="891" y="108"/>
                  <a:pt x="891" y="108"/>
                </a:cubicBezTo>
                <a:cubicBezTo>
                  <a:pt x="891" y="108"/>
                  <a:pt x="891" y="108"/>
                  <a:pt x="891" y="108"/>
                </a:cubicBezTo>
                <a:lnTo>
                  <a:pt x="892" y="106"/>
                </a:lnTo>
                <a:close/>
                <a:moveTo>
                  <a:pt x="997" y="453"/>
                </a:moveTo>
                <a:cubicBezTo>
                  <a:pt x="997" y="454"/>
                  <a:pt x="997" y="454"/>
                  <a:pt x="997" y="454"/>
                </a:cubicBezTo>
                <a:cubicBezTo>
                  <a:pt x="997" y="455"/>
                  <a:pt x="997" y="455"/>
                  <a:pt x="997" y="455"/>
                </a:cubicBezTo>
                <a:cubicBezTo>
                  <a:pt x="998" y="454"/>
                  <a:pt x="998" y="454"/>
                  <a:pt x="998" y="454"/>
                </a:cubicBezTo>
                <a:cubicBezTo>
                  <a:pt x="998" y="454"/>
                  <a:pt x="998" y="454"/>
                  <a:pt x="998" y="454"/>
                </a:cubicBezTo>
                <a:cubicBezTo>
                  <a:pt x="998" y="453"/>
                  <a:pt x="998" y="453"/>
                  <a:pt x="998" y="453"/>
                </a:cubicBezTo>
                <a:cubicBezTo>
                  <a:pt x="998" y="453"/>
                  <a:pt x="998" y="453"/>
                  <a:pt x="998" y="453"/>
                </a:cubicBezTo>
                <a:lnTo>
                  <a:pt x="997" y="453"/>
                </a:lnTo>
                <a:close/>
                <a:moveTo>
                  <a:pt x="875" y="136"/>
                </a:moveTo>
                <a:cubicBezTo>
                  <a:pt x="875" y="135"/>
                  <a:pt x="875" y="135"/>
                  <a:pt x="875" y="135"/>
                </a:cubicBezTo>
                <a:cubicBezTo>
                  <a:pt x="874" y="134"/>
                  <a:pt x="874" y="134"/>
                  <a:pt x="874" y="134"/>
                </a:cubicBezTo>
                <a:cubicBezTo>
                  <a:pt x="873" y="134"/>
                  <a:pt x="873" y="134"/>
                  <a:pt x="873" y="134"/>
                </a:cubicBezTo>
                <a:cubicBezTo>
                  <a:pt x="874" y="136"/>
                  <a:pt x="874" y="136"/>
                  <a:pt x="874" y="136"/>
                </a:cubicBezTo>
                <a:cubicBezTo>
                  <a:pt x="873" y="137"/>
                  <a:pt x="873" y="137"/>
                  <a:pt x="873" y="137"/>
                </a:cubicBezTo>
                <a:cubicBezTo>
                  <a:pt x="873" y="138"/>
                  <a:pt x="873" y="138"/>
                  <a:pt x="873" y="138"/>
                </a:cubicBezTo>
                <a:cubicBezTo>
                  <a:pt x="874" y="137"/>
                  <a:pt x="874" y="137"/>
                  <a:pt x="874" y="137"/>
                </a:cubicBezTo>
                <a:lnTo>
                  <a:pt x="875" y="136"/>
                </a:lnTo>
                <a:close/>
                <a:moveTo>
                  <a:pt x="873" y="109"/>
                </a:moveTo>
                <a:cubicBezTo>
                  <a:pt x="871" y="108"/>
                  <a:pt x="871" y="108"/>
                  <a:pt x="871" y="108"/>
                </a:cubicBezTo>
                <a:cubicBezTo>
                  <a:pt x="870" y="107"/>
                  <a:pt x="870" y="107"/>
                  <a:pt x="870" y="107"/>
                </a:cubicBezTo>
                <a:cubicBezTo>
                  <a:pt x="869" y="108"/>
                  <a:pt x="869" y="108"/>
                  <a:pt x="869" y="108"/>
                </a:cubicBezTo>
                <a:cubicBezTo>
                  <a:pt x="869" y="108"/>
                  <a:pt x="868" y="109"/>
                  <a:pt x="868" y="110"/>
                </a:cubicBezTo>
                <a:cubicBezTo>
                  <a:pt x="869" y="110"/>
                  <a:pt x="869" y="110"/>
                  <a:pt x="869" y="110"/>
                </a:cubicBezTo>
                <a:cubicBezTo>
                  <a:pt x="870" y="111"/>
                  <a:pt x="870" y="111"/>
                  <a:pt x="870" y="111"/>
                </a:cubicBezTo>
                <a:cubicBezTo>
                  <a:pt x="870" y="112"/>
                  <a:pt x="870" y="112"/>
                  <a:pt x="870" y="112"/>
                </a:cubicBezTo>
                <a:cubicBezTo>
                  <a:pt x="870" y="112"/>
                  <a:pt x="870" y="112"/>
                  <a:pt x="870" y="112"/>
                </a:cubicBezTo>
                <a:cubicBezTo>
                  <a:pt x="870" y="113"/>
                  <a:pt x="870" y="113"/>
                  <a:pt x="870" y="113"/>
                </a:cubicBezTo>
                <a:cubicBezTo>
                  <a:pt x="871" y="113"/>
                  <a:pt x="871" y="113"/>
                  <a:pt x="871" y="113"/>
                </a:cubicBezTo>
                <a:cubicBezTo>
                  <a:pt x="872" y="112"/>
                  <a:pt x="872" y="112"/>
                  <a:pt x="872" y="112"/>
                </a:cubicBezTo>
                <a:cubicBezTo>
                  <a:pt x="873" y="112"/>
                  <a:pt x="873" y="112"/>
                  <a:pt x="873" y="112"/>
                </a:cubicBezTo>
                <a:cubicBezTo>
                  <a:pt x="874" y="112"/>
                  <a:pt x="874" y="112"/>
                  <a:pt x="874" y="112"/>
                </a:cubicBezTo>
                <a:cubicBezTo>
                  <a:pt x="875" y="112"/>
                  <a:pt x="875" y="112"/>
                  <a:pt x="875" y="112"/>
                </a:cubicBezTo>
                <a:cubicBezTo>
                  <a:pt x="876" y="111"/>
                  <a:pt x="876" y="111"/>
                  <a:pt x="876" y="111"/>
                </a:cubicBezTo>
                <a:cubicBezTo>
                  <a:pt x="875" y="110"/>
                  <a:pt x="875" y="110"/>
                  <a:pt x="875" y="110"/>
                </a:cubicBezTo>
                <a:lnTo>
                  <a:pt x="873" y="109"/>
                </a:lnTo>
                <a:close/>
                <a:moveTo>
                  <a:pt x="881" y="122"/>
                </a:moveTo>
                <a:cubicBezTo>
                  <a:pt x="880" y="122"/>
                  <a:pt x="880" y="122"/>
                  <a:pt x="880" y="122"/>
                </a:cubicBezTo>
                <a:cubicBezTo>
                  <a:pt x="878" y="123"/>
                  <a:pt x="878" y="123"/>
                  <a:pt x="878" y="123"/>
                </a:cubicBezTo>
                <a:cubicBezTo>
                  <a:pt x="877" y="124"/>
                  <a:pt x="877" y="124"/>
                  <a:pt x="877" y="124"/>
                </a:cubicBezTo>
                <a:cubicBezTo>
                  <a:pt x="874" y="124"/>
                  <a:pt x="874" y="124"/>
                  <a:pt x="874" y="124"/>
                </a:cubicBezTo>
                <a:cubicBezTo>
                  <a:pt x="873" y="125"/>
                  <a:pt x="873" y="125"/>
                  <a:pt x="873" y="125"/>
                </a:cubicBezTo>
                <a:cubicBezTo>
                  <a:pt x="872" y="127"/>
                  <a:pt x="872" y="127"/>
                  <a:pt x="872" y="127"/>
                </a:cubicBezTo>
                <a:cubicBezTo>
                  <a:pt x="871" y="128"/>
                  <a:pt x="871" y="128"/>
                  <a:pt x="871" y="128"/>
                </a:cubicBezTo>
                <a:cubicBezTo>
                  <a:pt x="871" y="130"/>
                  <a:pt x="871" y="130"/>
                  <a:pt x="871" y="130"/>
                </a:cubicBezTo>
                <a:cubicBezTo>
                  <a:pt x="872" y="129"/>
                  <a:pt x="872" y="129"/>
                  <a:pt x="872" y="129"/>
                </a:cubicBezTo>
                <a:cubicBezTo>
                  <a:pt x="874" y="130"/>
                  <a:pt x="874" y="130"/>
                  <a:pt x="874" y="130"/>
                </a:cubicBezTo>
                <a:cubicBezTo>
                  <a:pt x="875" y="130"/>
                  <a:pt x="875" y="130"/>
                  <a:pt x="875" y="130"/>
                </a:cubicBezTo>
                <a:cubicBezTo>
                  <a:pt x="879" y="127"/>
                  <a:pt x="879" y="127"/>
                  <a:pt x="879" y="127"/>
                </a:cubicBezTo>
                <a:cubicBezTo>
                  <a:pt x="880" y="125"/>
                  <a:pt x="880" y="125"/>
                  <a:pt x="880" y="125"/>
                </a:cubicBezTo>
                <a:cubicBezTo>
                  <a:pt x="881" y="125"/>
                  <a:pt x="881" y="125"/>
                  <a:pt x="881" y="125"/>
                </a:cubicBezTo>
                <a:cubicBezTo>
                  <a:pt x="882" y="123"/>
                  <a:pt x="882" y="123"/>
                  <a:pt x="882" y="123"/>
                </a:cubicBezTo>
                <a:cubicBezTo>
                  <a:pt x="884" y="122"/>
                  <a:pt x="884" y="122"/>
                  <a:pt x="884" y="122"/>
                </a:cubicBezTo>
                <a:cubicBezTo>
                  <a:pt x="884" y="120"/>
                  <a:pt x="884" y="120"/>
                  <a:pt x="884" y="120"/>
                </a:cubicBezTo>
                <a:cubicBezTo>
                  <a:pt x="883" y="120"/>
                  <a:pt x="883" y="120"/>
                  <a:pt x="883" y="120"/>
                </a:cubicBezTo>
                <a:cubicBezTo>
                  <a:pt x="882" y="120"/>
                  <a:pt x="882" y="120"/>
                  <a:pt x="882" y="120"/>
                </a:cubicBezTo>
                <a:lnTo>
                  <a:pt x="881" y="122"/>
                </a:lnTo>
                <a:close/>
                <a:moveTo>
                  <a:pt x="871" y="140"/>
                </a:moveTo>
                <a:cubicBezTo>
                  <a:pt x="870" y="141"/>
                  <a:pt x="870" y="141"/>
                  <a:pt x="870" y="141"/>
                </a:cubicBezTo>
                <a:cubicBezTo>
                  <a:pt x="871" y="144"/>
                  <a:pt x="871" y="144"/>
                  <a:pt x="871" y="144"/>
                </a:cubicBezTo>
                <a:cubicBezTo>
                  <a:pt x="872" y="143"/>
                  <a:pt x="872" y="143"/>
                  <a:pt x="872" y="143"/>
                </a:cubicBezTo>
                <a:cubicBezTo>
                  <a:pt x="872" y="142"/>
                  <a:pt x="872" y="142"/>
                  <a:pt x="872" y="142"/>
                </a:cubicBezTo>
                <a:cubicBezTo>
                  <a:pt x="873" y="142"/>
                  <a:pt x="873" y="142"/>
                  <a:pt x="873" y="142"/>
                </a:cubicBezTo>
                <a:cubicBezTo>
                  <a:pt x="873" y="140"/>
                  <a:pt x="873" y="140"/>
                  <a:pt x="873" y="140"/>
                </a:cubicBezTo>
                <a:cubicBezTo>
                  <a:pt x="872" y="140"/>
                  <a:pt x="872" y="140"/>
                  <a:pt x="872" y="140"/>
                </a:cubicBezTo>
                <a:lnTo>
                  <a:pt x="871" y="140"/>
                </a:lnTo>
                <a:close/>
                <a:moveTo>
                  <a:pt x="960" y="233"/>
                </a:moveTo>
                <a:cubicBezTo>
                  <a:pt x="961" y="234"/>
                  <a:pt x="961" y="234"/>
                  <a:pt x="961" y="234"/>
                </a:cubicBezTo>
                <a:cubicBezTo>
                  <a:pt x="961" y="234"/>
                  <a:pt x="961" y="234"/>
                  <a:pt x="961" y="234"/>
                </a:cubicBezTo>
                <a:cubicBezTo>
                  <a:pt x="961" y="233"/>
                  <a:pt x="961" y="233"/>
                  <a:pt x="961" y="233"/>
                </a:cubicBezTo>
                <a:cubicBezTo>
                  <a:pt x="961" y="232"/>
                  <a:pt x="961" y="232"/>
                  <a:pt x="961" y="232"/>
                </a:cubicBezTo>
                <a:lnTo>
                  <a:pt x="960" y="233"/>
                </a:lnTo>
                <a:close/>
                <a:moveTo>
                  <a:pt x="832" y="21"/>
                </a:moveTo>
                <a:cubicBezTo>
                  <a:pt x="829" y="25"/>
                  <a:pt x="829" y="25"/>
                  <a:pt x="829" y="25"/>
                </a:cubicBezTo>
                <a:cubicBezTo>
                  <a:pt x="830" y="26"/>
                  <a:pt x="830" y="26"/>
                  <a:pt x="830" y="26"/>
                </a:cubicBezTo>
                <a:cubicBezTo>
                  <a:pt x="829" y="27"/>
                  <a:pt x="829" y="27"/>
                  <a:pt x="829" y="27"/>
                </a:cubicBezTo>
                <a:cubicBezTo>
                  <a:pt x="828" y="26"/>
                  <a:pt x="828" y="26"/>
                  <a:pt x="828" y="26"/>
                </a:cubicBezTo>
                <a:cubicBezTo>
                  <a:pt x="827" y="26"/>
                  <a:pt x="827" y="26"/>
                  <a:pt x="827" y="26"/>
                </a:cubicBezTo>
                <a:cubicBezTo>
                  <a:pt x="827" y="29"/>
                  <a:pt x="827" y="29"/>
                  <a:pt x="827" y="29"/>
                </a:cubicBezTo>
                <a:cubicBezTo>
                  <a:pt x="826" y="29"/>
                  <a:pt x="826" y="29"/>
                  <a:pt x="826" y="29"/>
                </a:cubicBezTo>
                <a:cubicBezTo>
                  <a:pt x="824" y="29"/>
                  <a:pt x="824" y="29"/>
                  <a:pt x="824" y="29"/>
                </a:cubicBezTo>
                <a:cubicBezTo>
                  <a:pt x="823" y="31"/>
                  <a:pt x="823" y="31"/>
                  <a:pt x="823" y="31"/>
                </a:cubicBezTo>
                <a:cubicBezTo>
                  <a:pt x="822" y="31"/>
                  <a:pt x="822" y="31"/>
                  <a:pt x="822" y="31"/>
                </a:cubicBezTo>
                <a:cubicBezTo>
                  <a:pt x="821" y="34"/>
                  <a:pt x="821" y="34"/>
                  <a:pt x="821" y="34"/>
                </a:cubicBezTo>
                <a:cubicBezTo>
                  <a:pt x="819" y="37"/>
                  <a:pt x="819" y="37"/>
                  <a:pt x="819" y="37"/>
                </a:cubicBezTo>
                <a:cubicBezTo>
                  <a:pt x="819" y="39"/>
                  <a:pt x="819" y="39"/>
                  <a:pt x="819" y="39"/>
                </a:cubicBezTo>
                <a:cubicBezTo>
                  <a:pt x="820" y="38"/>
                  <a:pt x="820" y="38"/>
                  <a:pt x="820" y="38"/>
                </a:cubicBezTo>
                <a:cubicBezTo>
                  <a:pt x="820" y="38"/>
                  <a:pt x="820" y="38"/>
                  <a:pt x="820" y="38"/>
                </a:cubicBezTo>
                <a:cubicBezTo>
                  <a:pt x="820" y="40"/>
                  <a:pt x="820" y="40"/>
                  <a:pt x="820" y="40"/>
                </a:cubicBezTo>
                <a:cubicBezTo>
                  <a:pt x="818" y="40"/>
                  <a:pt x="818" y="40"/>
                  <a:pt x="818" y="40"/>
                </a:cubicBezTo>
                <a:cubicBezTo>
                  <a:pt x="816" y="41"/>
                  <a:pt x="816" y="41"/>
                  <a:pt x="816" y="41"/>
                </a:cubicBezTo>
                <a:cubicBezTo>
                  <a:pt x="815" y="43"/>
                  <a:pt x="815" y="43"/>
                  <a:pt x="815" y="43"/>
                </a:cubicBezTo>
                <a:cubicBezTo>
                  <a:pt x="814" y="44"/>
                  <a:pt x="814" y="44"/>
                  <a:pt x="814" y="44"/>
                </a:cubicBezTo>
                <a:cubicBezTo>
                  <a:pt x="813" y="45"/>
                  <a:pt x="813" y="45"/>
                  <a:pt x="813" y="45"/>
                </a:cubicBezTo>
                <a:cubicBezTo>
                  <a:pt x="813" y="49"/>
                  <a:pt x="813" y="49"/>
                  <a:pt x="813" y="49"/>
                </a:cubicBezTo>
                <a:cubicBezTo>
                  <a:pt x="812" y="51"/>
                  <a:pt x="812" y="51"/>
                  <a:pt x="812" y="51"/>
                </a:cubicBezTo>
                <a:cubicBezTo>
                  <a:pt x="810" y="51"/>
                  <a:pt x="810" y="51"/>
                  <a:pt x="810" y="51"/>
                </a:cubicBezTo>
                <a:cubicBezTo>
                  <a:pt x="810" y="53"/>
                  <a:pt x="810" y="53"/>
                  <a:pt x="810" y="53"/>
                </a:cubicBezTo>
                <a:cubicBezTo>
                  <a:pt x="810" y="54"/>
                  <a:pt x="810" y="54"/>
                  <a:pt x="810" y="54"/>
                </a:cubicBezTo>
                <a:cubicBezTo>
                  <a:pt x="808" y="55"/>
                  <a:pt x="808" y="55"/>
                  <a:pt x="808" y="55"/>
                </a:cubicBezTo>
                <a:cubicBezTo>
                  <a:pt x="808" y="59"/>
                  <a:pt x="808" y="59"/>
                  <a:pt x="808" y="59"/>
                </a:cubicBezTo>
                <a:cubicBezTo>
                  <a:pt x="808" y="60"/>
                  <a:pt x="808" y="60"/>
                  <a:pt x="808" y="60"/>
                </a:cubicBezTo>
                <a:cubicBezTo>
                  <a:pt x="812" y="62"/>
                  <a:pt x="812" y="62"/>
                  <a:pt x="812" y="62"/>
                </a:cubicBezTo>
                <a:cubicBezTo>
                  <a:pt x="814" y="62"/>
                  <a:pt x="814" y="62"/>
                  <a:pt x="814" y="62"/>
                </a:cubicBezTo>
                <a:cubicBezTo>
                  <a:pt x="816" y="64"/>
                  <a:pt x="816" y="64"/>
                  <a:pt x="816" y="64"/>
                </a:cubicBezTo>
                <a:cubicBezTo>
                  <a:pt x="818" y="64"/>
                  <a:pt x="818" y="64"/>
                  <a:pt x="818" y="64"/>
                </a:cubicBezTo>
                <a:cubicBezTo>
                  <a:pt x="820" y="65"/>
                  <a:pt x="820" y="65"/>
                  <a:pt x="820" y="65"/>
                </a:cubicBezTo>
                <a:cubicBezTo>
                  <a:pt x="823" y="65"/>
                  <a:pt x="823" y="65"/>
                  <a:pt x="823" y="65"/>
                </a:cubicBezTo>
                <a:cubicBezTo>
                  <a:pt x="823" y="68"/>
                  <a:pt x="823" y="68"/>
                  <a:pt x="823" y="68"/>
                </a:cubicBezTo>
                <a:cubicBezTo>
                  <a:pt x="826" y="70"/>
                  <a:pt x="826" y="70"/>
                  <a:pt x="826" y="70"/>
                </a:cubicBezTo>
                <a:cubicBezTo>
                  <a:pt x="826" y="71"/>
                  <a:pt x="826" y="71"/>
                  <a:pt x="826" y="71"/>
                </a:cubicBezTo>
                <a:cubicBezTo>
                  <a:pt x="827" y="72"/>
                  <a:pt x="827" y="72"/>
                  <a:pt x="827" y="72"/>
                </a:cubicBezTo>
                <a:cubicBezTo>
                  <a:pt x="824" y="72"/>
                  <a:pt x="824" y="72"/>
                  <a:pt x="824" y="72"/>
                </a:cubicBezTo>
                <a:cubicBezTo>
                  <a:pt x="823" y="73"/>
                  <a:pt x="823" y="73"/>
                  <a:pt x="823" y="73"/>
                </a:cubicBezTo>
                <a:cubicBezTo>
                  <a:pt x="820" y="73"/>
                  <a:pt x="820" y="73"/>
                  <a:pt x="820" y="73"/>
                </a:cubicBezTo>
                <a:cubicBezTo>
                  <a:pt x="817" y="71"/>
                  <a:pt x="817" y="71"/>
                  <a:pt x="817" y="71"/>
                </a:cubicBezTo>
                <a:cubicBezTo>
                  <a:pt x="816" y="69"/>
                  <a:pt x="816" y="69"/>
                  <a:pt x="816" y="69"/>
                </a:cubicBezTo>
                <a:cubicBezTo>
                  <a:pt x="814" y="68"/>
                  <a:pt x="814" y="68"/>
                  <a:pt x="814" y="68"/>
                </a:cubicBezTo>
                <a:cubicBezTo>
                  <a:pt x="811" y="68"/>
                  <a:pt x="811" y="68"/>
                  <a:pt x="811" y="68"/>
                </a:cubicBezTo>
                <a:cubicBezTo>
                  <a:pt x="810" y="67"/>
                  <a:pt x="810" y="67"/>
                  <a:pt x="810" y="67"/>
                </a:cubicBezTo>
                <a:cubicBezTo>
                  <a:pt x="808" y="66"/>
                  <a:pt x="808" y="66"/>
                  <a:pt x="808" y="66"/>
                </a:cubicBezTo>
                <a:cubicBezTo>
                  <a:pt x="808" y="67"/>
                  <a:pt x="808" y="67"/>
                  <a:pt x="808" y="67"/>
                </a:cubicBezTo>
                <a:cubicBezTo>
                  <a:pt x="809" y="69"/>
                  <a:pt x="809" y="69"/>
                  <a:pt x="809" y="69"/>
                </a:cubicBezTo>
                <a:cubicBezTo>
                  <a:pt x="809" y="71"/>
                  <a:pt x="809" y="71"/>
                  <a:pt x="809" y="71"/>
                </a:cubicBezTo>
                <a:cubicBezTo>
                  <a:pt x="808" y="71"/>
                  <a:pt x="808" y="71"/>
                  <a:pt x="808" y="71"/>
                </a:cubicBezTo>
                <a:cubicBezTo>
                  <a:pt x="807" y="72"/>
                  <a:pt x="807" y="72"/>
                  <a:pt x="807" y="72"/>
                </a:cubicBezTo>
                <a:cubicBezTo>
                  <a:pt x="808" y="75"/>
                  <a:pt x="808" y="75"/>
                  <a:pt x="808" y="75"/>
                </a:cubicBezTo>
                <a:cubicBezTo>
                  <a:pt x="808" y="78"/>
                  <a:pt x="808" y="78"/>
                  <a:pt x="808" y="78"/>
                </a:cubicBezTo>
                <a:cubicBezTo>
                  <a:pt x="808" y="80"/>
                  <a:pt x="808" y="80"/>
                  <a:pt x="808" y="80"/>
                </a:cubicBezTo>
                <a:cubicBezTo>
                  <a:pt x="808" y="81"/>
                  <a:pt x="808" y="81"/>
                  <a:pt x="808" y="81"/>
                </a:cubicBezTo>
                <a:cubicBezTo>
                  <a:pt x="811" y="83"/>
                  <a:pt x="811" y="83"/>
                  <a:pt x="811" y="83"/>
                </a:cubicBezTo>
                <a:cubicBezTo>
                  <a:pt x="812" y="85"/>
                  <a:pt x="812" y="85"/>
                  <a:pt x="812" y="85"/>
                </a:cubicBezTo>
                <a:cubicBezTo>
                  <a:pt x="812" y="85"/>
                  <a:pt x="812" y="85"/>
                  <a:pt x="812" y="85"/>
                </a:cubicBezTo>
                <a:cubicBezTo>
                  <a:pt x="811" y="85"/>
                  <a:pt x="811" y="85"/>
                  <a:pt x="811" y="85"/>
                </a:cubicBezTo>
                <a:cubicBezTo>
                  <a:pt x="811" y="84"/>
                  <a:pt x="811" y="84"/>
                  <a:pt x="811" y="84"/>
                </a:cubicBezTo>
                <a:cubicBezTo>
                  <a:pt x="811" y="86"/>
                  <a:pt x="811" y="86"/>
                  <a:pt x="811" y="86"/>
                </a:cubicBezTo>
                <a:cubicBezTo>
                  <a:pt x="813" y="88"/>
                  <a:pt x="813" y="88"/>
                  <a:pt x="813" y="88"/>
                </a:cubicBezTo>
                <a:cubicBezTo>
                  <a:pt x="814" y="88"/>
                  <a:pt x="814" y="88"/>
                  <a:pt x="814" y="88"/>
                </a:cubicBezTo>
                <a:cubicBezTo>
                  <a:pt x="814" y="86"/>
                  <a:pt x="814" y="86"/>
                  <a:pt x="814" y="86"/>
                </a:cubicBezTo>
                <a:cubicBezTo>
                  <a:pt x="815" y="86"/>
                  <a:pt x="815" y="86"/>
                  <a:pt x="815" y="86"/>
                </a:cubicBezTo>
                <a:cubicBezTo>
                  <a:pt x="817" y="86"/>
                  <a:pt x="817" y="86"/>
                  <a:pt x="817" y="86"/>
                </a:cubicBezTo>
                <a:cubicBezTo>
                  <a:pt x="818" y="88"/>
                  <a:pt x="818" y="88"/>
                  <a:pt x="818" y="88"/>
                </a:cubicBezTo>
                <a:cubicBezTo>
                  <a:pt x="820" y="88"/>
                  <a:pt x="820" y="88"/>
                  <a:pt x="820" y="88"/>
                </a:cubicBezTo>
                <a:cubicBezTo>
                  <a:pt x="820" y="87"/>
                  <a:pt x="820" y="87"/>
                  <a:pt x="820" y="87"/>
                </a:cubicBezTo>
                <a:cubicBezTo>
                  <a:pt x="820" y="86"/>
                  <a:pt x="820" y="86"/>
                  <a:pt x="820" y="86"/>
                </a:cubicBezTo>
                <a:cubicBezTo>
                  <a:pt x="820" y="85"/>
                  <a:pt x="820" y="85"/>
                  <a:pt x="820" y="85"/>
                </a:cubicBezTo>
                <a:cubicBezTo>
                  <a:pt x="821" y="85"/>
                  <a:pt x="821" y="85"/>
                  <a:pt x="821" y="85"/>
                </a:cubicBezTo>
                <a:cubicBezTo>
                  <a:pt x="822" y="85"/>
                  <a:pt x="822" y="85"/>
                  <a:pt x="822" y="85"/>
                </a:cubicBezTo>
                <a:cubicBezTo>
                  <a:pt x="822" y="87"/>
                  <a:pt x="822" y="87"/>
                  <a:pt x="822" y="87"/>
                </a:cubicBezTo>
                <a:cubicBezTo>
                  <a:pt x="822" y="88"/>
                  <a:pt x="822" y="88"/>
                  <a:pt x="822" y="88"/>
                </a:cubicBezTo>
                <a:cubicBezTo>
                  <a:pt x="823" y="88"/>
                  <a:pt x="823" y="88"/>
                  <a:pt x="823" y="88"/>
                </a:cubicBezTo>
                <a:cubicBezTo>
                  <a:pt x="824" y="86"/>
                  <a:pt x="824" y="86"/>
                  <a:pt x="824" y="86"/>
                </a:cubicBezTo>
                <a:cubicBezTo>
                  <a:pt x="826" y="86"/>
                  <a:pt x="826" y="86"/>
                  <a:pt x="826" y="86"/>
                </a:cubicBezTo>
                <a:cubicBezTo>
                  <a:pt x="828" y="85"/>
                  <a:pt x="828" y="85"/>
                  <a:pt x="828" y="85"/>
                </a:cubicBezTo>
                <a:cubicBezTo>
                  <a:pt x="828" y="85"/>
                  <a:pt x="828" y="85"/>
                  <a:pt x="828" y="85"/>
                </a:cubicBezTo>
                <a:cubicBezTo>
                  <a:pt x="828" y="86"/>
                  <a:pt x="828" y="86"/>
                  <a:pt x="828" y="86"/>
                </a:cubicBezTo>
                <a:cubicBezTo>
                  <a:pt x="824" y="88"/>
                  <a:pt x="824" y="88"/>
                  <a:pt x="824" y="88"/>
                </a:cubicBezTo>
                <a:cubicBezTo>
                  <a:pt x="824" y="90"/>
                  <a:pt x="824" y="90"/>
                  <a:pt x="824" y="90"/>
                </a:cubicBezTo>
                <a:cubicBezTo>
                  <a:pt x="826" y="91"/>
                  <a:pt x="826" y="91"/>
                  <a:pt x="826" y="91"/>
                </a:cubicBezTo>
                <a:cubicBezTo>
                  <a:pt x="826" y="94"/>
                  <a:pt x="826" y="94"/>
                  <a:pt x="826" y="94"/>
                </a:cubicBezTo>
                <a:cubicBezTo>
                  <a:pt x="828" y="96"/>
                  <a:pt x="828" y="96"/>
                  <a:pt x="828" y="96"/>
                </a:cubicBezTo>
                <a:cubicBezTo>
                  <a:pt x="831" y="96"/>
                  <a:pt x="831" y="96"/>
                  <a:pt x="831" y="96"/>
                </a:cubicBezTo>
                <a:cubicBezTo>
                  <a:pt x="832" y="95"/>
                  <a:pt x="832" y="95"/>
                  <a:pt x="832" y="95"/>
                </a:cubicBezTo>
                <a:cubicBezTo>
                  <a:pt x="830" y="94"/>
                  <a:pt x="830" y="94"/>
                  <a:pt x="830" y="94"/>
                </a:cubicBezTo>
                <a:cubicBezTo>
                  <a:pt x="831" y="94"/>
                  <a:pt x="831" y="94"/>
                  <a:pt x="831" y="94"/>
                </a:cubicBezTo>
                <a:cubicBezTo>
                  <a:pt x="833" y="94"/>
                  <a:pt x="833" y="94"/>
                  <a:pt x="833" y="94"/>
                </a:cubicBezTo>
                <a:cubicBezTo>
                  <a:pt x="835" y="95"/>
                  <a:pt x="835" y="95"/>
                  <a:pt x="835" y="95"/>
                </a:cubicBezTo>
                <a:cubicBezTo>
                  <a:pt x="836" y="95"/>
                  <a:pt x="836" y="95"/>
                  <a:pt x="836" y="95"/>
                </a:cubicBezTo>
                <a:cubicBezTo>
                  <a:pt x="837" y="93"/>
                  <a:pt x="837" y="93"/>
                  <a:pt x="837" y="93"/>
                </a:cubicBezTo>
                <a:cubicBezTo>
                  <a:pt x="839" y="92"/>
                  <a:pt x="839" y="92"/>
                  <a:pt x="839" y="92"/>
                </a:cubicBezTo>
                <a:cubicBezTo>
                  <a:pt x="840" y="92"/>
                  <a:pt x="840" y="92"/>
                  <a:pt x="840" y="92"/>
                </a:cubicBezTo>
                <a:cubicBezTo>
                  <a:pt x="840" y="92"/>
                  <a:pt x="840" y="92"/>
                  <a:pt x="840" y="92"/>
                </a:cubicBezTo>
                <a:cubicBezTo>
                  <a:pt x="839" y="93"/>
                  <a:pt x="839" y="93"/>
                  <a:pt x="839" y="93"/>
                </a:cubicBezTo>
                <a:cubicBezTo>
                  <a:pt x="836" y="96"/>
                  <a:pt x="836" y="96"/>
                  <a:pt x="836" y="96"/>
                </a:cubicBezTo>
                <a:cubicBezTo>
                  <a:pt x="836" y="97"/>
                  <a:pt x="836" y="97"/>
                  <a:pt x="836" y="97"/>
                </a:cubicBezTo>
                <a:cubicBezTo>
                  <a:pt x="839" y="98"/>
                  <a:pt x="839" y="98"/>
                  <a:pt x="839" y="98"/>
                </a:cubicBezTo>
                <a:cubicBezTo>
                  <a:pt x="840" y="100"/>
                  <a:pt x="840" y="100"/>
                  <a:pt x="840" y="100"/>
                </a:cubicBezTo>
                <a:cubicBezTo>
                  <a:pt x="841" y="100"/>
                  <a:pt x="841" y="100"/>
                  <a:pt x="841" y="100"/>
                </a:cubicBezTo>
                <a:cubicBezTo>
                  <a:pt x="844" y="100"/>
                  <a:pt x="844" y="100"/>
                  <a:pt x="844" y="100"/>
                </a:cubicBezTo>
                <a:cubicBezTo>
                  <a:pt x="845" y="101"/>
                  <a:pt x="845" y="101"/>
                  <a:pt x="845" y="101"/>
                </a:cubicBezTo>
                <a:cubicBezTo>
                  <a:pt x="847" y="100"/>
                  <a:pt x="847" y="100"/>
                  <a:pt x="847" y="100"/>
                </a:cubicBezTo>
                <a:cubicBezTo>
                  <a:pt x="850" y="100"/>
                  <a:pt x="850" y="100"/>
                  <a:pt x="850" y="100"/>
                </a:cubicBezTo>
                <a:cubicBezTo>
                  <a:pt x="851" y="102"/>
                  <a:pt x="851" y="102"/>
                  <a:pt x="851" y="102"/>
                </a:cubicBezTo>
                <a:cubicBezTo>
                  <a:pt x="853" y="102"/>
                  <a:pt x="853" y="102"/>
                  <a:pt x="853" y="102"/>
                </a:cubicBezTo>
                <a:cubicBezTo>
                  <a:pt x="854" y="104"/>
                  <a:pt x="854" y="104"/>
                  <a:pt x="854" y="104"/>
                </a:cubicBezTo>
                <a:cubicBezTo>
                  <a:pt x="855" y="103"/>
                  <a:pt x="855" y="103"/>
                  <a:pt x="855" y="103"/>
                </a:cubicBezTo>
                <a:cubicBezTo>
                  <a:pt x="857" y="105"/>
                  <a:pt x="857" y="105"/>
                  <a:pt x="857" y="105"/>
                </a:cubicBezTo>
                <a:cubicBezTo>
                  <a:pt x="858" y="104"/>
                  <a:pt x="858" y="104"/>
                  <a:pt x="858" y="104"/>
                </a:cubicBezTo>
                <a:cubicBezTo>
                  <a:pt x="859" y="105"/>
                  <a:pt x="859" y="105"/>
                  <a:pt x="859" y="105"/>
                </a:cubicBezTo>
                <a:cubicBezTo>
                  <a:pt x="860" y="104"/>
                  <a:pt x="860" y="104"/>
                  <a:pt x="860" y="104"/>
                </a:cubicBezTo>
                <a:cubicBezTo>
                  <a:pt x="860" y="102"/>
                  <a:pt x="860" y="102"/>
                  <a:pt x="860" y="102"/>
                </a:cubicBezTo>
                <a:cubicBezTo>
                  <a:pt x="858" y="101"/>
                  <a:pt x="858" y="101"/>
                  <a:pt x="858" y="101"/>
                </a:cubicBezTo>
                <a:cubicBezTo>
                  <a:pt x="857" y="99"/>
                  <a:pt x="857" y="99"/>
                  <a:pt x="857" y="99"/>
                </a:cubicBezTo>
                <a:cubicBezTo>
                  <a:pt x="856" y="98"/>
                  <a:pt x="856" y="98"/>
                  <a:pt x="856" y="98"/>
                </a:cubicBezTo>
                <a:cubicBezTo>
                  <a:pt x="852" y="95"/>
                  <a:pt x="852" y="95"/>
                  <a:pt x="852" y="95"/>
                </a:cubicBezTo>
                <a:cubicBezTo>
                  <a:pt x="852" y="93"/>
                  <a:pt x="852" y="93"/>
                  <a:pt x="852" y="93"/>
                </a:cubicBezTo>
                <a:cubicBezTo>
                  <a:pt x="853" y="94"/>
                  <a:pt x="853" y="94"/>
                  <a:pt x="853" y="94"/>
                </a:cubicBezTo>
                <a:cubicBezTo>
                  <a:pt x="854" y="95"/>
                  <a:pt x="854" y="95"/>
                  <a:pt x="854" y="95"/>
                </a:cubicBezTo>
                <a:cubicBezTo>
                  <a:pt x="855" y="95"/>
                  <a:pt x="855" y="95"/>
                  <a:pt x="855" y="95"/>
                </a:cubicBezTo>
                <a:cubicBezTo>
                  <a:pt x="857" y="98"/>
                  <a:pt x="857" y="98"/>
                  <a:pt x="857" y="98"/>
                </a:cubicBezTo>
                <a:cubicBezTo>
                  <a:pt x="858" y="98"/>
                  <a:pt x="858" y="98"/>
                  <a:pt x="858" y="98"/>
                </a:cubicBezTo>
                <a:cubicBezTo>
                  <a:pt x="858" y="99"/>
                  <a:pt x="858" y="99"/>
                  <a:pt x="858" y="99"/>
                </a:cubicBezTo>
                <a:cubicBezTo>
                  <a:pt x="860" y="101"/>
                  <a:pt x="860" y="101"/>
                  <a:pt x="860" y="101"/>
                </a:cubicBezTo>
                <a:cubicBezTo>
                  <a:pt x="862" y="103"/>
                  <a:pt x="862" y="103"/>
                  <a:pt x="862" y="103"/>
                </a:cubicBezTo>
                <a:cubicBezTo>
                  <a:pt x="862" y="104"/>
                  <a:pt x="862" y="104"/>
                  <a:pt x="862" y="104"/>
                </a:cubicBezTo>
                <a:cubicBezTo>
                  <a:pt x="863" y="104"/>
                  <a:pt x="863" y="104"/>
                  <a:pt x="863" y="104"/>
                </a:cubicBezTo>
                <a:cubicBezTo>
                  <a:pt x="865" y="106"/>
                  <a:pt x="865" y="106"/>
                  <a:pt x="865" y="106"/>
                </a:cubicBezTo>
                <a:cubicBezTo>
                  <a:pt x="866" y="108"/>
                  <a:pt x="866" y="108"/>
                  <a:pt x="866" y="108"/>
                </a:cubicBezTo>
                <a:cubicBezTo>
                  <a:pt x="867" y="108"/>
                  <a:pt x="867" y="108"/>
                  <a:pt x="867" y="108"/>
                </a:cubicBezTo>
                <a:cubicBezTo>
                  <a:pt x="868" y="108"/>
                  <a:pt x="868" y="108"/>
                  <a:pt x="868" y="108"/>
                </a:cubicBezTo>
                <a:cubicBezTo>
                  <a:pt x="867" y="106"/>
                  <a:pt x="867" y="106"/>
                  <a:pt x="867" y="106"/>
                </a:cubicBezTo>
                <a:cubicBezTo>
                  <a:pt x="865" y="102"/>
                  <a:pt x="865" y="102"/>
                  <a:pt x="865" y="102"/>
                </a:cubicBezTo>
                <a:cubicBezTo>
                  <a:pt x="868" y="102"/>
                  <a:pt x="868" y="102"/>
                  <a:pt x="868" y="102"/>
                </a:cubicBezTo>
                <a:cubicBezTo>
                  <a:pt x="871" y="104"/>
                  <a:pt x="871" y="104"/>
                  <a:pt x="871" y="104"/>
                </a:cubicBezTo>
                <a:cubicBezTo>
                  <a:pt x="875" y="104"/>
                  <a:pt x="875" y="104"/>
                  <a:pt x="875" y="104"/>
                </a:cubicBezTo>
                <a:cubicBezTo>
                  <a:pt x="875" y="106"/>
                  <a:pt x="875" y="106"/>
                  <a:pt x="875" y="106"/>
                </a:cubicBezTo>
                <a:cubicBezTo>
                  <a:pt x="874" y="107"/>
                  <a:pt x="874" y="107"/>
                  <a:pt x="874" y="107"/>
                </a:cubicBezTo>
                <a:cubicBezTo>
                  <a:pt x="876" y="108"/>
                  <a:pt x="876" y="108"/>
                  <a:pt x="876" y="108"/>
                </a:cubicBezTo>
                <a:cubicBezTo>
                  <a:pt x="878" y="108"/>
                  <a:pt x="878" y="108"/>
                  <a:pt x="878" y="108"/>
                </a:cubicBezTo>
                <a:cubicBezTo>
                  <a:pt x="878" y="108"/>
                  <a:pt x="878" y="108"/>
                  <a:pt x="878" y="108"/>
                </a:cubicBezTo>
                <a:cubicBezTo>
                  <a:pt x="883" y="108"/>
                  <a:pt x="883" y="108"/>
                  <a:pt x="883" y="108"/>
                </a:cubicBezTo>
                <a:cubicBezTo>
                  <a:pt x="884" y="107"/>
                  <a:pt x="884" y="107"/>
                  <a:pt x="884" y="107"/>
                </a:cubicBezTo>
                <a:cubicBezTo>
                  <a:pt x="886" y="105"/>
                  <a:pt x="886" y="105"/>
                  <a:pt x="886" y="105"/>
                </a:cubicBezTo>
                <a:cubicBezTo>
                  <a:pt x="886" y="104"/>
                  <a:pt x="886" y="104"/>
                  <a:pt x="886" y="104"/>
                </a:cubicBezTo>
                <a:cubicBezTo>
                  <a:pt x="886" y="102"/>
                  <a:pt x="886" y="102"/>
                  <a:pt x="886" y="102"/>
                </a:cubicBezTo>
                <a:cubicBezTo>
                  <a:pt x="885" y="101"/>
                  <a:pt x="885" y="101"/>
                  <a:pt x="885" y="101"/>
                </a:cubicBezTo>
                <a:cubicBezTo>
                  <a:pt x="884" y="97"/>
                  <a:pt x="884" y="97"/>
                  <a:pt x="884" y="97"/>
                </a:cubicBezTo>
                <a:cubicBezTo>
                  <a:pt x="883" y="97"/>
                  <a:pt x="883" y="97"/>
                  <a:pt x="883" y="97"/>
                </a:cubicBezTo>
                <a:cubicBezTo>
                  <a:pt x="881" y="95"/>
                  <a:pt x="881" y="95"/>
                  <a:pt x="881" y="95"/>
                </a:cubicBezTo>
                <a:cubicBezTo>
                  <a:pt x="881" y="93"/>
                  <a:pt x="881" y="93"/>
                  <a:pt x="881" y="93"/>
                </a:cubicBezTo>
                <a:cubicBezTo>
                  <a:pt x="882" y="93"/>
                  <a:pt x="882" y="93"/>
                  <a:pt x="882" y="93"/>
                </a:cubicBezTo>
                <a:cubicBezTo>
                  <a:pt x="883" y="91"/>
                  <a:pt x="883" y="91"/>
                  <a:pt x="883" y="91"/>
                </a:cubicBezTo>
                <a:cubicBezTo>
                  <a:pt x="883" y="91"/>
                  <a:pt x="883" y="91"/>
                  <a:pt x="883" y="91"/>
                </a:cubicBezTo>
                <a:cubicBezTo>
                  <a:pt x="884" y="92"/>
                  <a:pt x="884" y="92"/>
                  <a:pt x="884" y="92"/>
                </a:cubicBezTo>
                <a:cubicBezTo>
                  <a:pt x="884" y="93"/>
                  <a:pt x="884" y="93"/>
                  <a:pt x="884" y="93"/>
                </a:cubicBezTo>
                <a:cubicBezTo>
                  <a:pt x="886" y="92"/>
                  <a:pt x="886" y="92"/>
                  <a:pt x="886" y="92"/>
                </a:cubicBezTo>
                <a:cubicBezTo>
                  <a:pt x="886" y="89"/>
                  <a:pt x="886" y="89"/>
                  <a:pt x="886" y="89"/>
                </a:cubicBezTo>
                <a:cubicBezTo>
                  <a:pt x="887" y="88"/>
                  <a:pt x="887" y="88"/>
                  <a:pt x="887" y="88"/>
                </a:cubicBezTo>
                <a:cubicBezTo>
                  <a:pt x="888" y="87"/>
                  <a:pt x="888" y="87"/>
                  <a:pt x="888" y="87"/>
                </a:cubicBezTo>
                <a:cubicBezTo>
                  <a:pt x="888" y="90"/>
                  <a:pt x="888" y="90"/>
                  <a:pt x="888" y="90"/>
                </a:cubicBezTo>
                <a:cubicBezTo>
                  <a:pt x="889" y="91"/>
                  <a:pt x="889" y="91"/>
                  <a:pt x="889" y="91"/>
                </a:cubicBezTo>
                <a:cubicBezTo>
                  <a:pt x="888" y="92"/>
                  <a:pt x="888" y="92"/>
                  <a:pt x="888" y="92"/>
                </a:cubicBezTo>
                <a:cubicBezTo>
                  <a:pt x="886" y="92"/>
                  <a:pt x="886" y="92"/>
                  <a:pt x="886" y="92"/>
                </a:cubicBezTo>
                <a:cubicBezTo>
                  <a:pt x="886" y="95"/>
                  <a:pt x="886" y="95"/>
                  <a:pt x="886" y="95"/>
                </a:cubicBezTo>
                <a:cubicBezTo>
                  <a:pt x="887" y="95"/>
                  <a:pt x="887" y="95"/>
                  <a:pt x="887" y="95"/>
                </a:cubicBezTo>
                <a:cubicBezTo>
                  <a:pt x="888" y="96"/>
                  <a:pt x="888" y="96"/>
                  <a:pt x="888" y="96"/>
                </a:cubicBezTo>
                <a:cubicBezTo>
                  <a:pt x="888" y="98"/>
                  <a:pt x="888" y="98"/>
                  <a:pt x="888" y="98"/>
                </a:cubicBezTo>
                <a:cubicBezTo>
                  <a:pt x="890" y="100"/>
                  <a:pt x="890" y="100"/>
                  <a:pt x="890" y="100"/>
                </a:cubicBezTo>
                <a:cubicBezTo>
                  <a:pt x="892" y="101"/>
                  <a:pt x="892" y="101"/>
                  <a:pt x="892" y="101"/>
                </a:cubicBezTo>
                <a:cubicBezTo>
                  <a:pt x="892" y="99"/>
                  <a:pt x="892" y="99"/>
                  <a:pt x="892" y="99"/>
                </a:cubicBezTo>
                <a:cubicBezTo>
                  <a:pt x="892" y="99"/>
                  <a:pt x="892" y="99"/>
                  <a:pt x="892" y="99"/>
                </a:cubicBezTo>
                <a:cubicBezTo>
                  <a:pt x="893" y="100"/>
                  <a:pt x="893" y="100"/>
                  <a:pt x="893" y="100"/>
                </a:cubicBezTo>
                <a:cubicBezTo>
                  <a:pt x="895" y="99"/>
                  <a:pt x="895" y="99"/>
                  <a:pt x="895" y="99"/>
                </a:cubicBezTo>
                <a:cubicBezTo>
                  <a:pt x="896" y="100"/>
                  <a:pt x="896" y="100"/>
                  <a:pt x="896" y="100"/>
                </a:cubicBezTo>
                <a:cubicBezTo>
                  <a:pt x="895" y="101"/>
                  <a:pt x="895" y="101"/>
                  <a:pt x="895" y="101"/>
                </a:cubicBezTo>
                <a:cubicBezTo>
                  <a:pt x="895" y="103"/>
                  <a:pt x="895" y="103"/>
                  <a:pt x="895" y="103"/>
                </a:cubicBezTo>
                <a:cubicBezTo>
                  <a:pt x="894" y="106"/>
                  <a:pt x="894" y="106"/>
                  <a:pt x="894" y="106"/>
                </a:cubicBezTo>
                <a:cubicBezTo>
                  <a:pt x="894" y="106"/>
                  <a:pt x="894" y="106"/>
                  <a:pt x="894" y="106"/>
                </a:cubicBezTo>
                <a:cubicBezTo>
                  <a:pt x="892" y="109"/>
                  <a:pt x="892" y="109"/>
                  <a:pt x="892" y="109"/>
                </a:cubicBezTo>
                <a:cubicBezTo>
                  <a:pt x="891" y="112"/>
                  <a:pt x="891" y="112"/>
                  <a:pt x="891" y="112"/>
                </a:cubicBezTo>
                <a:cubicBezTo>
                  <a:pt x="891" y="113"/>
                  <a:pt x="891" y="113"/>
                  <a:pt x="891" y="113"/>
                </a:cubicBezTo>
                <a:cubicBezTo>
                  <a:pt x="892" y="113"/>
                  <a:pt x="892" y="113"/>
                  <a:pt x="892" y="113"/>
                </a:cubicBezTo>
                <a:cubicBezTo>
                  <a:pt x="892" y="111"/>
                  <a:pt x="892" y="111"/>
                  <a:pt x="892" y="111"/>
                </a:cubicBezTo>
                <a:cubicBezTo>
                  <a:pt x="894" y="112"/>
                  <a:pt x="894" y="112"/>
                  <a:pt x="894" y="112"/>
                </a:cubicBezTo>
                <a:cubicBezTo>
                  <a:pt x="894" y="112"/>
                  <a:pt x="894" y="112"/>
                  <a:pt x="894" y="112"/>
                </a:cubicBezTo>
                <a:cubicBezTo>
                  <a:pt x="895" y="112"/>
                  <a:pt x="895" y="112"/>
                  <a:pt x="895" y="112"/>
                </a:cubicBezTo>
                <a:cubicBezTo>
                  <a:pt x="896" y="114"/>
                  <a:pt x="896" y="114"/>
                  <a:pt x="896" y="114"/>
                </a:cubicBezTo>
                <a:cubicBezTo>
                  <a:pt x="899" y="114"/>
                  <a:pt x="899" y="114"/>
                  <a:pt x="899" y="114"/>
                </a:cubicBezTo>
                <a:cubicBezTo>
                  <a:pt x="897" y="115"/>
                  <a:pt x="897" y="115"/>
                  <a:pt x="897" y="115"/>
                </a:cubicBezTo>
                <a:cubicBezTo>
                  <a:pt x="897" y="116"/>
                  <a:pt x="897" y="116"/>
                  <a:pt x="897" y="116"/>
                </a:cubicBezTo>
                <a:cubicBezTo>
                  <a:pt x="896" y="117"/>
                  <a:pt x="896" y="117"/>
                  <a:pt x="896" y="117"/>
                </a:cubicBezTo>
                <a:cubicBezTo>
                  <a:pt x="896" y="116"/>
                  <a:pt x="896" y="116"/>
                  <a:pt x="896" y="116"/>
                </a:cubicBezTo>
                <a:cubicBezTo>
                  <a:pt x="894" y="116"/>
                  <a:pt x="894" y="116"/>
                  <a:pt x="894" y="116"/>
                </a:cubicBezTo>
                <a:cubicBezTo>
                  <a:pt x="894" y="118"/>
                  <a:pt x="894" y="118"/>
                  <a:pt x="894" y="118"/>
                </a:cubicBezTo>
                <a:cubicBezTo>
                  <a:pt x="896" y="118"/>
                  <a:pt x="896" y="118"/>
                  <a:pt x="896" y="118"/>
                </a:cubicBezTo>
                <a:cubicBezTo>
                  <a:pt x="896" y="119"/>
                  <a:pt x="896" y="119"/>
                  <a:pt x="896" y="119"/>
                </a:cubicBezTo>
                <a:cubicBezTo>
                  <a:pt x="898" y="119"/>
                  <a:pt x="898" y="119"/>
                  <a:pt x="898" y="119"/>
                </a:cubicBezTo>
                <a:cubicBezTo>
                  <a:pt x="898" y="120"/>
                  <a:pt x="898" y="120"/>
                  <a:pt x="898" y="120"/>
                </a:cubicBezTo>
                <a:cubicBezTo>
                  <a:pt x="898" y="121"/>
                  <a:pt x="898" y="121"/>
                  <a:pt x="898" y="121"/>
                </a:cubicBezTo>
                <a:cubicBezTo>
                  <a:pt x="898" y="123"/>
                  <a:pt x="898" y="123"/>
                  <a:pt x="898" y="123"/>
                </a:cubicBezTo>
                <a:cubicBezTo>
                  <a:pt x="899" y="124"/>
                  <a:pt x="899" y="124"/>
                  <a:pt x="899" y="124"/>
                </a:cubicBezTo>
                <a:cubicBezTo>
                  <a:pt x="901" y="125"/>
                  <a:pt x="901" y="125"/>
                  <a:pt x="901" y="125"/>
                </a:cubicBezTo>
                <a:cubicBezTo>
                  <a:pt x="902" y="126"/>
                  <a:pt x="902" y="126"/>
                  <a:pt x="902" y="126"/>
                </a:cubicBezTo>
                <a:cubicBezTo>
                  <a:pt x="903" y="127"/>
                  <a:pt x="903" y="127"/>
                  <a:pt x="903" y="127"/>
                </a:cubicBezTo>
                <a:cubicBezTo>
                  <a:pt x="902" y="129"/>
                  <a:pt x="902" y="129"/>
                  <a:pt x="902" y="129"/>
                </a:cubicBezTo>
                <a:cubicBezTo>
                  <a:pt x="901" y="130"/>
                  <a:pt x="901" y="130"/>
                  <a:pt x="901" y="130"/>
                </a:cubicBezTo>
                <a:cubicBezTo>
                  <a:pt x="900" y="130"/>
                  <a:pt x="900" y="130"/>
                  <a:pt x="900" y="130"/>
                </a:cubicBezTo>
                <a:cubicBezTo>
                  <a:pt x="899" y="131"/>
                  <a:pt x="899" y="131"/>
                  <a:pt x="899" y="131"/>
                </a:cubicBezTo>
                <a:cubicBezTo>
                  <a:pt x="897" y="130"/>
                  <a:pt x="897" y="130"/>
                  <a:pt x="897" y="130"/>
                </a:cubicBezTo>
                <a:cubicBezTo>
                  <a:pt x="896" y="130"/>
                  <a:pt x="896" y="130"/>
                  <a:pt x="896" y="130"/>
                </a:cubicBezTo>
                <a:cubicBezTo>
                  <a:pt x="895" y="130"/>
                  <a:pt x="895" y="130"/>
                  <a:pt x="895" y="130"/>
                </a:cubicBezTo>
                <a:cubicBezTo>
                  <a:pt x="894" y="132"/>
                  <a:pt x="894" y="132"/>
                  <a:pt x="894" y="132"/>
                </a:cubicBezTo>
                <a:cubicBezTo>
                  <a:pt x="895" y="132"/>
                  <a:pt x="895" y="132"/>
                  <a:pt x="895" y="132"/>
                </a:cubicBezTo>
                <a:cubicBezTo>
                  <a:pt x="895" y="133"/>
                  <a:pt x="895" y="133"/>
                  <a:pt x="895" y="133"/>
                </a:cubicBezTo>
                <a:cubicBezTo>
                  <a:pt x="894" y="135"/>
                  <a:pt x="894" y="135"/>
                  <a:pt x="894" y="135"/>
                </a:cubicBezTo>
                <a:cubicBezTo>
                  <a:pt x="894" y="136"/>
                  <a:pt x="894" y="136"/>
                  <a:pt x="894" y="136"/>
                </a:cubicBezTo>
                <a:cubicBezTo>
                  <a:pt x="895" y="136"/>
                  <a:pt x="895" y="136"/>
                  <a:pt x="895" y="136"/>
                </a:cubicBezTo>
                <a:cubicBezTo>
                  <a:pt x="895" y="135"/>
                  <a:pt x="895" y="135"/>
                  <a:pt x="895" y="135"/>
                </a:cubicBezTo>
                <a:cubicBezTo>
                  <a:pt x="897" y="135"/>
                  <a:pt x="897" y="135"/>
                  <a:pt x="897" y="135"/>
                </a:cubicBezTo>
                <a:cubicBezTo>
                  <a:pt x="899" y="135"/>
                  <a:pt x="899" y="135"/>
                  <a:pt x="899" y="135"/>
                </a:cubicBezTo>
                <a:cubicBezTo>
                  <a:pt x="900" y="134"/>
                  <a:pt x="900" y="134"/>
                  <a:pt x="900" y="134"/>
                </a:cubicBezTo>
                <a:cubicBezTo>
                  <a:pt x="901" y="134"/>
                  <a:pt x="901" y="134"/>
                  <a:pt x="901" y="134"/>
                </a:cubicBezTo>
                <a:cubicBezTo>
                  <a:pt x="902" y="132"/>
                  <a:pt x="902" y="132"/>
                  <a:pt x="902" y="132"/>
                </a:cubicBezTo>
                <a:cubicBezTo>
                  <a:pt x="903" y="131"/>
                  <a:pt x="903" y="131"/>
                  <a:pt x="903" y="131"/>
                </a:cubicBezTo>
                <a:cubicBezTo>
                  <a:pt x="903" y="134"/>
                  <a:pt x="903" y="134"/>
                  <a:pt x="903" y="134"/>
                </a:cubicBezTo>
                <a:cubicBezTo>
                  <a:pt x="904" y="134"/>
                  <a:pt x="904" y="134"/>
                  <a:pt x="904" y="134"/>
                </a:cubicBezTo>
                <a:cubicBezTo>
                  <a:pt x="905" y="133"/>
                  <a:pt x="905" y="133"/>
                  <a:pt x="905" y="133"/>
                </a:cubicBezTo>
                <a:cubicBezTo>
                  <a:pt x="907" y="131"/>
                  <a:pt x="907" y="131"/>
                  <a:pt x="907" y="131"/>
                </a:cubicBezTo>
                <a:cubicBezTo>
                  <a:pt x="909" y="130"/>
                  <a:pt x="909" y="130"/>
                  <a:pt x="909" y="130"/>
                </a:cubicBezTo>
                <a:cubicBezTo>
                  <a:pt x="910" y="131"/>
                  <a:pt x="910" y="131"/>
                  <a:pt x="910" y="131"/>
                </a:cubicBezTo>
                <a:cubicBezTo>
                  <a:pt x="909" y="132"/>
                  <a:pt x="909" y="132"/>
                  <a:pt x="909" y="132"/>
                </a:cubicBezTo>
                <a:cubicBezTo>
                  <a:pt x="908" y="132"/>
                  <a:pt x="908" y="132"/>
                  <a:pt x="908" y="132"/>
                </a:cubicBezTo>
                <a:cubicBezTo>
                  <a:pt x="907" y="133"/>
                  <a:pt x="907" y="133"/>
                  <a:pt x="907" y="133"/>
                </a:cubicBezTo>
                <a:cubicBezTo>
                  <a:pt x="908" y="134"/>
                  <a:pt x="908" y="134"/>
                  <a:pt x="908" y="134"/>
                </a:cubicBezTo>
                <a:cubicBezTo>
                  <a:pt x="908" y="134"/>
                  <a:pt x="908" y="134"/>
                  <a:pt x="908" y="134"/>
                </a:cubicBezTo>
                <a:cubicBezTo>
                  <a:pt x="906" y="135"/>
                  <a:pt x="906" y="135"/>
                  <a:pt x="906" y="135"/>
                </a:cubicBezTo>
                <a:cubicBezTo>
                  <a:pt x="906" y="136"/>
                  <a:pt x="906" y="136"/>
                  <a:pt x="906" y="136"/>
                </a:cubicBezTo>
                <a:cubicBezTo>
                  <a:pt x="908" y="135"/>
                  <a:pt x="908" y="135"/>
                  <a:pt x="908" y="135"/>
                </a:cubicBezTo>
                <a:cubicBezTo>
                  <a:pt x="909" y="137"/>
                  <a:pt x="909" y="137"/>
                  <a:pt x="909" y="137"/>
                </a:cubicBezTo>
                <a:cubicBezTo>
                  <a:pt x="907" y="138"/>
                  <a:pt x="907" y="138"/>
                  <a:pt x="907" y="138"/>
                </a:cubicBezTo>
                <a:cubicBezTo>
                  <a:pt x="908" y="141"/>
                  <a:pt x="908" y="141"/>
                  <a:pt x="908" y="141"/>
                </a:cubicBezTo>
                <a:cubicBezTo>
                  <a:pt x="908" y="141"/>
                  <a:pt x="908" y="141"/>
                  <a:pt x="908" y="141"/>
                </a:cubicBezTo>
                <a:cubicBezTo>
                  <a:pt x="909" y="143"/>
                  <a:pt x="909" y="143"/>
                  <a:pt x="909" y="143"/>
                </a:cubicBezTo>
                <a:cubicBezTo>
                  <a:pt x="912" y="142"/>
                  <a:pt x="912" y="142"/>
                  <a:pt x="912" y="142"/>
                </a:cubicBezTo>
                <a:cubicBezTo>
                  <a:pt x="912" y="141"/>
                  <a:pt x="912" y="141"/>
                  <a:pt x="912" y="141"/>
                </a:cubicBezTo>
                <a:cubicBezTo>
                  <a:pt x="911" y="140"/>
                  <a:pt x="911" y="140"/>
                  <a:pt x="911" y="140"/>
                </a:cubicBezTo>
                <a:cubicBezTo>
                  <a:pt x="912" y="139"/>
                  <a:pt x="912" y="139"/>
                  <a:pt x="912" y="139"/>
                </a:cubicBezTo>
                <a:cubicBezTo>
                  <a:pt x="912" y="138"/>
                  <a:pt x="912" y="138"/>
                  <a:pt x="912" y="138"/>
                </a:cubicBezTo>
                <a:cubicBezTo>
                  <a:pt x="915" y="140"/>
                  <a:pt x="915" y="140"/>
                  <a:pt x="915" y="140"/>
                </a:cubicBezTo>
                <a:cubicBezTo>
                  <a:pt x="915" y="141"/>
                  <a:pt x="915" y="141"/>
                  <a:pt x="915" y="141"/>
                </a:cubicBezTo>
                <a:cubicBezTo>
                  <a:pt x="914" y="143"/>
                  <a:pt x="914" y="143"/>
                  <a:pt x="914" y="143"/>
                </a:cubicBezTo>
                <a:cubicBezTo>
                  <a:pt x="915" y="144"/>
                  <a:pt x="915" y="144"/>
                  <a:pt x="915" y="144"/>
                </a:cubicBezTo>
                <a:cubicBezTo>
                  <a:pt x="915" y="145"/>
                  <a:pt x="915" y="145"/>
                  <a:pt x="915" y="145"/>
                </a:cubicBezTo>
                <a:cubicBezTo>
                  <a:pt x="913" y="146"/>
                  <a:pt x="913" y="146"/>
                  <a:pt x="913" y="146"/>
                </a:cubicBezTo>
                <a:cubicBezTo>
                  <a:pt x="912" y="147"/>
                  <a:pt x="912" y="147"/>
                  <a:pt x="912" y="147"/>
                </a:cubicBezTo>
                <a:cubicBezTo>
                  <a:pt x="913" y="148"/>
                  <a:pt x="913" y="148"/>
                  <a:pt x="913" y="148"/>
                </a:cubicBezTo>
                <a:cubicBezTo>
                  <a:pt x="917" y="148"/>
                  <a:pt x="917" y="148"/>
                  <a:pt x="917" y="148"/>
                </a:cubicBezTo>
                <a:cubicBezTo>
                  <a:pt x="918" y="149"/>
                  <a:pt x="918" y="149"/>
                  <a:pt x="918" y="149"/>
                </a:cubicBezTo>
                <a:cubicBezTo>
                  <a:pt x="918" y="150"/>
                  <a:pt x="918" y="150"/>
                  <a:pt x="918" y="150"/>
                </a:cubicBezTo>
                <a:cubicBezTo>
                  <a:pt x="918" y="152"/>
                  <a:pt x="918" y="152"/>
                  <a:pt x="918" y="152"/>
                </a:cubicBezTo>
                <a:cubicBezTo>
                  <a:pt x="919" y="151"/>
                  <a:pt x="919" y="151"/>
                  <a:pt x="919" y="151"/>
                </a:cubicBezTo>
                <a:cubicBezTo>
                  <a:pt x="919" y="150"/>
                  <a:pt x="919" y="150"/>
                  <a:pt x="919" y="150"/>
                </a:cubicBezTo>
                <a:cubicBezTo>
                  <a:pt x="920" y="149"/>
                  <a:pt x="920" y="149"/>
                  <a:pt x="920" y="149"/>
                </a:cubicBezTo>
                <a:cubicBezTo>
                  <a:pt x="921" y="149"/>
                  <a:pt x="921" y="149"/>
                  <a:pt x="921" y="149"/>
                </a:cubicBezTo>
                <a:cubicBezTo>
                  <a:pt x="921" y="150"/>
                  <a:pt x="921" y="150"/>
                  <a:pt x="921" y="150"/>
                </a:cubicBezTo>
                <a:cubicBezTo>
                  <a:pt x="920" y="152"/>
                  <a:pt x="920" y="152"/>
                  <a:pt x="920" y="152"/>
                </a:cubicBezTo>
                <a:cubicBezTo>
                  <a:pt x="920" y="153"/>
                  <a:pt x="920" y="153"/>
                  <a:pt x="920" y="153"/>
                </a:cubicBezTo>
                <a:cubicBezTo>
                  <a:pt x="919" y="153"/>
                  <a:pt x="919" y="153"/>
                  <a:pt x="919" y="153"/>
                </a:cubicBezTo>
                <a:cubicBezTo>
                  <a:pt x="918" y="156"/>
                  <a:pt x="918" y="156"/>
                  <a:pt x="918" y="156"/>
                </a:cubicBezTo>
                <a:cubicBezTo>
                  <a:pt x="918" y="157"/>
                  <a:pt x="918" y="157"/>
                  <a:pt x="918" y="157"/>
                </a:cubicBezTo>
                <a:cubicBezTo>
                  <a:pt x="919" y="158"/>
                  <a:pt x="919" y="158"/>
                  <a:pt x="919" y="158"/>
                </a:cubicBezTo>
                <a:cubicBezTo>
                  <a:pt x="919" y="159"/>
                  <a:pt x="919" y="159"/>
                  <a:pt x="919" y="159"/>
                </a:cubicBezTo>
                <a:cubicBezTo>
                  <a:pt x="918" y="161"/>
                  <a:pt x="918" y="161"/>
                  <a:pt x="918" y="161"/>
                </a:cubicBezTo>
                <a:cubicBezTo>
                  <a:pt x="918" y="163"/>
                  <a:pt x="918" y="163"/>
                  <a:pt x="918" y="163"/>
                </a:cubicBezTo>
                <a:cubicBezTo>
                  <a:pt x="919" y="163"/>
                  <a:pt x="919" y="163"/>
                  <a:pt x="919" y="163"/>
                </a:cubicBezTo>
                <a:cubicBezTo>
                  <a:pt x="918" y="164"/>
                  <a:pt x="918" y="164"/>
                  <a:pt x="918" y="164"/>
                </a:cubicBezTo>
                <a:cubicBezTo>
                  <a:pt x="918" y="168"/>
                  <a:pt x="918" y="168"/>
                  <a:pt x="918" y="168"/>
                </a:cubicBezTo>
                <a:cubicBezTo>
                  <a:pt x="917" y="169"/>
                  <a:pt x="917" y="169"/>
                  <a:pt x="917" y="169"/>
                </a:cubicBezTo>
                <a:cubicBezTo>
                  <a:pt x="918" y="171"/>
                  <a:pt x="918" y="171"/>
                  <a:pt x="918" y="171"/>
                </a:cubicBezTo>
                <a:cubicBezTo>
                  <a:pt x="918" y="172"/>
                  <a:pt x="918" y="172"/>
                  <a:pt x="918" y="172"/>
                </a:cubicBezTo>
                <a:cubicBezTo>
                  <a:pt x="915" y="173"/>
                  <a:pt x="915" y="173"/>
                  <a:pt x="915" y="173"/>
                </a:cubicBezTo>
                <a:cubicBezTo>
                  <a:pt x="912" y="173"/>
                  <a:pt x="912" y="173"/>
                  <a:pt x="912" y="173"/>
                </a:cubicBezTo>
                <a:cubicBezTo>
                  <a:pt x="911" y="173"/>
                  <a:pt x="911" y="173"/>
                  <a:pt x="911" y="173"/>
                </a:cubicBezTo>
                <a:cubicBezTo>
                  <a:pt x="910" y="175"/>
                  <a:pt x="910" y="175"/>
                  <a:pt x="910" y="175"/>
                </a:cubicBezTo>
                <a:cubicBezTo>
                  <a:pt x="907" y="178"/>
                  <a:pt x="907" y="178"/>
                  <a:pt x="907" y="178"/>
                </a:cubicBezTo>
                <a:cubicBezTo>
                  <a:pt x="907" y="179"/>
                  <a:pt x="907" y="179"/>
                  <a:pt x="907" y="179"/>
                </a:cubicBezTo>
                <a:cubicBezTo>
                  <a:pt x="909" y="181"/>
                  <a:pt x="909" y="181"/>
                  <a:pt x="909" y="181"/>
                </a:cubicBezTo>
                <a:cubicBezTo>
                  <a:pt x="908" y="181"/>
                  <a:pt x="908" y="181"/>
                  <a:pt x="908" y="181"/>
                </a:cubicBezTo>
                <a:cubicBezTo>
                  <a:pt x="907" y="181"/>
                  <a:pt x="907" y="181"/>
                  <a:pt x="907" y="181"/>
                </a:cubicBezTo>
                <a:cubicBezTo>
                  <a:pt x="906" y="180"/>
                  <a:pt x="906" y="180"/>
                  <a:pt x="906" y="180"/>
                </a:cubicBezTo>
                <a:cubicBezTo>
                  <a:pt x="905" y="180"/>
                  <a:pt x="905" y="180"/>
                  <a:pt x="905" y="180"/>
                </a:cubicBezTo>
                <a:cubicBezTo>
                  <a:pt x="902" y="183"/>
                  <a:pt x="902" y="183"/>
                  <a:pt x="902" y="183"/>
                </a:cubicBezTo>
                <a:cubicBezTo>
                  <a:pt x="901" y="184"/>
                  <a:pt x="901" y="184"/>
                  <a:pt x="901" y="184"/>
                </a:cubicBezTo>
                <a:cubicBezTo>
                  <a:pt x="897" y="186"/>
                  <a:pt x="897" y="186"/>
                  <a:pt x="897" y="186"/>
                </a:cubicBezTo>
                <a:cubicBezTo>
                  <a:pt x="894" y="188"/>
                  <a:pt x="894" y="188"/>
                  <a:pt x="894" y="188"/>
                </a:cubicBezTo>
                <a:cubicBezTo>
                  <a:pt x="893" y="188"/>
                  <a:pt x="893" y="188"/>
                  <a:pt x="893" y="188"/>
                </a:cubicBezTo>
                <a:cubicBezTo>
                  <a:pt x="892" y="189"/>
                  <a:pt x="892" y="189"/>
                  <a:pt x="892" y="189"/>
                </a:cubicBezTo>
                <a:cubicBezTo>
                  <a:pt x="892" y="192"/>
                  <a:pt x="892" y="192"/>
                  <a:pt x="892" y="192"/>
                </a:cubicBezTo>
                <a:cubicBezTo>
                  <a:pt x="893" y="193"/>
                  <a:pt x="893" y="193"/>
                  <a:pt x="893" y="193"/>
                </a:cubicBezTo>
                <a:cubicBezTo>
                  <a:pt x="893" y="195"/>
                  <a:pt x="893" y="195"/>
                  <a:pt x="893" y="195"/>
                </a:cubicBezTo>
                <a:cubicBezTo>
                  <a:pt x="895" y="198"/>
                  <a:pt x="895" y="198"/>
                  <a:pt x="895" y="198"/>
                </a:cubicBezTo>
                <a:cubicBezTo>
                  <a:pt x="896" y="203"/>
                  <a:pt x="896" y="203"/>
                  <a:pt x="896" y="203"/>
                </a:cubicBezTo>
                <a:cubicBezTo>
                  <a:pt x="895" y="204"/>
                  <a:pt x="895" y="204"/>
                  <a:pt x="895" y="204"/>
                </a:cubicBezTo>
                <a:cubicBezTo>
                  <a:pt x="894" y="203"/>
                  <a:pt x="894" y="203"/>
                  <a:pt x="894" y="203"/>
                </a:cubicBezTo>
                <a:cubicBezTo>
                  <a:pt x="893" y="204"/>
                  <a:pt x="893" y="204"/>
                  <a:pt x="893" y="204"/>
                </a:cubicBezTo>
                <a:cubicBezTo>
                  <a:pt x="892" y="206"/>
                  <a:pt x="892" y="206"/>
                  <a:pt x="892" y="206"/>
                </a:cubicBezTo>
                <a:cubicBezTo>
                  <a:pt x="892" y="204"/>
                  <a:pt x="892" y="204"/>
                  <a:pt x="892" y="204"/>
                </a:cubicBezTo>
                <a:cubicBezTo>
                  <a:pt x="892" y="201"/>
                  <a:pt x="892" y="201"/>
                  <a:pt x="892" y="201"/>
                </a:cubicBezTo>
                <a:cubicBezTo>
                  <a:pt x="891" y="200"/>
                  <a:pt x="891" y="200"/>
                  <a:pt x="891" y="200"/>
                </a:cubicBezTo>
                <a:cubicBezTo>
                  <a:pt x="889" y="201"/>
                  <a:pt x="889" y="201"/>
                  <a:pt x="889" y="201"/>
                </a:cubicBezTo>
                <a:cubicBezTo>
                  <a:pt x="888" y="203"/>
                  <a:pt x="888" y="203"/>
                  <a:pt x="888" y="203"/>
                </a:cubicBezTo>
                <a:cubicBezTo>
                  <a:pt x="886" y="205"/>
                  <a:pt x="886" y="205"/>
                  <a:pt x="886" y="205"/>
                </a:cubicBezTo>
                <a:cubicBezTo>
                  <a:pt x="885" y="204"/>
                  <a:pt x="885" y="204"/>
                  <a:pt x="885" y="204"/>
                </a:cubicBezTo>
                <a:cubicBezTo>
                  <a:pt x="885" y="203"/>
                  <a:pt x="885" y="203"/>
                  <a:pt x="885" y="203"/>
                </a:cubicBezTo>
                <a:cubicBezTo>
                  <a:pt x="885" y="203"/>
                  <a:pt x="885" y="203"/>
                  <a:pt x="885" y="203"/>
                </a:cubicBezTo>
                <a:cubicBezTo>
                  <a:pt x="883" y="203"/>
                  <a:pt x="883" y="203"/>
                  <a:pt x="883" y="203"/>
                </a:cubicBezTo>
                <a:cubicBezTo>
                  <a:pt x="882" y="204"/>
                  <a:pt x="882" y="204"/>
                  <a:pt x="882" y="204"/>
                </a:cubicBezTo>
                <a:cubicBezTo>
                  <a:pt x="881" y="206"/>
                  <a:pt x="881" y="206"/>
                  <a:pt x="881" y="206"/>
                </a:cubicBezTo>
                <a:cubicBezTo>
                  <a:pt x="878" y="205"/>
                  <a:pt x="878" y="205"/>
                  <a:pt x="878" y="205"/>
                </a:cubicBezTo>
                <a:cubicBezTo>
                  <a:pt x="877" y="205"/>
                  <a:pt x="877" y="205"/>
                  <a:pt x="877" y="205"/>
                </a:cubicBezTo>
                <a:cubicBezTo>
                  <a:pt x="876" y="204"/>
                  <a:pt x="876" y="204"/>
                  <a:pt x="876" y="204"/>
                </a:cubicBezTo>
                <a:cubicBezTo>
                  <a:pt x="875" y="204"/>
                  <a:pt x="875" y="204"/>
                  <a:pt x="875" y="204"/>
                </a:cubicBezTo>
                <a:cubicBezTo>
                  <a:pt x="873" y="205"/>
                  <a:pt x="873" y="205"/>
                  <a:pt x="873" y="205"/>
                </a:cubicBezTo>
                <a:cubicBezTo>
                  <a:pt x="871" y="204"/>
                  <a:pt x="871" y="204"/>
                  <a:pt x="871" y="204"/>
                </a:cubicBezTo>
                <a:cubicBezTo>
                  <a:pt x="870" y="204"/>
                  <a:pt x="870" y="204"/>
                  <a:pt x="870" y="204"/>
                </a:cubicBezTo>
                <a:cubicBezTo>
                  <a:pt x="869" y="202"/>
                  <a:pt x="869" y="202"/>
                  <a:pt x="869" y="202"/>
                </a:cubicBezTo>
                <a:cubicBezTo>
                  <a:pt x="867" y="201"/>
                  <a:pt x="867" y="201"/>
                  <a:pt x="867" y="201"/>
                </a:cubicBezTo>
                <a:cubicBezTo>
                  <a:pt x="864" y="201"/>
                  <a:pt x="864" y="201"/>
                  <a:pt x="864" y="201"/>
                </a:cubicBezTo>
                <a:cubicBezTo>
                  <a:pt x="862" y="197"/>
                  <a:pt x="862" y="197"/>
                  <a:pt x="862" y="197"/>
                </a:cubicBezTo>
                <a:cubicBezTo>
                  <a:pt x="862" y="198"/>
                  <a:pt x="862" y="198"/>
                  <a:pt x="862" y="198"/>
                </a:cubicBezTo>
                <a:cubicBezTo>
                  <a:pt x="862" y="199"/>
                  <a:pt x="862" y="199"/>
                  <a:pt x="862" y="199"/>
                </a:cubicBezTo>
                <a:cubicBezTo>
                  <a:pt x="862" y="200"/>
                  <a:pt x="862" y="200"/>
                  <a:pt x="862" y="200"/>
                </a:cubicBezTo>
                <a:cubicBezTo>
                  <a:pt x="860" y="200"/>
                  <a:pt x="860" y="200"/>
                  <a:pt x="860" y="200"/>
                </a:cubicBezTo>
                <a:cubicBezTo>
                  <a:pt x="860" y="200"/>
                  <a:pt x="860" y="200"/>
                  <a:pt x="860" y="200"/>
                </a:cubicBezTo>
                <a:cubicBezTo>
                  <a:pt x="860" y="202"/>
                  <a:pt x="860" y="202"/>
                  <a:pt x="860" y="202"/>
                </a:cubicBezTo>
                <a:cubicBezTo>
                  <a:pt x="861" y="203"/>
                  <a:pt x="861" y="203"/>
                  <a:pt x="861" y="203"/>
                </a:cubicBezTo>
                <a:cubicBezTo>
                  <a:pt x="861" y="204"/>
                  <a:pt x="861" y="204"/>
                  <a:pt x="861" y="204"/>
                </a:cubicBezTo>
                <a:cubicBezTo>
                  <a:pt x="860" y="204"/>
                  <a:pt x="860" y="204"/>
                  <a:pt x="860" y="204"/>
                </a:cubicBezTo>
                <a:cubicBezTo>
                  <a:pt x="858" y="205"/>
                  <a:pt x="858" y="205"/>
                  <a:pt x="858" y="205"/>
                </a:cubicBezTo>
                <a:cubicBezTo>
                  <a:pt x="857" y="206"/>
                  <a:pt x="857" y="206"/>
                  <a:pt x="857" y="206"/>
                </a:cubicBezTo>
                <a:cubicBezTo>
                  <a:pt x="855" y="206"/>
                  <a:pt x="855" y="206"/>
                  <a:pt x="855" y="206"/>
                </a:cubicBezTo>
                <a:cubicBezTo>
                  <a:pt x="853" y="208"/>
                  <a:pt x="853" y="208"/>
                  <a:pt x="853" y="208"/>
                </a:cubicBezTo>
                <a:cubicBezTo>
                  <a:pt x="853" y="210"/>
                  <a:pt x="853" y="210"/>
                  <a:pt x="853" y="210"/>
                </a:cubicBezTo>
                <a:cubicBezTo>
                  <a:pt x="852" y="211"/>
                  <a:pt x="852" y="211"/>
                  <a:pt x="852" y="211"/>
                </a:cubicBezTo>
                <a:cubicBezTo>
                  <a:pt x="851" y="213"/>
                  <a:pt x="851" y="213"/>
                  <a:pt x="851" y="213"/>
                </a:cubicBezTo>
                <a:cubicBezTo>
                  <a:pt x="852" y="217"/>
                  <a:pt x="852" y="217"/>
                  <a:pt x="852" y="217"/>
                </a:cubicBezTo>
                <a:cubicBezTo>
                  <a:pt x="854" y="218"/>
                  <a:pt x="854" y="218"/>
                  <a:pt x="854" y="218"/>
                </a:cubicBezTo>
                <a:cubicBezTo>
                  <a:pt x="855" y="218"/>
                  <a:pt x="855" y="218"/>
                  <a:pt x="855" y="218"/>
                </a:cubicBezTo>
                <a:cubicBezTo>
                  <a:pt x="857" y="220"/>
                  <a:pt x="857" y="220"/>
                  <a:pt x="857" y="220"/>
                </a:cubicBezTo>
                <a:cubicBezTo>
                  <a:pt x="857" y="221"/>
                  <a:pt x="857" y="221"/>
                  <a:pt x="857" y="221"/>
                </a:cubicBezTo>
                <a:cubicBezTo>
                  <a:pt x="860" y="222"/>
                  <a:pt x="860" y="222"/>
                  <a:pt x="860" y="222"/>
                </a:cubicBezTo>
                <a:cubicBezTo>
                  <a:pt x="861" y="222"/>
                  <a:pt x="861" y="222"/>
                  <a:pt x="861" y="222"/>
                </a:cubicBezTo>
                <a:cubicBezTo>
                  <a:pt x="862" y="221"/>
                  <a:pt x="862" y="221"/>
                  <a:pt x="862" y="221"/>
                </a:cubicBezTo>
                <a:cubicBezTo>
                  <a:pt x="864" y="221"/>
                  <a:pt x="864" y="221"/>
                  <a:pt x="864" y="221"/>
                </a:cubicBezTo>
                <a:cubicBezTo>
                  <a:pt x="865" y="220"/>
                  <a:pt x="865" y="220"/>
                  <a:pt x="865" y="220"/>
                </a:cubicBezTo>
                <a:cubicBezTo>
                  <a:pt x="867" y="220"/>
                  <a:pt x="867" y="220"/>
                  <a:pt x="867" y="220"/>
                </a:cubicBezTo>
                <a:cubicBezTo>
                  <a:pt x="868" y="220"/>
                  <a:pt x="868" y="220"/>
                  <a:pt x="868" y="220"/>
                </a:cubicBezTo>
                <a:cubicBezTo>
                  <a:pt x="870" y="220"/>
                  <a:pt x="870" y="220"/>
                  <a:pt x="870" y="220"/>
                </a:cubicBezTo>
                <a:cubicBezTo>
                  <a:pt x="871" y="220"/>
                  <a:pt x="871" y="220"/>
                  <a:pt x="871" y="220"/>
                </a:cubicBezTo>
                <a:cubicBezTo>
                  <a:pt x="871" y="218"/>
                  <a:pt x="871" y="218"/>
                  <a:pt x="871" y="218"/>
                </a:cubicBezTo>
                <a:cubicBezTo>
                  <a:pt x="871" y="216"/>
                  <a:pt x="871" y="216"/>
                  <a:pt x="871" y="216"/>
                </a:cubicBezTo>
                <a:cubicBezTo>
                  <a:pt x="872" y="216"/>
                  <a:pt x="872" y="216"/>
                  <a:pt x="872" y="216"/>
                </a:cubicBezTo>
                <a:cubicBezTo>
                  <a:pt x="874" y="219"/>
                  <a:pt x="874" y="219"/>
                  <a:pt x="874" y="219"/>
                </a:cubicBezTo>
                <a:cubicBezTo>
                  <a:pt x="876" y="219"/>
                  <a:pt x="876" y="219"/>
                  <a:pt x="876" y="219"/>
                </a:cubicBezTo>
                <a:cubicBezTo>
                  <a:pt x="877" y="221"/>
                  <a:pt x="877" y="221"/>
                  <a:pt x="877" y="221"/>
                </a:cubicBezTo>
                <a:cubicBezTo>
                  <a:pt x="879" y="221"/>
                  <a:pt x="879" y="221"/>
                  <a:pt x="879" y="221"/>
                </a:cubicBezTo>
                <a:cubicBezTo>
                  <a:pt x="880" y="220"/>
                  <a:pt x="880" y="220"/>
                  <a:pt x="880" y="220"/>
                </a:cubicBezTo>
                <a:cubicBezTo>
                  <a:pt x="881" y="219"/>
                  <a:pt x="881" y="219"/>
                  <a:pt x="881" y="219"/>
                </a:cubicBezTo>
                <a:cubicBezTo>
                  <a:pt x="882" y="219"/>
                  <a:pt x="882" y="219"/>
                  <a:pt x="882" y="219"/>
                </a:cubicBezTo>
                <a:cubicBezTo>
                  <a:pt x="884" y="217"/>
                  <a:pt x="884" y="217"/>
                  <a:pt x="884" y="217"/>
                </a:cubicBezTo>
                <a:cubicBezTo>
                  <a:pt x="885" y="216"/>
                  <a:pt x="885" y="216"/>
                  <a:pt x="885" y="216"/>
                </a:cubicBezTo>
                <a:cubicBezTo>
                  <a:pt x="885" y="218"/>
                  <a:pt x="885" y="218"/>
                  <a:pt x="885" y="218"/>
                </a:cubicBezTo>
                <a:cubicBezTo>
                  <a:pt x="885" y="220"/>
                  <a:pt x="885" y="220"/>
                  <a:pt x="885" y="220"/>
                </a:cubicBezTo>
                <a:cubicBezTo>
                  <a:pt x="884" y="221"/>
                  <a:pt x="884" y="221"/>
                  <a:pt x="884" y="221"/>
                </a:cubicBezTo>
                <a:cubicBezTo>
                  <a:pt x="884" y="223"/>
                  <a:pt x="884" y="223"/>
                  <a:pt x="884" y="223"/>
                </a:cubicBezTo>
                <a:cubicBezTo>
                  <a:pt x="885" y="222"/>
                  <a:pt x="885" y="222"/>
                  <a:pt x="885" y="222"/>
                </a:cubicBezTo>
                <a:cubicBezTo>
                  <a:pt x="887" y="219"/>
                  <a:pt x="887" y="219"/>
                  <a:pt x="887" y="219"/>
                </a:cubicBezTo>
                <a:cubicBezTo>
                  <a:pt x="887" y="220"/>
                  <a:pt x="887" y="220"/>
                  <a:pt x="887" y="220"/>
                </a:cubicBezTo>
                <a:cubicBezTo>
                  <a:pt x="888" y="219"/>
                  <a:pt x="888" y="219"/>
                  <a:pt x="888" y="219"/>
                </a:cubicBezTo>
                <a:cubicBezTo>
                  <a:pt x="890" y="220"/>
                  <a:pt x="890" y="220"/>
                  <a:pt x="890" y="220"/>
                </a:cubicBezTo>
                <a:cubicBezTo>
                  <a:pt x="888" y="222"/>
                  <a:pt x="888" y="222"/>
                  <a:pt x="888" y="222"/>
                </a:cubicBezTo>
                <a:cubicBezTo>
                  <a:pt x="889" y="223"/>
                  <a:pt x="889" y="223"/>
                  <a:pt x="889" y="223"/>
                </a:cubicBezTo>
                <a:cubicBezTo>
                  <a:pt x="889" y="221"/>
                  <a:pt x="889" y="221"/>
                  <a:pt x="889" y="221"/>
                </a:cubicBezTo>
                <a:cubicBezTo>
                  <a:pt x="893" y="219"/>
                  <a:pt x="893" y="219"/>
                  <a:pt x="893" y="219"/>
                </a:cubicBezTo>
                <a:cubicBezTo>
                  <a:pt x="893" y="220"/>
                  <a:pt x="893" y="220"/>
                  <a:pt x="893" y="220"/>
                </a:cubicBezTo>
                <a:cubicBezTo>
                  <a:pt x="891" y="222"/>
                  <a:pt x="891" y="222"/>
                  <a:pt x="891" y="222"/>
                </a:cubicBezTo>
                <a:cubicBezTo>
                  <a:pt x="891" y="223"/>
                  <a:pt x="891" y="223"/>
                  <a:pt x="891" y="223"/>
                </a:cubicBezTo>
                <a:cubicBezTo>
                  <a:pt x="892" y="224"/>
                  <a:pt x="892" y="224"/>
                  <a:pt x="892" y="224"/>
                </a:cubicBezTo>
                <a:cubicBezTo>
                  <a:pt x="893" y="227"/>
                  <a:pt x="893" y="227"/>
                  <a:pt x="893" y="227"/>
                </a:cubicBezTo>
                <a:cubicBezTo>
                  <a:pt x="893" y="228"/>
                  <a:pt x="893" y="228"/>
                  <a:pt x="893" y="228"/>
                </a:cubicBezTo>
                <a:cubicBezTo>
                  <a:pt x="894" y="230"/>
                  <a:pt x="894" y="230"/>
                  <a:pt x="894" y="230"/>
                </a:cubicBezTo>
                <a:cubicBezTo>
                  <a:pt x="895" y="230"/>
                  <a:pt x="895" y="230"/>
                  <a:pt x="895" y="230"/>
                </a:cubicBezTo>
                <a:cubicBezTo>
                  <a:pt x="895" y="232"/>
                  <a:pt x="895" y="232"/>
                  <a:pt x="895" y="232"/>
                </a:cubicBezTo>
                <a:cubicBezTo>
                  <a:pt x="896" y="233"/>
                  <a:pt x="896" y="233"/>
                  <a:pt x="896" y="233"/>
                </a:cubicBezTo>
                <a:cubicBezTo>
                  <a:pt x="897" y="231"/>
                  <a:pt x="897" y="231"/>
                  <a:pt x="897" y="231"/>
                </a:cubicBezTo>
                <a:cubicBezTo>
                  <a:pt x="897" y="234"/>
                  <a:pt x="897" y="234"/>
                  <a:pt x="897" y="234"/>
                </a:cubicBezTo>
                <a:cubicBezTo>
                  <a:pt x="896" y="235"/>
                  <a:pt x="896" y="235"/>
                  <a:pt x="896" y="235"/>
                </a:cubicBezTo>
                <a:cubicBezTo>
                  <a:pt x="897" y="237"/>
                  <a:pt x="897" y="237"/>
                  <a:pt x="897" y="237"/>
                </a:cubicBezTo>
                <a:cubicBezTo>
                  <a:pt x="898" y="235"/>
                  <a:pt x="898" y="235"/>
                  <a:pt x="898" y="235"/>
                </a:cubicBezTo>
                <a:cubicBezTo>
                  <a:pt x="899" y="234"/>
                  <a:pt x="899" y="234"/>
                  <a:pt x="899" y="234"/>
                </a:cubicBezTo>
                <a:cubicBezTo>
                  <a:pt x="900" y="233"/>
                  <a:pt x="900" y="233"/>
                  <a:pt x="900" y="233"/>
                </a:cubicBezTo>
                <a:cubicBezTo>
                  <a:pt x="899" y="234"/>
                  <a:pt x="899" y="234"/>
                  <a:pt x="899" y="234"/>
                </a:cubicBezTo>
                <a:cubicBezTo>
                  <a:pt x="900" y="236"/>
                  <a:pt x="900" y="236"/>
                  <a:pt x="900" y="236"/>
                </a:cubicBezTo>
                <a:cubicBezTo>
                  <a:pt x="901" y="238"/>
                  <a:pt x="901" y="238"/>
                  <a:pt x="901" y="238"/>
                </a:cubicBezTo>
                <a:cubicBezTo>
                  <a:pt x="904" y="238"/>
                  <a:pt x="904" y="238"/>
                  <a:pt x="904" y="238"/>
                </a:cubicBezTo>
                <a:cubicBezTo>
                  <a:pt x="904" y="239"/>
                  <a:pt x="904" y="239"/>
                  <a:pt x="904" y="239"/>
                </a:cubicBezTo>
                <a:cubicBezTo>
                  <a:pt x="900" y="241"/>
                  <a:pt x="900" y="241"/>
                  <a:pt x="900" y="241"/>
                </a:cubicBezTo>
                <a:cubicBezTo>
                  <a:pt x="897" y="241"/>
                  <a:pt x="897" y="241"/>
                  <a:pt x="897" y="241"/>
                </a:cubicBezTo>
                <a:cubicBezTo>
                  <a:pt x="897" y="242"/>
                  <a:pt x="897" y="242"/>
                  <a:pt x="897" y="242"/>
                </a:cubicBezTo>
                <a:cubicBezTo>
                  <a:pt x="898" y="243"/>
                  <a:pt x="898" y="243"/>
                  <a:pt x="898" y="243"/>
                </a:cubicBezTo>
                <a:cubicBezTo>
                  <a:pt x="899" y="245"/>
                  <a:pt x="899" y="245"/>
                  <a:pt x="899" y="245"/>
                </a:cubicBezTo>
                <a:cubicBezTo>
                  <a:pt x="900" y="247"/>
                  <a:pt x="900" y="247"/>
                  <a:pt x="900" y="247"/>
                </a:cubicBezTo>
                <a:cubicBezTo>
                  <a:pt x="901" y="248"/>
                  <a:pt x="901" y="248"/>
                  <a:pt x="901" y="248"/>
                </a:cubicBezTo>
                <a:cubicBezTo>
                  <a:pt x="902" y="249"/>
                  <a:pt x="902" y="249"/>
                  <a:pt x="902" y="249"/>
                </a:cubicBezTo>
                <a:cubicBezTo>
                  <a:pt x="902" y="250"/>
                  <a:pt x="902" y="250"/>
                  <a:pt x="902" y="250"/>
                </a:cubicBezTo>
                <a:cubicBezTo>
                  <a:pt x="904" y="251"/>
                  <a:pt x="904" y="251"/>
                  <a:pt x="904" y="251"/>
                </a:cubicBezTo>
                <a:cubicBezTo>
                  <a:pt x="905" y="252"/>
                  <a:pt x="905" y="252"/>
                  <a:pt x="905" y="252"/>
                </a:cubicBezTo>
                <a:cubicBezTo>
                  <a:pt x="906" y="252"/>
                  <a:pt x="906" y="252"/>
                  <a:pt x="906" y="252"/>
                </a:cubicBezTo>
                <a:cubicBezTo>
                  <a:pt x="909" y="254"/>
                  <a:pt x="909" y="254"/>
                  <a:pt x="909" y="254"/>
                </a:cubicBezTo>
                <a:cubicBezTo>
                  <a:pt x="911" y="254"/>
                  <a:pt x="911" y="254"/>
                  <a:pt x="911" y="254"/>
                </a:cubicBezTo>
                <a:cubicBezTo>
                  <a:pt x="911" y="255"/>
                  <a:pt x="911" y="255"/>
                  <a:pt x="911" y="255"/>
                </a:cubicBezTo>
                <a:cubicBezTo>
                  <a:pt x="912" y="256"/>
                  <a:pt x="912" y="256"/>
                  <a:pt x="912" y="256"/>
                </a:cubicBezTo>
                <a:cubicBezTo>
                  <a:pt x="913" y="255"/>
                  <a:pt x="913" y="255"/>
                  <a:pt x="913" y="255"/>
                </a:cubicBezTo>
                <a:cubicBezTo>
                  <a:pt x="913" y="255"/>
                  <a:pt x="913" y="255"/>
                  <a:pt x="913" y="255"/>
                </a:cubicBezTo>
                <a:cubicBezTo>
                  <a:pt x="915" y="255"/>
                  <a:pt x="915" y="255"/>
                  <a:pt x="915" y="255"/>
                </a:cubicBezTo>
                <a:cubicBezTo>
                  <a:pt x="914" y="256"/>
                  <a:pt x="914" y="256"/>
                  <a:pt x="914" y="256"/>
                </a:cubicBezTo>
                <a:cubicBezTo>
                  <a:pt x="913" y="257"/>
                  <a:pt x="913" y="257"/>
                  <a:pt x="913" y="257"/>
                </a:cubicBezTo>
                <a:cubicBezTo>
                  <a:pt x="914" y="259"/>
                  <a:pt x="914" y="259"/>
                  <a:pt x="914" y="259"/>
                </a:cubicBezTo>
                <a:cubicBezTo>
                  <a:pt x="915" y="259"/>
                  <a:pt x="915" y="259"/>
                  <a:pt x="915" y="259"/>
                </a:cubicBezTo>
                <a:cubicBezTo>
                  <a:pt x="916" y="259"/>
                  <a:pt x="916" y="259"/>
                  <a:pt x="916" y="259"/>
                </a:cubicBezTo>
                <a:cubicBezTo>
                  <a:pt x="916" y="261"/>
                  <a:pt x="916" y="261"/>
                  <a:pt x="916" y="261"/>
                </a:cubicBezTo>
                <a:cubicBezTo>
                  <a:pt x="918" y="263"/>
                  <a:pt x="918" y="263"/>
                  <a:pt x="918" y="263"/>
                </a:cubicBezTo>
                <a:cubicBezTo>
                  <a:pt x="920" y="263"/>
                  <a:pt x="920" y="263"/>
                  <a:pt x="920" y="263"/>
                </a:cubicBezTo>
                <a:cubicBezTo>
                  <a:pt x="921" y="264"/>
                  <a:pt x="921" y="264"/>
                  <a:pt x="921" y="264"/>
                </a:cubicBezTo>
                <a:cubicBezTo>
                  <a:pt x="921" y="265"/>
                  <a:pt x="921" y="265"/>
                  <a:pt x="921" y="265"/>
                </a:cubicBezTo>
                <a:cubicBezTo>
                  <a:pt x="924" y="266"/>
                  <a:pt x="924" y="266"/>
                  <a:pt x="924" y="266"/>
                </a:cubicBezTo>
                <a:cubicBezTo>
                  <a:pt x="925" y="266"/>
                  <a:pt x="925" y="266"/>
                  <a:pt x="925" y="266"/>
                </a:cubicBezTo>
                <a:cubicBezTo>
                  <a:pt x="926" y="266"/>
                  <a:pt x="926" y="266"/>
                  <a:pt x="926" y="266"/>
                </a:cubicBezTo>
                <a:cubicBezTo>
                  <a:pt x="927" y="266"/>
                  <a:pt x="927" y="266"/>
                  <a:pt x="927" y="266"/>
                </a:cubicBezTo>
                <a:cubicBezTo>
                  <a:pt x="929" y="267"/>
                  <a:pt x="929" y="267"/>
                  <a:pt x="929" y="267"/>
                </a:cubicBezTo>
                <a:cubicBezTo>
                  <a:pt x="929" y="268"/>
                  <a:pt x="929" y="268"/>
                  <a:pt x="929" y="268"/>
                </a:cubicBezTo>
                <a:cubicBezTo>
                  <a:pt x="932" y="270"/>
                  <a:pt x="932" y="270"/>
                  <a:pt x="932" y="270"/>
                </a:cubicBezTo>
                <a:cubicBezTo>
                  <a:pt x="933" y="271"/>
                  <a:pt x="933" y="271"/>
                  <a:pt x="933" y="271"/>
                </a:cubicBezTo>
                <a:cubicBezTo>
                  <a:pt x="935" y="272"/>
                  <a:pt x="935" y="272"/>
                  <a:pt x="935" y="272"/>
                </a:cubicBezTo>
                <a:cubicBezTo>
                  <a:pt x="938" y="273"/>
                  <a:pt x="938" y="273"/>
                  <a:pt x="938" y="273"/>
                </a:cubicBezTo>
                <a:cubicBezTo>
                  <a:pt x="940" y="274"/>
                  <a:pt x="940" y="274"/>
                  <a:pt x="940" y="274"/>
                </a:cubicBezTo>
                <a:cubicBezTo>
                  <a:pt x="941" y="274"/>
                  <a:pt x="941" y="274"/>
                  <a:pt x="941" y="274"/>
                </a:cubicBezTo>
                <a:cubicBezTo>
                  <a:pt x="942" y="273"/>
                  <a:pt x="942" y="273"/>
                  <a:pt x="942" y="273"/>
                </a:cubicBezTo>
                <a:cubicBezTo>
                  <a:pt x="942" y="272"/>
                  <a:pt x="942" y="272"/>
                  <a:pt x="942" y="272"/>
                </a:cubicBezTo>
                <a:cubicBezTo>
                  <a:pt x="941" y="271"/>
                  <a:pt x="941" y="271"/>
                  <a:pt x="941" y="271"/>
                </a:cubicBezTo>
                <a:cubicBezTo>
                  <a:pt x="940" y="270"/>
                  <a:pt x="940" y="270"/>
                  <a:pt x="940" y="270"/>
                </a:cubicBezTo>
                <a:cubicBezTo>
                  <a:pt x="941" y="269"/>
                  <a:pt x="941" y="269"/>
                  <a:pt x="941" y="269"/>
                </a:cubicBezTo>
                <a:cubicBezTo>
                  <a:pt x="942" y="269"/>
                  <a:pt x="942" y="269"/>
                  <a:pt x="942" y="269"/>
                </a:cubicBezTo>
                <a:cubicBezTo>
                  <a:pt x="943" y="268"/>
                  <a:pt x="943" y="268"/>
                  <a:pt x="943" y="268"/>
                </a:cubicBezTo>
                <a:cubicBezTo>
                  <a:pt x="942" y="267"/>
                  <a:pt x="942" y="267"/>
                  <a:pt x="942" y="267"/>
                </a:cubicBezTo>
                <a:cubicBezTo>
                  <a:pt x="941" y="267"/>
                  <a:pt x="941" y="267"/>
                  <a:pt x="941" y="267"/>
                </a:cubicBezTo>
                <a:cubicBezTo>
                  <a:pt x="941" y="267"/>
                  <a:pt x="941" y="267"/>
                  <a:pt x="941" y="267"/>
                </a:cubicBezTo>
                <a:cubicBezTo>
                  <a:pt x="941" y="264"/>
                  <a:pt x="941" y="264"/>
                  <a:pt x="941" y="264"/>
                </a:cubicBezTo>
                <a:cubicBezTo>
                  <a:pt x="941" y="264"/>
                  <a:pt x="941" y="264"/>
                  <a:pt x="941" y="264"/>
                </a:cubicBezTo>
                <a:cubicBezTo>
                  <a:pt x="939" y="266"/>
                  <a:pt x="939" y="266"/>
                  <a:pt x="939" y="266"/>
                </a:cubicBezTo>
                <a:cubicBezTo>
                  <a:pt x="939" y="265"/>
                  <a:pt x="939" y="265"/>
                  <a:pt x="939" y="265"/>
                </a:cubicBezTo>
                <a:cubicBezTo>
                  <a:pt x="938" y="263"/>
                  <a:pt x="938" y="263"/>
                  <a:pt x="938" y="263"/>
                </a:cubicBezTo>
                <a:cubicBezTo>
                  <a:pt x="937" y="263"/>
                  <a:pt x="937" y="263"/>
                  <a:pt x="937" y="263"/>
                </a:cubicBezTo>
                <a:cubicBezTo>
                  <a:pt x="939" y="262"/>
                  <a:pt x="939" y="262"/>
                  <a:pt x="939" y="262"/>
                </a:cubicBezTo>
                <a:cubicBezTo>
                  <a:pt x="938" y="259"/>
                  <a:pt x="938" y="259"/>
                  <a:pt x="938" y="259"/>
                </a:cubicBezTo>
                <a:cubicBezTo>
                  <a:pt x="937" y="259"/>
                  <a:pt x="937" y="259"/>
                  <a:pt x="937" y="259"/>
                </a:cubicBezTo>
                <a:cubicBezTo>
                  <a:pt x="936" y="259"/>
                  <a:pt x="936" y="259"/>
                  <a:pt x="936" y="259"/>
                </a:cubicBezTo>
                <a:cubicBezTo>
                  <a:pt x="936" y="257"/>
                  <a:pt x="936" y="257"/>
                  <a:pt x="936" y="257"/>
                </a:cubicBezTo>
                <a:cubicBezTo>
                  <a:pt x="935" y="255"/>
                  <a:pt x="935" y="255"/>
                  <a:pt x="935" y="255"/>
                </a:cubicBezTo>
                <a:cubicBezTo>
                  <a:pt x="934" y="254"/>
                  <a:pt x="934" y="254"/>
                  <a:pt x="934" y="254"/>
                </a:cubicBezTo>
                <a:cubicBezTo>
                  <a:pt x="933" y="254"/>
                  <a:pt x="933" y="254"/>
                  <a:pt x="933" y="254"/>
                </a:cubicBezTo>
                <a:cubicBezTo>
                  <a:pt x="934" y="253"/>
                  <a:pt x="934" y="253"/>
                  <a:pt x="934" y="253"/>
                </a:cubicBezTo>
                <a:cubicBezTo>
                  <a:pt x="932" y="252"/>
                  <a:pt x="932" y="252"/>
                  <a:pt x="932" y="252"/>
                </a:cubicBezTo>
                <a:cubicBezTo>
                  <a:pt x="932" y="252"/>
                  <a:pt x="932" y="252"/>
                  <a:pt x="932" y="252"/>
                </a:cubicBezTo>
                <a:cubicBezTo>
                  <a:pt x="932" y="251"/>
                  <a:pt x="932" y="251"/>
                  <a:pt x="932" y="251"/>
                </a:cubicBezTo>
                <a:cubicBezTo>
                  <a:pt x="931" y="250"/>
                  <a:pt x="931" y="250"/>
                  <a:pt x="931" y="250"/>
                </a:cubicBezTo>
                <a:cubicBezTo>
                  <a:pt x="928" y="249"/>
                  <a:pt x="928" y="249"/>
                  <a:pt x="928" y="249"/>
                </a:cubicBezTo>
                <a:cubicBezTo>
                  <a:pt x="928" y="249"/>
                  <a:pt x="928" y="249"/>
                  <a:pt x="928" y="249"/>
                </a:cubicBezTo>
                <a:cubicBezTo>
                  <a:pt x="927" y="247"/>
                  <a:pt x="927" y="247"/>
                  <a:pt x="927" y="247"/>
                </a:cubicBezTo>
                <a:cubicBezTo>
                  <a:pt x="927" y="246"/>
                  <a:pt x="927" y="246"/>
                  <a:pt x="927" y="246"/>
                </a:cubicBezTo>
                <a:cubicBezTo>
                  <a:pt x="927" y="245"/>
                  <a:pt x="927" y="245"/>
                  <a:pt x="927" y="245"/>
                </a:cubicBezTo>
                <a:cubicBezTo>
                  <a:pt x="924" y="242"/>
                  <a:pt x="924" y="242"/>
                  <a:pt x="924" y="242"/>
                </a:cubicBezTo>
                <a:cubicBezTo>
                  <a:pt x="924" y="240"/>
                  <a:pt x="924" y="240"/>
                  <a:pt x="924" y="240"/>
                </a:cubicBezTo>
                <a:cubicBezTo>
                  <a:pt x="924" y="238"/>
                  <a:pt x="924" y="238"/>
                  <a:pt x="924" y="238"/>
                </a:cubicBezTo>
                <a:cubicBezTo>
                  <a:pt x="925" y="239"/>
                  <a:pt x="925" y="239"/>
                  <a:pt x="925" y="239"/>
                </a:cubicBezTo>
                <a:cubicBezTo>
                  <a:pt x="926" y="238"/>
                  <a:pt x="926" y="238"/>
                  <a:pt x="926" y="238"/>
                </a:cubicBezTo>
                <a:cubicBezTo>
                  <a:pt x="928" y="238"/>
                  <a:pt x="928" y="238"/>
                  <a:pt x="928" y="238"/>
                </a:cubicBezTo>
                <a:cubicBezTo>
                  <a:pt x="928" y="240"/>
                  <a:pt x="928" y="240"/>
                  <a:pt x="928" y="240"/>
                </a:cubicBezTo>
                <a:cubicBezTo>
                  <a:pt x="930" y="242"/>
                  <a:pt x="930" y="242"/>
                  <a:pt x="930" y="242"/>
                </a:cubicBezTo>
                <a:cubicBezTo>
                  <a:pt x="932" y="244"/>
                  <a:pt x="932" y="244"/>
                  <a:pt x="932" y="244"/>
                </a:cubicBezTo>
                <a:cubicBezTo>
                  <a:pt x="933" y="244"/>
                  <a:pt x="933" y="244"/>
                  <a:pt x="933" y="244"/>
                </a:cubicBezTo>
                <a:cubicBezTo>
                  <a:pt x="933" y="246"/>
                  <a:pt x="933" y="246"/>
                  <a:pt x="933" y="246"/>
                </a:cubicBezTo>
                <a:cubicBezTo>
                  <a:pt x="934" y="247"/>
                  <a:pt x="934" y="247"/>
                  <a:pt x="934" y="247"/>
                </a:cubicBezTo>
                <a:cubicBezTo>
                  <a:pt x="934" y="245"/>
                  <a:pt x="934" y="245"/>
                  <a:pt x="934" y="245"/>
                </a:cubicBezTo>
                <a:cubicBezTo>
                  <a:pt x="933" y="243"/>
                  <a:pt x="933" y="243"/>
                  <a:pt x="933" y="243"/>
                </a:cubicBezTo>
                <a:cubicBezTo>
                  <a:pt x="933" y="242"/>
                  <a:pt x="933" y="242"/>
                  <a:pt x="933" y="242"/>
                </a:cubicBezTo>
                <a:cubicBezTo>
                  <a:pt x="934" y="241"/>
                  <a:pt x="934" y="241"/>
                  <a:pt x="934" y="241"/>
                </a:cubicBezTo>
                <a:cubicBezTo>
                  <a:pt x="935" y="243"/>
                  <a:pt x="935" y="243"/>
                  <a:pt x="935" y="243"/>
                </a:cubicBezTo>
                <a:cubicBezTo>
                  <a:pt x="935" y="244"/>
                  <a:pt x="935" y="244"/>
                  <a:pt x="935" y="244"/>
                </a:cubicBezTo>
                <a:cubicBezTo>
                  <a:pt x="936" y="245"/>
                  <a:pt x="936" y="245"/>
                  <a:pt x="936" y="245"/>
                </a:cubicBezTo>
                <a:cubicBezTo>
                  <a:pt x="937" y="248"/>
                  <a:pt x="937" y="248"/>
                  <a:pt x="937" y="248"/>
                </a:cubicBezTo>
                <a:cubicBezTo>
                  <a:pt x="938" y="248"/>
                  <a:pt x="938" y="248"/>
                  <a:pt x="938" y="248"/>
                </a:cubicBezTo>
                <a:cubicBezTo>
                  <a:pt x="938" y="249"/>
                  <a:pt x="938" y="249"/>
                  <a:pt x="938" y="249"/>
                </a:cubicBezTo>
                <a:cubicBezTo>
                  <a:pt x="939" y="250"/>
                  <a:pt x="939" y="250"/>
                  <a:pt x="939" y="250"/>
                </a:cubicBezTo>
                <a:cubicBezTo>
                  <a:pt x="941" y="254"/>
                  <a:pt x="941" y="254"/>
                  <a:pt x="941" y="254"/>
                </a:cubicBezTo>
                <a:cubicBezTo>
                  <a:pt x="942" y="252"/>
                  <a:pt x="942" y="252"/>
                  <a:pt x="942" y="252"/>
                </a:cubicBezTo>
                <a:cubicBezTo>
                  <a:pt x="941" y="251"/>
                  <a:pt x="941" y="251"/>
                  <a:pt x="941" y="251"/>
                </a:cubicBezTo>
                <a:cubicBezTo>
                  <a:pt x="941" y="248"/>
                  <a:pt x="941" y="248"/>
                  <a:pt x="941" y="248"/>
                </a:cubicBezTo>
                <a:cubicBezTo>
                  <a:pt x="942" y="246"/>
                  <a:pt x="942" y="246"/>
                  <a:pt x="942" y="246"/>
                </a:cubicBezTo>
                <a:cubicBezTo>
                  <a:pt x="942" y="247"/>
                  <a:pt x="942" y="247"/>
                  <a:pt x="942" y="247"/>
                </a:cubicBezTo>
                <a:cubicBezTo>
                  <a:pt x="943" y="250"/>
                  <a:pt x="943" y="250"/>
                  <a:pt x="943" y="250"/>
                </a:cubicBezTo>
                <a:cubicBezTo>
                  <a:pt x="943" y="252"/>
                  <a:pt x="943" y="252"/>
                  <a:pt x="943" y="252"/>
                </a:cubicBezTo>
                <a:cubicBezTo>
                  <a:pt x="943" y="253"/>
                  <a:pt x="943" y="253"/>
                  <a:pt x="943" y="253"/>
                </a:cubicBezTo>
                <a:cubicBezTo>
                  <a:pt x="944" y="254"/>
                  <a:pt x="944" y="254"/>
                  <a:pt x="944" y="254"/>
                </a:cubicBezTo>
                <a:cubicBezTo>
                  <a:pt x="945" y="255"/>
                  <a:pt x="945" y="255"/>
                  <a:pt x="945" y="255"/>
                </a:cubicBezTo>
                <a:cubicBezTo>
                  <a:pt x="946" y="253"/>
                  <a:pt x="946" y="253"/>
                  <a:pt x="946" y="253"/>
                </a:cubicBezTo>
                <a:cubicBezTo>
                  <a:pt x="945" y="252"/>
                  <a:pt x="945" y="252"/>
                  <a:pt x="945" y="252"/>
                </a:cubicBezTo>
                <a:cubicBezTo>
                  <a:pt x="945" y="252"/>
                  <a:pt x="945" y="252"/>
                  <a:pt x="945" y="252"/>
                </a:cubicBezTo>
                <a:cubicBezTo>
                  <a:pt x="946" y="252"/>
                  <a:pt x="946" y="252"/>
                  <a:pt x="946" y="252"/>
                </a:cubicBezTo>
                <a:cubicBezTo>
                  <a:pt x="947" y="254"/>
                  <a:pt x="947" y="254"/>
                  <a:pt x="947" y="254"/>
                </a:cubicBezTo>
                <a:cubicBezTo>
                  <a:pt x="947" y="255"/>
                  <a:pt x="947" y="255"/>
                  <a:pt x="947" y="255"/>
                </a:cubicBezTo>
                <a:cubicBezTo>
                  <a:pt x="947" y="256"/>
                  <a:pt x="947" y="256"/>
                  <a:pt x="947" y="256"/>
                </a:cubicBezTo>
                <a:cubicBezTo>
                  <a:pt x="947" y="254"/>
                  <a:pt x="947" y="254"/>
                  <a:pt x="947" y="254"/>
                </a:cubicBezTo>
                <a:cubicBezTo>
                  <a:pt x="948" y="254"/>
                  <a:pt x="948" y="254"/>
                  <a:pt x="948" y="254"/>
                </a:cubicBezTo>
                <a:cubicBezTo>
                  <a:pt x="948" y="256"/>
                  <a:pt x="948" y="256"/>
                  <a:pt x="948" y="256"/>
                </a:cubicBezTo>
                <a:cubicBezTo>
                  <a:pt x="949" y="258"/>
                  <a:pt x="949" y="258"/>
                  <a:pt x="949" y="258"/>
                </a:cubicBezTo>
                <a:cubicBezTo>
                  <a:pt x="951" y="257"/>
                  <a:pt x="951" y="257"/>
                  <a:pt x="951" y="257"/>
                </a:cubicBezTo>
                <a:cubicBezTo>
                  <a:pt x="952" y="256"/>
                  <a:pt x="952" y="256"/>
                  <a:pt x="952" y="256"/>
                </a:cubicBezTo>
                <a:cubicBezTo>
                  <a:pt x="952" y="258"/>
                  <a:pt x="952" y="258"/>
                  <a:pt x="952" y="258"/>
                </a:cubicBezTo>
                <a:cubicBezTo>
                  <a:pt x="951" y="259"/>
                  <a:pt x="951" y="259"/>
                  <a:pt x="951" y="259"/>
                </a:cubicBezTo>
                <a:cubicBezTo>
                  <a:pt x="952" y="262"/>
                  <a:pt x="952" y="262"/>
                  <a:pt x="952" y="262"/>
                </a:cubicBezTo>
                <a:cubicBezTo>
                  <a:pt x="953" y="264"/>
                  <a:pt x="953" y="264"/>
                  <a:pt x="953" y="264"/>
                </a:cubicBezTo>
                <a:cubicBezTo>
                  <a:pt x="955" y="264"/>
                  <a:pt x="955" y="264"/>
                  <a:pt x="955" y="264"/>
                </a:cubicBezTo>
                <a:cubicBezTo>
                  <a:pt x="955" y="263"/>
                  <a:pt x="955" y="263"/>
                  <a:pt x="955" y="263"/>
                </a:cubicBezTo>
                <a:cubicBezTo>
                  <a:pt x="954" y="262"/>
                  <a:pt x="954" y="262"/>
                  <a:pt x="954" y="262"/>
                </a:cubicBezTo>
                <a:cubicBezTo>
                  <a:pt x="954" y="260"/>
                  <a:pt x="954" y="260"/>
                  <a:pt x="954" y="260"/>
                </a:cubicBezTo>
                <a:cubicBezTo>
                  <a:pt x="953" y="256"/>
                  <a:pt x="953" y="256"/>
                  <a:pt x="953" y="256"/>
                </a:cubicBezTo>
                <a:cubicBezTo>
                  <a:pt x="955" y="256"/>
                  <a:pt x="955" y="256"/>
                  <a:pt x="955" y="256"/>
                </a:cubicBezTo>
                <a:cubicBezTo>
                  <a:pt x="955" y="257"/>
                  <a:pt x="955" y="257"/>
                  <a:pt x="955" y="257"/>
                </a:cubicBezTo>
                <a:cubicBezTo>
                  <a:pt x="957" y="258"/>
                  <a:pt x="957" y="258"/>
                  <a:pt x="957" y="258"/>
                </a:cubicBezTo>
                <a:cubicBezTo>
                  <a:pt x="958" y="257"/>
                  <a:pt x="958" y="257"/>
                  <a:pt x="958" y="257"/>
                </a:cubicBezTo>
                <a:cubicBezTo>
                  <a:pt x="957" y="255"/>
                  <a:pt x="957" y="255"/>
                  <a:pt x="957" y="255"/>
                </a:cubicBezTo>
                <a:cubicBezTo>
                  <a:pt x="957" y="253"/>
                  <a:pt x="957" y="253"/>
                  <a:pt x="957" y="253"/>
                </a:cubicBezTo>
                <a:cubicBezTo>
                  <a:pt x="958" y="250"/>
                  <a:pt x="958" y="250"/>
                  <a:pt x="958" y="250"/>
                </a:cubicBezTo>
                <a:cubicBezTo>
                  <a:pt x="956" y="247"/>
                  <a:pt x="956" y="247"/>
                  <a:pt x="956" y="247"/>
                </a:cubicBezTo>
                <a:cubicBezTo>
                  <a:pt x="957" y="244"/>
                  <a:pt x="957" y="244"/>
                  <a:pt x="957" y="244"/>
                </a:cubicBezTo>
                <a:cubicBezTo>
                  <a:pt x="957" y="242"/>
                  <a:pt x="957" y="242"/>
                  <a:pt x="957" y="242"/>
                </a:cubicBezTo>
                <a:cubicBezTo>
                  <a:pt x="958" y="244"/>
                  <a:pt x="958" y="244"/>
                  <a:pt x="958" y="244"/>
                </a:cubicBezTo>
                <a:cubicBezTo>
                  <a:pt x="957" y="246"/>
                  <a:pt x="957" y="246"/>
                  <a:pt x="957" y="246"/>
                </a:cubicBezTo>
                <a:cubicBezTo>
                  <a:pt x="958" y="249"/>
                  <a:pt x="958" y="249"/>
                  <a:pt x="958" y="249"/>
                </a:cubicBezTo>
                <a:cubicBezTo>
                  <a:pt x="960" y="252"/>
                  <a:pt x="960" y="252"/>
                  <a:pt x="960" y="252"/>
                </a:cubicBezTo>
                <a:cubicBezTo>
                  <a:pt x="961" y="251"/>
                  <a:pt x="961" y="251"/>
                  <a:pt x="961" y="251"/>
                </a:cubicBezTo>
                <a:cubicBezTo>
                  <a:pt x="961" y="249"/>
                  <a:pt x="961" y="249"/>
                  <a:pt x="961" y="249"/>
                </a:cubicBezTo>
                <a:cubicBezTo>
                  <a:pt x="962" y="247"/>
                  <a:pt x="962" y="247"/>
                  <a:pt x="962" y="247"/>
                </a:cubicBezTo>
                <a:cubicBezTo>
                  <a:pt x="962" y="244"/>
                  <a:pt x="962" y="244"/>
                  <a:pt x="962" y="244"/>
                </a:cubicBezTo>
                <a:cubicBezTo>
                  <a:pt x="963" y="243"/>
                  <a:pt x="963" y="243"/>
                  <a:pt x="963" y="243"/>
                </a:cubicBezTo>
                <a:cubicBezTo>
                  <a:pt x="962" y="243"/>
                  <a:pt x="962" y="243"/>
                  <a:pt x="962" y="243"/>
                </a:cubicBezTo>
                <a:cubicBezTo>
                  <a:pt x="960" y="239"/>
                  <a:pt x="960" y="239"/>
                  <a:pt x="960" y="239"/>
                </a:cubicBezTo>
                <a:cubicBezTo>
                  <a:pt x="960" y="237"/>
                  <a:pt x="960" y="237"/>
                  <a:pt x="960" y="237"/>
                </a:cubicBezTo>
                <a:cubicBezTo>
                  <a:pt x="959" y="237"/>
                  <a:pt x="959" y="237"/>
                  <a:pt x="959" y="237"/>
                </a:cubicBezTo>
                <a:cubicBezTo>
                  <a:pt x="959" y="235"/>
                  <a:pt x="959" y="235"/>
                  <a:pt x="959" y="235"/>
                </a:cubicBezTo>
                <a:cubicBezTo>
                  <a:pt x="958" y="233"/>
                  <a:pt x="958" y="233"/>
                  <a:pt x="958" y="233"/>
                </a:cubicBezTo>
                <a:cubicBezTo>
                  <a:pt x="957" y="232"/>
                  <a:pt x="957" y="232"/>
                  <a:pt x="957" y="232"/>
                </a:cubicBezTo>
                <a:cubicBezTo>
                  <a:pt x="959" y="231"/>
                  <a:pt x="959" y="231"/>
                  <a:pt x="959" y="231"/>
                </a:cubicBezTo>
                <a:cubicBezTo>
                  <a:pt x="960" y="231"/>
                  <a:pt x="960" y="231"/>
                  <a:pt x="960" y="231"/>
                </a:cubicBezTo>
                <a:cubicBezTo>
                  <a:pt x="961" y="229"/>
                  <a:pt x="961" y="229"/>
                  <a:pt x="961" y="229"/>
                </a:cubicBezTo>
                <a:cubicBezTo>
                  <a:pt x="960" y="229"/>
                  <a:pt x="960" y="229"/>
                  <a:pt x="960" y="229"/>
                </a:cubicBezTo>
                <a:cubicBezTo>
                  <a:pt x="959" y="229"/>
                  <a:pt x="959" y="229"/>
                  <a:pt x="959" y="229"/>
                </a:cubicBezTo>
                <a:cubicBezTo>
                  <a:pt x="957" y="229"/>
                  <a:pt x="957" y="229"/>
                  <a:pt x="957" y="229"/>
                </a:cubicBezTo>
                <a:cubicBezTo>
                  <a:pt x="956" y="229"/>
                  <a:pt x="956" y="229"/>
                  <a:pt x="956" y="229"/>
                </a:cubicBezTo>
                <a:cubicBezTo>
                  <a:pt x="956" y="228"/>
                  <a:pt x="956" y="228"/>
                  <a:pt x="956" y="228"/>
                </a:cubicBezTo>
                <a:cubicBezTo>
                  <a:pt x="956" y="227"/>
                  <a:pt x="956" y="227"/>
                  <a:pt x="956" y="227"/>
                </a:cubicBezTo>
                <a:cubicBezTo>
                  <a:pt x="958" y="226"/>
                  <a:pt x="958" y="226"/>
                  <a:pt x="958" y="226"/>
                </a:cubicBezTo>
                <a:cubicBezTo>
                  <a:pt x="958" y="224"/>
                  <a:pt x="958" y="224"/>
                  <a:pt x="958" y="224"/>
                </a:cubicBezTo>
                <a:cubicBezTo>
                  <a:pt x="957" y="222"/>
                  <a:pt x="957" y="222"/>
                  <a:pt x="957" y="222"/>
                </a:cubicBezTo>
                <a:cubicBezTo>
                  <a:pt x="956" y="222"/>
                  <a:pt x="956" y="222"/>
                  <a:pt x="956" y="222"/>
                </a:cubicBezTo>
                <a:cubicBezTo>
                  <a:pt x="956" y="223"/>
                  <a:pt x="956" y="223"/>
                  <a:pt x="956" y="223"/>
                </a:cubicBezTo>
                <a:cubicBezTo>
                  <a:pt x="955" y="225"/>
                  <a:pt x="955" y="225"/>
                  <a:pt x="955" y="225"/>
                </a:cubicBezTo>
                <a:cubicBezTo>
                  <a:pt x="955" y="223"/>
                  <a:pt x="955" y="223"/>
                  <a:pt x="955" y="223"/>
                </a:cubicBezTo>
                <a:cubicBezTo>
                  <a:pt x="955" y="224"/>
                  <a:pt x="955" y="224"/>
                  <a:pt x="955" y="224"/>
                </a:cubicBezTo>
                <a:cubicBezTo>
                  <a:pt x="952" y="224"/>
                  <a:pt x="952" y="224"/>
                  <a:pt x="952" y="224"/>
                </a:cubicBezTo>
                <a:cubicBezTo>
                  <a:pt x="952" y="223"/>
                  <a:pt x="952" y="223"/>
                  <a:pt x="952" y="223"/>
                </a:cubicBezTo>
                <a:cubicBezTo>
                  <a:pt x="953" y="222"/>
                  <a:pt x="953" y="222"/>
                  <a:pt x="953" y="222"/>
                </a:cubicBezTo>
                <a:cubicBezTo>
                  <a:pt x="954" y="222"/>
                  <a:pt x="954" y="222"/>
                  <a:pt x="954" y="222"/>
                </a:cubicBezTo>
                <a:cubicBezTo>
                  <a:pt x="953" y="221"/>
                  <a:pt x="953" y="221"/>
                  <a:pt x="953" y="221"/>
                </a:cubicBezTo>
                <a:cubicBezTo>
                  <a:pt x="953" y="219"/>
                  <a:pt x="953" y="219"/>
                  <a:pt x="953" y="219"/>
                </a:cubicBezTo>
                <a:cubicBezTo>
                  <a:pt x="951" y="218"/>
                  <a:pt x="951" y="218"/>
                  <a:pt x="951" y="218"/>
                </a:cubicBezTo>
                <a:cubicBezTo>
                  <a:pt x="951" y="218"/>
                  <a:pt x="951" y="218"/>
                  <a:pt x="951" y="218"/>
                </a:cubicBezTo>
                <a:cubicBezTo>
                  <a:pt x="950" y="220"/>
                  <a:pt x="950" y="220"/>
                  <a:pt x="950" y="220"/>
                </a:cubicBezTo>
                <a:cubicBezTo>
                  <a:pt x="950" y="221"/>
                  <a:pt x="950" y="221"/>
                  <a:pt x="950" y="221"/>
                </a:cubicBezTo>
                <a:cubicBezTo>
                  <a:pt x="949" y="221"/>
                  <a:pt x="949" y="221"/>
                  <a:pt x="949" y="221"/>
                </a:cubicBezTo>
                <a:cubicBezTo>
                  <a:pt x="949" y="219"/>
                  <a:pt x="949" y="219"/>
                  <a:pt x="949" y="219"/>
                </a:cubicBezTo>
                <a:cubicBezTo>
                  <a:pt x="949" y="217"/>
                  <a:pt x="949" y="217"/>
                  <a:pt x="949" y="217"/>
                </a:cubicBezTo>
                <a:cubicBezTo>
                  <a:pt x="948" y="217"/>
                  <a:pt x="948" y="217"/>
                  <a:pt x="948" y="217"/>
                </a:cubicBezTo>
                <a:cubicBezTo>
                  <a:pt x="948" y="215"/>
                  <a:pt x="948" y="215"/>
                  <a:pt x="948" y="215"/>
                </a:cubicBezTo>
                <a:cubicBezTo>
                  <a:pt x="948" y="215"/>
                  <a:pt x="948" y="215"/>
                  <a:pt x="948" y="215"/>
                </a:cubicBezTo>
                <a:cubicBezTo>
                  <a:pt x="947" y="215"/>
                  <a:pt x="947" y="215"/>
                  <a:pt x="947" y="215"/>
                </a:cubicBezTo>
                <a:cubicBezTo>
                  <a:pt x="948" y="215"/>
                  <a:pt x="948" y="215"/>
                  <a:pt x="948" y="215"/>
                </a:cubicBezTo>
                <a:cubicBezTo>
                  <a:pt x="947" y="213"/>
                  <a:pt x="947" y="213"/>
                  <a:pt x="947" y="213"/>
                </a:cubicBezTo>
                <a:cubicBezTo>
                  <a:pt x="946" y="213"/>
                  <a:pt x="946" y="213"/>
                  <a:pt x="946" y="213"/>
                </a:cubicBezTo>
                <a:cubicBezTo>
                  <a:pt x="947" y="212"/>
                  <a:pt x="947" y="212"/>
                  <a:pt x="947" y="212"/>
                </a:cubicBezTo>
                <a:cubicBezTo>
                  <a:pt x="949" y="212"/>
                  <a:pt x="949" y="212"/>
                  <a:pt x="949" y="212"/>
                </a:cubicBezTo>
                <a:cubicBezTo>
                  <a:pt x="950" y="211"/>
                  <a:pt x="950" y="211"/>
                  <a:pt x="950" y="211"/>
                </a:cubicBezTo>
                <a:cubicBezTo>
                  <a:pt x="948" y="210"/>
                  <a:pt x="948" y="210"/>
                  <a:pt x="948" y="210"/>
                </a:cubicBezTo>
                <a:cubicBezTo>
                  <a:pt x="947" y="210"/>
                  <a:pt x="947" y="210"/>
                  <a:pt x="947" y="210"/>
                </a:cubicBezTo>
                <a:cubicBezTo>
                  <a:pt x="946" y="209"/>
                  <a:pt x="946" y="209"/>
                  <a:pt x="946" y="209"/>
                </a:cubicBezTo>
                <a:cubicBezTo>
                  <a:pt x="947" y="208"/>
                  <a:pt x="947" y="208"/>
                  <a:pt x="947" y="208"/>
                </a:cubicBezTo>
                <a:cubicBezTo>
                  <a:pt x="949" y="207"/>
                  <a:pt x="949" y="207"/>
                  <a:pt x="949" y="207"/>
                </a:cubicBezTo>
                <a:cubicBezTo>
                  <a:pt x="949" y="207"/>
                  <a:pt x="949" y="207"/>
                  <a:pt x="949" y="207"/>
                </a:cubicBezTo>
                <a:cubicBezTo>
                  <a:pt x="948" y="206"/>
                  <a:pt x="948" y="206"/>
                  <a:pt x="948" y="206"/>
                </a:cubicBezTo>
                <a:cubicBezTo>
                  <a:pt x="945" y="206"/>
                  <a:pt x="945" y="206"/>
                  <a:pt x="945" y="206"/>
                </a:cubicBezTo>
                <a:cubicBezTo>
                  <a:pt x="945" y="207"/>
                  <a:pt x="945" y="207"/>
                  <a:pt x="945" y="207"/>
                </a:cubicBezTo>
                <a:cubicBezTo>
                  <a:pt x="944" y="208"/>
                  <a:pt x="944" y="208"/>
                  <a:pt x="944" y="208"/>
                </a:cubicBezTo>
                <a:cubicBezTo>
                  <a:pt x="940" y="209"/>
                  <a:pt x="940" y="209"/>
                  <a:pt x="940" y="209"/>
                </a:cubicBezTo>
                <a:cubicBezTo>
                  <a:pt x="942" y="207"/>
                  <a:pt x="942" y="207"/>
                  <a:pt x="942" y="207"/>
                </a:cubicBezTo>
                <a:cubicBezTo>
                  <a:pt x="944" y="205"/>
                  <a:pt x="944" y="205"/>
                  <a:pt x="944" y="205"/>
                </a:cubicBezTo>
                <a:cubicBezTo>
                  <a:pt x="945" y="203"/>
                  <a:pt x="945" y="203"/>
                  <a:pt x="945" y="203"/>
                </a:cubicBezTo>
                <a:cubicBezTo>
                  <a:pt x="945" y="202"/>
                  <a:pt x="945" y="202"/>
                  <a:pt x="945" y="202"/>
                </a:cubicBezTo>
                <a:cubicBezTo>
                  <a:pt x="944" y="202"/>
                  <a:pt x="944" y="202"/>
                  <a:pt x="944" y="202"/>
                </a:cubicBezTo>
                <a:cubicBezTo>
                  <a:pt x="943" y="202"/>
                  <a:pt x="943" y="202"/>
                  <a:pt x="943" y="202"/>
                </a:cubicBezTo>
                <a:cubicBezTo>
                  <a:pt x="944" y="201"/>
                  <a:pt x="944" y="201"/>
                  <a:pt x="944" y="201"/>
                </a:cubicBezTo>
                <a:cubicBezTo>
                  <a:pt x="943" y="200"/>
                  <a:pt x="943" y="200"/>
                  <a:pt x="943" y="200"/>
                </a:cubicBezTo>
                <a:cubicBezTo>
                  <a:pt x="942" y="200"/>
                  <a:pt x="942" y="200"/>
                  <a:pt x="942" y="200"/>
                </a:cubicBezTo>
                <a:cubicBezTo>
                  <a:pt x="942" y="199"/>
                  <a:pt x="942" y="199"/>
                  <a:pt x="942" y="199"/>
                </a:cubicBezTo>
                <a:cubicBezTo>
                  <a:pt x="943" y="198"/>
                  <a:pt x="943" y="198"/>
                  <a:pt x="943" y="198"/>
                </a:cubicBezTo>
                <a:cubicBezTo>
                  <a:pt x="943" y="196"/>
                  <a:pt x="943" y="196"/>
                  <a:pt x="943" y="196"/>
                </a:cubicBezTo>
                <a:cubicBezTo>
                  <a:pt x="941" y="195"/>
                  <a:pt x="941" y="195"/>
                  <a:pt x="941" y="195"/>
                </a:cubicBezTo>
                <a:cubicBezTo>
                  <a:pt x="939" y="194"/>
                  <a:pt x="939" y="194"/>
                  <a:pt x="939" y="194"/>
                </a:cubicBezTo>
                <a:cubicBezTo>
                  <a:pt x="937" y="194"/>
                  <a:pt x="937" y="194"/>
                  <a:pt x="937" y="194"/>
                </a:cubicBezTo>
                <a:cubicBezTo>
                  <a:pt x="936" y="193"/>
                  <a:pt x="936" y="193"/>
                  <a:pt x="936" y="193"/>
                </a:cubicBezTo>
                <a:cubicBezTo>
                  <a:pt x="938" y="193"/>
                  <a:pt x="938" y="193"/>
                  <a:pt x="938" y="193"/>
                </a:cubicBezTo>
                <a:cubicBezTo>
                  <a:pt x="940" y="193"/>
                  <a:pt x="940" y="193"/>
                  <a:pt x="940" y="193"/>
                </a:cubicBezTo>
                <a:cubicBezTo>
                  <a:pt x="941" y="192"/>
                  <a:pt x="941" y="192"/>
                  <a:pt x="941" y="192"/>
                </a:cubicBezTo>
                <a:cubicBezTo>
                  <a:pt x="942" y="194"/>
                  <a:pt x="942" y="194"/>
                  <a:pt x="942" y="194"/>
                </a:cubicBezTo>
                <a:cubicBezTo>
                  <a:pt x="942" y="195"/>
                  <a:pt x="942" y="195"/>
                  <a:pt x="942" y="195"/>
                </a:cubicBezTo>
                <a:cubicBezTo>
                  <a:pt x="944" y="195"/>
                  <a:pt x="944" y="195"/>
                  <a:pt x="944" y="195"/>
                </a:cubicBezTo>
                <a:cubicBezTo>
                  <a:pt x="945" y="196"/>
                  <a:pt x="945" y="196"/>
                  <a:pt x="945" y="196"/>
                </a:cubicBezTo>
                <a:cubicBezTo>
                  <a:pt x="946" y="197"/>
                  <a:pt x="946" y="197"/>
                  <a:pt x="946" y="197"/>
                </a:cubicBezTo>
                <a:cubicBezTo>
                  <a:pt x="945" y="198"/>
                  <a:pt x="945" y="198"/>
                  <a:pt x="945" y="198"/>
                </a:cubicBezTo>
                <a:cubicBezTo>
                  <a:pt x="945" y="199"/>
                  <a:pt x="945" y="199"/>
                  <a:pt x="945" y="199"/>
                </a:cubicBezTo>
                <a:cubicBezTo>
                  <a:pt x="947" y="201"/>
                  <a:pt x="947" y="201"/>
                  <a:pt x="947" y="201"/>
                </a:cubicBezTo>
                <a:cubicBezTo>
                  <a:pt x="948" y="201"/>
                  <a:pt x="948" y="201"/>
                  <a:pt x="948" y="201"/>
                </a:cubicBezTo>
                <a:cubicBezTo>
                  <a:pt x="948" y="200"/>
                  <a:pt x="948" y="200"/>
                  <a:pt x="948" y="200"/>
                </a:cubicBezTo>
                <a:cubicBezTo>
                  <a:pt x="949" y="201"/>
                  <a:pt x="949" y="201"/>
                  <a:pt x="949" y="201"/>
                </a:cubicBezTo>
                <a:cubicBezTo>
                  <a:pt x="951" y="201"/>
                  <a:pt x="951" y="201"/>
                  <a:pt x="951" y="201"/>
                </a:cubicBezTo>
                <a:cubicBezTo>
                  <a:pt x="952" y="201"/>
                  <a:pt x="952" y="201"/>
                  <a:pt x="952" y="201"/>
                </a:cubicBezTo>
                <a:cubicBezTo>
                  <a:pt x="952" y="200"/>
                  <a:pt x="952" y="200"/>
                  <a:pt x="952" y="200"/>
                </a:cubicBezTo>
                <a:cubicBezTo>
                  <a:pt x="952" y="199"/>
                  <a:pt x="952" y="199"/>
                  <a:pt x="952" y="199"/>
                </a:cubicBezTo>
                <a:cubicBezTo>
                  <a:pt x="952" y="198"/>
                  <a:pt x="952" y="198"/>
                  <a:pt x="952" y="198"/>
                </a:cubicBezTo>
                <a:cubicBezTo>
                  <a:pt x="951" y="197"/>
                  <a:pt x="951" y="197"/>
                  <a:pt x="951" y="197"/>
                </a:cubicBezTo>
                <a:cubicBezTo>
                  <a:pt x="950" y="195"/>
                  <a:pt x="950" y="195"/>
                  <a:pt x="950" y="195"/>
                </a:cubicBezTo>
                <a:cubicBezTo>
                  <a:pt x="949" y="195"/>
                  <a:pt x="949" y="195"/>
                  <a:pt x="949" y="195"/>
                </a:cubicBezTo>
                <a:cubicBezTo>
                  <a:pt x="949" y="193"/>
                  <a:pt x="949" y="193"/>
                  <a:pt x="949" y="193"/>
                </a:cubicBezTo>
                <a:cubicBezTo>
                  <a:pt x="949" y="192"/>
                  <a:pt x="949" y="192"/>
                  <a:pt x="949" y="192"/>
                </a:cubicBezTo>
                <a:cubicBezTo>
                  <a:pt x="948" y="191"/>
                  <a:pt x="948" y="191"/>
                  <a:pt x="948" y="191"/>
                </a:cubicBezTo>
                <a:cubicBezTo>
                  <a:pt x="949" y="190"/>
                  <a:pt x="949" y="190"/>
                  <a:pt x="949" y="190"/>
                </a:cubicBezTo>
                <a:cubicBezTo>
                  <a:pt x="949" y="191"/>
                  <a:pt x="949" y="191"/>
                  <a:pt x="949" y="191"/>
                </a:cubicBezTo>
                <a:cubicBezTo>
                  <a:pt x="950" y="193"/>
                  <a:pt x="950" y="193"/>
                  <a:pt x="950" y="193"/>
                </a:cubicBezTo>
                <a:cubicBezTo>
                  <a:pt x="951" y="194"/>
                  <a:pt x="951" y="194"/>
                  <a:pt x="951" y="194"/>
                </a:cubicBezTo>
                <a:cubicBezTo>
                  <a:pt x="952" y="194"/>
                  <a:pt x="952" y="194"/>
                  <a:pt x="952" y="194"/>
                </a:cubicBezTo>
                <a:cubicBezTo>
                  <a:pt x="952" y="193"/>
                  <a:pt x="952" y="193"/>
                  <a:pt x="952" y="193"/>
                </a:cubicBezTo>
                <a:cubicBezTo>
                  <a:pt x="952" y="193"/>
                  <a:pt x="952" y="193"/>
                  <a:pt x="952" y="193"/>
                </a:cubicBezTo>
                <a:cubicBezTo>
                  <a:pt x="954" y="193"/>
                  <a:pt x="954" y="193"/>
                  <a:pt x="954" y="193"/>
                </a:cubicBezTo>
                <a:cubicBezTo>
                  <a:pt x="953" y="191"/>
                  <a:pt x="953" y="191"/>
                  <a:pt x="953" y="191"/>
                </a:cubicBezTo>
                <a:cubicBezTo>
                  <a:pt x="952" y="189"/>
                  <a:pt x="952" y="189"/>
                  <a:pt x="952" y="189"/>
                </a:cubicBezTo>
                <a:cubicBezTo>
                  <a:pt x="950" y="188"/>
                  <a:pt x="950" y="188"/>
                  <a:pt x="950" y="188"/>
                </a:cubicBezTo>
                <a:cubicBezTo>
                  <a:pt x="952" y="188"/>
                  <a:pt x="952" y="188"/>
                  <a:pt x="952" y="188"/>
                </a:cubicBezTo>
                <a:cubicBezTo>
                  <a:pt x="953" y="189"/>
                  <a:pt x="953" y="189"/>
                  <a:pt x="953" y="189"/>
                </a:cubicBezTo>
                <a:cubicBezTo>
                  <a:pt x="954" y="190"/>
                  <a:pt x="954" y="190"/>
                  <a:pt x="954" y="190"/>
                </a:cubicBezTo>
                <a:cubicBezTo>
                  <a:pt x="956" y="189"/>
                  <a:pt x="956" y="189"/>
                  <a:pt x="956" y="189"/>
                </a:cubicBezTo>
                <a:cubicBezTo>
                  <a:pt x="955" y="188"/>
                  <a:pt x="955" y="188"/>
                  <a:pt x="955" y="188"/>
                </a:cubicBezTo>
                <a:cubicBezTo>
                  <a:pt x="955" y="187"/>
                  <a:pt x="955" y="187"/>
                  <a:pt x="955" y="187"/>
                </a:cubicBezTo>
                <a:cubicBezTo>
                  <a:pt x="956" y="187"/>
                  <a:pt x="956" y="187"/>
                  <a:pt x="956" y="187"/>
                </a:cubicBezTo>
                <a:cubicBezTo>
                  <a:pt x="956" y="188"/>
                  <a:pt x="956" y="188"/>
                  <a:pt x="956" y="188"/>
                </a:cubicBezTo>
                <a:cubicBezTo>
                  <a:pt x="958" y="189"/>
                  <a:pt x="958" y="189"/>
                  <a:pt x="958" y="189"/>
                </a:cubicBezTo>
                <a:cubicBezTo>
                  <a:pt x="957" y="190"/>
                  <a:pt x="957" y="190"/>
                  <a:pt x="957" y="190"/>
                </a:cubicBezTo>
                <a:cubicBezTo>
                  <a:pt x="957" y="190"/>
                  <a:pt x="957" y="190"/>
                  <a:pt x="957" y="190"/>
                </a:cubicBezTo>
                <a:cubicBezTo>
                  <a:pt x="957" y="192"/>
                  <a:pt x="957" y="192"/>
                  <a:pt x="957" y="192"/>
                </a:cubicBezTo>
                <a:cubicBezTo>
                  <a:pt x="957" y="193"/>
                  <a:pt x="957" y="193"/>
                  <a:pt x="957" y="193"/>
                </a:cubicBezTo>
                <a:cubicBezTo>
                  <a:pt x="958" y="193"/>
                  <a:pt x="958" y="193"/>
                  <a:pt x="958" y="193"/>
                </a:cubicBezTo>
                <a:cubicBezTo>
                  <a:pt x="958" y="193"/>
                  <a:pt x="958" y="193"/>
                  <a:pt x="958" y="193"/>
                </a:cubicBezTo>
                <a:cubicBezTo>
                  <a:pt x="958" y="194"/>
                  <a:pt x="958" y="194"/>
                  <a:pt x="958" y="194"/>
                </a:cubicBezTo>
                <a:cubicBezTo>
                  <a:pt x="957" y="194"/>
                  <a:pt x="957" y="194"/>
                  <a:pt x="957" y="194"/>
                </a:cubicBezTo>
                <a:cubicBezTo>
                  <a:pt x="957" y="195"/>
                  <a:pt x="957" y="195"/>
                  <a:pt x="957" y="195"/>
                </a:cubicBezTo>
                <a:cubicBezTo>
                  <a:pt x="958" y="196"/>
                  <a:pt x="958" y="196"/>
                  <a:pt x="958" y="196"/>
                </a:cubicBezTo>
                <a:cubicBezTo>
                  <a:pt x="959" y="195"/>
                  <a:pt x="959" y="195"/>
                  <a:pt x="959" y="195"/>
                </a:cubicBezTo>
                <a:cubicBezTo>
                  <a:pt x="960" y="196"/>
                  <a:pt x="960" y="196"/>
                  <a:pt x="960" y="196"/>
                </a:cubicBezTo>
                <a:cubicBezTo>
                  <a:pt x="959" y="197"/>
                  <a:pt x="959" y="197"/>
                  <a:pt x="959" y="197"/>
                </a:cubicBezTo>
                <a:cubicBezTo>
                  <a:pt x="960" y="198"/>
                  <a:pt x="960" y="198"/>
                  <a:pt x="960" y="198"/>
                </a:cubicBezTo>
                <a:cubicBezTo>
                  <a:pt x="961" y="198"/>
                  <a:pt x="961" y="198"/>
                  <a:pt x="961" y="198"/>
                </a:cubicBezTo>
                <a:cubicBezTo>
                  <a:pt x="962" y="198"/>
                  <a:pt x="962" y="198"/>
                  <a:pt x="962" y="198"/>
                </a:cubicBezTo>
                <a:cubicBezTo>
                  <a:pt x="966" y="196"/>
                  <a:pt x="966" y="196"/>
                  <a:pt x="966" y="196"/>
                </a:cubicBezTo>
                <a:cubicBezTo>
                  <a:pt x="967" y="193"/>
                  <a:pt x="967" y="193"/>
                  <a:pt x="967" y="193"/>
                </a:cubicBezTo>
                <a:cubicBezTo>
                  <a:pt x="967" y="195"/>
                  <a:pt x="967" y="195"/>
                  <a:pt x="967" y="195"/>
                </a:cubicBezTo>
                <a:cubicBezTo>
                  <a:pt x="967" y="196"/>
                  <a:pt x="967" y="196"/>
                  <a:pt x="967" y="196"/>
                </a:cubicBezTo>
                <a:cubicBezTo>
                  <a:pt x="966" y="197"/>
                  <a:pt x="966" y="197"/>
                  <a:pt x="966" y="197"/>
                </a:cubicBezTo>
                <a:cubicBezTo>
                  <a:pt x="964" y="198"/>
                  <a:pt x="964" y="198"/>
                  <a:pt x="964" y="198"/>
                </a:cubicBezTo>
                <a:cubicBezTo>
                  <a:pt x="961" y="201"/>
                  <a:pt x="961" y="201"/>
                  <a:pt x="961" y="201"/>
                </a:cubicBezTo>
                <a:cubicBezTo>
                  <a:pt x="961" y="201"/>
                  <a:pt x="961" y="201"/>
                  <a:pt x="961" y="201"/>
                </a:cubicBezTo>
                <a:cubicBezTo>
                  <a:pt x="962" y="202"/>
                  <a:pt x="962" y="202"/>
                  <a:pt x="962" y="202"/>
                </a:cubicBezTo>
                <a:cubicBezTo>
                  <a:pt x="964" y="202"/>
                  <a:pt x="964" y="202"/>
                  <a:pt x="964" y="202"/>
                </a:cubicBezTo>
                <a:cubicBezTo>
                  <a:pt x="967" y="200"/>
                  <a:pt x="967" y="200"/>
                  <a:pt x="967" y="200"/>
                </a:cubicBezTo>
                <a:cubicBezTo>
                  <a:pt x="968" y="200"/>
                  <a:pt x="968" y="200"/>
                  <a:pt x="968" y="200"/>
                </a:cubicBezTo>
                <a:cubicBezTo>
                  <a:pt x="971" y="199"/>
                  <a:pt x="971" y="199"/>
                  <a:pt x="971" y="199"/>
                </a:cubicBezTo>
                <a:cubicBezTo>
                  <a:pt x="971" y="197"/>
                  <a:pt x="971" y="197"/>
                  <a:pt x="971" y="197"/>
                </a:cubicBezTo>
                <a:cubicBezTo>
                  <a:pt x="972" y="197"/>
                  <a:pt x="972" y="197"/>
                  <a:pt x="972" y="197"/>
                </a:cubicBezTo>
                <a:cubicBezTo>
                  <a:pt x="974" y="195"/>
                  <a:pt x="974" y="195"/>
                  <a:pt x="974" y="195"/>
                </a:cubicBezTo>
                <a:cubicBezTo>
                  <a:pt x="975" y="195"/>
                  <a:pt x="975" y="195"/>
                  <a:pt x="975" y="195"/>
                </a:cubicBezTo>
                <a:cubicBezTo>
                  <a:pt x="975" y="196"/>
                  <a:pt x="975" y="196"/>
                  <a:pt x="975" y="196"/>
                </a:cubicBezTo>
                <a:cubicBezTo>
                  <a:pt x="974" y="196"/>
                  <a:pt x="974" y="196"/>
                  <a:pt x="974" y="196"/>
                </a:cubicBezTo>
                <a:cubicBezTo>
                  <a:pt x="973" y="198"/>
                  <a:pt x="973" y="198"/>
                  <a:pt x="973" y="198"/>
                </a:cubicBezTo>
                <a:cubicBezTo>
                  <a:pt x="972" y="199"/>
                  <a:pt x="972" y="199"/>
                  <a:pt x="972" y="199"/>
                </a:cubicBezTo>
                <a:cubicBezTo>
                  <a:pt x="971" y="200"/>
                  <a:pt x="971" y="200"/>
                  <a:pt x="971" y="200"/>
                </a:cubicBezTo>
                <a:cubicBezTo>
                  <a:pt x="969" y="202"/>
                  <a:pt x="969" y="202"/>
                  <a:pt x="969" y="202"/>
                </a:cubicBezTo>
                <a:cubicBezTo>
                  <a:pt x="967" y="202"/>
                  <a:pt x="967" y="202"/>
                  <a:pt x="967" y="202"/>
                </a:cubicBezTo>
                <a:cubicBezTo>
                  <a:pt x="966" y="202"/>
                  <a:pt x="966" y="202"/>
                  <a:pt x="966" y="202"/>
                </a:cubicBezTo>
                <a:cubicBezTo>
                  <a:pt x="965" y="204"/>
                  <a:pt x="965" y="204"/>
                  <a:pt x="965" y="204"/>
                </a:cubicBezTo>
                <a:cubicBezTo>
                  <a:pt x="965" y="205"/>
                  <a:pt x="965" y="205"/>
                  <a:pt x="965" y="205"/>
                </a:cubicBezTo>
                <a:cubicBezTo>
                  <a:pt x="965" y="206"/>
                  <a:pt x="965" y="206"/>
                  <a:pt x="965" y="206"/>
                </a:cubicBezTo>
                <a:cubicBezTo>
                  <a:pt x="966" y="205"/>
                  <a:pt x="966" y="205"/>
                  <a:pt x="966" y="205"/>
                </a:cubicBezTo>
                <a:cubicBezTo>
                  <a:pt x="968" y="205"/>
                  <a:pt x="968" y="205"/>
                  <a:pt x="968" y="205"/>
                </a:cubicBezTo>
                <a:cubicBezTo>
                  <a:pt x="969" y="206"/>
                  <a:pt x="969" y="206"/>
                  <a:pt x="969" y="206"/>
                </a:cubicBezTo>
                <a:cubicBezTo>
                  <a:pt x="968" y="206"/>
                  <a:pt x="968" y="206"/>
                  <a:pt x="968" y="206"/>
                </a:cubicBezTo>
                <a:cubicBezTo>
                  <a:pt x="966" y="207"/>
                  <a:pt x="966" y="207"/>
                  <a:pt x="966" y="207"/>
                </a:cubicBezTo>
                <a:cubicBezTo>
                  <a:pt x="965" y="207"/>
                  <a:pt x="965" y="207"/>
                  <a:pt x="965" y="207"/>
                </a:cubicBezTo>
                <a:cubicBezTo>
                  <a:pt x="965" y="208"/>
                  <a:pt x="965" y="208"/>
                  <a:pt x="965" y="208"/>
                </a:cubicBezTo>
                <a:cubicBezTo>
                  <a:pt x="966" y="208"/>
                  <a:pt x="966" y="208"/>
                  <a:pt x="966" y="208"/>
                </a:cubicBezTo>
                <a:cubicBezTo>
                  <a:pt x="967" y="208"/>
                  <a:pt x="967" y="208"/>
                  <a:pt x="967" y="208"/>
                </a:cubicBezTo>
                <a:cubicBezTo>
                  <a:pt x="968" y="208"/>
                  <a:pt x="968" y="208"/>
                  <a:pt x="968" y="208"/>
                </a:cubicBezTo>
                <a:cubicBezTo>
                  <a:pt x="967" y="209"/>
                  <a:pt x="967" y="209"/>
                  <a:pt x="967" y="209"/>
                </a:cubicBezTo>
                <a:cubicBezTo>
                  <a:pt x="965" y="210"/>
                  <a:pt x="965" y="210"/>
                  <a:pt x="965" y="210"/>
                </a:cubicBezTo>
                <a:cubicBezTo>
                  <a:pt x="965" y="210"/>
                  <a:pt x="965" y="210"/>
                  <a:pt x="965" y="210"/>
                </a:cubicBezTo>
                <a:cubicBezTo>
                  <a:pt x="965" y="211"/>
                  <a:pt x="965" y="211"/>
                  <a:pt x="965" y="211"/>
                </a:cubicBezTo>
                <a:cubicBezTo>
                  <a:pt x="967" y="211"/>
                  <a:pt x="967" y="211"/>
                  <a:pt x="967" y="211"/>
                </a:cubicBezTo>
                <a:cubicBezTo>
                  <a:pt x="968" y="211"/>
                  <a:pt x="968" y="211"/>
                  <a:pt x="968" y="211"/>
                </a:cubicBezTo>
                <a:cubicBezTo>
                  <a:pt x="969" y="211"/>
                  <a:pt x="969" y="211"/>
                  <a:pt x="969" y="211"/>
                </a:cubicBezTo>
                <a:cubicBezTo>
                  <a:pt x="970" y="212"/>
                  <a:pt x="970" y="212"/>
                  <a:pt x="970" y="212"/>
                </a:cubicBezTo>
                <a:cubicBezTo>
                  <a:pt x="969" y="212"/>
                  <a:pt x="969" y="212"/>
                  <a:pt x="969" y="212"/>
                </a:cubicBezTo>
                <a:cubicBezTo>
                  <a:pt x="969" y="213"/>
                  <a:pt x="969" y="213"/>
                  <a:pt x="969" y="213"/>
                </a:cubicBezTo>
                <a:cubicBezTo>
                  <a:pt x="967" y="213"/>
                  <a:pt x="967" y="213"/>
                  <a:pt x="967" y="213"/>
                </a:cubicBezTo>
                <a:cubicBezTo>
                  <a:pt x="966" y="214"/>
                  <a:pt x="966" y="214"/>
                  <a:pt x="966" y="214"/>
                </a:cubicBezTo>
                <a:cubicBezTo>
                  <a:pt x="967" y="215"/>
                  <a:pt x="967" y="215"/>
                  <a:pt x="967" y="215"/>
                </a:cubicBezTo>
                <a:cubicBezTo>
                  <a:pt x="967" y="217"/>
                  <a:pt x="967" y="217"/>
                  <a:pt x="967" y="217"/>
                </a:cubicBezTo>
                <a:cubicBezTo>
                  <a:pt x="967" y="218"/>
                  <a:pt x="967" y="218"/>
                  <a:pt x="967" y="218"/>
                </a:cubicBezTo>
                <a:cubicBezTo>
                  <a:pt x="968" y="218"/>
                  <a:pt x="968" y="218"/>
                  <a:pt x="968" y="218"/>
                </a:cubicBezTo>
                <a:cubicBezTo>
                  <a:pt x="969" y="217"/>
                  <a:pt x="969" y="217"/>
                  <a:pt x="969" y="217"/>
                </a:cubicBezTo>
                <a:cubicBezTo>
                  <a:pt x="970" y="215"/>
                  <a:pt x="970" y="215"/>
                  <a:pt x="970" y="215"/>
                </a:cubicBezTo>
                <a:cubicBezTo>
                  <a:pt x="971" y="214"/>
                  <a:pt x="971" y="214"/>
                  <a:pt x="971" y="214"/>
                </a:cubicBezTo>
                <a:cubicBezTo>
                  <a:pt x="971" y="214"/>
                  <a:pt x="971" y="214"/>
                  <a:pt x="971" y="214"/>
                </a:cubicBezTo>
                <a:cubicBezTo>
                  <a:pt x="971" y="215"/>
                  <a:pt x="971" y="215"/>
                  <a:pt x="971" y="215"/>
                </a:cubicBezTo>
                <a:cubicBezTo>
                  <a:pt x="971" y="216"/>
                  <a:pt x="971" y="216"/>
                  <a:pt x="971" y="216"/>
                </a:cubicBezTo>
                <a:cubicBezTo>
                  <a:pt x="970" y="216"/>
                  <a:pt x="970" y="216"/>
                  <a:pt x="970" y="216"/>
                </a:cubicBezTo>
                <a:cubicBezTo>
                  <a:pt x="970" y="217"/>
                  <a:pt x="970" y="217"/>
                  <a:pt x="970" y="217"/>
                </a:cubicBezTo>
                <a:cubicBezTo>
                  <a:pt x="971" y="218"/>
                  <a:pt x="971" y="218"/>
                  <a:pt x="971" y="218"/>
                </a:cubicBezTo>
                <a:cubicBezTo>
                  <a:pt x="970" y="219"/>
                  <a:pt x="970" y="219"/>
                  <a:pt x="970" y="219"/>
                </a:cubicBezTo>
                <a:cubicBezTo>
                  <a:pt x="971" y="220"/>
                  <a:pt x="971" y="220"/>
                  <a:pt x="971" y="220"/>
                </a:cubicBezTo>
                <a:cubicBezTo>
                  <a:pt x="972" y="220"/>
                  <a:pt x="972" y="220"/>
                  <a:pt x="972" y="220"/>
                </a:cubicBezTo>
                <a:cubicBezTo>
                  <a:pt x="972" y="219"/>
                  <a:pt x="972" y="219"/>
                  <a:pt x="972" y="219"/>
                </a:cubicBezTo>
                <a:cubicBezTo>
                  <a:pt x="973" y="218"/>
                  <a:pt x="973" y="218"/>
                  <a:pt x="973" y="218"/>
                </a:cubicBezTo>
                <a:cubicBezTo>
                  <a:pt x="974" y="218"/>
                  <a:pt x="974" y="218"/>
                  <a:pt x="974" y="218"/>
                </a:cubicBezTo>
                <a:cubicBezTo>
                  <a:pt x="974" y="219"/>
                  <a:pt x="974" y="219"/>
                  <a:pt x="974" y="219"/>
                </a:cubicBezTo>
                <a:cubicBezTo>
                  <a:pt x="973" y="220"/>
                  <a:pt x="973" y="220"/>
                  <a:pt x="973" y="220"/>
                </a:cubicBezTo>
                <a:cubicBezTo>
                  <a:pt x="974" y="221"/>
                  <a:pt x="974" y="221"/>
                  <a:pt x="974" y="221"/>
                </a:cubicBezTo>
                <a:cubicBezTo>
                  <a:pt x="975" y="221"/>
                  <a:pt x="975" y="221"/>
                  <a:pt x="975" y="221"/>
                </a:cubicBezTo>
                <a:cubicBezTo>
                  <a:pt x="975" y="222"/>
                  <a:pt x="975" y="222"/>
                  <a:pt x="975" y="222"/>
                </a:cubicBezTo>
                <a:cubicBezTo>
                  <a:pt x="975" y="222"/>
                  <a:pt x="975" y="222"/>
                  <a:pt x="975" y="222"/>
                </a:cubicBezTo>
                <a:cubicBezTo>
                  <a:pt x="975" y="223"/>
                  <a:pt x="975" y="223"/>
                  <a:pt x="975" y="223"/>
                </a:cubicBezTo>
                <a:cubicBezTo>
                  <a:pt x="976" y="224"/>
                  <a:pt x="976" y="224"/>
                  <a:pt x="976" y="224"/>
                </a:cubicBezTo>
                <a:cubicBezTo>
                  <a:pt x="976" y="223"/>
                  <a:pt x="976" y="223"/>
                  <a:pt x="976" y="223"/>
                </a:cubicBezTo>
                <a:cubicBezTo>
                  <a:pt x="978" y="222"/>
                  <a:pt x="978" y="222"/>
                  <a:pt x="978" y="222"/>
                </a:cubicBezTo>
                <a:cubicBezTo>
                  <a:pt x="979" y="221"/>
                  <a:pt x="979" y="221"/>
                  <a:pt x="979" y="221"/>
                </a:cubicBezTo>
                <a:cubicBezTo>
                  <a:pt x="978" y="220"/>
                  <a:pt x="978" y="220"/>
                  <a:pt x="978" y="220"/>
                </a:cubicBezTo>
                <a:cubicBezTo>
                  <a:pt x="977" y="218"/>
                  <a:pt x="977" y="218"/>
                  <a:pt x="977" y="218"/>
                </a:cubicBezTo>
                <a:cubicBezTo>
                  <a:pt x="978" y="218"/>
                  <a:pt x="978" y="218"/>
                  <a:pt x="978" y="218"/>
                </a:cubicBezTo>
                <a:cubicBezTo>
                  <a:pt x="978" y="219"/>
                  <a:pt x="978" y="219"/>
                  <a:pt x="978" y="219"/>
                </a:cubicBezTo>
                <a:cubicBezTo>
                  <a:pt x="979" y="219"/>
                  <a:pt x="979" y="219"/>
                  <a:pt x="979" y="219"/>
                </a:cubicBezTo>
                <a:cubicBezTo>
                  <a:pt x="979" y="218"/>
                  <a:pt x="979" y="218"/>
                  <a:pt x="979" y="218"/>
                </a:cubicBezTo>
                <a:cubicBezTo>
                  <a:pt x="978" y="216"/>
                  <a:pt x="978" y="216"/>
                  <a:pt x="978" y="216"/>
                </a:cubicBezTo>
                <a:cubicBezTo>
                  <a:pt x="979" y="215"/>
                  <a:pt x="979" y="215"/>
                  <a:pt x="979" y="215"/>
                </a:cubicBezTo>
                <a:cubicBezTo>
                  <a:pt x="979" y="215"/>
                  <a:pt x="979" y="215"/>
                  <a:pt x="979" y="215"/>
                </a:cubicBezTo>
                <a:cubicBezTo>
                  <a:pt x="980" y="214"/>
                  <a:pt x="980" y="214"/>
                  <a:pt x="980" y="214"/>
                </a:cubicBezTo>
                <a:cubicBezTo>
                  <a:pt x="979" y="213"/>
                  <a:pt x="979" y="213"/>
                  <a:pt x="979" y="213"/>
                </a:cubicBezTo>
                <a:cubicBezTo>
                  <a:pt x="979" y="213"/>
                  <a:pt x="979" y="213"/>
                  <a:pt x="979" y="213"/>
                </a:cubicBezTo>
                <a:cubicBezTo>
                  <a:pt x="977" y="212"/>
                  <a:pt x="977" y="212"/>
                  <a:pt x="977" y="212"/>
                </a:cubicBezTo>
                <a:cubicBezTo>
                  <a:pt x="978" y="211"/>
                  <a:pt x="978" y="211"/>
                  <a:pt x="978" y="211"/>
                </a:cubicBezTo>
                <a:cubicBezTo>
                  <a:pt x="978" y="212"/>
                  <a:pt x="978" y="212"/>
                  <a:pt x="978" y="212"/>
                </a:cubicBezTo>
                <a:cubicBezTo>
                  <a:pt x="979" y="212"/>
                  <a:pt x="979" y="212"/>
                  <a:pt x="979" y="212"/>
                </a:cubicBezTo>
                <a:cubicBezTo>
                  <a:pt x="980" y="211"/>
                  <a:pt x="980" y="211"/>
                  <a:pt x="980" y="211"/>
                </a:cubicBezTo>
                <a:cubicBezTo>
                  <a:pt x="980" y="210"/>
                  <a:pt x="980" y="210"/>
                  <a:pt x="980" y="210"/>
                </a:cubicBezTo>
                <a:cubicBezTo>
                  <a:pt x="979" y="210"/>
                  <a:pt x="979" y="210"/>
                  <a:pt x="979" y="210"/>
                </a:cubicBezTo>
                <a:cubicBezTo>
                  <a:pt x="978" y="209"/>
                  <a:pt x="978" y="209"/>
                  <a:pt x="978" y="209"/>
                </a:cubicBezTo>
                <a:cubicBezTo>
                  <a:pt x="980" y="209"/>
                  <a:pt x="980" y="209"/>
                  <a:pt x="980" y="209"/>
                </a:cubicBezTo>
                <a:cubicBezTo>
                  <a:pt x="980" y="209"/>
                  <a:pt x="980" y="209"/>
                  <a:pt x="980" y="209"/>
                </a:cubicBezTo>
                <a:cubicBezTo>
                  <a:pt x="980" y="206"/>
                  <a:pt x="980" y="206"/>
                  <a:pt x="980" y="206"/>
                </a:cubicBezTo>
                <a:cubicBezTo>
                  <a:pt x="981" y="205"/>
                  <a:pt x="981" y="205"/>
                  <a:pt x="981" y="205"/>
                </a:cubicBezTo>
                <a:cubicBezTo>
                  <a:pt x="981" y="206"/>
                  <a:pt x="981" y="206"/>
                  <a:pt x="981" y="206"/>
                </a:cubicBezTo>
                <a:cubicBezTo>
                  <a:pt x="981" y="207"/>
                  <a:pt x="981" y="207"/>
                  <a:pt x="981" y="207"/>
                </a:cubicBezTo>
                <a:cubicBezTo>
                  <a:pt x="982" y="209"/>
                  <a:pt x="982" y="209"/>
                  <a:pt x="982" y="209"/>
                </a:cubicBezTo>
                <a:cubicBezTo>
                  <a:pt x="982" y="210"/>
                  <a:pt x="982" y="210"/>
                  <a:pt x="982" y="210"/>
                </a:cubicBezTo>
                <a:cubicBezTo>
                  <a:pt x="983" y="210"/>
                  <a:pt x="983" y="210"/>
                  <a:pt x="983" y="210"/>
                </a:cubicBezTo>
                <a:cubicBezTo>
                  <a:pt x="984" y="210"/>
                  <a:pt x="984" y="210"/>
                  <a:pt x="984" y="210"/>
                </a:cubicBezTo>
                <a:cubicBezTo>
                  <a:pt x="984" y="209"/>
                  <a:pt x="984" y="209"/>
                  <a:pt x="984" y="209"/>
                </a:cubicBezTo>
                <a:cubicBezTo>
                  <a:pt x="985" y="209"/>
                  <a:pt x="985" y="209"/>
                  <a:pt x="985" y="209"/>
                </a:cubicBezTo>
                <a:cubicBezTo>
                  <a:pt x="985" y="210"/>
                  <a:pt x="985" y="210"/>
                  <a:pt x="985" y="210"/>
                </a:cubicBezTo>
                <a:cubicBezTo>
                  <a:pt x="985" y="211"/>
                  <a:pt x="985" y="211"/>
                  <a:pt x="985" y="211"/>
                </a:cubicBezTo>
                <a:cubicBezTo>
                  <a:pt x="986" y="211"/>
                  <a:pt x="986" y="211"/>
                  <a:pt x="986" y="211"/>
                </a:cubicBezTo>
                <a:cubicBezTo>
                  <a:pt x="987" y="211"/>
                  <a:pt x="987" y="211"/>
                  <a:pt x="987" y="211"/>
                </a:cubicBezTo>
                <a:cubicBezTo>
                  <a:pt x="987" y="208"/>
                  <a:pt x="987" y="208"/>
                  <a:pt x="987" y="208"/>
                </a:cubicBezTo>
                <a:cubicBezTo>
                  <a:pt x="987" y="206"/>
                  <a:pt x="987" y="206"/>
                  <a:pt x="987" y="206"/>
                </a:cubicBezTo>
                <a:cubicBezTo>
                  <a:pt x="986" y="206"/>
                  <a:pt x="986" y="206"/>
                  <a:pt x="986" y="206"/>
                </a:cubicBezTo>
                <a:cubicBezTo>
                  <a:pt x="986" y="205"/>
                  <a:pt x="986" y="205"/>
                  <a:pt x="986" y="205"/>
                </a:cubicBezTo>
                <a:cubicBezTo>
                  <a:pt x="987" y="206"/>
                  <a:pt x="987" y="206"/>
                  <a:pt x="987" y="206"/>
                </a:cubicBezTo>
                <a:cubicBezTo>
                  <a:pt x="989" y="207"/>
                  <a:pt x="989" y="207"/>
                  <a:pt x="989" y="207"/>
                </a:cubicBezTo>
                <a:cubicBezTo>
                  <a:pt x="989" y="208"/>
                  <a:pt x="989" y="208"/>
                  <a:pt x="989" y="208"/>
                </a:cubicBezTo>
                <a:cubicBezTo>
                  <a:pt x="990" y="208"/>
                  <a:pt x="990" y="208"/>
                  <a:pt x="990" y="208"/>
                </a:cubicBezTo>
                <a:cubicBezTo>
                  <a:pt x="991" y="207"/>
                  <a:pt x="991" y="207"/>
                  <a:pt x="991" y="207"/>
                </a:cubicBezTo>
                <a:cubicBezTo>
                  <a:pt x="991" y="205"/>
                  <a:pt x="991" y="205"/>
                  <a:pt x="991" y="205"/>
                </a:cubicBezTo>
                <a:cubicBezTo>
                  <a:pt x="990" y="203"/>
                  <a:pt x="990" y="203"/>
                  <a:pt x="990" y="203"/>
                </a:cubicBezTo>
                <a:cubicBezTo>
                  <a:pt x="988" y="202"/>
                  <a:pt x="988" y="202"/>
                  <a:pt x="988" y="202"/>
                </a:cubicBezTo>
                <a:cubicBezTo>
                  <a:pt x="988" y="201"/>
                  <a:pt x="988" y="201"/>
                  <a:pt x="988" y="201"/>
                </a:cubicBezTo>
                <a:cubicBezTo>
                  <a:pt x="988" y="201"/>
                  <a:pt x="988" y="201"/>
                  <a:pt x="988" y="201"/>
                </a:cubicBezTo>
                <a:cubicBezTo>
                  <a:pt x="989" y="202"/>
                  <a:pt x="989" y="202"/>
                  <a:pt x="989" y="202"/>
                </a:cubicBezTo>
                <a:cubicBezTo>
                  <a:pt x="991" y="203"/>
                  <a:pt x="991" y="203"/>
                  <a:pt x="991" y="203"/>
                </a:cubicBezTo>
                <a:cubicBezTo>
                  <a:pt x="991" y="204"/>
                  <a:pt x="991" y="204"/>
                  <a:pt x="991" y="204"/>
                </a:cubicBezTo>
                <a:cubicBezTo>
                  <a:pt x="994" y="204"/>
                  <a:pt x="994" y="204"/>
                  <a:pt x="994" y="204"/>
                </a:cubicBezTo>
                <a:cubicBezTo>
                  <a:pt x="995" y="203"/>
                  <a:pt x="995" y="203"/>
                  <a:pt x="995" y="203"/>
                </a:cubicBezTo>
                <a:cubicBezTo>
                  <a:pt x="995" y="202"/>
                  <a:pt x="995" y="202"/>
                  <a:pt x="995" y="202"/>
                </a:cubicBezTo>
                <a:cubicBezTo>
                  <a:pt x="993" y="202"/>
                  <a:pt x="993" y="202"/>
                  <a:pt x="993" y="202"/>
                </a:cubicBezTo>
                <a:cubicBezTo>
                  <a:pt x="992" y="201"/>
                  <a:pt x="992" y="201"/>
                  <a:pt x="992" y="201"/>
                </a:cubicBezTo>
                <a:cubicBezTo>
                  <a:pt x="990" y="201"/>
                  <a:pt x="990" y="201"/>
                  <a:pt x="990" y="201"/>
                </a:cubicBezTo>
                <a:cubicBezTo>
                  <a:pt x="989" y="200"/>
                  <a:pt x="989" y="200"/>
                  <a:pt x="989" y="200"/>
                </a:cubicBezTo>
                <a:cubicBezTo>
                  <a:pt x="990" y="198"/>
                  <a:pt x="990" y="198"/>
                  <a:pt x="990" y="198"/>
                </a:cubicBezTo>
                <a:cubicBezTo>
                  <a:pt x="990" y="199"/>
                  <a:pt x="990" y="199"/>
                  <a:pt x="990" y="199"/>
                </a:cubicBezTo>
                <a:cubicBezTo>
                  <a:pt x="991" y="200"/>
                  <a:pt x="991" y="200"/>
                  <a:pt x="991" y="200"/>
                </a:cubicBezTo>
                <a:cubicBezTo>
                  <a:pt x="993" y="200"/>
                  <a:pt x="993" y="200"/>
                  <a:pt x="993" y="200"/>
                </a:cubicBezTo>
                <a:cubicBezTo>
                  <a:pt x="993" y="199"/>
                  <a:pt x="993" y="199"/>
                  <a:pt x="993" y="199"/>
                </a:cubicBezTo>
                <a:cubicBezTo>
                  <a:pt x="993" y="197"/>
                  <a:pt x="993" y="197"/>
                  <a:pt x="993" y="197"/>
                </a:cubicBezTo>
                <a:cubicBezTo>
                  <a:pt x="992" y="197"/>
                  <a:pt x="992" y="197"/>
                  <a:pt x="992" y="197"/>
                </a:cubicBezTo>
                <a:cubicBezTo>
                  <a:pt x="992" y="195"/>
                  <a:pt x="992" y="195"/>
                  <a:pt x="992" y="195"/>
                </a:cubicBezTo>
                <a:cubicBezTo>
                  <a:pt x="992" y="195"/>
                  <a:pt x="992" y="195"/>
                  <a:pt x="992" y="195"/>
                </a:cubicBezTo>
                <a:cubicBezTo>
                  <a:pt x="993" y="196"/>
                  <a:pt x="993" y="196"/>
                  <a:pt x="993" y="196"/>
                </a:cubicBezTo>
                <a:cubicBezTo>
                  <a:pt x="994" y="197"/>
                  <a:pt x="994" y="197"/>
                  <a:pt x="994" y="197"/>
                </a:cubicBezTo>
                <a:cubicBezTo>
                  <a:pt x="994" y="198"/>
                  <a:pt x="994" y="198"/>
                  <a:pt x="994" y="198"/>
                </a:cubicBezTo>
                <a:cubicBezTo>
                  <a:pt x="994" y="199"/>
                  <a:pt x="994" y="199"/>
                  <a:pt x="994" y="199"/>
                </a:cubicBezTo>
                <a:cubicBezTo>
                  <a:pt x="996" y="199"/>
                  <a:pt x="996" y="199"/>
                  <a:pt x="996" y="199"/>
                </a:cubicBezTo>
                <a:cubicBezTo>
                  <a:pt x="998" y="200"/>
                  <a:pt x="998" y="200"/>
                  <a:pt x="998" y="200"/>
                </a:cubicBezTo>
                <a:cubicBezTo>
                  <a:pt x="999" y="199"/>
                  <a:pt x="999" y="199"/>
                  <a:pt x="999" y="199"/>
                </a:cubicBezTo>
                <a:cubicBezTo>
                  <a:pt x="1000" y="199"/>
                  <a:pt x="1000" y="199"/>
                  <a:pt x="1000" y="199"/>
                </a:cubicBezTo>
                <a:cubicBezTo>
                  <a:pt x="1001" y="198"/>
                  <a:pt x="1001" y="198"/>
                  <a:pt x="1001" y="198"/>
                </a:cubicBezTo>
                <a:cubicBezTo>
                  <a:pt x="1001" y="197"/>
                  <a:pt x="1001" y="197"/>
                  <a:pt x="1001" y="197"/>
                </a:cubicBezTo>
                <a:cubicBezTo>
                  <a:pt x="1000" y="197"/>
                  <a:pt x="1000" y="197"/>
                  <a:pt x="1000" y="197"/>
                </a:cubicBezTo>
                <a:cubicBezTo>
                  <a:pt x="998" y="197"/>
                  <a:pt x="998" y="197"/>
                  <a:pt x="998" y="197"/>
                </a:cubicBezTo>
                <a:cubicBezTo>
                  <a:pt x="997" y="197"/>
                  <a:pt x="997" y="197"/>
                  <a:pt x="997" y="197"/>
                </a:cubicBezTo>
                <a:cubicBezTo>
                  <a:pt x="998" y="196"/>
                  <a:pt x="998" y="196"/>
                  <a:pt x="998" y="196"/>
                </a:cubicBezTo>
                <a:cubicBezTo>
                  <a:pt x="1000" y="196"/>
                  <a:pt x="1000" y="196"/>
                  <a:pt x="1000" y="196"/>
                </a:cubicBezTo>
                <a:cubicBezTo>
                  <a:pt x="1001" y="196"/>
                  <a:pt x="1001" y="196"/>
                  <a:pt x="1001" y="196"/>
                </a:cubicBezTo>
                <a:cubicBezTo>
                  <a:pt x="1000" y="195"/>
                  <a:pt x="1000" y="195"/>
                  <a:pt x="1000" y="195"/>
                </a:cubicBezTo>
                <a:cubicBezTo>
                  <a:pt x="999" y="194"/>
                  <a:pt x="999" y="194"/>
                  <a:pt x="999" y="194"/>
                </a:cubicBezTo>
                <a:cubicBezTo>
                  <a:pt x="1000" y="194"/>
                  <a:pt x="1000" y="194"/>
                  <a:pt x="1000" y="194"/>
                </a:cubicBezTo>
                <a:cubicBezTo>
                  <a:pt x="999" y="193"/>
                  <a:pt x="999" y="193"/>
                  <a:pt x="999" y="193"/>
                </a:cubicBezTo>
                <a:cubicBezTo>
                  <a:pt x="998" y="193"/>
                  <a:pt x="998" y="193"/>
                  <a:pt x="998" y="193"/>
                </a:cubicBezTo>
                <a:cubicBezTo>
                  <a:pt x="997" y="194"/>
                  <a:pt x="997" y="194"/>
                  <a:pt x="997" y="194"/>
                </a:cubicBezTo>
                <a:cubicBezTo>
                  <a:pt x="998" y="192"/>
                  <a:pt x="998" y="192"/>
                  <a:pt x="998" y="192"/>
                </a:cubicBezTo>
                <a:cubicBezTo>
                  <a:pt x="999" y="191"/>
                  <a:pt x="999" y="191"/>
                  <a:pt x="999" y="191"/>
                </a:cubicBezTo>
                <a:cubicBezTo>
                  <a:pt x="1000" y="192"/>
                  <a:pt x="1000" y="192"/>
                  <a:pt x="1000" y="192"/>
                </a:cubicBezTo>
                <a:cubicBezTo>
                  <a:pt x="1001" y="192"/>
                  <a:pt x="1001" y="192"/>
                  <a:pt x="1001" y="192"/>
                </a:cubicBezTo>
                <a:cubicBezTo>
                  <a:pt x="1002" y="194"/>
                  <a:pt x="1002" y="194"/>
                  <a:pt x="1002" y="194"/>
                </a:cubicBezTo>
                <a:cubicBezTo>
                  <a:pt x="1001" y="195"/>
                  <a:pt x="1001" y="195"/>
                  <a:pt x="1001" y="195"/>
                </a:cubicBezTo>
                <a:cubicBezTo>
                  <a:pt x="1003" y="195"/>
                  <a:pt x="1003" y="195"/>
                  <a:pt x="1003" y="195"/>
                </a:cubicBezTo>
                <a:cubicBezTo>
                  <a:pt x="1004" y="194"/>
                  <a:pt x="1004" y="194"/>
                  <a:pt x="1004" y="194"/>
                </a:cubicBezTo>
                <a:cubicBezTo>
                  <a:pt x="1005" y="194"/>
                  <a:pt x="1005" y="194"/>
                  <a:pt x="1005" y="194"/>
                </a:cubicBezTo>
                <a:cubicBezTo>
                  <a:pt x="1005" y="193"/>
                  <a:pt x="1005" y="193"/>
                  <a:pt x="1005" y="193"/>
                </a:cubicBezTo>
                <a:cubicBezTo>
                  <a:pt x="1003" y="192"/>
                  <a:pt x="1003" y="192"/>
                  <a:pt x="1003" y="192"/>
                </a:cubicBezTo>
                <a:cubicBezTo>
                  <a:pt x="1003" y="190"/>
                  <a:pt x="1003" y="190"/>
                  <a:pt x="1003" y="190"/>
                </a:cubicBezTo>
                <a:cubicBezTo>
                  <a:pt x="1003" y="189"/>
                  <a:pt x="1003" y="189"/>
                  <a:pt x="1003" y="189"/>
                </a:cubicBezTo>
                <a:cubicBezTo>
                  <a:pt x="1001" y="190"/>
                  <a:pt x="1001" y="190"/>
                  <a:pt x="1001" y="190"/>
                </a:cubicBezTo>
                <a:cubicBezTo>
                  <a:pt x="1002" y="187"/>
                  <a:pt x="1002" y="187"/>
                  <a:pt x="1002" y="187"/>
                </a:cubicBezTo>
                <a:cubicBezTo>
                  <a:pt x="1001" y="186"/>
                  <a:pt x="1001" y="186"/>
                  <a:pt x="1001" y="186"/>
                </a:cubicBezTo>
                <a:cubicBezTo>
                  <a:pt x="999" y="186"/>
                  <a:pt x="999" y="186"/>
                  <a:pt x="999" y="186"/>
                </a:cubicBezTo>
                <a:cubicBezTo>
                  <a:pt x="998" y="186"/>
                  <a:pt x="998" y="186"/>
                  <a:pt x="998" y="186"/>
                </a:cubicBezTo>
                <a:cubicBezTo>
                  <a:pt x="999" y="185"/>
                  <a:pt x="999" y="185"/>
                  <a:pt x="999" y="185"/>
                </a:cubicBezTo>
                <a:cubicBezTo>
                  <a:pt x="999" y="184"/>
                  <a:pt x="999" y="184"/>
                  <a:pt x="999" y="184"/>
                </a:cubicBezTo>
                <a:cubicBezTo>
                  <a:pt x="996" y="186"/>
                  <a:pt x="996" y="186"/>
                  <a:pt x="996" y="186"/>
                </a:cubicBezTo>
                <a:cubicBezTo>
                  <a:pt x="996" y="187"/>
                  <a:pt x="996" y="187"/>
                  <a:pt x="996" y="187"/>
                </a:cubicBezTo>
                <a:cubicBezTo>
                  <a:pt x="996" y="189"/>
                  <a:pt x="996" y="189"/>
                  <a:pt x="996" y="189"/>
                </a:cubicBezTo>
                <a:cubicBezTo>
                  <a:pt x="995" y="189"/>
                  <a:pt x="995" y="189"/>
                  <a:pt x="995" y="189"/>
                </a:cubicBezTo>
                <a:cubicBezTo>
                  <a:pt x="994" y="188"/>
                  <a:pt x="994" y="188"/>
                  <a:pt x="994" y="188"/>
                </a:cubicBezTo>
                <a:cubicBezTo>
                  <a:pt x="994" y="185"/>
                  <a:pt x="994" y="185"/>
                  <a:pt x="994" y="185"/>
                </a:cubicBezTo>
                <a:cubicBezTo>
                  <a:pt x="993" y="185"/>
                  <a:pt x="993" y="185"/>
                  <a:pt x="993" y="185"/>
                </a:cubicBezTo>
                <a:cubicBezTo>
                  <a:pt x="993" y="185"/>
                  <a:pt x="993" y="185"/>
                  <a:pt x="993" y="185"/>
                </a:cubicBezTo>
                <a:cubicBezTo>
                  <a:pt x="993" y="187"/>
                  <a:pt x="993" y="187"/>
                  <a:pt x="993" y="187"/>
                </a:cubicBezTo>
                <a:cubicBezTo>
                  <a:pt x="991" y="189"/>
                  <a:pt x="991" y="189"/>
                  <a:pt x="991" y="189"/>
                </a:cubicBezTo>
                <a:cubicBezTo>
                  <a:pt x="990" y="190"/>
                  <a:pt x="990" y="190"/>
                  <a:pt x="990" y="190"/>
                </a:cubicBezTo>
                <a:cubicBezTo>
                  <a:pt x="991" y="189"/>
                  <a:pt x="991" y="189"/>
                  <a:pt x="991" y="189"/>
                </a:cubicBezTo>
                <a:cubicBezTo>
                  <a:pt x="991" y="186"/>
                  <a:pt x="991" y="186"/>
                  <a:pt x="991" y="186"/>
                </a:cubicBezTo>
                <a:cubicBezTo>
                  <a:pt x="992" y="184"/>
                  <a:pt x="992" y="184"/>
                  <a:pt x="992" y="184"/>
                </a:cubicBezTo>
                <a:cubicBezTo>
                  <a:pt x="992" y="183"/>
                  <a:pt x="992" y="183"/>
                  <a:pt x="992" y="183"/>
                </a:cubicBezTo>
                <a:cubicBezTo>
                  <a:pt x="991" y="183"/>
                  <a:pt x="991" y="183"/>
                  <a:pt x="991" y="183"/>
                </a:cubicBezTo>
                <a:cubicBezTo>
                  <a:pt x="989" y="186"/>
                  <a:pt x="989" y="186"/>
                  <a:pt x="989" y="186"/>
                </a:cubicBezTo>
                <a:cubicBezTo>
                  <a:pt x="989" y="187"/>
                  <a:pt x="989" y="187"/>
                  <a:pt x="989" y="187"/>
                </a:cubicBezTo>
                <a:cubicBezTo>
                  <a:pt x="987" y="188"/>
                  <a:pt x="987" y="188"/>
                  <a:pt x="987" y="188"/>
                </a:cubicBezTo>
                <a:cubicBezTo>
                  <a:pt x="986" y="188"/>
                  <a:pt x="986" y="188"/>
                  <a:pt x="986" y="188"/>
                </a:cubicBezTo>
                <a:cubicBezTo>
                  <a:pt x="986" y="187"/>
                  <a:pt x="986" y="187"/>
                  <a:pt x="986" y="187"/>
                </a:cubicBezTo>
                <a:cubicBezTo>
                  <a:pt x="987" y="185"/>
                  <a:pt x="987" y="185"/>
                  <a:pt x="987" y="185"/>
                </a:cubicBezTo>
                <a:cubicBezTo>
                  <a:pt x="989" y="184"/>
                  <a:pt x="989" y="184"/>
                  <a:pt x="989" y="184"/>
                </a:cubicBezTo>
                <a:cubicBezTo>
                  <a:pt x="990" y="182"/>
                  <a:pt x="990" y="182"/>
                  <a:pt x="990" y="182"/>
                </a:cubicBezTo>
                <a:cubicBezTo>
                  <a:pt x="991" y="181"/>
                  <a:pt x="991" y="181"/>
                  <a:pt x="991" y="181"/>
                </a:cubicBezTo>
                <a:cubicBezTo>
                  <a:pt x="992" y="181"/>
                  <a:pt x="992" y="181"/>
                  <a:pt x="992" y="181"/>
                </a:cubicBezTo>
                <a:cubicBezTo>
                  <a:pt x="993" y="179"/>
                  <a:pt x="993" y="179"/>
                  <a:pt x="993" y="179"/>
                </a:cubicBezTo>
                <a:cubicBezTo>
                  <a:pt x="993" y="178"/>
                  <a:pt x="993" y="178"/>
                  <a:pt x="993" y="178"/>
                </a:cubicBezTo>
                <a:cubicBezTo>
                  <a:pt x="992" y="178"/>
                  <a:pt x="992" y="178"/>
                  <a:pt x="992" y="178"/>
                </a:cubicBezTo>
                <a:cubicBezTo>
                  <a:pt x="990" y="179"/>
                  <a:pt x="990" y="179"/>
                  <a:pt x="990" y="179"/>
                </a:cubicBezTo>
                <a:cubicBezTo>
                  <a:pt x="989" y="181"/>
                  <a:pt x="989" y="181"/>
                  <a:pt x="989" y="181"/>
                </a:cubicBezTo>
                <a:cubicBezTo>
                  <a:pt x="987" y="181"/>
                  <a:pt x="987" y="181"/>
                  <a:pt x="987" y="181"/>
                </a:cubicBezTo>
                <a:cubicBezTo>
                  <a:pt x="985" y="183"/>
                  <a:pt x="985" y="183"/>
                  <a:pt x="985" y="183"/>
                </a:cubicBezTo>
                <a:cubicBezTo>
                  <a:pt x="986" y="181"/>
                  <a:pt x="986" y="181"/>
                  <a:pt x="986" y="181"/>
                </a:cubicBezTo>
                <a:cubicBezTo>
                  <a:pt x="988" y="179"/>
                  <a:pt x="988" y="179"/>
                  <a:pt x="988" y="179"/>
                </a:cubicBezTo>
                <a:cubicBezTo>
                  <a:pt x="987" y="179"/>
                  <a:pt x="987" y="179"/>
                  <a:pt x="987" y="179"/>
                </a:cubicBezTo>
                <a:cubicBezTo>
                  <a:pt x="985" y="179"/>
                  <a:pt x="985" y="179"/>
                  <a:pt x="985" y="179"/>
                </a:cubicBezTo>
                <a:cubicBezTo>
                  <a:pt x="985" y="180"/>
                  <a:pt x="985" y="180"/>
                  <a:pt x="985" y="180"/>
                </a:cubicBezTo>
                <a:cubicBezTo>
                  <a:pt x="982" y="179"/>
                  <a:pt x="982" y="179"/>
                  <a:pt x="982" y="179"/>
                </a:cubicBezTo>
                <a:cubicBezTo>
                  <a:pt x="980" y="180"/>
                  <a:pt x="980" y="180"/>
                  <a:pt x="980" y="180"/>
                </a:cubicBezTo>
                <a:cubicBezTo>
                  <a:pt x="979" y="179"/>
                  <a:pt x="979" y="179"/>
                  <a:pt x="979" y="179"/>
                </a:cubicBezTo>
                <a:cubicBezTo>
                  <a:pt x="981" y="179"/>
                  <a:pt x="981" y="179"/>
                  <a:pt x="981" y="179"/>
                </a:cubicBezTo>
                <a:cubicBezTo>
                  <a:pt x="985" y="178"/>
                  <a:pt x="985" y="178"/>
                  <a:pt x="985" y="178"/>
                </a:cubicBezTo>
                <a:cubicBezTo>
                  <a:pt x="983" y="177"/>
                  <a:pt x="983" y="177"/>
                  <a:pt x="983" y="177"/>
                </a:cubicBezTo>
                <a:cubicBezTo>
                  <a:pt x="982" y="176"/>
                  <a:pt x="982" y="176"/>
                  <a:pt x="982" y="176"/>
                </a:cubicBezTo>
                <a:cubicBezTo>
                  <a:pt x="983" y="177"/>
                  <a:pt x="983" y="177"/>
                  <a:pt x="983" y="177"/>
                </a:cubicBezTo>
                <a:cubicBezTo>
                  <a:pt x="985" y="176"/>
                  <a:pt x="985" y="176"/>
                  <a:pt x="985" y="176"/>
                </a:cubicBezTo>
                <a:cubicBezTo>
                  <a:pt x="984" y="174"/>
                  <a:pt x="984" y="174"/>
                  <a:pt x="984" y="174"/>
                </a:cubicBezTo>
                <a:cubicBezTo>
                  <a:pt x="983" y="174"/>
                  <a:pt x="983" y="174"/>
                  <a:pt x="983" y="174"/>
                </a:cubicBezTo>
                <a:cubicBezTo>
                  <a:pt x="983" y="174"/>
                  <a:pt x="983" y="174"/>
                  <a:pt x="983" y="174"/>
                </a:cubicBezTo>
                <a:cubicBezTo>
                  <a:pt x="984" y="173"/>
                  <a:pt x="984" y="173"/>
                  <a:pt x="984" y="173"/>
                </a:cubicBezTo>
                <a:cubicBezTo>
                  <a:pt x="984" y="172"/>
                  <a:pt x="984" y="172"/>
                  <a:pt x="984" y="172"/>
                </a:cubicBezTo>
                <a:cubicBezTo>
                  <a:pt x="984" y="169"/>
                  <a:pt x="984" y="169"/>
                  <a:pt x="984" y="169"/>
                </a:cubicBezTo>
                <a:cubicBezTo>
                  <a:pt x="983" y="168"/>
                  <a:pt x="983" y="168"/>
                  <a:pt x="983" y="168"/>
                </a:cubicBezTo>
                <a:cubicBezTo>
                  <a:pt x="981" y="169"/>
                  <a:pt x="981" y="169"/>
                  <a:pt x="981" y="169"/>
                </a:cubicBezTo>
                <a:cubicBezTo>
                  <a:pt x="980" y="170"/>
                  <a:pt x="980" y="170"/>
                  <a:pt x="980" y="170"/>
                </a:cubicBezTo>
                <a:cubicBezTo>
                  <a:pt x="979" y="169"/>
                  <a:pt x="979" y="169"/>
                  <a:pt x="979" y="169"/>
                </a:cubicBezTo>
                <a:cubicBezTo>
                  <a:pt x="978" y="170"/>
                  <a:pt x="978" y="170"/>
                  <a:pt x="978" y="170"/>
                </a:cubicBezTo>
                <a:cubicBezTo>
                  <a:pt x="978" y="169"/>
                  <a:pt x="978" y="169"/>
                  <a:pt x="978" y="169"/>
                </a:cubicBezTo>
                <a:cubicBezTo>
                  <a:pt x="978" y="168"/>
                  <a:pt x="978" y="168"/>
                  <a:pt x="978" y="168"/>
                </a:cubicBezTo>
                <a:cubicBezTo>
                  <a:pt x="979" y="166"/>
                  <a:pt x="979" y="166"/>
                  <a:pt x="979" y="166"/>
                </a:cubicBezTo>
                <a:cubicBezTo>
                  <a:pt x="981" y="166"/>
                  <a:pt x="981" y="166"/>
                  <a:pt x="981" y="166"/>
                </a:cubicBezTo>
                <a:cubicBezTo>
                  <a:pt x="982" y="165"/>
                  <a:pt x="982" y="165"/>
                  <a:pt x="982" y="165"/>
                </a:cubicBezTo>
                <a:cubicBezTo>
                  <a:pt x="982" y="163"/>
                  <a:pt x="982" y="163"/>
                  <a:pt x="982" y="163"/>
                </a:cubicBezTo>
                <a:cubicBezTo>
                  <a:pt x="981" y="162"/>
                  <a:pt x="981" y="162"/>
                  <a:pt x="981" y="162"/>
                </a:cubicBezTo>
                <a:cubicBezTo>
                  <a:pt x="980" y="163"/>
                  <a:pt x="980" y="163"/>
                  <a:pt x="980" y="163"/>
                </a:cubicBezTo>
                <a:cubicBezTo>
                  <a:pt x="978" y="165"/>
                  <a:pt x="978" y="165"/>
                  <a:pt x="978" y="165"/>
                </a:cubicBezTo>
                <a:cubicBezTo>
                  <a:pt x="976" y="166"/>
                  <a:pt x="976" y="166"/>
                  <a:pt x="976" y="166"/>
                </a:cubicBezTo>
                <a:cubicBezTo>
                  <a:pt x="975" y="168"/>
                  <a:pt x="975" y="168"/>
                  <a:pt x="975" y="168"/>
                </a:cubicBezTo>
                <a:cubicBezTo>
                  <a:pt x="975" y="169"/>
                  <a:pt x="975" y="169"/>
                  <a:pt x="975" y="169"/>
                </a:cubicBezTo>
                <a:cubicBezTo>
                  <a:pt x="975" y="171"/>
                  <a:pt x="975" y="171"/>
                  <a:pt x="975" y="171"/>
                </a:cubicBezTo>
                <a:cubicBezTo>
                  <a:pt x="974" y="171"/>
                  <a:pt x="974" y="171"/>
                  <a:pt x="974" y="171"/>
                </a:cubicBezTo>
                <a:cubicBezTo>
                  <a:pt x="974" y="169"/>
                  <a:pt x="974" y="169"/>
                  <a:pt x="974" y="169"/>
                </a:cubicBezTo>
                <a:cubicBezTo>
                  <a:pt x="974" y="168"/>
                  <a:pt x="974" y="168"/>
                  <a:pt x="974" y="168"/>
                </a:cubicBezTo>
                <a:cubicBezTo>
                  <a:pt x="975" y="166"/>
                  <a:pt x="975" y="166"/>
                  <a:pt x="975" y="166"/>
                </a:cubicBezTo>
                <a:cubicBezTo>
                  <a:pt x="977" y="164"/>
                  <a:pt x="977" y="164"/>
                  <a:pt x="977" y="164"/>
                </a:cubicBezTo>
                <a:cubicBezTo>
                  <a:pt x="977" y="162"/>
                  <a:pt x="977" y="162"/>
                  <a:pt x="977" y="162"/>
                </a:cubicBezTo>
                <a:cubicBezTo>
                  <a:pt x="977" y="162"/>
                  <a:pt x="977" y="162"/>
                  <a:pt x="977" y="162"/>
                </a:cubicBezTo>
                <a:cubicBezTo>
                  <a:pt x="975" y="163"/>
                  <a:pt x="975" y="163"/>
                  <a:pt x="975" y="163"/>
                </a:cubicBezTo>
                <a:cubicBezTo>
                  <a:pt x="975" y="164"/>
                  <a:pt x="975" y="164"/>
                  <a:pt x="975" y="164"/>
                </a:cubicBezTo>
                <a:cubicBezTo>
                  <a:pt x="975" y="165"/>
                  <a:pt x="975" y="165"/>
                  <a:pt x="975" y="165"/>
                </a:cubicBezTo>
                <a:cubicBezTo>
                  <a:pt x="973" y="166"/>
                  <a:pt x="973" y="166"/>
                  <a:pt x="973" y="166"/>
                </a:cubicBezTo>
                <a:cubicBezTo>
                  <a:pt x="972" y="167"/>
                  <a:pt x="972" y="167"/>
                  <a:pt x="972" y="167"/>
                </a:cubicBezTo>
                <a:cubicBezTo>
                  <a:pt x="972" y="168"/>
                  <a:pt x="972" y="168"/>
                  <a:pt x="972" y="168"/>
                </a:cubicBezTo>
                <a:cubicBezTo>
                  <a:pt x="971" y="170"/>
                  <a:pt x="971" y="170"/>
                  <a:pt x="971" y="170"/>
                </a:cubicBezTo>
                <a:cubicBezTo>
                  <a:pt x="970" y="171"/>
                  <a:pt x="970" y="171"/>
                  <a:pt x="970" y="171"/>
                </a:cubicBezTo>
                <a:cubicBezTo>
                  <a:pt x="970" y="170"/>
                  <a:pt x="970" y="170"/>
                  <a:pt x="970" y="170"/>
                </a:cubicBezTo>
                <a:cubicBezTo>
                  <a:pt x="971" y="168"/>
                  <a:pt x="971" y="168"/>
                  <a:pt x="971" y="168"/>
                </a:cubicBezTo>
                <a:cubicBezTo>
                  <a:pt x="972" y="165"/>
                  <a:pt x="972" y="165"/>
                  <a:pt x="972" y="165"/>
                </a:cubicBezTo>
                <a:cubicBezTo>
                  <a:pt x="973" y="163"/>
                  <a:pt x="973" y="163"/>
                  <a:pt x="973" y="163"/>
                </a:cubicBezTo>
                <a:cubicBezTo>
                  <a:pt x="973" y="162"/>
                  <a:pt x="973" y="162"/>
                  <a:pt x="973" y="162"/>
                </a:cubicBezTo>
                <a:cubicBezTo>
                  <a:pt x="971" y="162"/>
                  <a:pt x="971" y="162"/>
                  <a:pt x="971" y="162"/>
                </a:cubicBezTo>
                <a:cubicBezTo>
                  <a:pt x="970" y="163"/>
                  <a:pt x="970" y="163"/>
                  <a:pt x="970" y="163"/>
                </a:cubicBezTo>
                <a:cubicBezTo>
                  <a:pt x="970" y="165"/>
                  <a:pt x="970" y="165"/>
                  <a:pt x="970" y="165"/>
                </a:cubicBezTo>
                <a:cubicBezTo>
                  <a:pt x="969" y="165"/>
                  <a:pt x="969" y="165"/>
                  <a:pt x="969" y="165"/>
                </a:cubicBezTo>
                <a:cubicBezTo>
                  <a:pt x="969" y="164"/>
                  <a:pt x="969" y="164"/>
                  <a:pt x="969" y="164"/>
                </a:cubicBezTo>
                <a:cubicBezTo>
                  <a:pt x="970" y="162"/>
                  <a:pt x="970" y="162"/>
                  <a:pt x="970" y="162"/>
                </a:cubicBezTo>
                <a:cubicBezTo>
                  <a:pt x="971" y="161"/>
                  <a:pt x="971" y="161"/>
                  <a:pt x="971" y="161"/>
                </a:cubicBezTo>
                <a:cubicBezTo>
                  <a:pt x="970" y="160"/>
                  <a:pt x="970" y="160"/>
                  <a:pt x="970" y="160"/>
                </a:cubicBezTo>
                <a:cubicBezTo>
                  <a:pt x="968" y="159"/>
                  <a:pt x="968" y="159"/>
                  <a:pt x="968" y="159"/>
                </a:cubicBezTo>
                <a:cubicBezTo>
                  <a:pt x="969" y="158"/>
                  <a:pt x="969" y="158"/>
                  <a:pt x="969" y="158"/>
                </a:cubicBezTo>
                <a:cubicBezTo>
                  <a:pt x="968" y="157"/>
                  <a:pt x="968" y="157"/>
                  <a:pt x="968" y="157"/>
                </a:cubicBezTo>
                <a:cubicBezTo>
                  <a:pt x="965" y="157"/>
                  <a:pt x="965" y="157"/>
                  <a:pt x="965" y="157"/>
                </a:cubicBezTo>
                <a:cubicBezTo>
                  <a:pt x="964" y="158"/>
                  <a:pt x="964" y="158"/>
                  <a:pt x="964" y="158"/>
                </a:cubicBezTo>
                <a:cubicBezTo>
                  <a:pt x="965" y="157"/>
                  <a:pt x="965" y="157"/>
                  <a:pt x="965" y="157"/>
                </a:cubicBezTo>
                <a:cubicBezTo>
                  <a:pt x="966" y="156"/>
                  <a:pt x="966" y="156"/>
                  <a:pt x="966" y="156"/>
                </a:cubicBezTo>
                <a:cubicBezTo>
                  <a:pt x="965" y="156"/>
                  <a:pt x="965" y="156"/>
                  <a:pt x="965" y="156"/>
                </a:cubicBezTo>
                <a:cubicBezTo>
                  <a:pt x="962" y="156"/>
                  <a:pt x="962" y="156"/>
                  <a:pt x="962" y="156"/>
                </a:cubicBezTo>
                <a:cubicBezTo>
                  <a:pt x="961" y="157"/>
                  <a:pt x="961" y="157"/>
                  <a:pt x="961" y="157"/>
                </a:cubicBezTo>
                <a:cubicBezTo>
                  <a:pt x="961" y="156"/>
                  <a:pt x="961" y="156"/>
                  <a:pt x="961" y="156"/>
                </a:cubicBezTo>
                <a:cubicBezTo>
                  <a:pt x="964" y="154"/>
                  <a:pt x="964" y="154"/>
                  <a:pt x="964" y="154"/>
                </a:cubicBezTo>
                <a:cubicBezTo>
                  <a:pt x="966" y="154"/>
                  <a:pt x="966" y="154"/>
                  <a:pt x="966" y="154"/>
                </a:cubicBezTo>
                <a:cubicBezTo>
                  <a:pt x="967" y="155"/>
                  <a:pt x="967" y="155"/>
                  <a:pt x="967" y="155"/>
                </a:cubicBezTo>
                <a:cubicBezTo>
                  <a:pt x="969" y="155"/>
                  <a:pt x="969" y="155"/>
                  <a:pt x="969" y="155"/>
                </a:cubicBezTo>
                <a:cubicBezTo>
                  <a:pt x="969" y="154"/>
                  <a:pt x="969" y="154"/>
                  <a:pt x="969" y="154"/>
                </a:cubicBezTo>
                <a:cubicBezTo>
                  <a:pt x="970" y="153"/>
                  <a:pt x="970" y="153"/>
                  <a:pt x="970" y="153"/>
                </a:cubicBezTo>
                <a:cubicBezTo>
                  <a:pt x="969" y="153"/>
                  <a:pt x="969" y="153"/>
                  <a:pt x="969" y="153"/>
                </a:cubicBezTo>
                <a:cubicBezTo>
                  <a:pt x="967" y="152"/>
                  <a:pt x="967" y="152"/>
                  <a:pt x="967" y="152"/>
                </a:cubicBezTo>
                <a:cubicBezTo>
                  <a:pt x="965" y="151"/>
                  <a:pt x="965" y="151"/>
                  <a:pt x="965" y="151"/>
                </a:cubicBezTo>
                <a:cubicBezTo>
                  <a:pt x="963" y="151"/>
                  <a:pt x="963" y="151"/>
                  <a:pt x="963" y="151"/>
                </a:cubicBezTo>
                <a:cubicBezTo>
                  <a:pt x="963" y="153"/>
                  <a:pt x="963" y="153"/>
                  <a:pt x="963" y="153"/>
                </a:cubicBezTo>
                <a:cubicBezTo>
                  <a:pt x="962" y="153"/>
                  <a:pt x="962" y="153"/>
                  <a:pt x="962" y="153"/>
                </a:cubicBezTo>
                <a:cubicBezTo>
                  <a:pt x="962" y="152"/>
                  <a:pt x="962" y="152"/>
                  <a:pt x="962" y="152"/>
                </a:cubicBezTo>
                <a:cubicBezTo>
                  <a:pt x="963" y="152"/>
                  <a:pt x="963" y="152"/>
                  <a:pt x="963" y="152"/>
                </a:cubicBezTo>
                <a:cubicBezTo>
                  <a:pt x="963" y="151"/>
                  <a:pt x="963" y="151"/>
                  <a:pt x="963" y="151"/>
                </a:cubicBezTo>
                <a:cubicBezTo>
                  <a:pt x="961" y="151"/>
                  <a:pt x="961" y="151"/>
                  <a:pt x="961" y="151"/>
                </a:cubicBezTo>
                <a:cubicBezTo>
                  <a:pt x="961" y="152"/>
                  <a:pt x="961" y="152"/>
                  <a:pt x="961" y="152"/>
                </a:cubicBezTo>
                <a:cubicBezTo>
                  <a:pt x="960" y="152"/>
                  <a:pt x="960" y="152"/>
                  <a:pt x="960" y="152"/>
                </a:cubicBezTo>
                <a:cubicBezTo>
                  <a:pt x="960" y="151"/>
                  <a:pt x="960" y="151"/>
                  <a:pt x="960" y="151"/>
                </a:cubicBezTo>
                <a:cubicBezTo>
                  <a:pt x="960" y="150"/>
                  <a:pt x="960" y="150"/>
                  <a:pt x="960" y="150"/>
                </a:cubicBezTo>
                <a:cubicBezTo>
                  <a:pt x="959" y="149"/>
                  <a:pt x="959" y="149"/>
                  <a:pt x="959" y="149"/>
                </a:cubicBezTo>
                <a:cubicBezTo>
                  <a:pt x="958" y="150"/>
                  <a:pt x="958" y="150"/>
                  <a:pt x="958" y="150"/>
                </a:cubicBezTo>
                <a:cubicBezTo>
                  <a:pt x="957" y="149"/>
                  <a:pt x="957" y="149"/>
                  <a:pt x="957" y="149"/>
                </a:cubicBezTo>
                <a:cubicBezTo>
                  <a:pt x="956" y="148"/>
                  <a:pt x="956" y="148"/>
                  <a:pt x="956" y="148"/>
                </a:cubicBezTo>
                <a:cubicBezTo>
                  <a:pt x="955" y="148"/>
                  <a:pt x="955" y="148"/>
                  <a:pt x="955" y="148"/>
                </a:cubicBezTo>
                <a:cubicBezTo>
                  <a:pt x="956" y="147"/>
                  <a:pt x="956" y="147"/>
                  <a:pt x="956" y="147"/>
                </a:cubicBezTo>
                <a:cubicBezTo>
                  <a:pt x="957" y="147"/>
                  <a:pt x="957" y="147"/>
                  <a:pt x="957" y="147"/>
                </a:cubicBezTo>
                <a:cubicBezTo>
                  <a:pt x="960" y="148"/>
                  <a:pt x="960" y="148"/>
                  <a:pt x="960" y="148"/>
                </a:cubicBezTo>
                <a:cubicBezTo>
                  <a:pt x="961" y="148"/>
                  <a:pt x="961" y="148"/>
                  <a:pt x="961" y="148"/>
                </a:cubicBezTo>
                <a:cubicBezTo>
                  <a:pt x="960" y="147"/>
                  <a:pt x="960" y="147"/>
                  <a:pt x="960" y="147"/>
                </a:cubicBezTo>
                <a:cubicBezTo>
                  <a:pt x="955" y="145"/>
                  <a:pt x="955" y="145"/>
                  <a:pt x="955" y="145"/>
                </a:cubicBezTo>
                <a:cubicBezTo>
                  <a:pt x="953" y="144"/>
                  <a:pt x="953" y="144"/>
                  <a:pt x="953" y="144"/>
                </a:cubicBezTo>
                <a:cubicBezTo>
                  <a:pt x="953" y="143"/>
                  <a:pt x="953" y="143"/>
                  <a:pt x="953" y="143"/>
                </a:cubicBezTo>
                <a:cubicBezTo>
                  <a:pt x="954" y="143"/>
                  <a:pt x="954" y="143"/>
                  <a:pt x="954" y="143"/>
                </a:cubicBezTo>
                <a:cubicBezTo>
                  <a:pt x="958" y="144"/>
                  <a:pt x="958" y="144"/>
                  <a:pt x="958" y="144"/>
                </a:cubicBezTo>
                <a:cubicBezTo>
                  <a:pt x="960" y="145"/>
                  <a:pt x="960" y="145"/>
                  <a:pt x="960" y="145"/>
                </a:cubicBezTo>
                <a:cubicBezTo>
                  <a:pt x="964" y="146"/>
                  <a:pt x="964" y="146"/>
                  <a:pt x="964" y="146"/>
                </a:cubicBezTo>
                <a:cubicBezTo>
                  <a:pt x="965" y="145"/>
                  <a:pt x="965" y="145"/>
                  <a:pt x="965" y="145"/>
                </a:cubicBezTo>
                <a:cubicBezTo>
                  <a:pt x="964" y="145"/>
                  <a:pt x="964" y="145"/>
                  <a:pt x="964" y="145"/>
                </a:cubicBezTo>
                <a:cubicBezTo>
                  <a:pt x="964" y="143"/>
                  <a:pt x="964" y="143"/>
                  <a:pt x="964" y="143"/>
                </a:cubicBezTo>
                <a:cubicBezTo>
                  <a:pt x="964" y="142"/>
                  <a:pt x="964" y="142"/>
                  <a:pt x="964" y="142"/>
                </a:cubicBezTo>
                <a:cubicBezTo>
                  <a:pt x="962" y="142"/>
                  <a:pt x="962" y="142"/>
                  <a:pt x="962" y="142"/>
                </a:cubicBezTo>
                <a:cubicBezTo>
                  <a:pt x="961" y="141"/>
                  <a:pt x="961" y="141"/>
                  <a:pt x="961" y="141"/>
                </a:cubicBezTo>
                <a:cubicBezTo>
                  <a:pt x="961" y="140"/>
                  <a:pt x="961" y="140"/>
                  <a:pt x="961" y="140"/>
                </a:cubicBezTo>
                <a:cubicBezTo>
                  <a:pt x="962" y="140"/>
                  <a:pt x="962" y="140"/>
                  <a:pt x="962" y="140"/>
                </a:cubicBezTo>
                <a:cubicBezTo>
                  <a:pt x="963" y="141"/>
                  <a:pt x="963" y="141"/>
                  <a:pt x="963" y="141"/>
                </a:cubicBezTo>
                <a:cubicBezTo>
                  <a:pt x="964" y="142"/>
                  <a:pt x="964" y="142"/>
                  <a:pt x="964" y="142"/>
                </a:cubicBezTo>
                <a:cubicBezTo>
                  <a:pt x="965" y="141"/>
                  <a:pt x="965" y="141"/>
                  <a:pt x="965" y="141"/>
                </a:cubicBezTo>
                <a:cubicBezTo>
                  <a:pt x="967" y="141"/>
                  <a:pt x="967" y="141"/>
                  <a:pt x="967" y="141"/>
                </a:cubicBezTo>
                <a:cubicBezTo>
                  <a:pt x="967" y="141"/>
                  <a:pt x="967" y="141"/>
                  <a:pt x="967" y="141"/>
                </a:cubicBezTo>
                <a:cubicBezTo>
                  <a:pt x="967" y="140"/>
                  <a:pt x="967" y="140"/>
                  <a:pt x="967" y="140"/>
                </a:cubicBezTo>
                <a:cubicBezTo>
                  <a:pt x="966" y="139"/>
                  <a:pt x="966" y="139"/>
                  <a:pt x="966" y="139"/>
                </a:cubicBezTo>
                <a:cubicBezTo>
                  <a:pt x="966" y="139"/>
                  <a:pt x="966" y="139"/>
                  <a:pt x="966" y="139"/>
                </a:cubicBezTo>
                <a:cubicBezTo>
                  <a:pt x="965" y="137"/>
                  <a:pt x="965" y="137"/>
                  <a:pt x="965" y="137"/>
                </a:cubicBezTo>
                <a:cubicBezTo>
                  <a:pt x="963" y="138"/>
                  <a:pt x="963" y="138"/>
                  <a:pt x="963" y="138"/>
                </a:cubicBezTo>
                <a:cubicBezTo>
                  <a:pt x="962" y="138"/>
                  <a:pt x="962" y="138"/>
                  <a:pt x="962" y="138"/>
                </a:cubicBezTo>
                <a:cubicBezTo>
                  <a:pt x="959" y="138"/>
                  <a:pt x="959" y="138"/>
                  <a:pt x="959" y="138"/>
                </a:cubicBezTo>
                <a:cubicBezTo>
                  <a:pt x="959" y="139"/>
                  <a:pt x="959" y="139"/>
                  <a:pt x="959" y="139"/>
                </a:cubicBezTo>
                <a:cubicBezTo>
                  <a:pt x="958" y="139"/>
                  <a:pt x="958" y="139"/>
                  <a:pt x="958" y="139"/>
                </a:cubicBezTo>
                <a:cubicBezTo>
                  <a:pt x="957" y="138"/>
                  <a:pt x="957" y="138"/>
                  <a:pt x="957" y="138"/>
                </a:cubicBezTo>
                <a:cubicBezTo>
                  <a:pt x="959" y="137"/>
                  <a:pt x="959" y="137"/>
                  <a:pt x="959" y="137"/>
                </a:cubicBezTo>
                <a:cubicBezTo>
                  <a:pt x="961" y="137"/>
                  <a:pt x="961" y="137"/>
                  <a:pt x="961" y="137"/>
                </a:cubicBezTo>
                <a:cubicBezTo>
                  <a:pt x="962" y="137"/>
                  <a:pt x="962" y="137"/>
                  <a:pt x="962" y="137"/>
                </a:cubicBezTo>
                <a:cubicBezTo>
                  <a:pt x="965" y="136"/>
                  <a:pt x="965" y="136"/>
                  <a:pt x="965" y="136"/>
                </a:cubicBezTo>
                <a:cubicBezTo>
                  <a:pt x="965" y="136"/>
                  <a:pt x="965" y="136"/>
                  <a:pt x="965" y="136"/>
                </a:cubicBezTo>
                <a:cubicBezTo>
                  <a:pt x="963" y="135"/>
                  <a:pt x="963" y="135"/>
                  <a:pt x="963" y="135"/>
                </a:cubicBezTo>
                <a:cubicBezTo>
                  <a:pt x="962" y="135"/>
                  <a:pt x="962" y="135"/>
                  <a:pt x="962" y="135"/>
                </a:cubicBezTo>
                <a:cubicBezTo>
                  <a:pt x="961" y="134"/>
                  <a:pt x="961" y="134"/>
                  <a:pt x="961" y="134"/>
                </a:cubicBezTo>
                <a:cubicBezTo>
                  <a:pt x="962" y="134"/>
                  <a:pt x="962" y="134"/>
                  <a:pt x="962" y="134"/>
                </a:cubicBezTo>
                <a:cubicBezTo>
                  <a:pt x="964" y="134"/>
                  <a:pt x="964" y="134"/>
                  <a:pt x="964" y="134"/>
                </a:cubicBezTo>
                <a:cubicBezTo>
                  <a:pt x="965" y="134"/>
                  <a:pt x="965" y="134"/>
                  <a:pt x="965" y="134"/>
                </a:cubicBezTo>
                <a:cubicBezTo>
                  <a:pt x="966" y="134"/>
                  <a:pt x="966" y="134"/>
                  <a:pt x="966" y="134"/>
                </a:cubicBezTo>
                <a:cubicBezTo>
                  <a:pt x="969" y="137"/>
                  <a:pt x="969" y="137"/>
                  <a:pt x="969" y="137"/>
                </a:cubicBezTo>
                <a:cubicBezTo>
                  <a:pt x="970" y="137"/>
                  <a:pt x="970" y="137"/>
                  <a:pt x="970" y="137"/>
                </a:cubicBezTo>
                <a:cubicBezTo>
                  <a:pt x="971" y="137"/>
                  <a:pt x="971" y="137"/>
                  <a:pt x="971" y="137"/>
                </a:cubicBezTo>
                <a:cubicBezTo>
                  <a:pt x="972" y="138"/>
                  <a:pt x="972" y="138"/>
                  <a:pt x="972" y="138"/>
                </a:cubicBezTo>
                <a:cubicBezTo>
                  <a:pt x="973" y="138"/>
                  <a:pt x="973" y="138"/>
                  <a:pt x="973" y="138"/>
                </a:cubicBezTo>
                <a:cubicBezTo>
                  <a:pt x="974" y="137"/>
                  <a:pt x="974" y="137"/>
                  <a:pt x="974" y="137"/>
                </a:cubicBezTo>
                <a:cubicBezTo>
                  <a:pt x="974" y="137"/>
                  <a:pt x="974" y="137"/>
                  <a:pt x="974" y="137"/>
                </a:cubicBezTo>
                <a:cubicBezTo>
                  <a:pt x="975" y="139"/>
                  <a:pt x="975" y="139"/>
                  <a:pt x="975" y="139"/>
                </a:cubicBezTo>
                <a:cubicBezTo>
                  <a:pt x="977" y="139"/>
                  <a:pt x="977" y="139"/>
                  <a:pt x="977" y="139"/>
                </a:cubicBezTo>
                <a:cubicBezTo>
                  <a:pt x="977" y="138"/>
                  <a:pt x="977" y="138"/>
                  <a:pt x="977" y="138"/>
                </a:cubicBezTo>
                <a:cubicBezTo>
                  <a:pt x="977" y="136"/>
                  <a:pt x="977" y="136"/>
                  <a:pt x="977" y="136"/>
                </a:cubicBezTo>
                <a:cubicBezTo>
                  <a:pt x="976" y="134"/>
                  <a:pt x="976" y="134"/>
                  <a:pt x="976" y="134"/>
                </a:cubicBezTo>
                <a:cubicBezTo>
                  <a:pt x="976" y="133"/>
                  <a:pt x="976" y="133"/>
                  <a:pt x="976" y="133"/>
                </a:cubicBezTo>
                <a:cubicBezTo>
                  <a:pt x="974" y="132"/>
                  <a:pt x="974" y="132"/>
                  <a:pt x="974" y="132"/>
                </a:cubicBezTo>
                <a:cubicBezTo>
                  <a:pt x="972" y="131"/>
                  <a:pt x="972" y="131"/>
                  <a:pt x="972" y="131"/>
                </a:cubicBezTo>
                <a:cubicBezTo>
                  <a:pt x="971" y="130"/>
                  <a:pt x="971" y="130"/>
                  <a:pt x="971" y="130"/>
                </a:cubicBezTo>
                <a:cubicBezTo>
                  <a:pt x="970" y="131"/>
                  <a:pt x="970" y="131"/>
                  <a:pt x="970" y="131"/>
                </a:cubicBezTo>
                <a:cubicBezTo>
                  <a:pt x="969" y="131"/>
                  <a:pt x="969" y="131"/>
                  <a:pt x="969" y="131"/>
                </a:cubicBezTo>
                <a:cubicBezTo>
                  <a:pt x="968" y="131"/>
                  <a:pt x="968" y="131"/>
                  <a:pt x="968" y="131"/>
                </a:cubicBezTo>
                <a:cubicBezTo>
                  <a:pt x="965" y="128"/>
                  <a:pt x="965" y="128"/>
                  <a:pt x="965" y="128"/>
                </a:cubicBezTo>
                <a:cubicBezTo>
                  <a:pt x="963" y="127"/>
                  <a:pt x="963" y="127"/>
                  <a:pt x="963" y="127"/>
                </a:cubicBezTo>
                <a:cubicBezTo>
                  <a:pt x="960" y="128"/>
                  <a:pt x="960" y="128"/>
                  <a:pt x="960" y="128"/>
                </a:cubicBezTo>
                <a:cubicBezTo>
                  <a:pt x="959" y="127"/>
                  <a:pt x="959" y="127"/>
                  <a:pt x="959" y="127"/>
                </a:cubicBezTo>
                <a:cubicBezTo>
                  <a:pt x="962" y="127"/>
                  <a:pt x="962" y="127"/>
                  <a:pt x="962" y="127"/>
                </a:cubicBezTo>
                <a:cubicBezTo>
                  <a:pt x="963" y="126"/>
                  <a:pt x="963" y="126"/>
                  <a:pt x="963" y="126"/>
                </a:cubicBezTo>
                <a:cubicBezTo>
                  <a:pt x="964" y="126"/>
                  <a:pt x="964" y="126"/>
                  <a:pt x="964" y="126"/>
                </a:cubicBezTo>
                <a:cubicBezTo>
                  <a:pt x="965" y="126"/>
                  <a:pt x="965" y="126"/>
                  <a:pt x="965" y="126"/>
                </a:cubicBezTo>
                <a:cubicBezTo>
                  <a:pt x="966" y="126"/>
                  <a:pt x="966" y="126"/>
                  <a:pt x="966" y="126"/>
                </a:cubicBezTo>
                <a:cubicBezTo>
                  <a:pt x="968" y="125"/>
                  <a:pt x="968" y="125"/>
                  <a:pt x="968" y="125"/>
                </a:cubicBezTo>
                <a:cubicBezTo>
                  <a:pt x="969" y="124"/>
                  <a:pt x="969" y="124"/>
                  <a:pt x="969" y="124"/>
                </a:cubicBezTo>
                <a:cubicBezTo>
                  <a:pt x="972" y="125"/>
                  <a:pt x="972" y="125"/>
                  <a:pt x="972" y="125"/>
                </a:cubicBezTo>
                <a:cubicBezTo>
                  <a:pt x="973" y="126"/>
                  <a:pt x="973" y="126"/>
                  <a:pt x="973" y="126"/>
                </a:cubicBezTo>
                <a:cubicBezTo>
                  <a:pt x="976" y="126"/>
                  <a:pt x="976" y="126"/>
                  <a:pt x="976" y="126"/>
                </a:cubicBezTo>
                <a:cubicBezTo>
                  <a:pt x="976" y="124"/>
                  <a:pt x="976" y="124"/>
                  <a:pt x="976" y="124"/>
                </a:cubicBezTo>
                <a:cubicBezTo>
                  <a:pt x="977" y="123"/>
                  <a:pt x="977" y="123"/>
                  <a:pt x="977" y="123"/>
                </a:cubicBezTo>
                <a:cubicBezTo>
                  <a:pt x="976" y="121"/>
                  <a:pt x="976" y="121"/>
                  <a:pt x="976" y="121"/>
                </a:cubicBezTo>
                <a:cubicBezTo>
                  <a:pt x="975" y="119"/>
                  <a:pt x="975" y="119"/>
                  <a:pt x="975" y="119"/>
                </a:cubicBezTo>
                <a:cubicBezTo>
                  <a:pt x="973" y="115"/>
                  <a:pt x="973" y="115"/>
                  <a:pt x="973" y="115"/>
                </a:cubicBezTo>
                <a:cubicBezTo>
                  <a:pt x="973" y="113"/>
                  <a:pt x="973" y="113"/>
                  <a:pt x="973" y="113"/>
                </a:cubicBezTo>
                <a:cubicBezTo>
                  <a:pt x="972" y="113"/>
                  <a:pt x="972" y="113"/>
                  <a:pt x="972" y="113"/>
                </a:cubicBezTo>
                <a:cubicBezTo>
                  <a:pt x="972" y="113"/>
                  <a:pt x="972" y="113"/>
                  <a:pt x="972" y="113"/>
                </a:cubicBezTo>
                <a:cubicBezTo>
                  <a:pt x="970" y="113"/>
                  <a:pt x="970" y="113"/>
                  <a:pt x="970" y="113"/>
                </a:cubicBezTo>
                <a:cubicBezTo>
                  <a:pt x="970" y="114"/>
                  <a:pt x="970" y="114"/>
                  <a:pt x="970" y="114"/>
                </a:cubicBezTo>
                <a:cubicBezTo>
                  <a:pt x="969" y="116"/>
                  <a:pt x="969" y="116"/>
                  <a:pt x="969" y="116"/>
                </a:cubicBezTo>
                <a:cubicBezTo>
                  <a:pt x="970" y="116"/>
                  <a:pt x="970" y="116"/>
                  <a:pt x="970" y="116"/>
                </a:cubicBezTo>
                <a:cubicBezTo>
                  <a:pt x="970" y="117"/>
                  <a:pt x="970" y="117"/>
                  <a:pt x="970" y="117"/>
                </a:cubicBezTo>
                <a:cubicBezTo>
                  <a:pt x="969" y="118"/>
                  <a:pt x="969" y="118"/>
                  <a:pt x="969" y="118"/>
                </a:cubicBezTo>
                <a:cubicBezTo>
                  <a:pt x="967" y="119"/>
                  <a:pt x="967" y="119"/>
                  <a:pt x="967" y="119"/>
                </a:cubicBezTo>
                <a:cubicBezTo>
                  <a:pt x="966" y="120"/>
                  <a:pt x="966" y="120"/>
                  <a:pt x="966" y="120"/>
                </a:cubicBezTo>
                <a:cubicBezTo>
                  <a:pt x="964" y="120"/>
                  <a:pt x="964" y="120"/>
                  <a:pt x="964" y="120"/>
                </a:cubicBezTo>
                <a:cubicBezTo>
                  <a:pt x="963" y="120"/>
                  <a:pt x="963" y="120"/>
                  <a:pt x="963" y="120"/>
                </a:cubicBezTo>
                <a:cubicBezTo>
                  <a:pt x="961" y="120"/>
                  <a:pt x="961" y="120"/>
                  <a:pt x="961" y="120"/>
                </a:cubicBezTo>
                <a:cubicBezTo>
                  <a:pt x="960" y="122"/>
                  <a:pt x="960" y="122"/>
                  <a:pt x="960" y="122"/>
                </a:cubicBezTo>
                <a:cubicBezTo>
                  <a:pt x="958" y="124"/>
                  <a:pt x="958" y="124"/>
                  <a:pt x="958" y="124"/>
                </a:cubicBezTo>
                <a:cubicBezTo>
                  <a:pt x="957" y="123"/>
                  <a:pt x="957" y="123"/>
                  <a:pt x="957" y="123"/>
                </a:cubicBezTo>
                <a:cubicBezTo>
                  <a:pt x="955" y="123"/>
                  <a:pt x="955" y="123"/>
                  <a:pt x="955" y="123"/>
                </a:cubicBezTo>
                <a:cubicBezTo>
                  <a:pt x="954" y="123"/>
                  <a:pt x="954" y="123"/>
                  <a:pt x="954" y="123"/>
                </a:cubicBezTo>
                <a:cubicBezTo>
                  <a:pt x="953" y="124"/>
                  <a:pt x="953" y="124"/>
                  <a:pt x="953" y="124"/>
                </a:cubicBezTo>
                <a:cubicBezTo>
                  <a:pt x="954" y="122"/>
                  <a:pt x="954" y="122"/>
                  <a:pt x="954" y="122"/>
                </a:cubicBezTo>
                <a:cubicBezTo>
                  <a:pt x="955" y="121"/>
                  <a:pt x="955" y="121"/>
                  <a:pt x="955" y="121"/>
                </a:cubicBezTo>
                <a:cubicBezTo>
                  <a:pt x="957" y="122"/>
                  <a:pt x="957" y="122"/>
                  <a:pt x="957" y="122"/>
                </a:cubicBezTo>
                <a:cubicBezTo>
                  <a:pt x="958" y="122"/>
                  <a:pt x="958" y="122"/>
                  <a:pt x="958" y="122"/>
                </a:cubicBezTo>
                <a:cubicBezTo>
                  <a:pt x="960" y="120"/>
                  <a:pt x="960" y="120"/>
                  <a:pt x="960" y="120"/>
                </a:cubicBezTo>
                <a:cubicBezTo>
                  <a:pt x="961" y="119"/>
                  <a:pt x="961" y="119"/>
                  <a:pt x="961" y="119"/>
                </a:cubicBezTo>
                <a:cubicBezTo>
                  <a:pt x="962" y="119"/>
                  <a:pt x="962" y="119"/>
                  <a:pt x="962" y="119"/>
                </a:cubicBezTo>
                <a:cubicBezTo>
                  <a:pt x="964" y="118"/>
                  <a:pt x="964" y="118"/>
                  <a:pt x="964" y="118"/>
                </a:cubicBezTo>
                <a:cubicBezTo>
                  <a:pt x="965" y="117"/>
                  <a:pt x="965" y="117"/>
                  <a:pt x="965" y="117"/>
                </a:cubicBezTo>
                <a:cubicBezTo>
                  <a:pt x="966" y="115"/>
                  <a:pt x="966" y="115"/>
                  <a:pt x="966" y="115"/>
                </a:cubicBezTo>
                <a:cubicBezTo>
                  <a:pt x="965" y="114"/>
                  <a:pt x="965" y="114"/>
                  <a:pt x="965" y="114"/>
                </a:cubicBezTo>
                <a:cubicBezTo>
                  <a:pt x="964" y="114"/>
                  <a:pt x="964" y="114"/>
                  <a:pt x="964" y="114"/>
                </a:cubicBezTo>
                <a:cubicBezTo>
                  <a:pt x="963" y="115"/>
                  <a:pt x="963" y="115"/>
                  <a:pt x="963" y="115"/>
                </a:cubicBezTo>
                <a:cubicBezTo>
                  <a:pt x="961" y="114"/>
                  <a:pt x="961" y="114"/>
                  <a:pt x="961" y="114"/>
                </a:cubicBezTo>
                <a:cubicBezTo>
                  <a:pt x="959" y="115"/>
                  <a:pt x="959" y="115"/>
                  <a:pt x="959" y="115"/>
                </a:cubicBezTo>
                <a:cubicBezTo>
                  <a:pt x="956" y="117"/>
                  <a:pt x="956" y="117"/>
                  <a:pt x="956" y="117"/>
                </a:cubicBezTo>
                <a:cubicBezTo>
                  <a:pt x="954" y="119"/>
                  <a:pt x="954" y="119"/>
                  <a:pt x="954" y="119"/>
                </a:cubicBezTo>
                <a:cubicBezTo>
                  <a:pt x="951" y="120"/>
                  <a:pt x="951" y="120"/>
                  <a:pt x="951" y="120"/>
                </a:cubicBezTo>
                <a:cubicBezTo>
                  <a:pt x="952" y="119"/>
                  <a:pt x="952" y="119"/>
                  <a:pt x="952" y="119"/>
                </a:cubicBezTo>
                <a:cubicBezTo>
                  <a:pt x="954" y="118"/>
                  <a:pt x="954" y="118"/>
                  <a:pt x="954" y="118"/>
                </a:cubicBezTo>
                <a:cubicBezTo>
                  <a:pt x="955" y="117"/>
                  <a:pt x="955" y="117"/>
                  <a:pt x="955" y="117"/>
                </a:cubicBezTo>
                <a:cubicBezTo>
                  <a:pt x="954" y="116"/>
                  <a:pt x="954" y="116"/>
                  <a:pt x="954" y="116"/>
                </a:cubicBezTo>
                <a:cubicBezTo>
                  <a:pt x="952" y="117"/>
                  <a:pt x="952" y="117"/>
                  <a:pt x="952" y="117"/>
                </a:cubicBezTo>
                <a:cubicBezTo>
                  <a:pt x="955" y="115"/>
                  <a:pt x="955" y="115"/>
                  <a:pt x="955" y="115"/>
                </a:cubicBezTo>
                <a:cubicBezTo>
                  <a:pt x="956" y="115"/>
                  <a:pt x="956" y="115"/>
                  <a:pt x="956" y="115"/>
                </a:cubicBezTo>
                <a:cubicBezTo>
                  <a:pt x="959" y="113"/>
                  <a:pt x="959" y="113"/>
                  <a:pt x="959" y="113"/>
                </a:cubicBezTo>
                <a:cubicBezTo>
                  <a:pt x="961" y="113"/>
                  <a:pt x="961" y="113"/>
                  <a:pt x="961" y="113"/>
                </a:cubicBezTo>
                <a:cubicBezTo>
                  <a:pt x="963" y="113"/>
                  <a:pt x="963" y="113"/>
                  <a:pt x="963" y="113"/>
                </a:cubicBezTo>
                <a:cubicBezTo>
                  <a:pt x="966" y="112"/>
                  <a:pt x="966" y="112"/>
                  <a:pt x="966" y="112"/>
                </a:cubicBezTo>
                <a:cubicBezTo>
                  <a:pt x="967" y="111"/>
                  <a:pt x="967" y="111"/>
                  <a:pt x="967" y="111"/>
                </a:cubicBezTo>
                <a:cubicBezTo>
                  <a:pt x="968" y="110"/>
                  <a:pt x="968" y="110"/>
                  <a:pt x="968" y="110"/>
                </a:cubicBezTo>
                <a:cubicBezTo>
                  <a:pt x="968" y="109"/>
                  <a:pt x="968" y="109"/>
                  <a:pt x="968" y="109"/>
                </a:cubicBezTo>
                <a:cubicBezTo>
                  <a:pt x="969" y="109"/>
                  <a:pt x="969" y="109"/>
                  <a:pt x="969" y="109"/>
                </a:cubicBezTo>
                <a:cubicBezTo>
                  <a:pt x="969" y="111"/>
                  <a:pt x="969" y="111"/>
                  <a:pt x="969" y="111"/>
                </a:cubicBezTo>
                <a:cubicBezTo>
                  <a:pt x="970" y="111"/>
                  <a:pt x="970" y="111"/>
                  <a:pt x="970" y="111"/>
                </a:cubicBezTo>
                <a:cubicBezTo>
                  <a:pt x="972" y="109"/>
                  <a:pt x="972" y="109"/>
                  <a:pt x="972" y="109"/>
                </a:cubicBezTo>
                <a:cubicBezTo>
                  <a:pt x="972" y="108"/>
                  <a:pt x="972" y="108"/>
                  <a:pt x="972" y="108"/>
                </a:cubicBezTo>
                <a:cubicBezTo>
                  <a:pt x="972" y="106"/>
                  <a:pt x="972" y="106"/>
                  <a:pt x="972" y="106"/>
                </a:cubicBezTo>
                <a:cubicBezTo>
                  <a:pt x="970" y="106"/>
                  <a:pt x="970" y="106"/>
                  <a:pt x="970" y="106"/>
                </a:cubicBezTo>
                <a:cubicBezTo>
                  <a:pt x="969" y="104"/>
                  <a:pt x="969" y="104"/>
                  <a:pt x="969" y="104"/>
                </a:cubicBezTo>
                <a:cubicBezTo>
                  <a:pt x="967" y="102"/>
                  <a:pt x="967" y="102"/>
                  <a:pt x="967" y="102"/>
                </a:cubicBezTo>
                <a:cubicBezTo>
                  <a:pt x="966" y="100"/>
                  <a:pt x="966" y="100"/>
                  <a:pt x="966" y="100"/>
                </a:cubicBezTo>
                <a:cubicBezTo>
                  <a:pt x="965" y="100"/>
                  <a:pt x="965" y="100"/>
                  <a:pt x="965" y="100"/>
                </a:cubicBezTo>
                <a:cubicBezTo>
                  <a:pt x="963" y="100"/>
                  <a:pt x="963" y="100"/>
                  <a:pt x="963" y="100"/>
                </a:cubicBezTo>
                <a:cubicBezTo>
                  <a:pt x="963" y="101"/>
                  <a:pt x="963" y="101"/>
                  <a:pt x="963" y="101"/>
                </a:cubicBezTo>
                <a:cubicBezTo>
                  <a:pt x="961" y="102"/>
                  <a:pt x="961" y="102"/>
                  <a:pt x="961" y="102"/>
                </a:cubicBezTo>
                <a:cubicBezTo>
                  <a:pt x="959" y="103"/>
                  <a:pt x="959" y="103"/>
                  <a:pt x="959" y="103"/>
                </a:cubicBezTo>
                <a:cubicBezTo>
                  <a:pt x="957" y="104"/>
                  <a:pt x="957" y="104"/>
                  <a:pt x="957" y="104"/>
                </a:cubicBezTo>
                <a:cubicBezTo>
                  <a:pt x="956" y="105"/>
                  <a:pt x="956" y="105"/>
                  <a:pt x="956" y="105"/>
                </a:cubicBezTo>
                <a:cubicBezTo>
                  <a:pt x="955" y="105"/>
                  <a:pt x="955" y="105"/>
                  <a:pt x="955" y="105"/>
                </a:cubicBezTo>
                <a:cubicBezTo>
                  <a:pt x="956" y="103"/>
                  <a:pt x="956" y="103"/>
                  <a:pt x="956" y="103"/>
                </a:cubicBezTo>
                <a:cubicBezTo>
                  <a:pt x="957" y="102"/>
                  <a:pt x="957" y="102"/>
                  <a:pt x="957" y="102"/>
                </a:cubicBezTo>
                <a:cubicBezTo>
                  <a:pt x="959" y="102"/>
                  <a:pt x="959" y="102"/>
                  <a:pt x="959" y="102"/>
                </a:cubicBezTo>
                <a:cubicBezTo>
                  <a:pt x="961" y="100"/>
                  <a:pt x="961" y="100"/>
                  <a:pt x="961" y="100"/>
                </a:cubicBezTo>
                <a:cubicBezTo>
                  <a:pt x="962" y="99"/>
                  <a:pt x="962" y="99"/>
                  <a:pt x="962" y="99"/>
                </a:cubicBezTo>
                <a:cubicBezTo>
                  <a:pt x="961" y="98"/>
                  <a:pt x="961" y="98"/>
                  <a:pt x="961" y="98"/>
                </a:cubicBezTo>
                <a:cubicBezTo>
                  <a:pt x="960" y="98"/>
                  <a:pt x="960" y="98"/>
                  <a:pt x="960" y="98"/>
                </a:cubicBezTo>
                <a:cubicBezTo>
                  <a:pt x="958" y="99"/>
                  <a:pt x="958" y="99"/>
                  <a:pt x="958" y="99"/>
                </a:cubicBezTo>
                <a:cubicBezTo>
                  <a:pt x="955" y="101"/>
                  <a:pt x="955" y="101"/>
                  <a:pt x="955" y="101"/>
                </a:cubicBezTo>
                <a:cubicBezTo>
                  <a:pt x="954" y="101"/>
                  <a:pt x="954" y="101"/>
                  <a:pt x="954" y="101"/>
                </a:cubicBezTo>
                <a:cubicBezTo>
                  <a:pt x="953" y="102"/>
                  <a:pt x="953" y="102"/>
                  <a:pt x="953" y="102"/>
                </a:cubicBezTo>
                <a:cubicBezTo>
                  <a:pt x="952" y="104"/>
                  <a:pt x="952" y="104"/>
                  <a:pt x="952" y="104"/>
                </a:cubicBezTo>
                <a:cubicBezTo>
                  <a:pt x="951" y="107"/>
                  <a:pt x="951" y="107"/>
                  <a:pt x="951" y="107"/>
                </a:cubicBezTo>
                <a:cubicBezTo>
                  <a:pt x="948" y="111"/>
                  <a:pt x="948" y="111"/>
                  <a:pt x="948" y="111"/>
                </a:cubicBezTo>
                <a:cubicBezTo>
                  <a:pt x="945" y="112"/>
                  <a:pt x="945" y="112"/>
                  <a:pt x="945" y="112"/>
                </a:cubicBezTo>
                <a:cubicBezTo>
                  <a:pt x="944" y="112"/>
                  <a:pt x="944" y="112"/>
                  <a:pt x="944" y="112"/>
                </a:cubicBezTo>
                <a:cubicBezTo>
                  <a:pt x="946" y="110"/>
                  <a:pt x="946" y="110"/>
                  <a:pt x="946" y="110"/>
                </a:cubicBezTo>
                <a:cubicBezTo>
                  <a:pt x="949" y="108"/>
                  <a:pt x="949" y="108"/>
                  <a:pt x="949" y="108"/>
                </a:cubicBezTo>
                <a:cubicBezTo>
                  <a:pt x="950" y="106"/>
                  <a:pt x="950" y="106"/>
                  <a:pt x="950" y="106"/>
                </a:cubicBezTo>
                <a:cubicBezTo>
                  <a:pt x="951" y="105"/>
                  <a:pt x="951" y="105"/>
                  <a:pt x="951" y="105"/>
                </a:cubicBezTo>
                <a:cubicBezTo>
                  <a:pt x="950" y="104"/>
                  <a:pt x="950" y="104"/>
                  <a:pt x="950" y="104"/>
                </a:cubicBezTo>
                <a:cubicBezTo>
                  <a:pt x="950" y="104"/>
                  <a:pt x="950" y="104"/>
                  <a:pt x="950" y="104"/>
                </a:cubicBezTo>
                <a:cubicBezTo>
                  <a:pt x="949" y="103"/>
                  <a:pt x="949" y="103"/>
                  <a:pt x="949" y="103"/>
                </a:cubicBezTo>
                <a:cubicBezTo>
                  <a:pt x="948" y="104"/>
                  <a:pt x="948" y="104"/>
                  <a:pt x="948" y="104"/>
                </a:cubicBezTo>
                <a:cubicBezTo>
                  <a:pt x="947" y="106"/>
                  <a:pt x="947" y="106"/>
                  <a:pt x="947" y="106"/>
                </a:cubicBezTo>
                <a:cubicBezTo>
                  <a:pt x="944" y="109"/>
                  <a:pt x="944" y="109"/>
                  <a:pt x="944" y="109"/>
                </a:cubicBezTo>
                <a:cubicBezTo>
                  <a:pt x="943" y="109"/>
                  <a:pt x="943" y="109"/>
                  <a:pt x="943" y="109"/>
                </a:cubicBezTo>
                <a:cubicBezTo>
                  <a:pt x="944" y="108"/>
                  <a:pt x="944" y="108"/>
                  <a:pt x="944" y="108"/>
                </a:cubicBezTo>
                <a:cubicBezTo>
                  <a:pt x="944" y="106"/>
                  <a:pt x="944" y="106"/>
                  <a:pt x="944" y="106"/>
                </a:cubicBezTo>
                <a:cubicBezTo>
                  <a:pt x="946" y="105"/>
                  <a:pt x="946" y="105"/>
                  <a:pt x="946" y="105"/>
                </a:cubicBezTo>
                <a:cubicBezTo>
                  <a:pt x="946" y="103"/>
                  <a:pt x="946" y="103"/>
                  <a:pt x="946" y="103"/>
                </a:cubicBezTo>
                <a:cubicBezTo>
                  <a:pt x="947" y="102"/>
                  <a:pt x="947" y="102"/>
                  <a:pt x="947" y="102"/>
                </a:cubicBezTo>
                <a:cubicBezTo>
                  <a:pt x="948" y="102"/>
                  <a:pt x="948" y="102"/>
                  <a:pt x="948" y="102"/>
                </a:cubicBezTo>
                <a:cubicBezTo>
                  <a:pt x="950" y="102"/>
                  <a:pt x="950" y="102"/>
                  <a:pt x="950" y="102"/>
                </a:cubicBezTo>
                <a:cubicBezTo>
                  <a:pt x="951" y="102"/>
                  <a:pt x="951" y="102"/>
                  <a:pt x="951" y="102"/>
                </a:cubicBezTo>
                <a:cubicBezTo>
                  <a:pt x="952" y="102"/>
                  <a:pt x="952" y="102"/>
                  <a:pt x="952" y="102"/>
                </a:cubicBezTo>
                <a:cubicBezTo>
                  <a:pt x="953" y="100"/>
                  <a:pt x="953" y="100"/>
                  <a:pt x="953" y="100"/>
                </a:cubicBezTo>
                <a:cubicBezTo>
                  <a:pt x="955" y="100"/>
                  <a:pt x="955" y="100"/>
                  <a:pt x="955" y="100"/>
                </a:cubicBezTo>
                <a:cubicBezTo>
                  <a:pt x="957" y="97"/>
                  <a:pt x="957" y="97"/>
                  <a:pt x="957" y="97"/>
                </a:cubicBezTo>
                <a:cubicBezTo>
                  <a:pt x="958" y="95"/>
                  <a:pt x="958" y="95"/>
                  <a:pt x="958" y="95"/>
                </a:cubicBezTo>
                <a:cubicBezTo>
                  <a:pt x="957" y="94"/>
                  <a:pt x="957" y="94"/>
                  <a:pt x="957" y="94"/>
                </a:cubicBezTo>
                <a:cubicBezTo>
                  <a:pt x="958" y="93"/>
                  <a:pt x="958" y="93"/>
                  <a:pt x="958" y="93"/>
                </a:cubicBezTo>
                <a:cubicBezTo>
                  <a:pt x="957" y="92"/>
                  <a:pt x="957" y="92"/>
                  <a:pt x="957" y="92"/>
                </a:cubicBezTo>
                <a:cubicBezTo>
                  <a:pt x="954" y="93"/>
                  <a:pt x="954" y="93"/>
                  <a:pt x="954" y="93"/>
                </a:cubicBezTo>
                <a:cubicBezTo>
                  <a:pt x="953" y="95"/>
                  <a:pt x="953" y="95"/>
                  <a:pt x="953" y="95"/>
                </a:cubicBezTo>
                <a:cubicBezTo>
                  <a:pt x="953" y="97"/>
                  <a:pt x="953" y="97"/>
                  <a:pt x="953" y="97"/>
                </a:cubicBezTo>
                <a:cubicBezTo>
                  <a:pt x="953" y="99"/>
                  <a:pt x="953" y="99"/>
                  <a:pt x="953" y="99"/>
                </a:cubicBezTo>
                <a:cubicBezTo>
                  <a:pt x="952" y="99"/>
                  <a:pt x="952" y="99"/>
                  <a:pt x="952" y="99"/>
                </a:cubicBezTo>
                <a:cubicBezTo>
                  <a:pt x="952" y="99"/>
                  <a:pt x="952" y="99"/>
                  <a:pt x="952" y="99"/>
                </a:cubicBezTo>
                <a:cubicBezTo>
                  <a:pt x="952" y="98"/>
                  <a:pt x="952" y="98"/>
                  <a:pt x="952" y="98"/>
                </a:cubicBezTo>
                <a:cubicBezTo>
                  <a:pt x="951" y="97"/>
                  <a:pt x="951" y="97"/>
                  <a:pt x="951" y="97"/>
                </a:cubicBezTo>
                <a:cubicBezTo>
                  <a:pt x="949" y="97"/>
                  <a:pt x="949" y="97"/>
                  <a:pt x="949" y="97"/>
                </a:cubicBezTo>
                <a:cubicBezTo>
                  <a:pt x="947" y="98"/>
                  <a:pt x="947" y="98"/>
                  <a:pt x="947" y="98"/>
                </a:cubicBezTo>
                <a:cubicBezTo>
                  <a:pt x="946" y="98"/>
                  <a:pt x="946" y="98"/>
                  <a:pt x="946" y="98"/>
                </a:cubicBezTo>
                <a:cubicBezTo>
                  <a:pt x="944" y="98"/>
                  <a:pt x="944" y="98"/>
                  <a:pt x="944" y="98"/>
                </a:cubicBezTo>
                <a:cubicBezTo>
                  <a:pt x="942" y="99"/>
                  <a:pt x="942" y="99"/>
                  <a:pt x="942" y="99"/>
                </a:cubicBezTo>
                <a:cubicBezTo>
                  <a:pt x="940" y="99"/>
                  <a:pt x="940" y="99"/>
                  <a:pt x="940" y="99"/>
                </a:cubicBezTo>
                <a:cubicBezTo>
                  <a:pt x="941" y="98"/>
                  <a:pt x="941" y="98"/>
                  <a:pt x="941" y="98"/>
                </a:cubicBezTo>
                <a:cubicBezTo>
                  <a:pt x="943" y="97"/>
                  <a:pt x="943" y="97"/>
                  <a:pt x="943" y="97"/>
                </a:cubicBezTo>
                <a:cubicBezTo>
                  <a:pt x="944" y="96"/>
                  <a:pt x="944" y="96"/>
                  <a:pt x="944" y="96"/>
                </a:cubicBezTo>
                <a:cubicBezTo>
                  <a:pt x="944" y="95"/>
                  <a:pt x="944" y="95"/>
                  <a:pt x="944" y="95"/>
                </a:cubicBezTo>
                <a:cubicBezTo>
                  <a:pt x="943" y="95"/>
                  <a:pt x="943" y="95"/>
                  <a:pt x="943" y="95"/>
                </a:cubicBezTo>
                <a:cubicBezTo>
                  <a:pt x="941" y="95"/>
                  <a:pt x="941" y="95"/>
                  <a:pt x="941" y="95"/>
                </a:cubicBezTo>
                <a:cubicBezTo>
                  <a:pt x="942" y="94"/>
                  <a:pt x="942" y="94"/>
                  <a:pt x="942" y="94"/>
                </a:cubicBezTo>
                <a:cubicBezTo>
                  <a:pt x="943" y="94"/>
                  <a:pt x="943" y="94"/>
                  <a:pt x="943" y="94"/>
                </a:cubicBezTo>
                <a:cubicBezTo>
                  <a:pt x="944" y="93"/>
                  <a:pt x="944" y="93"/>
                  <a:pt x="944" y="93"/>
                </a:cubicBezTo>
                <a:cubicBezTo>
                  <a:pt x="945" y="91"/>
                  <a:pt x="945" y="91"/>
                  <a:pt x="945" y="91"/>
                </a:cubicBezTo>
                <a:cubicBezTo>
                  <a:pt x="947" y="90"/>
                  <a:pt x="947" y="90"/>
                  <a:pt x="947" y="90"/>
                </a:cubicBezTo>
                <a:cubicBezTo>
                  <a:pt x="947" y="90"/>
                  <a:pt x="947" y="90"/>
                  <a:pt x="947" y="90"/>
                </a:cubicBezTo>
                <a:cubicBezTo>
                  <a:pt x="948" y="90"/>
                  <a:pt x="948" y="90"/>
                  <a:pt x="948" y="90"/>
                </a:cubicBezTo>
                <a:cubicBezTo>
                  <a:pt x="950" y="91"/>
                  <a:pt x="950" y="91"/>
                  <a:pt x="950" y="91"/>
                </a:cubicBezTo>
                <a:cubicBezTo>
                  <a:pt x="951" y="92"/>
                  <a:pt x="951" y="92"/>
                  <a:pt x="951" y="92"/>
                </a:cubicBezTo>
                <a:cubicBezTo>
                  <a:pt x="953" y="92"/>
                  <a:pt x="953" y="92"/>
                  <a:pt x="953" y="92"/>
                </a:cubicBezTo>
                <a:cubicBezTo>
                  <a:pt x="955" y="90"/>
                  <a:pt x="955" y="90"/>
                  <a:pt x="955" y="90"/>
                </a:cubicBezTo>
                <a:cubicBezTo>
                  <a:pt x="956" y="88"/>
                  <a:pt x="956" y="88"/>
                  <a:pt x="956" y="88"/>
                </a:cubicBezTo>
                <a:cubicBezTo>
                  <a:pt x="956" y="87"/>
                  <a:pt x="956" y="87"/>
                  <a:pt x="956" y="87"/>
                </a:cubicBezTo>
                <a:cubicBezTo>
                  <a:pt x="954" y="85"/>
                  <a:pt x="954" y="85"/>
                  <a:pt x="954" y="85"/>
                </a:cubicBezTo>
                <a:cubicBezTo>
                  <a:pt x="953" y="83"/>
                  <a:pt x="953" y="83"/>
                  <a:pt x="953" y="83"/>
                </a:cubicBezTo>
                <a:cubicBezTo>
                  <a:pt x="953" y="82"/>
                  <a:pt x="953" y="82"/>
                  <a:pt x="953" y="82"/>
                </a:cubicBezTo>
                <a:cubicBezTo>
                  <a:pt x="951" y="80"/>
                  <a:pt x="951" y="80"/>
                  <a:pt x="951" y="80"/>
                </a:cubicBezTo>
                <a:cubicBezTo>
                  <a:pt x="950" y="79"/>
                  <a:pt x="950" y="79"/>
                  <a:pt x="950" y="79"/>
                </a:cubicBezTo>
                <a:cubicBezTo>
                  <a:pt x="948" y="76"/>
                  <a:pt x="948" y="76"/>
                  <a:pt x="948" y="76"/>
                </a:cubicBezTo>
                <a:cubicBezTo>
                  <a:pt x="948" y="76"/>
                  <a:pt x="948" y="76"/>
                  <a:pt x="948" y="76"/>
                </a:cubicBezTo>
                <a:cubicBezTo>
                  <a:pt x="947" y="78"/>
                  <a:pt x="947" y="78"/>
                  <a:pt x="947" y="78"/>
                </a:cubicBezTo>
                <a:cubicBezTo>
                  <a:pt x="946" y="79"/>
                  <a:pt x="946" y="79"/>
                  <a:pt x="946" y="79"/>
                </a:cubicBezTo>
                <a:cubicBezTo>
                  <a:pt x="946" y="79"/>
                  <a:pt x="946" y="79"/>
                  <a:pt x="946" y="79"/>
                </a:cubicBezTo>
                <a:cubicBezTo>
                  <a:pt x="945" y="81"/>
                  <a:pt x="945" y="81"/>
                  <a:pt x="945" y="81"/>
                </a:cubicBezTo>
                <a:cubicBezTo>
                  <a:pt x="945" y="82"/>
                  <a:pt x="945" y="82"/>
                  <a:pt x="945" y="82"/>
                </a:cubicBezTo>
                <a:cubicBezTo>
                  <a:pt x="943" y="83"/>
                  <a:pt x="943" y="83"/>
                  <a:pt x="943" y="83"/>
                </a:cubicBezTo>
                <a:cubicBezTo>
                  <a:pt x="942" y="84"/>
                  <a:pt x="942" y="84"/>
                  <a:pt x="942" y="84"/>
                </a:cubicBezTo>
                <a:cubicBezTo>
                  <a:pt x="942" y="86"/>
                  <a:pt x="942" y="86"/>
                  <a:pt x="942" y="86"/>
                </a:cubicBezTo>
                <a:cubicBezTo>
                  <a:pt x="940" y="87"/>
                  <a:pt x="940" y="87"/>
                  <a:pt x="940" y="87"/>
                </a:cubicBezTo>
                <a:cubicBezTo>
                  <a:pt x="939" y="89"/>
                  <a:pt x="939" y="89"/>
                  <a:pt x="939" y="89"/>
                </a:cubicBezTo>
                <a:cubicBezTo>
                  <a:pt x="939" y="91"/>
                  <a:pt x="939" y="91"/>
                  <a:pt x="939" y="91"/>
                </a:cubicBezTo>
                <a:cubicBezTo>
                  <a:pt x="938" y="92"/>
                  <a:pt x="938" y="92"/>
                  <a:pt x="938" y="92"/>
                </a:cubicBezTo>
                <a:cubicBezTo>
                  <a:pt x="937" y="92"/>
                  <a:pt x="937" y="92"/>
                  <a:pt x="937" y="92"/>
                </a:cubicBezTo>
                <a:cubicBezTo>
                  <a:pt x="938" y="89"/>
                  <a:pt x="938" y="89"/>
                  <a:pt x="938" y="89"/>
                </a:cubicBezTo>
                <a:cubicBezTo>
                  <a:pt x="939" y="87"/>
                  <a:pt x="939" y="87"/>
                  <a:pt x="939" y="87"/>
                </a:cubicBezTo>
                <a:cubicBezTo>
                  <a:pt x="941" y="86"/>
                  <a:pt x="941" y="86"/>
                  <a:pt x="941" y="86"/>
                </a:cubicBezTo>
                <a:cubicBezTo>
                  <a:pt x="941" y="85"/>
                  <a:pt x="941" y="85"/>
                  <a:pt x="941" y="85"/>
                </a:cubicBezTo>
                <a:cubicBezTo>
                  <a:pt x="940" y="85"/>
                  <a:pt x="940" y="85"/>
                  <a:pt x="940" y="85"/>
                </a:cubicBezTo>
                <a:cubicBezTo>
                  <a:pt x="940" y="83"/>
                  <a:pt x="940" y="83"/>
                  <a:pt x="940" y="83"/>
                </a:cubicBezTo>
                <a:cubicBezTo>
                  <a:pt x="938" y="84"/>
                  <a:pt x="938" y="84"/>
                  <a:pt x="938" y="84"/>
                </a:cubicBezTo>
                <a:cubicBezTo>
                  <a:pt x="935" y="87"/>
                  <a:pt x="935" y="87"/>
                  <a:pt x="935" y="87"/>
                </a:cubicBezTo>
                <a:cubicBezTo>
                  <a:pt x="935" y="89"/>
                  <a:pt x="935" y="89"/>
                  <a:pt x="935" y="89"/>
                </a:cubicBezTo>
                <a:cubicBezTo>
                  <a:pt x="933" y="90"/>
                  <a:pt x="933" y="90"/>
                  <a:pt x="933" y="90"/>
                </a:cubicBezTo>
                <a:cubicBezTo>
                  <a:pt x="933" y="89"/>
                  <a:pt x="933" y="89"/>
                  <a:pt x="933" y="89"/>
                </a:cubicBezTo>
                <a:cubicBezTo>
                  <a:pt x="934" y="88"/>
                  <a:pt x="934" y="88"/>
                  <a:pt x="934" y="88"/>
                </a:cubicBezTo>
                <a:cubicBezTo>
                  <a:pt x="935" y="85"/>
                  <a:pt x="935" y="85"/>
                  <a:pt x="935" y="85"/>
                </a:cubicBezTo>
                <a:cubicBezTo>
                  <a:pt x="936" y="84"/>
                  <a:pt x="936" y="84"/>
                  <a:pt x="936" y="84"/>
                </a:cubicBezTo>
                <a:cubicBezTo>
                  <a:pt x="938" y="82"/>
                  <a:pt x="938" y="82"/>
                  <a:pt x="938" y="82"/>
                </a:cubicBezTo>
                <a:cubicBezTo>
                  <a:pt x="939" y="81"/>
                  <a:pt x="939" y="81"/>
                  <a:pt x="939" y="81"/>
                </a:cubicBezTo>
                <a:cubicBezTo>
                  <a:pt x="939" y="79"/>
                  <a:pt x="939" y="79"/>
                  <a:pt x="939" y="79"/>
                </a:cubicBezTo>
                <a:cubicBezTo>
                  <a:pt x="939" y="78"/>
                  <a:pt x="939" y="78"/>
                  <a:pt x="939" y="78"/>
                </a:cubicBezTo>
                <a:cubicBezTo>
                  <a:pt x="937" y="79"/>
                  <a:pt x="937" y="79"/>
                  <a:pt x="937" y="79"/>
                </a:cubicBezTo>
                <a:cubicBezTo>
                  <a:pt x="934" y="82"/>
                  <a:pt x="934" y="82"/>
                  <a:pt x="934" y="82"/>
                </a:cubicBezTo>
                <a:cubicBezTo>
                  <a:pt x="934" y="83"/>
                  <a:pt x="934" y="83"/>
                  <a:pt x="934" y="83"/>
                </a:cubicBezTo>
                <a:cubicBezTo>
                  <a:pt x="932" y="85"/>
                  <a:pt x="932" y="85"/>
                  <a:pt x="932" y="85"/>
                </a:cubicBezTo>
                <a:cubicBezTo>
                  <a:pt x="932" y="85"/>
                  <a:pt x="932" y="85"/>
                  <a:pt x="932" y="85"/>
                </a:cubicBezTo>
                <a:cubicBezTo>
                  <a:pt x="932" y="83"/>
                  <a:pt x="932" y="83"/>
                  <a:pt x="932" y="83"/>
                </a:cubicBezTo>
                <a:cubicBezTo>
                  <a:pt x="933" y="81"/>
                  <a:pt x="933" y="81"/>
                  <a:pt x="933" y="81"/>
                </a:cubicBezTo>
                <a:cubicBezTo>
                  <a:pt x="932" y="81"/>
                  <a:pt x="932" y="81"/>
                  <a:pt x="932" y="81"/>
                </a:cubicBezTo>
                <a:cubicBezTo>
                  <a:pt x="932" y="80"/>
                  <a:pt x="932" y="80"/>
                  <a:pt x="932" y="80"/>
                </a:cubicBezTo>
                <a:cubicBezTo>
                  <a:pt x="934" y="80"/>
                  <a:pt x="934" y="80"/>
                  <a:pt x="934" y="80"/>
                </a:cubicBezTo>
                <a:cubicBezTo>
                  <a:pt x="937" y="77"/>
                  <a:pt x="937" y="77"/>
                  <a:pt x="937" y="77"/>
                </a:cubicBezTo>
                <a:cubicBezTo>
                  <a:pt x="940" y="75"/>
                  <a:pt x="940" y="75"/>
                  <a:pt x="940" y="75"/>
                </a:cubicBezTo>
                <a:cubicBezTo>
                  <a:pt x="940" y="73"/>
                  <a:pt x="940" y="73"/>
                  <a:pt x="940" y="73"/>
                </a:cubicBezTo>
                <a:cubicBezTo>
                  <a:pt x="939" y="73"/>
                  <a:pt x="939" y="73"/>
                  <a:pt x="939" y="73"/>
                </a:cubicBezTo>
                <a:cubicBezTo>
                  <a:pt x="937" y="75"/>
                  <a:pt x="937" y="75"/>
                  <a:pt x="937" y="75"/>
                </a:cubicBezTo>
                <a:cubicBezTo>
                  <a:pt x="936" y="76"/>
                  <a:pt x="936" y="76"/>
                  <a:pt x="936" y="76"/>
                </a:cubicBezTo>
                <a:cubicBezTo>
                  <a:pt x="935" y="77"/>
                  <a:pt x="935" y="77"/>
                  <a:pt x="935" y="77"/>
                </a:cubicBezTo>
                <a:cubicBezTo>
                  <a:pt x="935" y="76"/>
                  <a:pt x="935" y="76"/>
                  <a:pt x="935" y="76"/>
                </a:cubicBezTo>
                <a:cubicBezTo>
                  <a:pt x="934" y="75"/>
                  <a:pt x="934" y="75"/>
                  <a:pt x="934" y="75"/>
                </a:cubicBezTo>
                <a:cubicBezTo>
                  <a:pt x="931" y="78"/>
                  <a:pt x="931" y="78"/>
                  <a:pt x="931" y="78"/>
                </a:cubicBezTo>
                <a:cubicBezTo>
                  <a:pt x="930" y="79"/>
                  <a:pt x="930" y="79"/>
                  <a:pt x="930" y="79"/>
                </a:cubicBezTo>
                <a:cubicBezTo>
                  <a:pt x="928" y="82"/>
                  <a:pt x="928" y="82"/>
                  <a:pt x="928" y="82"/>
                </a:cubicBezTo>
                <a:cubicBezTo>
                  <a:pt x="926" y="84"/>
                  <a:pt x="926" y="84"/>
                  <a:pt x="926" y="84"/>
                </a:cubicBezTo>
                <a:cubicBezTo>
                  <a:pt x="925" y="84"/>
                  <a:pt x="925" y="84"/>
                  <a:pt x="925" y="84"/>
                </a:cubicBezTo>
                <a:cubicBezTo>
                  <a:pt x="926" y="82"/>
                  <a:pt x="926" y="82"/>
                  <a:pt x="926" y="82"/>
                </a:cubicBezTo>
                <a:cubicBezTo>
                  <a:pt x="928" y="81"/>
                  <a:pt x="928" y="81"/>
                  <a:pt x="928" y="81"/>
                </a:cubicBezTo>
                <a:cubicBezTo>
                  <a:pt x="929" y="79"/>
                  <a:pt x="929" y="79"/>
                  <a:pt x="929" y="79"/>
                </a:cubicBezTo>
                <a:cubicBezTo>
                  <a:pt x="929" y="78"/>
                  <a:pt x="929" y="78"/>
                  <a:pt x="929" y="78"/>
                </a:cubicBezTo>
                <a:cubicBezTo>
                  <a:pt x="927" y="79"/>
                  <a:pt x="927" y="79"/>
                  <a:pt x="927" y="79"/>
                </a:cubicBezTo>
                <a:cubicBezTo>
                  <a:pt x="929" y="77"/>
                  <a:pt x="929" y="77"/>
                  <a:pt x="929" y="77"/>
                </a:cubicBezTo>
                <a:cubicBezTo>
                  <a:pt x="931" y="77"/>
                  <a:pt x="931" y="77"/>
                  <a:pt x="931" y="77"/>
                </a:cubicBezTo>
                <a:cubicBezTo>
                  <a:pt x="932" y="76"/>
                  <a:pt x="932" y="76"/>
                  <a:pt x="932" y="76"/>
                </a:cubicBezTo>
                <a:cubicBezTo>
                  <a:pt x="932" y="75"/>
                  <a:pt x="932" y="75"/>
                  <a:pt x="932" y="75"/>
                </a:cubicBezTo>
                <a:cubicBezTo>
                  <a:pt x="931" y="75"/>
                  <a:pt x="931" y="75"/>
                  <a:pt x="931" y="75"/>
                </a:cubicBezTo>
                <a:cubicBezTo>
                  <a:pt x="928" y="76"/>
                  <a:pt x="928" y="76"/>
                  <a:pt x="928" y="76"/>
                </a:cubicBezTo>
                <a:cubicBezTo>
                  <a:pt x="927" y="77"/>
                  <a:pt x="927" y="77"/>
                  <a:pt x="927" y="77"/>
                </a:cubicBezTo>
                <a:cubicBezTo>
                  <a:pt x="926" y="77"/>
                  <a:pt x="926" y="77"/>
                  <a:pt x="926" y="77"/>
                </a:cubicBezTo>
                <a:cubicBezTo>
                  <a:pt x="929" y="75"/>
                  <a:pt x="929" y="75"/>
                  <a:pt x="929" y="75"/>
                </a:cubicBezTo>
                <a:cubicBezTo>
                  <a:pt x="929" y="74"/>
                  <a:pt x="929" y="74"/>
                  <a:pt x="929" y="74"/>
                </a:cubicBezTo>
                <a:cubicBezTo>
                  <a:pt x="927" y="74"/>
                  <a:pt x="927" y="74"/>
                  <a:pt x="927" y="74"/>
                </a:cubicBezTo>
                <a:cubicBezTo>
                  <a:pt x="928" y="72"/>
                  <a:pt x="928" y="72"/>
                  <a:pt x="928" y="72"/>
                </a:cubicBezTo>
                <a:cubicBezTo>
                  <a:pt x="930" y="72"/>
                  <a:pt x="930" y="72"/>
                  <a:pt x="930" y="72"/>
                </a:cubicBezTo>
                <a:cubicBezTo>
                  <a:pt x="931" y="73"/>
                  <a:pt x="931" y="73"/>
                  <a:pt x="931" y="73"/>
                </a:cubicBezTo>
                <a:cubicBezTo>
                  <a:pt x="933" y="73"/>
                  <a:pt x="933" y="73"/>
                  <a:pt x="933" y="73"/>
                </a:cubicBezTo>
                <a:cubicBezTo>
                  <a:pt x="934" y="71"/>
                  <a:pt x="934" y="71"/>
                  <a:pt x="934" y="71"/>
                </a:cubicBezTo>
                <a:cubicBezTo>
                  <a:pt x="936" y="70"/>
                  <a:pt x="936" y="70"/>
                  <a:pt x="936" y="70"/>
                </a:cubicBezTo>
                <a:cubicBezTo>
                  <a:pt x="936" y="69"/>
                  <a:pt x="936" y="69"/>
                  <a:pt x="936" y="69"/>
                </a:cubicBezTo>
                <a:cubicBezTo>
                  <a:pt x="937" y="67"/>
                  <a:pt x="937" y="67"/>
                  <a:pt x="937" y="67"/>
                </a:cubicBezTo>
                <a:cubicBezTo>
                  <a:pt x="937" y="66"/>
                  <a:pt x="937" y="66"/>
                  <a:pt x="937" y="66"/>
                </a:cubicBezTo>
                <a:cubicBezTo>
                  <a:pt x="935" y="66"/>
                  <a:pt x="935" y="66"/>
                  <a:pt x="935" y="66"/>
                </a:cubicBezTo>
                <a:cubicBezTo>
                  <a:pt x="934" y="65"/>
                  <a:pt x="934" y="65"/>
                  <a:pt x="934" y="65"/>
                </a:cubicBezTo>
                <a:cubicBezTo>
                  <a:pt x="932" y="64"/>
                  <a:pt x="932" y="64"/>
                  <a:pt x="932" y="64"/>
                </a:cubicBezTo>
                <a:cubicBezTo>
                  <a:pt x="930" y="66"/>
                  <a:pt x="930" y="66"/>
                  <a:pt x="930" y="66"/>
                </a:cubicBezTo>
                <a:cubicBezTo>
                  <a:pt x="928" y="67"/>
                  <a:pt x="928" y="67"/>
                  <a:pt x="928" y="67"/>
                </a:cubicBezTo>
                <a:cubicBezTo>
                  <a:pt x="926" y="69"/>
                  <a:pt x="926" y="69"/>
                  <a:pt x="926" y="69"/>
                </a:cubicBezTo>
                <a:cubicBezTo>
                  <a:pt x="922" y="73"/>
                  <a:pt x="922" y="73"/>
                  <a:pt x="922" y="73"/>
                </a:cubicBezTo>
                <a:cubicBezTo>
                  <a:pt x="921" y="73"/>
                  <a:pt x="921" y="73"/>
                  <a:pt x="921" y="73"/>
                </a:cubicBezTo>
                <a:cubicBezTo>
                  <a:pt x="922" y="72"/>
                  <a:pt x="922" y="72"/>
                  <a:pt x="922" y="72"/>
                </a:cubicBezTo>
                <a:cubicBezTo>
                  <a:pt x="923" y="71"/>
                  <a:pt x="923" y="71"/>
                  <a:pt x="923" y="71"/>
                </a:cubicBezTo>
                <a:cubicBezTo>
                  <a:pt x="924" y="70"/>
                  <a:pt x="924" y="70"/>
                  <a:pt x="924" y="70"/>
                </a:cubicBezTo>
                <a:cubicBezTo>
                  <a:pt x="927" y="67"/>
                  <a:pt x="927" y="67"/>
                  <a:pt x="927" y="67"/>
                </a:cubicBezTo>
                <a:cubicBezTo>
                  <a:pt x="929" y="65"/>
                  <a:pt x="929" y="65"/>
                  <a:pt x="929" y="65"/>
                </a:cubicBezTo>
                <a:cubicBezTo>
                  <a:pt x="930" y="64"/>
                  <a:pt x="930" y="64"/>
                  <a:pt x="930" y="64"/>
                </a:cubicBezTo>
                <a:cubicBezTo>
                  <a:pt x="930" y="63"/>
                  <a:pt x="930" y="63"/>
                  <a:pt x="930" y="63"/>
                </a:cubicBezTo>
                <a:cubicBezTo>
                  <a:pt x="926" y="63"/>
                  <a:pt x="926" y="63"/>
                  <a:pt x="926" y="63"/>
                </a:cubicBezTo>
                <a:cubicBezTo>
                  <a:pt x="923" y="65"/>
                  <a:pt x="923" y="65"/>
                  <a:pt x="923" y="65"/>
                </a:cubicBezTo>
                <a:cubicBezTo>
                  <a:pt x="926" y="63"/>
                  <a:pt x="926" y="63"/>
                  <a:pt x="926" y="63"/>
                </a:cubicBezTo>
                <a:cubicBezTo>
                  <a:pt x="929" y="62"/>
                  <a:pt x="929" y="62"/>
                  <a:pt x="929" y="62"/>
                </a:cubicBezTo>
                <a:cubicBezTo>
                  <a:pt x="931" y="62"/>
                  <a:pt x="931" y="62"/>
                  <a:pt x="931" y="62"/>
                </a:cubicBezTo>
                <a:cubicBezTo>
                  <a:pt x="932" y="63"/>
                  <a:pt x="932" y="63"/>
                  <a:pt x="932" y="63"/>
                </a:cubicBezTo>
                <a:cubicBezTo>
                  <a:pt x="934" y="61"/>
                  <a:pt x="934" y="61"/>
                  <a:pt x="934" y="61"/>
                </a:cubicBezTo>
                <a:cubicBezTo>
                  <a:pt x="934" y="59"/>
                  <a:pt x="934" y="59"/>
                  <a:pt x="934" y="59"/>
                </a:cubicBezTo>
                <a:cubicBezTo>
                  <a:pt x="933" y="58"/>
                  <a:pt x="933" y="58"/>
                  <a:pt x="933" y="58"/>
                </a:cubicBezTo>
                <a:cubicBezTo>
                  <a:pt x="933" y="57"/>
                  <a:pt x="933" y="57"/>
                  <a:pt x="933" y="57"/>
                </a:cubicBezTo>
                <a:cubicBezTo>
                  <a:pt x="933" y="56"/>
                  <a:pt x="933" y="56"/>
                  <a:pt x="933" y="56"/>
                </a:cubicBezTo>
                <a:cubicBezTo>
                  <a:pt x="931" y="55"/>
                  <a:pt x="931" y="55"/>
                  <a:pt x="931" y="55"/>
                </a:cubicBezTo>
                <a:cubicBezTo>
                  <a:pt x="930" y="53"/>
                  <a:pt x="930" y="53"/>
                  <a:pt x="930" y="53"/>
                </a:cubicBezTo>
                <a:cubicBezTo>
                  <a:pt x="929" y="53"/>
                  <a:pt x="929" y="53"/>
                  <a:pt x="929" y="53"/>
                </a:cubicBezTo>
                <a:cubicBezTo>
                  <a:pt x="928" y="53"/>
                  <a:pt x="928" y="53"/>
                  <a:pt x="928" y="53"/>
                </a:cubicBezTo>
                <a:cubicBezTo>
                  <a:pt x="927" y="53"/>
                  <a:pt x="927" y="53"/>
                  <a:pt x="927" y="53"/>
                </a:cubicBezTo>
                <a:cubicBezTo>
                  <a:pt x="927" y="52"/>
                  <a:pt x="927" y="52"/>
                  <a:pt x="927" y="52"/>
                </a:cubicBezTo>
                <a:cubicBezTo>
                  <a:pt x="926" y="51"/>
                  <a:pt x="926" y="51"/>
                  <a:pt x="926" y="51"/>
                </a:cubicBezTo>
                <a:cubicBezTo>
                  <a:pt x="924" y="50"/>
                  <a:pt x="924" y="50"/>
                  <a:pt x="924" y="50"/>
                </a:cubicBezTo>
                <a:cubicBezTo>
                  <a:pt x="924" y="49"/>
                  <a:pt x="924" y="49"/>
                  <a:pt x="924" y="49"/>
                </a:cubicBezTo>
                <a:cubicBezTo>
                  <a:pt x="921" y="47"/>
                  <a:pt x="921" y="47"/>
                  <a:pt x="921" y="47"/>
                </a:cubicBezTo>
                <a:cubicBezTo>
                  <a:pt x="920" y="48"/>
                  <a:pt x="920" y="48"/>
                  <a:pt x="920" y="48"/>
                </a:cubicBezTo>
                <a:cubicBezTo>
                  <a:pt x="920" y="47"/>
                  <a:pt x="920" y="47"/>
                  <a:pt x="920" y="47"/>
                </a:cubicBezTo>
                <a:cubicBezTo>
                  <a:pt x="917" y="46"/>
                  <a:pt x="917" y="46"/>
                  <a:pt x="917" y="46"/>
                </a:cubicBezTo>
                <a:cubicBezTo>
                  <a:pt x="914" y="47"/>
                  <a:pt x="914" y="47"/>
                  <a:pt x="914" y="47"/>
                </a:cubicBezTo>
                <a:cubicBezTo>
                  <a:pt x="912" y="49"/>
                  <a:pt x="912" y="49"/>
                  <a:pt x="912" y="49"/>
                </a:cubicBezTo>
                <a:cubicBezTo>
                  <a:pt x="910" y="49"/>
                  <a:pt x="910" y="49"/>
                  <a:pt x="910" y="49"/>
                </a:cubicBezTo>
                <a:cubicBezTo>
                  <a:pt x="908" y="52"/>
                  <a:pt x="908" y="52"/>
                  <a:pt x="908" y="52"/>
                </a:cubicBezTo>
                <a:cubicBezTo>
                  <a:pt x="909" y="53"/>
                  <a:pt x="909" y="53"/>
                  <a:pt x="909" y="53"/>
                </a:cubicBezTo>
                <a:cubicBezTo>
                  <a:pt x="910" y="53"/>
                  <a:pt x="910" y="53"/>
                  <a:pt x="910" y="53"/>
                </a:cubicBezTo>
                <a:cubicBezTo>
                  <a:pt x="914" y="56"/>
                  <a:pt x="914" y="56"/>
                  <a:pt x="914" y="56"/>
                </a:cubicBezTo>
                <a:cubicBezTo>
                  <a:pt x="914" y="57"/>
                  <a:pt x="914" y="57"/>
                  <a:pt x="914" y="57"/>
                </a:cubicBezTo>
                <a:cubicBezTo>
                  <a:pt x="916" y="58"/>
                  <a:pt x="916" y="58"/>
                  <a:pt x="916" y="58"/>
                </a:cubicBezTo>
                <a:cubicBezTo>
                  <a:pt x="916" y="60"/>
                  <a:pt x="916" y="60"/>
                  <a:pt x="916" y="60"/>
                </a:cubicBezTo>
                <a:cubicBezTo>
                  <a:pt x="916" y="60"/>
                  <a:pt x="916" y="60"/>
                  <a:pt x="916" y="60"/>
                </a:cubicBezTo>
                <a:cubicBezTo>
                  <a:pt x="914" y="59"/>
                  <a:pt x="914" y="59"/>
                  <a:pt x="914" y="59"/>
                </a:cubicBezTo>
                <a:cubicBezTo>
                  <a:pt x="912" y="59"/>
                  <a:pt x="912" y="59"/>
                  <a:pt x="912" y="59"/>
                </a:cubicBezTo>
                <a:cubicBezTo>
                  <a:pt x="912" y="58"/>
                  <a:pt x="912" y="58"/>
                  <a:pt x="912" y="58"/>
                </a:cubicBezTo>
                <a:cubicBezTo>
                  <a:pt x="909" y="54"/>
                  <a:pt x="909" y="54"/>
                  <a:pt x="909" y="54"/>
                </a:cubicBezTo>
                <a:cubicBezTo>
                  <a:pt x="907" y="55"/>
                  <a:pt x="907" y="55"/>
                  <a:pt x="907" y="55"/>
                </a:cubicBezTo>
                <a:cubicBezTo>
                  <a:pt x="906" y="55"/>
                  <a:pt x="906" y="55"/>
                  <a:pt x="906" y="55"/>
                </a:cubicBezTo>
                <a:cubicBezTo>
                  <a:pt x="906" y="54"/>
                  <a:pt x="906" y="54"/>
                  <a:pt x="906" y="54"/>
                </a:cubicBezTo>
                <a:cubicBezTo>
                  <a:pt x="907" y="52"/>
                  <a:pt x="907" y="52"/>
                  <a:pt x="907" y="52"/>
                </a:cubicBezTo>
                <a:cubicBezTo>
                  <a:pt x="905" y="51"/>
                  <a:pt x="905" y="51"/>
                  <a:pt x="905" y="51"/>
                </a:cubicBezTo>
                <a:cubicBezTo>
                  <a:pt x="904" y="51"/>
                  <a:pt x="904" y="51"/>
                  <a:pt x="904" y="51"/>
                </a:cubicBezTo>
                <a:cubicBezTo>
                  <a:pt x="904" y="55"/>
                  <a:pt x="904" y="55"/>
                  <a:pt x="904" y="55"/>
                </a:cubicBezTo>
                <a:cubicBezTo>
                  <a:pt x="905" y="57"/>
                  <a:pt x="905" y="57"/>
                  <a:pt x="905" y="57"/>
                </a:cubicBezTo>
                <a:cubicBezTo>
                  <a:pt x="905" y="59"/>
                  <a:pt x="905" y="59"/>
                  <a:pt x="905" y="59"/>
                </a:cubicBezTo>
                <a:cubicBezTo>
                  <a:pt x="905" y="61"/>
                  <a:pt x="905" y="61"/>
                  <a:pt x="905" y="61"/>
                </a:cubicBezTo>
                <a:cubicBezTo>
                  <a:pt x="905" y="59"/>
                  <a:pt x="905" y="59"/>
                  <a:pt x="905" y="59"/>
                </a:cubicBezTo>
                <a:cubicBezTo>
                  <a:pt x="903" y="56"/>
                  <a:pt x="903" y="56"/>
                  <a:pt x="903" y="56"/>
                </a:cubicBezTo>
                <a:cubicBezTo>
                  <a:pt x="902" y="58"/>
                  <a:pt x="902" y="58"/>
                  <a:pt x="902" y="58"/>
                </a:cubicBezTo>
                <a:cubicBezTo>
                  <a:pt x="901" y="60"/>
                  <a:pt x="901" y="60"/>
                  <a:pt x="901" y="60"/>
                </a:cubicBezTo>
                <a:cubicBezTo>
                  <a:pt x="902" y="61"/>
                  <a:pt x="902" y="61"/>
                  <a:pt x="902" y="61"/>
                </a:cubicBezTo>
                <a:cubicBezTo>
                  <a:pt x="901" y="62"/>
                  <a:pt x="901" y="62"/>
                  <a:pt x="901" y="62"/>
                </a:cubicBezTo>
                <a:cubicBezTo>
                  <a:pt x="899" y="61"/>
                  <a:pt x="899" y="61"/>
                  <a:pt x="899" y="61"/>
                </a:cubicBezTo>
                <a:cubicBezTo>
                  <a:pt x="897" y="61"/>
                  <a:pt x="897" y="61"/>
                  <a:pt x="897" y="61"/>
                </a:cubicBezTo>
                <a:cubicBezTo>
                  <a:pt x="898" y="60"/>
                  <a:pt x="898" y="60"/>
                  <a:pt x="898" y="60"/>
                </a:cubicBezTo>
                <a:cubicBezTo>
                  <a:pt x="900" y="58"/>
                  <a:pt x="900" y="58"/>
                  <a:pt x="900" y="58"/>
                </a:cubicBezTo>
                <a:cubicBezTo>
                  <a:pt x="902" y="55"/>
                  <a:pt x="902" y="55"/>
                  <a:pt x="902" y="55"/>
                </a:cubicBezTo>
                <a:cubicBezTo>
                  <a:pt x="903" y="53"/>
                  <a:pt x="903" y="53"/>
                  <a:pt x="903" y="53"/>
                </a:cubicBezTo>
                <a:cubicBezTo>
                  <a:pt x="902" y="52"/>
                  <a:pt x="902" y="52"/>
                  <a:pt x="902" y="52"/>
                </a:cubicBezTo>
                <a:cubicBezTo>
                  <a:pt x="901" y="50"/>
                  <a:pt x="901" y="50"/>
                  <a:pt x="901" y="50"/>
                </a:cubicBezTo>
                <a:cubicBezTo>
                  <a:pt x="899" y="52"/>
                  <a:pt x="899" y="52"/>
                  <a:pt x="899" y="52"/>
                </a:cubicBezTo>
                <a:cubicBezTo>
                  <a:pt x="898" y="53"/>
                  <a:pt x="898" y="53"/>
                  <a:pt x="898" y="53"/>
                </a:cubicBezTo>
                <a:cubicBezTo>
                  <a:pt x="897" y="52"/>
                  <a:pt x="897" y="52"/>
                  <a:pt x="897" y="52"/>
                </a:cubicBezTo>
                <a:cubicBezTo>
                  <a:pt x="898" y="50"/>
                  <a:pt x="898" y="50"/>
                  <a:pt x="898" y="50"/>
                </a:cubicBezTo>
                <a:cubicBezTo>
                  <a:pt x="896" y="49"/>
                  <a:pt x="896" y="49"/>
                  <a:pt x="896" y="49"/>
                </a:cubicBezTo>
                <a:cubicBezTo>
                  <a:pt x="895" y="50"/>
                  <a:pt x="895" y="50"/>
                  <a:pt x="895" y="50"/>
                </a:cubicBezTo>
                <a:cubicBezTo>
                  <a:pt x="894" y="51"/>
                  <a:pt x="894" y="51"/>
                  <a:pt x="894" y="51"/>
                </a:cubicBezTo>
                <a:cubicBezTo>
                  <a:pt x="895" y="53"/>
                  <a:pt x="895" y="53"/>
                  <a:pt x="895" y="53"/>
                </a:cubicBezTo>
                <a:cubicBezTo>
                  <a:pt x="895" y="56"/>
                  <a:pt x="895" y="56"/>
                  <a:pt x="895" y="56"/>
                </a:cubicBezTo>
                <a:cubicBezTo>
                  <a:pt x="894" y="55"/>
                  <a:pt x="894" y="55"/>
                  <a:pt x="894" y="55"/>
                </a:cubicBezTo>
                <a:cubicBezTo>
                  <a:pt x="894" y="52"/>
                  <a:pt x="894" y="52"/>
                  <a:pt x="894" y="52"/>
                </a:cubicBezTo>
                <a:cubicBezTo>
                  <a:pt x="893" y="52"/>
                  <a:pt x="893" y="52"/>
                  <a:pt x="893" y="52"/>
                </a:cubicBezTo>
                <a:cubicBezTo>
                  <a:pt x="893" y="53"/>
                  <a:pt x="893" y="53"/>
                  <a:pt x="893" y="53"/>
                </a:cubicBezTo>
                <a:cubicBezTo>
                  <a:pt x="891" y="54"/>
                  <a:pt x="891" y="54"/>
                  <a:pt x="891" y="54"/>
                </a:cubicBezTo>
                <a:cubicBezTo>
                  <a:pt x="891" y="56"/>
                  <a:pt x="891" y="56"/>
                  <a:pt x="891" y="56"/>
                </a:cubicBezTo>
                <a:cubicBezTo>
                  <a:pt x="889" y="57"/>
                  <a:pt x="889" y="57"/>
                  <a:pt x="889" y="57"/>
                </a:cubicBezTo>
                <a:cubicBezTo>
                  <a:pt x="888" y="58"/>
                  <a:pt x="888" y="58"/>
                  <a:pt x="888" y="58"/>
                </a:cubicBezTo>
                <a:cubicBezTo>
                  <a:pt x="887" y="59"/>
                  <a:pt x="887" y="59"/>
                  <a:pt x="887" y="59"/>
                </a:cubicBezTo>
                <a:cubicBezTo>
                  <a:pt x="885" y="59"/>
                  <a:pt x="885" y="59"/>
                  <a:pt x="885" y="59"/>
                </a:cubicBezTo>
                <a:cubicBezTo>
                  <a:pt x="887" y="58"/>
                  <a:pt x="887" y="58"/>
                  <a:pt x="887" y="58"/>
                </a:cubicBezTo>
                <a:cubicBezTo>
                  <a:pt x="887" y="56"/>
                  <a:pt x="887" y="56"/>
                  <a:pt x="887" y="56"/>
                </a:cubicBezTo>
                <a:cubicBezTo>
                  <a:pt x="886" y="56"/>
                  <a:pt x="886" y="56"/>
                  <a:pt x="886" y="56"/>
                </a:cubicBezTo>
                <a:cubicBezTo>
                  <a:pt x="885" y="55"/>
                  <a:pt x="885" y="55"/>
                  <a:pt x="885" y="55"/>
                </a:cubicBezTo>
                <a:cubicBezTo>
                  <a:pt x="885" y="54"/>
                  <a:pt x="885" y="54"/>
                  <a:pt x="885" y="54"/>
                </a:cubicBezTo>
                <a:cubicBezTo>
                  <a:pt x="887" y="54"/>
                  <a:pt x="887" y="54"/>
                  <a:pt x="887" y="54"/>
                </a:cubicBezTo>
                <a:cubicBezTo>
                  <a:pt x="888" y="55"/>
                  <a:pt x="888" y="55"/>
                  <a:pt x="888" y="55"/>
                </a:cubicBezTo>
                <a:cubicBezTo>
                  <a:pt x="888" y="54"/>
                  <a:pt x="888" y="54"/>
                  <a:pt x="888" y="54"/>
                </a:cubicBezTo>
                <a:cubicBezTo>
                  <a:pt x="888" y="53"/>
                  <a:pt x="888" y="53"/>
                  <a:pt x="888" y="53"/>
                </a:cubicBezTo>
                <a:cubicBezTo>
                  <a:pt x="888" y="52"/>
                  <a:pt x="888" y="52"/>
                  <a:pt x="888" y="52"/>
                </a:cubicBezTo>
                <a:cubicBezTo>
                  <a:pt x="890" y="51"/>
                  <a:pt x="890" y="51"/>
                  <a:pt x="890" y="51"/>
                </a:cubicBezTo>
                <a:cubicBezTo>
                  <a:pt x="893" y="49"/>
                  <a:pt x="893" y="49"/>
                  <a:pt x="893" y="49"/>
                </a:cubicBezTo>
                <a:cubicBezTo>
                  <a:pt x="893" y="47"/>
                  <a:pt x="893" y="47"/>
                  <a:pt x="893" y="47"/>
                </a:cubicBezTo>
                <a:cubicBezTo>
                  <a:pt x="895" y="46"/>
                  <a:pt x="895" y="46"/>
                  <a:pt x="895" y="46"/>
                </a:cubicBezTo>
                <a:cubicBezTo>
                  <a:pt x="894" y="46"/>
                  <a:pt x="894" y="46"/>
                  <a:pt x="894" y="46"/>
                </a:cubicBezTo>
                <a:cubicBezTo>
                  <a:pt x="893" y="46"/>
                  <a:pt x="893" y="46"/>
                  <a:pt x="893" y="46"/>
                </a:cubicBezTo>
                <a:cubicBezTo>
                  <a:pt x="890" y="48"/>
                  <a:pt x="890" y="48"/>
                  <a:pt x="890" y="48"/>
                </a:cubicBezTo>
                <a:cubicBezTo>
                  <a:pt x="888" y="50"/>
                  <a:pt x="888" y="50"/>
                  <a:pt x="888" y="50"/>
                </a:cubicBezTo>
                <a:cubicBezTo>
                  <a:pt x="887" y="50"/>
                  <a:pt x="887" y="50"/>
                  <a:pt x="887" y="50"/>
                </a:cubicBezTo>
                <a:cubicBezTo>
                  <a:pt x="888" y="48"/>
                  <a:pt x="888" y="48"/>
                  <a:pt x="888" y="48"/>
                </a:cubicBezTo>
                <a:cubicBezTo>
                  <a:pt x="889" y="47"/>
                  <a:pt x="889" y="47"/>
                  <a:pt x="889" y="47"/>
                </a:cubicBezTo>
                <a:cubicBezTo>
                  <a:pt x="890" y="45"/>
                  <a:pt x="890" y="45"/>
                  <a:pt x="890" y="45"/>
                </a:cubicBezTo>
                <a:cubicBezTo>
                  <a:pt x="892" y="45"/>
                  <a:pt x="892" y="45"/>
                  <a:pt x="892" y="45"/>
                </a:cubicBezTo>
                <a:cubicBezTo>
                  <a:pt x="894" y="43"/>
                  <a:pt x="894" y="43"/>
                  <a:pt x="894" y="43"/>
                </a:cubicBezTo>
                <a:cubicBezTo>
                  <a:pt x="895" y="43"/>
                  <a:pt x="895" y="43"/>
                  <a:pt x="895" y="43"/>
                </a:cubicBezTo>
                <a:cubicBezTo>
                  <a:pt x="896" y="41"/>
                  <a:pt x="896" y="41"/>
                  <a:pt x="896" y="41"/>
                </a:cubicBezTo>
                <a:cubicBezTo>
                  <a:pt x="897" y="40"/>
                  <a:pt x="897" y="40"/>
                  <a:pt x="897" y="40"/>
                </a:cubicBezTo>
                <a:cubicBezTo>
                  <a:pt x="895" y="39"/>
                  <a:pt x="895" y="39"/>
                  <a:pt x="895" y="39"/>
                </a:cubicBezTo>
                <a:cubicBezTo>
                  <a:pt x="895" y="37"/>
                  <a:pt x="895" y="37"/>
                  <a:pt x="895" y="37"/>
                </a:cubicBezTo>
                <a:cubicBezTo>
                  <a:pt x="896" y="35"/>
                  <a:pt x="896" y="35"/>
                  <a:pt x="896" y="35"/>
                </a:cubicBezTo>
                <a:cubicBezTo>
                  <a:pt x="898" y="32"/>
                  <a:pt x="898" y="32"/>
                  <a:pt x="898" y="32"/>
                </a:cubicBezTo>
                <a:cubicBezTo>
                  <a:pt x="899" y="31"/>
                  <a:pt x="899" y="31"/>
                  <a:pt x="899" y="31"/>
                </a:cubicBezTo>
                <a:cubicBezTo>
                  <a:pt x="898" y="30"/>
                  <a:pt x="898" y="30"/>
                  <a:pt x="898" y="30"/>
                </a:cubicBezTo>
                <a:cubicBezTo>
                  <a:pt x="896" y="29"/>
                  <a:pt x="896" y="29"/>
                  <a:pt x="896" y="29"/>
                </a:cubicBezTo>
                <a:cubicBezTo>
                  <a:pt x="896" y="28"/>
                  <a:pt x="896" y="28"/>
                  <a:pt x="896" y="28"/>
                </a:cubicBezTo>
                <a:cubicBezTo>
                  <a:pt x="897" y="25"/>
                  <a:pt x="897" y="25"/>
                  <a:pt x="897" y="25"/>
                </a:cubicBezTo>
                <a:cubicBezTo>
                  <a:pt x="898" y="24"/>
                  <a:pt x="898" y="24"/>
                  <a:pt x="898" y="24"/>
                </a:cubicBezTo>
                <a:cubicBezTo>
                  <a:pt x="899" y="22"/>
                  <a:pt x="899" y="22"/>
                  <a:pt x="899" y="22"/>
                </a:cubicBezTo>
                <a:cubicBezTo>
                  <a:pt x="899" y="18"/>
                  <a:pt x="899" y="18"/>
                  <a:pt x="899" y="18"/>
                </a:cubicBezTo>
                <a:cubicBezTo>
                  <a:pt x="900" y="17"/>
                  <a:pt x="900" y="17"/>
                  <a:pt x="900" y="17"/>
                </a:cubicBezTo>
                <a:cubicBezTo>
                  <a:pt x="900" y="16"/>
                  <a:pt x="900" y="16"/>
                  <a:pt x="900" y="16"/>
                </a:cubicBezTo>
                <a:cubicBezTo>
                  <a:pt x="897" y="15"/>
                  <a:pt x="897" y="15"/>
                  <a:pt x="897" y="15"/>
                </a:cubicBezTo>
                <a:cubicBezTo>
                  <a:pt x="893" y="15"/>
                  <a:pt x="893" y="15"/>
                  <a:pt x="893" y="15"/>
                </a:cubicBezTo>
                <a:cubicBezTo>
                  <a:pt x="890" y="14"/>
                  <a:pt x="890" y="14"/>
                  <a:pt x="890" y="14"/>
                </a:cubicBezTo>
                <a:cubicBezTo>
                  <a:pt x="888" y="16"/>
                  <a:pt x="888" y="16"/>
                  <a:pt x="888" y="16"/>
                </a:cubicBezTo>
                <a:cubicBezTo>
                  <a:pt x="886" y="16"/>
                  <a:pt x="886" y="16"/>
                  <a:pt x="886" y="16"/>
                </a:cubicBezTo>
                <a:cubicBezTo>
                  <a:pt x="883" y="17"/>
                  <a:pt x="883" y="17"/>
                  <a:pt x="883" y="17"/>
                </a:cubicBezTo>
                <a:cubicBezTo>
                  <a:pt x="878" y="18"/>
                  <a:pt x="878" y="18"/>
                  <a:pt x="878" y="18"/>
                </a:cubicBezTo>
                <a:cubicBezTo>
                  <a:pt x="877" y="20"/>
                  <a:pt x="877" y="20"/>
                  <a:pt x="877" y="20"/>
                </a:cubicBezTo>
                <a:cubicBezTo>
                  <a:pt x="879" y="22"/>
                  <a:pt x="879" y="22"/>
                  <a:pt x="879" y="22"/>
                </a:cubicBezTo>
                <a:cubicBezTo>
                  <a:pt x="879" y="23"/>
                  <a:pt x="879" y="23"/>
                  <a:pt x="879" y="23"/>
                </a:cubicBezTo>
                <a:cubicBezTo>
                  <a:pt x="878" y="25"/>
                  <a:pt x="878" y="25"/>
                  <a:pt x="878" y="25"/>
                </a:cubicBezTo>
                <a:cubicBezTo>
                  <a:pt x="877" y="22"/>
                  <a:pt x="877" y="22"/>
                  <a:pt x="877" y="22"/>
                </a:cubicBezTo>
                <a:cubicBezTo>
                  <a:pt x="876" y="21"/>
                  <a:pt x="876" y="21"/>
                  <a:pt x="876" y="21"/>
                </a:cubicBezTo>
                <a:cubicBezTo>
                  <a:pt x="875" y="19"/>
                  <a:pt x="875" y="19"/>
                  <a:pt x="875" y="19"/>
                </a:cubicBezTo>
                <a:cubicBezTo>
                  <a:pt x="873" y="19"/>
                  <a:pt x="873" y="19"/>
                  <a:pt x="873" y="19"/>
                </a:cubicBezTo>
                <a:cubicBezTo>
                  <a:pt x="872" y="21"/>
                  <a:pt x="872" y="21"/>
                  <a:pt x="872" y="21"/>
                </a:cubicBezTo>
                <a:cubicBezTo>
                  <a:pt x="872" y="22"/>
                  <a:pt x="872" y="22"/>
                  <a:pt x="872" y="22"/>
                </a:cubicBezTo>
                <a:cubicBezTo>
                  <a:pt x="871" y="23"/>
                  <a:pt x="871" y="23"/>
                  <a:pt x="871" y="23"/>
                </a:cubicBezTo>
                <a:cubicBezTo>
                  <a:pt x="871" y="21"/>
                  <a:pt x="871" y="21"/>
                  <a:pt x="871" y="21"/>
                </a:cubicBezTo>
                <a:cubicBezTo>
                  <a:pt x="871" y="20"/>
                  <a:pt x="871" y="20"/>
                  <a:pt x="871" y="20"/>
                </a:cubicBezTo>
                <a:cubicBezTo>
                  <a:pt x="870" y="19"/>
                  <a:pt x="870" y="19"/>
                  <a:pt x="870" y="19"/>
                </a:cubicBezTo>
                <a:cubicBezTo>
                  <a:pt x="867" y="20"/>
                  <a:pt x="867" y="20"/>
                  <a:pt x="867" y="20"/>
                </a:cubicBezTo>
                <a:cubicBezTo>
                  <a:pt x="866" y="22"/>
                  <a:pt x="866" y="22"/>
                  <a:pt x="866" y="22"/>
                </a:cubicBezTo>
                <a:cubicBezTo>
                  <a:pt x="867" y="23"/>
                  <a:pt x="867" y="23"/>
                  <a:pt x="867" y="23"/>
                </a:cubicBezTo>
                <a:cubicBezTo>
                  <a:pt x="869" y="25"/>
                  <a:pt x="869" y="25"/>
                  <a:pt x="869" y="25"/>
                </a:cubicBezTo>
                <a:cubicBezTo>
                  <a:pt x="871" y="27"/>
                  <a:pt x="871" y="27"/>
                  <a:pt x="871" y="27"/>
                </a:cubicBezTo>
                <a:cubicBezTo>
                  <a:pt x="873" y="29"/>
                  <a:pt x="873" y="29"/>
                  <a:pt x="873" y="29"/>
                </a:cubicBezTo>
                <a:cubicBezTo>
                  <a:pt x="872" y="29"/>
                  <a:pt x="872" y="29"/>
                  <a:pt x="872" y="29"/>
                </a:cubicBezTo>
                <a:cubicBezTo>
                  <a:pt x="869" y="27"/>
                  <a:pt x="869" y="27"/>
                  <a:pt x="869" y="27"/>
                </a:cubicBezTo>
                <a:cubicBezTo>
                  <a:pt x="866" y="24"/>
                  <a:pt x="866" y="24"/>
                  <a:pt x="866" y="24"/>
                </a:cubicBezTo>
                <a:cubicBezTo>
                  <a:pt x="865" y="24"/>
                  <a:pt x="865" y="24"/>
                  <a:pt x="865" y="24"/>
                </a:cubicBezTo>
                <a:cubicBezTo>
                  <a:pt x="865" y="25"/>
                  <a:pt x="865" y="25"/>
                  <a:pt x="865" y="25"/>
                </a:cubicBezTo>
                <a:cubicBezTo>
                  <a:pt x="861" y="25"/>
                  <a:pt x="861" y="25"/>
                  <a:pt x="861" y="25"/>
                </a:cubicBezTo>
                <a:cubicBezTo>
                  <a:pt x="861" y="25"/>
                  <a:pt x="861" y="25"/>
                  <a:pt x="861" y="25"/>
                </a:cubicBezTo>
                <a:cubicBezTo>
                  <a:pt x="862" y="26"/>
                  <a:pt x="862" y="26"/>
                  <a:pt x="862" y="26"/>
                </a:cubicBezTo>
                <a:cubicBezTo>
                  <a:pt x="864" y="26"/>
                  <a:pt x="864" y="26"/>
                  <a:pt x="864" y="26"/>
                </a:cubicBezTo>
                <a:cubicBezTo>
                  <a:pt x="864" y="28"/>
                  <a:pt x="864" y="28"/>
                  <a:pt x="864" y="28"/>
                </a:cubicBezTo>
                <a:cubicBezTo>
                  <a:pt x="865" y="30"/>
                  <a:pt x="865" y="30"/>
                  <a:pt x="865" y="30"/>
                </a:cubicBezTo>
                <a:cubicBezTo>
                  <a:pt x="868" y="31"/>
                  <a:pt x="868" y="31"/>
                  <a:pt x="868" y="31"/>
                </a:cubicBezTo>
                <a:cubicBezTo>
                  <a:pt x="868" y="33"/>
                  <a:pt x="868" y="33"/>
                  <a:pt x="868" y="33"/>
                </a:cubicBezTo>
                <a:cubicBezTo>
                  <a:pt x="869" y="34"/>
                  <a:pt x="869" y="34"/>
                  <a:pt x="869" y="34"/>
                </a:cubicBezTo>
                <a:cubicBezTo>
                  <a:pt x="868" y="34"/>
                  <a:pt x="868" y="34"/>
                  <a:pt x="868" y="34"/>
                </a:cubicBezTo>
                <a:cubicBezTo>
                  <a:pt x="866" y="32"/>
                  <a:pt x="866" y="32"/>
                  <a:pt x="866" y="32"/>
                </a:cubicBezTo>
                <a:cubicBezTo>
                  <a:pt x="864" y="31"/>
                  <a:pt x="864" y="31"/>
                  <a:pt x="864" y="31"/>
                </a:cubicBezTo>
                <a:cubicBezTo>
                  <a:pt x="863" y="29"/>
                  <a:pt x="863" y="29"/>
                  <a:pt x="863" y="29"/>
                </a:cubicBezTo>
                <a:cubicBezTo>
                  <a:pt x="862" y="28"/>
                  <a:pt x="862" y="28"/>
                  <a:pt x="862" y="28"/>
                </a:cubicBezTo>
                <a:cubicBezTo>
                  <a:pt x="859" y="27"/>
                  <a:pt x="859" y="27"/>
                  <a:pt x="859" y="27"/>
                </a:cubicBezTo>
                <a:cubicBezTo>
                  <a:pt x="858" y="29"/>
                  <a:pt x="858" y="29"/>
                  <a:pt x="858" y="29"/>
                </a:cubicBezTo>
                <a:cubicBezTo>
                  <a:pt x="858" y="30"/>
                  <a:pt x="858" y="30"/>
                  <a:pt x="858" y="30"/>
                </a:cubicBezTo>
                <a:cubicBezTo>
                  <a:pt x="856" y="33"/>
                  <a:pt x="856" y="33"/>
                  <a:pt x="856" y="33"/>
                </a:cubicBezTo>
                <a:cubicBezTo>
                  <a:pt x="855" y="36"/>
                  <a:pt x="855" y="36"/>
                  <a:pt x="855" y="36"/>
                </a:cubicBezTo>
                <a:cubicBezTo>
                  <a:pt x="857" y="38"/>
                  <a:pt x="857" y="38"/>
                  <a:pt x="857" y="38"/>
                </a:cubicBezTo>
                <a:cubicBezTo>
                  <a:pt x="855" y="38"/>
                  <a:pt x="855" y="38"/>
                  <a:pt x="855" y="38"/>
                </a:cubicBezTo>
                <a:cubicBezTo>
                  <a:pt x="854" y="39"/>
                  <a:pt x="854" y="39"/>
                  <a:pt x="854" y="39"/>
                </a:cubicBezTo>
                <a:cubicBezTo>
                  <a:pt x="855" y="41"/>
                  <a:pt x="855" y="41"/>
                  <a:pt x="855" y="41"/>
                </a:cubicBezTo>
                <a:cubicBezTo>
                  <a:pt x="856" y="43"/>
                  <a:pt x="856" y="43"/>
                  <a:pt x="856" y="43"/>
                </a:cubicBezTo>
                <a:cubicBezTo>
                  <a:pt x="857" y="43"/>
                  <a:pt x="857" y="43"/>
                  <a:pt x="857" y="43"/>
                </a:cubicBezTo>
                <a:cubicBezTo>
                  <a:pt x="861" y="40"/>
                  <a:pt x="861" y="40"/>
                  <a:pt x="861" y="40"/>
                </a:cubicBezTo>
                <a:cubicBezTo>
                  <a:pt x="862" y="41"/>
                  <a:pt x="862" y="41"/>
                  <a:pt x="862" y="41"/>
                </a:cubicBezTo>
                <a:cubicBezTo>
                  <a:pt x="863" y="42"/>
                  <a:pt x="863" y="42"/>
                  <a:pt x="863" y="42"/>
                </a:cubicBezTo>
                <a:cubicBezTo>
                  <a:pt x="861" y="42"/>
                  <a:pt x="861" y="42"/>
                  <a:pt x="861" y="42"/>
                </a:cubicBezTo>
                <a:cubicBezTo>
                  <a:pt x="860" y="43"/>
                  <a:pt x="860" y="43"/>
                  <a:pt x="860" y="43"/>
                </a:cubicBezTo>
                <a:cubicBezTo>
                  <a:pt x="860" y="44"/>
                  <a:pt x="860" y="44"/>
                  <a:pt x="860" y="44"/>
                </a:cubicBezTo>
                <a:cubicBezTo>
                  <a:pt x="859" y="44"/>
                  <a:pt x="859" y="44"/>
                  <a:pt x="859" y="44"/>
                </a:cubicBezTo>
                <a:cubicBezTo>
                  <a:pt x="858" y="46"/>
                  <a:pt x="858" y="46"/>
                  <a:pt x="858" y="46"/>
                </a:cubicBezTo>
                <a:cubicBezTo>
                  <a:pt x="858" y="47"/>
                  <a:pt x="858" y="47"/>
                  <a:pt x="858" y="47"/>
                </a:cubicBezTo>
                <a:cubicBezTo>
                  <a:pt x="856" y="49"/>
                  <a:pt x="856" y="49"/>
                  <a:pt x="856" y="49"/>
                </a:cubicBezTo>
                <a:cubicBezTo>
                  <a:pt x="855" y="48"/>
                  <a:pt x="855" y="48"/>
                  <a:pt x="855" y="48"/>
                </a:cubicBezTo>
                <a:cubicBezTo>
                  <a:pt x="856" y="47"/>
                  <a:pt x="856" y="47"/>
                  <a:pt x="856" y="47"/>
                </a:cubicBezTo>
                <a:cubicBezTo>
                  <a:pt x="855" y="44"/>
                  <a:pt x="855" y="44"/>
                  <a:pt x="855" y="44"/>
                </a:cubicBezTo>
                <a:cubicBezTo>
                  <a:pt x="853" y="44"/>
                  <a:pt x="853" y="44"/>
                  <a:pt x="853" y="44"/>
                </a:cubicBezTo>
                <a:cubicBezTo>
                  <a:pt x="852" y="46"/>
                  <a:pt x="852" y="46"/>
                  <a:pt x="852" y="46"/>
                </a:cubicBezTo>
                <a:cubicBezTo>
                  <a:pt x="853" y="47"/>
                  <a:pt x="853" y="47"/>
                  <a:pt x="853" y="47"/>
                </a:cubicBezTo>
                <a:cubicBezTo>
                  <a:pt x="851" y="48"/>
                  <a:pt x="851" y="48"/>
                  <a:pt x="851" y="48"/>
                </a:cubicBezTo>
                <a:cubicBezTo>
                  <a:pt x="849" y="49"/>
                  <a:pt x="849" y="49"/>
                  <a:pt x="849" y="49"/>
                </a:cubicBezTo>
                <a:cubicBezTo>
                  <a:pt x="848" y="50"/>
                  <a:pt x="848" y="50"/>
                  <a:pt x="848" y="50"/>
                </a:cubicBezTo>
                <a:cubicBezTo>
                  <a:pt x="848" y="48"/>
                  <a:pt x="848" y="48"/>
                  <a:pt x="848" y="48"/>
                </a:cubicBezTo>
                <a:cubicBezTo>
                  <a:pt x="847" y="49"/>
                  <a:pt x="847" y="49"/>
                  <a:pt x="847" y="49"/>
                </a:cubicBezTo>
                <a:cubicBezTo>
                  <a:pt x="847" y="51"/>
                  <a:pt x="847" y="51"/>
                  <a:pt x="847" y="51"/>
                </a:cubicBezTo>
                <a:cubicBezTo>
                  <a:pt x="848" y="53"/>
                  <a:pt x="848" y="53"/>
                  <a:pt x="848" y="53"/>
                </a:cubicBezTo>
                <a:cubicBezTo>
                  <a:pt x="848" y="55"/>
                  <a:pt x="848" y="55"/>
                  <a:pt x="848" y="55"/>
                </a:cubicBezTo>
                <a:cubicBezTo>
                  <a:pt x="849" y="56"/>
                  <a:pt x="849" y="56"/>
                  <a:pt x="849" y="56"/>
                </a:cubicBezTo>
                <a:cubicBezTo>
                  <a:pt x="849" y="59"/>
                  <a:pt x="849" y="59"/>
                  <a:pt x="849" y="59"/>
                </a:cubicBezTo>
                <a:cubicBezTo>
                  <a:pt x="850" y="59"/>
                  <a:pt x="850" y="59"/>
                  <a:pt x="850" y="59"/>
                </a:cubicBezTo>
                <a:cubicBezTo>
                  <a:pt x="851" y="60"/>
                  <a:pt x="851" y="60"/>
                  <a:pt x="851" y="60"/>
                </a:cubicBezTo>
                <a:cubicBezTo>
                  <a:pt x="851" y="61"/>
                  <a:pt x="851" y="61"/>
                  <a:pt x="851" y="61"/>
                </a:cubicBezTo>
                <a:cubicBezTo>
                  <a:pt x="852" y="62"/>
                  <a:pt x="852" y="62"/>
                  <a:pt x="852" y="62"/>
                </a:cubicBezTo>
                <a:cubicBezTo>
                  <a:pt x="852" y="64"/>
                  <a:pt x="852" y="64"/>
                  <a:pt x="852" y="64"/>
                </a:cubicBezTo>
                <a:cubicBezTo>
                  <a:pt x="850" y="65"/>
                  <a:pt x="850" y="65"/>
                  <a:pt x="850" y="65"/>
                </a:cubicBezTo>
                <a:cubicBezTo>
                  <a:pt x="849" y="67"/>
                  <a:pt x="849" y="67"/>
                  <a:pt x="849" y="67"/>
                </a:cubicBezTo>
                <a:cubicBezTo>
                  <a:pt x="848" y="70"/>
                  <a:pt x="848" y="70"/>
                  <a:pt x="848" y="70"/>
                </a:cubicBezTo>
                <a:cubicBezTo>
                  <a:pt x="847" y="71"/>
                  <a:pt x="847" y="71"/>
                  <a:pt x="847" y="71"/>
                </a:cubicBezTo>
                <a:cubicBezTo>
                  <a:pt x="845" y="75"/>
                  <a:pt x="845" y="75"/>
                  <a:pt x="845" y="75"/>
                </a:cubicBezTo>
                <a:cubicBezTo>
                  <a:pt x="845" y="76"/>
                  <a:pt x="845" y="76"/>
                  <a:pt x="845" y="76"/>
                </a:cubicBezTo>
                <a:cubicBezTo>
                  <a:pt x="843" y="79"/>
                  <a:pt x="843" y="79"/>
                  <a:pt x="843" y="79"/>
                </a:cubicBezTo>
                <a:cubicBezTo>
                  <a:pt x="843" y="78"/>
                  <a:pt x="843" y="78"/>
                  <a:pt x="843" y="78"/>
                </a:cubicBezTo>
                <a:cubicBezTo>
                  <a:pt x="843" y="76"/>
                  <a:pt x="843" y="76"/>
                  <a:pt x="843" y="76"/>
                </a:cubicBezTo>
                <a:cubicBezTo>
                  <a:pt x="844" y="73"/>
                  <a:pt x="844" y="73"/>
                  <a:pt x="844" y="73"/>
                </a:cubicBezTo>
                <a:cubicBezTo>
                  <a:pt x="846" y="71"/>
                  <a:pt x="846" y="71"/>
                  <a:pt x="846" y="71"/>
                </a:cubicBezTo>
                <a:cubicBezTo>
                  <a:pt x="845" y="71"/>
                  <a:pt x="845" y="71"/>
                  <a:pt x="845" y="71"/>
                </a:cubicBezTo>
                <a:cubicBezTo>
                  <a:pt x="845" y="71"/>
                  <a:pt x="845" y="71"/>
                  <a:pt x="845" y="71"/>
                </a:cubicBezTo>
                <a:cubicBezTo>
                  <a:pt x="843" y="71"/>
                  <a:pt x="843" y="71"/>
                  <a:pt x="843" y="71"/>
                </a:cubicBezTo>
                <a:cubicBezTo>
                  <a:pt x="842" y="70"/>
                  <a:pt x="842" y="70"/>
                  <a:pt x="842" y="70"/>
                </a:cubicBezTo>
                <a:cubicBezTo>
                  <a:pt x="841" y="69"/>
                  <a:pt x="841" y="69"/>
                  <a:pt x="841" y="69"/>
                </a:cubicBezTo>
                <a:cubicBezTo>
                  <a:pt x="842" y="69"/>
                  <a:pt x="842" y="69"/>
                  <a:pt x="842" y="69"/>
                </a:cubicBezTo>
                <a:cubicBezTo>
                  <a:pt x="844" y="68"/>
                  <a:pt x="844" y="68"/>
                  <a:pt x="844" y="68"/>
                </a:cubicBezTo>
                <a:cubicBezTo>
                  <a:pt x="845" y="68"/>
                  <a:pt x="845" y="68"/>
                  <a:pt x="845" y="68"/>
                </a:cubicBezTo>
                <a:cubicBezTo>
                  <a:pt x="845" y="67"/>
                  <a:pt x="845" y="67"/>
                  <a:pt x="845" y="67"/>
                </a:cubicBezTo>
                <a:cubicBezTo>
                  <a:pt x="846" y="67"/>
                  <a:pt x="846" y="67"/>
                  <a:pt x="846" y="67"/>
                </a:cubicBezTo>
                <a:cubicBezTo>
                  <a:pt x="847" y="69"/>
                  <a:pt x="847" y="69"/>
                  <a:pt x="847" y="69"/>
                </a:cubicBezTo>
                <a:cubicBezTo>
                  <a:pt x="847" y="67"/>
                  <a:pt x="847" y="67"/>
                  <a:pt x="847" y="67"/>
                </a:cubicBezTo>
                <a:cubicBezTo>
                  <a:pt x="847" y="65"/>
                  <a:pt x="847" y="65"/>
                  <a:pt x="847" y="65"/>
                </a:cubicBezTo>
                <a:cubicBezTo>
                  <a:pt x="846" y="64"/>
                  <a:pt x="846" y="64"/>
                  <a:pt x="846" y="64"/>
                </a:cubicBezTo>
                <a:cubicBezTo>
                  <a:pt x="845" y="63"/>
                  <a:pt x="845" y="63"/>
                  <a:pt x="845" y="63"/>
                </a:cubicBezTo>
                <a:cubicBezTo>
                  <a:pt x="843" y="60"/>
                  <a:pt x="843" y="60"/>
                  <a:pt x="843" y="60"/>
                </a:cubicBezTo>
                <a:cubicBezTo>
                  <a:pt x="843" y="58"/>
                  <a:pt x="843" y="58"/>
                  <a:pt x="843" y="58"/>
                </a:cubicBezTo>
                <a:cubicBezTo>
                  <a:pt x="843" y="57"/>
                  <a:pt x="843" y="57"/>
                  <a:pt x="843" y="57"/>
                </a:cubicBezTo>
                <a:cubicBezTo>
                  <a:pt x="842" y="54"/>
                  <a:pt x="842" y="54"/>
                  <a:pt x="842" y="54"/>
                </a:cubicBezTo>
                <a:cubicBezTo>
                  <a:pt x="841" y="52"/>
                  <a:pt x="841" y="52"/>
                  <a:pt x="841" y="52"/>
                </a:cubicBezTo>
                <a:cubicBezTo>
                  <a:pt x="841" y="50"/>
                  <a:pt x="841" y="50"/>
                  <a:pt x="841" y="50"/>
                </a:cubicBezTo>
                <a:cubicBezTo>
                  <a:pt x="842" y="50"/>
                  <a:pt x="842" y="50"/>
                  <a:pt x="842" y="50"/>
                </a:cubicBezTo>
                <a:cubicBezTo>
                  <a:pt x="844" y="47"/>
                  <a:pt x="844" y="47"/>
                  <a:pt x="844" y="47"/>
                </a:cubicBezTo>
                <a:cubicBezTo>
                  <a:pt x="844" y="45"/>
                  <a:pt x="844" y="45"/>
                  <a:pt x="844" y="45"/>
                </a:cubicBezTo>
                <a:cubicBezTo>
                  <a:pt x="846" y="43"/>
                  <a:pt x="846" y="43"/>
                  <a:pt x="846" y="43"/>
                </a:cubicBezTo>
                <a:cubicBezTo>
                  <a:pt x="847" y="41"/>
                  <a:pt x="847" y="41"/>
                  <a:pt x="847" y="41"/>
                </a:cubicBezTo>
                <a:cubicBezTo>
                  <a:pt x="849" y="40"/>
                  <a:pt x="849" y="40"/>
                  <a:pt x="849" y="40"/>
                </a:cubicBezTo>
                <a:cubicBezTo>
                  <a:pt x="849" y="38"/>
                  <a:pt x="849" y="38"/>
                  <a:pt x="849" y="38"/>
                </a:cubicBezTo>
                <a:cubicBezTo>
                  <a:pt x="848" y="37"/>
                  <a:pt x="848" y="37"/>
                  <a:pt x="848" y="37"/>
                </a:cubicBezTo>
                <a:cubicBezTo>
                  <a:pt x="847" y="35"/>
                  <a:pt x="847" y="35"/>
                  <a:pt x="847" y="35"/>
                </a:cubicBezTo>
                <a:cubicBezTo>
                  <a:pt x="847" y="33"/>
                  <a:pt x="847" y="33"/>
                  <a:pt x="847" y="33"/>
                </a:cubicBezTo>
                <a:cubicBezTo>
                  <a:pt x="849" y="29"/>
                  <a:pt x="849" y="29"/>
                  <a:pt x="849" y="29"/>
                </a:cubicBezTo>
                <a:cubicBezTo>
                  <a:pt x="850" y="28"/>
                  <a:pt x="850" y="28"/>
                  <a:pt x="850" y="28"/>
                </a:cubicBezTo>
                <a:cubicBezTo>
                  <a:pt x="853" y="26"/>
                  <a:pt x="853" y="26"/>
                  <a:pt x="853" y="26"/>
                </a:cubicBezTo>
                <a:cubicBezTo>
                  <a:pt x="857" y="22"/>
                  <a:pt x="857" y="22"/>
                  <a:pt x="857" y="22"/>
                </a:cubicBezTo>
                <a:cubicBezTo>
                  <a:pt x="861" y="18"/>
                  <a:pt x="861" y="18"/>
                  <a:pt x="861" y="18"/>
                </a:cubicBezTo>
                <a:cubicBezTo>
                  <a:pt x="863" y="18"/>
                  <a:pt x="863" y="18"/>
                  <a:pt x="863" y="18"/>
                </a:cubicBezTo>
                <a:cubicBezTo>
                  <a:pt x="864" y="16"/>
                  <a:pt x="864" y="16"/>
                  <a:pt x="864" y="16"/>
                </a:cubicBezTo>
                <a:cubicBezTo>
                  <a:pt x="865" y="14"/>
                  <a:pt x="865" y="14"/>
                  <a:pt x="865" y="14"/>
                </a:cubicBezTo>
                <a:cubicBezTo>
                  <a:pt x="867" y="14"/>
                  <a:pt x="867" y="14"/>
                  <a:pt x="867" y="14"/>
                </a:cubicBezTo>
                <a:cubicBezTo>
                  <a:pt x="871" y="13"/>
                  <a:pt x="871" y="13"/>
                  <a:pt x="871" y="13"/>
                </a:cubicBezTo>
                <a:cubicBezTo>
                  <a:pt x="873" y="12"/>
                  <a:pt x="873" y="12"/>
                  <a:pt x="873" y="12"/>
                </a:cubicBezTo>
                <a:cubicBezTo>
                  <a:pt x="874" y="10"/>
                  <a:pt x="874" y="10"/>
                  <a:pt x="874" y="10"/>
                </a:cubicBezTo>
                <a:cubicBezTo>
                  <a:pt x="873" y="9"/>
                  <a:pt x="873" y="9"/>
                  <a:pt x="873" y="9"/>
                </a:cubicBezTo>
                <a:cubicBezTo>
                  <a:pt x="869" y="7"/>
                  <a:pt x="869" y="7"/>
                  <a:pt x="869" y="7"/>
                </a:cubicBezTo>
                <a:cubicBezTo>
                  <a:pt x="867" y="5"/>
                  <a:pt x="867" y="5"/>
                  <a:pt x="867" y="5"/>
                </a:cubicBezTo>
                <a:cubicBezTo>
                  <a:pt x="864" y="5"/>
                  <a:pt x="864" y="5"/>
                  <a:pt x="864" y="5"/>
                </a:cubicBezTo>
                <a:cubicBezTo>
                  <a:pt x="863" y="5"/>
                  <a:pt x="863" y="5"/>
                  <a:pt x="863" y="5"/>
                </a:cubicBezTo>
                <a:cubicBezTo>
                  <a:pt x="861" y="5"/>
                  <a:pt x="861" y="5"/>
                  <a:pt x="861" y="5"/>
                </a:cubicBezTo>
                <a:cubicBezTo>
                  <a:pt x="859" y="5"/>
                  <a:pt x="859" y="5"/>
                  <a:pt x="859" y="5"/>
                </a:cubicBezTo>
                <a:cubicBezTo>
                  <a:pt x="857" y="5"/>
                  <a:pt x="857" y="5"/>
                  <a:pt x="857" y="5"/>
                </a:cubicBezTo>
                <a:cubicBezTo>
                  <a:pt x="853" y="6"/>
                  <a:pt x="853" y="6"/>
                  <a:pt x="853" y="6"/>
                </a:cubicBezTo>
                <a:cubicBezTo>
                  <a:pt x="848" y="7"/>
                  <a:pt x="848" y="7"/>
                  <a:pt x="848" y="7"/>
                </a:cubicBezTo>
                <a:cubicBezTo>
                  <a:pt x="844" y="10"/>
                  <a:pt x="844" y="10"/>
                  <a:pt x="844" y="10"/>
                </a:cubicBezTo>
                <a:cubicBezTo>
                  <a:pt x="841" y="12"/>
                  <a:pt x="841" y="12"/>
                  <a:pt x="841" y="12"/>
                </a:cubicBezTo>
                <a:cubicBezTo>
                  <a:pt x="840" y="14"/>
                  <a:pt x="840" y="14"/>
                  <a:pt x="840" y="14"/>
                </a:cubicBezTo>
                <a:cubicBezTo>
                  <a:pt x="841" y="16"/>
                  <a:pt x="841" y="16"/>
                  <a:pt x="841" y="16"/>
                </a:cubicBezTo>
                <a:cubicBezTo>
                  <a:pt x="840" y="15"/>
                  <a:pt x="840" y="15"/>
                  <a:pt x="840" y="15"/>
                </a:cubicBezTo>
                <a:cubicBezTo>
                  <a:pt x="838" y="15"/>
                  <a:pt x="838" y="15"/>
                  <a:pt x="838" y="15"/>
                </a:cubicBezTo>
                <a:cubicBezTo>
                  <a:pt x="837" y="17"/>
                  <a:pt x="837" y="17"/>
                  <a:pt x="837" y="17"/>
                </a:cubicBezTo>
                <a:cubicBezTo>
                  <a:pt x="835" y="17"/>
                  <a:pt x="835" y="17"/>
                  <a:pt x="835" y="17"/>
                </a:cubicBezTo>
                <a:cubicBezTo>
                  <a:pt x="833" y="19"/>
                  <a:pt x="833" y="19"/>
                  <a:pt x="833" y="19"/>
                </a:cubicBezTo>
                <a:cubicBezTo>
                  <a:pt x="833" y="21"/>
                  <a:pt x="833" y="21"/>
                  <a:pt x="833" y="21"/>
                </a:cubicBezTo>
                <a:lnTo>
                  <a:pt x="832" y="21"/>
                </a:lnTo>
                <a:close/>
                <a:moveTo>
                  <a:pt x="981" y="509"/>
                </a:moveTo>
                <a:cubicBezTo>
                  <a:pt x="982" y="509"/>
                  <a:pt x="982" y="509"/>
                  <a:pt x="982" y="509"/>
                </a:cubicBezTo>
                <a:cubicBezTo>
                  <a:pt x="982" y="507"/>
                  <a:pt x="982" y="507"/>
                  <a:pt x="982" y="507"/>
                </a:cubicBezTo>
                <a:cubicBezTo>
                  <a:pt x="982" y="507"/>
                  <a:pt x="982" y="507"/>
                  <a:pt x="982" y="507"/>
                </a:cubicBezTo>
                <a:cubicBezTo>
                  <a:pt x="981" y="506"/>
                  <a:pt x="981" y="506"/>
                  <a:pt x="981" y="506"/>
                </a:cubicBezTo>
                <a:cubicBezTo>
                  <a:pt x="981" y="505"/>
                  <a:pt x="981" y="505"/>
                  <a:pt x="981" y="505"/>
                </a:cubicBezTo>
                <a:cubicBezTo>
                  <a:pt x="982" y="504"/>
                  <a:pt x="982" y="504"/>
                  <a:pt x="982" y="504"/>
                </a:cubicBezTo>
                <a:cubicBezTo>
                  <a:pt x="982" y="503"/>
                  <a:pt x="982" y="503"/>
                  <a:pt x="982" y="503"/>
                </a:cubicBezTo>
                <a:cubicBezTo>
                  <a:pt x="981" y="502"/>
                  <a:pt x="981" y="502"/>
                  <a:pt x="981" y="502"/>
                </a:cubicBezTo>
                <a:cubicBezTo>
                  <a:pt x="981" y="502"/>
                  <a:pt x="981" y="502"/>
                  <a:pt x="981" y="502"/>
                </a:cubicBezTo>
                <a:cubicBezTo>
                  <a:pt x="981" y="502"/>
                  <a:pt x="981" y="502"/>
                  <a:pt x="981" y="502"/>
                </a:cubicBezTo>
                <a:cubicBezTo>
                  <a:pt x="980" y="503"/>
                  <a:pt x="980" y="503"/>
                  <a:pt x="980" y="503"/>
                </a:cubicBezTo>
                <a:cubicBezTo>
                  <a:pt x="981" y="505"/>
                  <a:pt x="981" y="505"/>
                  <a:pt x="981" y="505"/>
                </a:cubicBezTo>
                <a:cubicBezTo>
                  <a:pt x="981" y="506"/>
                  <a:pt x="981" y="506"/>
                  <a:pt x="981" y="506"/>
                </a:cubicBezTo>
                <a:cubicBezTo>
                  <a:pt x="981" y="508"/>
                  <a:pt x="981" y="508"/>
                  <a:pt x="981" y="508"/>
                </a:cubicBezTo>
                <a:lnTo>
                  <a:pt x="981" y="509"/>
                </a:lnTo>
                <a:close/>
                <a:moveTo>
                  <a:pt x="889" y="144"/>
                </a:moveTo>
                <a:cubicBezTo>
                  <a:pt x="887" y="145"/>
                  <a:pt x="887" y="145"/>
                  <a:pt x="887" y="145"/>
                </a:cubicBezTo>
                <a:cubicBezTo>
                  <a:pt x="884" y="150"/>
                  <a:pt x="884" y="150"/>
                  <a:pt x="884" y="150"/>
                </a:cubicBezTo>
                <a:cubicBezTo>
                  <a:pt x="883" y="151"/>
                  <a:pt x="883" y="151"/>
                  <a:pt x="883" y="151"/>
                </a:cubicBezTo>
                <a:cubicBezTo>
                  <a:pt x="882" y="153"/>
                  <a:pt x="882" y="153"/>
                  <a:pt x="882" y="153"/>
                </a:cubicBezTo>
                <a:cubicBezTo>
                  <a:pt x="879" y="155"/>
                  <a:pt x="879" y="155"/>
                  <a:pt x="879" y="155"/>
                </a:cubicBezTo>
                <a:cubicBezTo>
                  <a:pt x="879" y="158"/>
                  <a:pt x="879" y="158"/>
                  <a:pt x="879" y="158"/>
                </a:cubicBezTo>
                <a:cubicBezTo>
                  <a:pt x="879" y="160"/>
                  <a:pt x="879" y="160"/>
                  <a:pt x="879" y="160"/>
                </a:cubicBezTo>
                <a:cubicBezTo>
                  <a:pt x="879" y="161"/>
                  <a:pt x="879" y="161"/>
                  <a:pt x="879" y="161"/>
                </a:cubicBezTo>
                <a:cubicBezTo>
                  <a:pt x="879" y="163"/>
                  <a:pt x="879" y="163"/>
                  <a:pt x="879" y="163"/>
                </a:cubicBezTo>
                <a:cubicBezTo>
                  <a:pt x="879" y="164"/>
                  <a:pt x="879" y="164"/>
                  <a:pt x="879" y="164"/>
                </a:cubicBezTo>
                <a:cubicBezTo>
                  <a:pt x="880" y="164"/>
                  <a:pt x="880" y="164"/>
                  <a:pt x="880" y="164"/>
                </a:cubicBezTo>
                <a:cubicBezTo>
                  <a:pt x="882" y="164"/>
                  <a:pt x="882" y="164"/>
                  <a:pt x="882" y="164"/>
                </a:cubicBezTo>
                <a:cubicBezTo>
                  <a:pt x="885" y="164"/>
                  <a:pt x="885" y="164"/>
                  <a:pt x="885" y="164"/>
                </a:cubicBezTo>
                <a:cubicBezTo>
                  <a:pt x="886" y="164"/>
                  <a:pt x="886" y="164"/>
                  <a:pt x="886" y="164"/>
                </a:cubicBezTo>
                <a:cubicBezTo>
                  <a:pt x="888" y="164"/>
                  <a:pt x="888" y="164"/>
                  <a:pt x="888" y="164"/>
                </a:cubicBezTo>
                <a:cubicBezTo>
                  <a:pt x="889" y="163"/>
                  <a:pt x="889" y="163"/>
                  <a:pt x="889" y="163"/>
                </a:cubicBezTo>
                <a:cubicBezTo>
                  <a:pt x="890" y="163"/>
                  <a:pt x="890" y="163"/>
                  <a:pt x="890" y="163"/>
                </a:cubicBezTo>
                <a:cubicBezTo>
                  <a:pt x="892" y="161"/>
                  <a:pt x="892" y="161"/>
                  <a:pt x="892" y="161"/>
                </a:cubicBezTo>
                <a:cubicBezTo>
                  <a:pt x="894" y="161"/>
                  <a:pt x="894" y="161"/>
                  <a:pt x="894" y="161"/>
                </a:cubicBezTo>
                <a:cubicBezTo>
                  <a:pt x="895" y="159"/>
                  <a:pt x="895" y="159"/>
                  <a:pt x="895" y="159"/>
                </a:cubicBezTo>
                <a:cubicBezTo>
                  <a:pt x="898" y="155"/>
                  <a:pt x="898" y="155"/>
                  <a:pt x="898" y="155"/>
                </a:cubicBezTo>
                <a:cubicBezTo>
                  <a:pt x="898" y="153"/>
                  <a:pt x="898" y="153"/>
                  <a:pt x="898" y="153"/>
                </a:cubicBezTo>
                <a:cubicBezTo>
                  <a:pt x="899" y="151"/>
                  <a:pt x="899" y="151"/>
                  <a:pt x="899" y="151"/>
                </a:cubicBezTo>
                <a:cubicBezTo>
                  <a:pt x="900" y="150"/>
                  <a:pt x="900" y="150"/>
                  <a:pt x="900" y="150"/>
                </a:cubicBezTo>
                <a:cubicBezTo>
                  <a:pt x="900" y="148"/>
                  <a:pt x="900" y="148"/>
                  <a:pt x="900" y="148"/>
                </a:cubicBezTo>
                <a:cubicBezTo>
                  <a:pt x="900" y="146"/>
                  <a:pt x="900" y="146"/>
                  <a:pt x="900" y="146"/>
                </a:cubicBezTo>
                <a:cubicBezTo>
                  <a:pt x="898" y="145"/>
                  <a:pt x="898" y="145"/>
                  <a:pt x="898" y="145"/>
                </a:cubicBezTo>
                <a:cubicBezTo>
                  <a:pt x="897" y="145"/>
                  <a:pt x="897" y="145"/>
                  <a:pt x="897" y="145"/>
                </a:cubicBezTo>
                <a:cubicBezTo>
                  <a:pt x="896" y="143"/>
                  <a:pt x="896" y="143"/>
                  <a:pt x="896" y="143"/>
                </a:cubicBezTo>
                <a:cubicBezTo>
                  <a:pt x="894" y="143"/>
                  <a:pt x="894" y="143"/>
                  <a:pt x="894" y="143"/>
                </a:cubicBezTo>
                <a:cubicBezTo>
                  <a:pt x="892" y="144"/>
                  <a:pt x="892" y="144"/>
                  <a:pt x="892" y="144"/>
                </a:cubicBezTo>
                <a:cubicBezTo>
                  <a:pt x="891" y="143"/>
                  <a:pt x="891" y="143"/>
                  <a:pt x="891" y="143"/>
                </a:cubicBezTo>
                <a:cubicBezTo>
                  <a:pt x="890" y="144"/>
                  <a:pt x="890" y="144"/>
                  <a:pt x="890" y="144"/>
                </a:cubicBezTo>
                <a:lnTo>
                  <a:pt x="889" y="144"/>
                </a:lnTo>
                <a:close/>
                <a:moveTo>
                  <a:pt x="893" y="128"/>
                </a:moveTo>
                <a:cubicBezTo>
                  <a:pt x="894" y="126"/>
                  <a:pt x="894" y="126"/>
                  <a:pt x="894" y="126"/>
                </a:cubicBezTo>
                <a:cubicBezTo>
                  <a:pt x="896" y="126"/>
                  <a:pt x="896" y="126"/>
                  <a:pt x="896" y="126"/>
                </a:cubicBezTo>
                <a:cubicBezTo>
                  <a:pt x="896" y="125"/>
                  <a:pt x="896" y="125"/>
                  <a:pt x="896" y="125"/>
                </a:cubicBezTo>
                <a:cubicBezTo>
                  <a:pt x="896" y="122"/>
                  <a:pt x="896" y="122"/>
                  <a:pt x="896" y="122"/>
                </a:cubicBezTo>
                <a:cubicBezTo>
                  <a:pt x="894" y="122"/>
                  <a:pt x="894" y="122"/>
                  <a:pt x="894" y="122"/>
                </a:cubicBezTo>
                <a:cubicBezTo>
                  <a:pt x="893" y="122"/>
                  <a:pt x="893" y="122"/>
                  <a:pt x="893" y="122"/>
                </a:cubicBezTo>
                <a:cubicBezTo>
                  <a:pt x="892" y="124"/>
                  <a:pt x="892" y="124"/>
                  <a:pt x="892" y="124"/>
                </a:cubicBezTo>
                <a:cubicBezTo>
                  <a:pt x="891" y="125"/>
                  <a:pt x="891" y="125"/>
                  <a:pt x="891" y="125"/>
                </a:cubicBezTo>
                <a:cubicBezTo>
                  <a:pt x="891" y="128"/>
                  <a:pt x="891" y="128"/>
                  <a:pt x="891" y="128"/>
                </a:cubicBezTo>
                <a:lnTo>
                  <a:pt x="893" y="128"/>
                </a:lnTo>
                <a:close/>
              </a:path>
            </a:pathLst>
          </a:custGeom>
          <a:solidFill>
            <a:schemeClr val="bg1">
              <a:lumMod val="75000"/>
            </a:schemeClr>
          </a:solidFill>
          <a:ln>
            <a:noFill/>
          </a:ln>
        </p:spPr>
        <p:txBody>
          <a:bodyPr vert="horz" wrap="square" lIns="121903" tIns="60952" rIns="121903" bIns="60952" numCol="1" anchor="t" anchorCtr="0" compatLnSpc="1">
            <a:prstTxWarp prst="textNoShape">
              <a:avLst/>
            </a:prstTxWarp>
          </a:bodyPr>
          <a:lstStyle/>
          <a:p>
            <a:pPr marL="0" marR="0" lvl="0" indent="0" algn="l" defTabSz="121893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 name="Rectangle 1">
            <a:extLst>
              <a:ext uri="{FF2B5EF4-FFF2-40B4-BE49-F238E27FC236}">
                <a16:creationId xmlns:a16="http://schemas.microsoft.com/office/drawing/2014/main" id="{1C944E01-D6CE-42A2-A35B-AACCA0723B21}"/>
              </a:ext>
            </a:extLst>
          </p:cNvPr>
          <p:cNvSpPr/>
          <p:nvPr/>
        </p:nvSpPr>
        <p:spPr bwMode="auto">
          <a:xfrm>
            <a:off x="1" y="486"/>
            <a:ext cx="1954222" cy="6857028"/>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6" name="Straight Connector 45">
            <a:extLst>
              <a:ext uri="{FF2B5EF4-FFF2-40B4-BE49-F238E27FC236}">
                <a16:creationId xmlns:a16="http://schemas.microsoft.com/office/drawing/2014/main" id="{D075AD67-B61E-4831-83EC-2AF66D0FDBB2}"/>
              </a:ext>
            </a:extLst>
          </p:cNvPr>
          <p:cNvCxnSpPr>
            <a:cxnSpLocks/>
          </p:cNvCxnSpPr>
          <p:nvPr/>
        </p:nvCxnSpPr>
        <p:spPr>
          <a:xfrm>
            <a:off x="1954222" y="487"/>
            <a:ext cx="0" cy="6888317"/>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94" name="Oval 93">
            <a:extLst>
              <a:ext uri="{FF2B5EF4-FFF2-40B4-BE49-F238E27FC236}">
                <a16:creationId xmlns:a16="http://schemas.microsoft.com/office/drawing/2014/main" id="{873EBAA1-18BA-452A-8502-5375E15D996A}"/>
              </a:ext>
            </a:extLst>
          </p:cNvPr>
          <p:cNvSpPr/>
          <p:nvPr/>
        </p:nvSpPr>
        <p:spPr bwMode="auto">
          <a:xfrm>
            <a:off x="9782332" y="3073328"/>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95" name="Oval 94">
            <a:extLst>
              <a:ext uri="{FF2B5EF4-FFF2-40B4-BE49-F238E27FC236}">
                <a16:creationId xmlns:a16="http://schemas.microsoft.com/office/drawing/2014/main" id="{6A65532B-4FC6-40DC-AE1B-CFC155C29A02}"/>
              </a:ext>
            </a:extLst>
          </p:cNvPr>
          <p:cNvSpPr/>
          <p:nvPr/>
        </p:nvSpPr>
        <p:spPr bwMode="auto">
          <a:xfrm>
            <a:off x="10071764" y="1689361"/>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96" name="Oval 95">
            <a:extLst>
              <a:ext uri="{FF2B5EF4-FFF2-40B4-BE49-F238E27FC236}">
                <a16:creationId xmlns:a16="http://schemas.microsoft.com/office/drawing/2014/main" id="{C0438A4C-69AF-4AC0-96E3-7A1BC41ABD66}"/>
              </a:ext>
            </a:extLst>
          </p:cNvPr>
          <p:cNvSpPr/>
          <p:nvPr/>
        </p:nvSpPr>
        <p:spPr bwMode="auto">
          <a:xfrm>
            <a:off x="10142120" y="1154250"/>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97" name="Oval 96">
            <a:extLst>
              <a:ext uri="{FF2B5EF4-FFF2-40B4-BE49-F238E27FC236}">
                <a16:creationId xmlns:a16="http://schemas.microsoft.com/office/drawing/2014/main" id="{43565768-FF51-41F0-99A1-14A4EE5DB266}"/>
              </a:ext>
            </a:extLst>
          </p:cNvPr>
          <p:cNvSpPr/>
          <p:nvPr/>
        </p:nvSpPr>
        <p:spPr bwMode="auto">
          <a:xfrm>
            <a:off x="9011201" y="2035417"/>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98" name="Oval 97">
            <a:extLst>
              <a:ext uri="{FF2B5EF4-FFF2-40B4-BE49-F238E27FC236}">
                <a16:creationId xmlns:a16="http://schemas.microsoft.com/office/drawing/2014/main" id="{7D920139-03B5-4159-A4D9-162D3F2A9F2C}"/>
              </a:ext>
            </a:extLst>
          </p:cNvPr>
          <p:cNvSpPr/>
          <p:nvPr/>
        </p:nvSpPr>
        <p:spPr bwMode="auto">
          <a:xfrm>
            <a:off x="9313938" y="2195170"/>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99" name="Oval 98">
            <a:extLst>
              <a:ext uri="{FF2B5EF4-FFF2-40B4-BE49-F238E27FC236}">
                <a16:creationId xmlns:a16="http://schemas.microsoft.com/office/drawing/2014/main" id="{1E167ECE-8D1B-430C-88E9-65068B88E30B}"/>
              </a:ext>
            </a:extLst>
          </p:cNvPr>
          <p:cNvSpPr/>
          <p:nvPr/>
        </p:nvSpPr>
        <p:spPr bwMode="auto">
          <a:xfrm>
            <a:off x="6644469" y="1449538"/>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00" name="Oval 99">
            <a:extLst>
              <a:ext uri="{FF2B5EF4-FFF2-40B4-BE49-F238E27FC236}">
                <a16:creationId xmlns:a16="http://schemas.microsoft.com/office/drawing/2014/main" id="{405B8EE7-F616-4FF1-ADAD-8CDCA1ED4EAA}"/>
              </a:ext>
            </a:extLst>
          </p:cNvPr>
          <p:cNvSpPr/>
          <p:nvPr/>
        </p:nvSpPr>
        <p:spPr bwMode="auto">
          <a:xfrm>
            <a:off x="6216881" y="1407899"/>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01" name="Oval 100">
            <a:extLst>
              <a:ext uri="{FF2B5EF4-FFF2-40B4-BE49-F238E27FC236}">
                <a16:creationId xmlns:a16="http://schemas.microsoft.com/office/drawing/2014/main" id="{8D6AAB85-5A0A-45DE-B878-C8335D7D2113}"/>
              </a:ext>
            </a:extLst>
          </p:cNvPr>
          <p:cNvSpPr/>
          <p:nvPr/>
        </p:nvSpPr>
        <p:spPr bwMode="auto">
          <a:xfrm>
            <a:off x="4809447" y="3433637"/>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02" name="Oval 101">
            <a:extLst>
              <a:ext uri="{FF2B5EF4-FFF2-40B4-BE49-F238E27FC236}">
                <a16:creationId xmlns:a16="http://schemas.microsoft.com/office/drawing/2014/main" id="{9F69122F-5A20-414D-87E3-9585E7D0EAB5}"/>
              </a:ext>
            </a:extLst>
          </p:cNvPr>
          <p:cNvSpPr/>
          <p:nvPr/>
        </p:nvSpPr>
        <p:spPr bwMode="auto">
          <a:xfrm>
            <a:off x="3145392" y="1632900"/>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03" name="Oval 102">
            <a:extLst>
              <a:ext uri="{FF2B5EF4-FFF2-40B4-BE49-F238E27FC236}">
                <a16:creationId xmlns:a16="http://schemas.microsoft.com/office/drawing/2014/main" id="{6A461276-709E-4E14-A313-3A2EFEB8F801}"/>
              </a:ext>
            </a:extLst>
          </p:cNvPr>
          <p:cNvSpPr/>
          <p:nvPr/>
        </p:nvSpPr>
        <p:spPr bwMode="auto">
          <a:xfrm>
            <a:off x="3237975" y="1294917"/>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04" name="Oval 103">
            <a:extLst>
              <a:ext uri="{FF2B5EF4-FFF2-40B4-BE49-F238E27FC236}">
                <a16:creationId xmlns:a16="http://schemas.microsoft.com/office/drawing/2014/main" id="{F25F6D0C-9044-4568-9A5A-5E00118C3114}"/>
              </a:ext>
            </a:extLst>
          </p:cNvPr>
          <p:cNvSpPr/>
          <p:nvPr/>
        </p:nvSpPr>
        <p:spPr bwMode="auto">
          <a:xfrm>
            <a:off x="2907974" y="1216837"/>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05" name="Oval 104">
            <a:extLst>
              <a:ext uri="{FF2B5EF4-FFF2-40B4-BE49-F238E27FC236}">
                <a16:creationId xmlns:a16="http://schemas.microsoft.com/office/drawing/2014/main" id="{9784D49C-9753-420D-A823-D5D08F72E05E}"/>
              </a:ext>
            </a:extLst>
          </p:cNvPr>
          <p:cNvSpPr/>
          <p:nvPr/>
        </p:nvSpPr>
        <p:spPr bwMode="auto">
          <a:xfrm>
            <a:off x="3698358" y="1266692"/>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06" name="Oval 105">
            <a:extLst>
              <a:ext uri="{FF2B5EF4-FFF2-40B4-BE49-F238E27FC236}">
                <a16:creationId xmlns:a16="http://schemas.microsoft.com/office/drawing/2014/main" id="{80A4F9FF-6257-431B-B7F3-BF328F512811}"/>
              </a:ext>
            </a:extLst>
          </p:cNvPr>
          <p:cNvSpPr/>
          <p:nvPr/>
        </p:nvSpPr>
        <p:spPr bwMode="auto">
          <a:xfrm>
            <a:off x="2904208" y="1912565"/>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07" name="Oval 106">
            <a:extLst>
              <a:ext uri="{FF2B5EF4-FFF2-40B4-BE49-F238E27FC236}">
                <a16:creationId xmlns:a16="http://schemas.microsoft.com/office/drawing/2014/main" id="{E7ABFECD-221A-489D-A0F6-6430E7BA8742}"/>
              </a:ext>
            </a:extLst>
          </p:cNvPr>
          <p:cNvSpPr/>
          <p:nvPr/>
        </p:nvSpPr>
        <p:spPr bwMode="auto">
          <a:xfrm>
            <a:off x="2264337" y="1724448"/>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08" name="Oval 107">
            <a:extLst>
              <a:ext uri="{FF2B5EF4-FFF2-40B4-BE49-F238E27FC236}">
                <a16:creationId xmlns:a16="http://schemas.microsoft.com/office/drawing/2014/main" id="{B1E8B547-B30D-4A81-9FF3-6FFBF4AC0036}"/>
              </a:ext>
            </a:extLst>
          </p:cNvPr>
          <p:cNvSpPr/>
          <p:nvPr/>
        </p:nvSpPr>
        <p:spPr bwMode="auto">
          <a:xfrm>
            <a:off x="10958500" y="1234773"/>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09" name="Oval 108">
            <a:extLst>
              <a:ext uri="{FF2B5EF4-FFF2-40B4-BE49-F238E27FC236}">
                <a16:creationId xmlns:a16="http://schemas.microsoft.com/office/drawing/2014/main" id="{C24406AD-261D-4923-A91A-5405419D50DC}"/>
              </a:ext>
            </a:extLst>
          </p:cNvPr>
          <p:cNvSpPr/>
          <p:nvPr/>
        </p:nvSpPr>
        <p:spPr bwMode="auto">
          <a:xfrm>
            <a:off x="10705912" y="1616073"/>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10" name="Oval 109">
            <a:extLst>
              <a:ext uri="{FF2B5EF4-FFF2-40B4-BE49-F238E27FC236}">
                <a16:creationId xmlns:a16="http://schemas.microsoft.com/office/drawing/2014/main" id="{A9B71984-4196-46AA-B4BC-2BA0F58D9783}"/>
              </a:ext>
            </a:extLst>
          </p:cNvPr>
          <p:cNvSpPr/>
          <p:nvPr/>
        </p:nvSpPr>
        <p:spPr bwMode="auto">
          <a:xfrm>
            <a:off x="11360117" y="3987564"/>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11" name="Oval 110">
            <a:extLst>
              <a:ext uri="{FF2B5EF4-FFF2-40B4-BE49-F238E27FC236}">
                <a16:creationId xmlns:a16="http://schemas.microsoft.com/office/drawing/2014/main" id="{78095FA5-BF16-4D77-83A4-EDB2838C4473}"/>
              </a:ext>
            </a:extLst>
          </p:cNvPr>
          <p:cNvSpPr/>
          <p:nvPr/>
        </p:nvSpPr>
        <p:spPr bwMode="auto">
          <a:xfrm>
            <a:off x="11098767" y="4270719"/>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12" name="Oval 111">
            <a:extLst>
              <a:ext uri="{FF2B5EF4-FFF2-40B4-BE49-F238E27FC236}">
                <a16:creationId xmlns:a16="http://schemas.microsoft.com/office/drawing/2014/main" id="{DC0FB658-7494-4639-B39A-6436C3E996FE}"/>
              </a:ext>
            </a:extLst>
          </p:cNvPr>
          <p:cNvSpPr/>
          <p:nvPr/>
        </p:nvSpPr>
        <p:spPr bwMode="auto">
          <a:xfrm>
            <a:off x="9920395" y="2012061"/>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13" name="Oval 112">
            <a:extLst>
              <a:ext uri="{FF2B5EF4-FFF2-40B4-BE49-F238E27FC236}">
                <a16:creationId xmlns:a16="http://schemas.microsoft.com/office/drawing/2014/main" id="{0CD75865-0940-4D0B-8A65-962DBDF85C24}"/>
              </a:ext>
            </a:extLst>
          </p:cNvPr>
          <p:cNvSpPr/>
          <p:nvPr/>
        </p:nvSpPr>
        <p:spPr bwMode="auto">
          <a:xfrm>
            <a:off x="2880710" y="1526392"/>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14" name="Oval 113">
            <a:extLst>
              <a:ext uri="{FF2B5EF4-FFF2-40B4-BE49-F238E27FC236}">
                <a16:creationId xmlns:a16="http://schemas.microsoft.com/office/drawing/2014/main" id="{E4FAE74A-C88C-43A1-A201-EBBDD7770F0D}"/>
              </a:ext>
            </a:extLst>
          </p:cNvPr>
          <p:cNvSpPr/>
          <p:nvPr/>
        </p:nvSpPr>
        <p:spPr bwMode="auto">
          <a:xfrm>
            <a:off x="9099841" y="2533406"/>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15" name="Oval 114">
            <a:extLst>
              <a:ext uri="{FF2B5EF4-FFF2-40B4-BE49-F238E27FC236}">
                <a16:creationId xmlns:a16="http://schemas.microsoft.com/office/drawing/2014/main" id="{B5D3D8C3-7466-453F-BC13-9AA5711DC872}"/>
              </a:ext>
            </a:extLst>
          </p:cNvPr>
          <p:cNvSpPr/>
          <p:nvPr/>
        </p:nvSpPr>
        <p:spPr bwMode="auto">
          <a:xfrm>
            <a:off x="3462465" y="1736667"/>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16" name="Oval 115">
            <a:extLst>
              <a:ext uri="{FF2B5EF4-FFF2-40B4-BE49-F238E27FC236}">
                <a16:creationId xmlns:a16="http://schemas.microsoft.com/office/drawing/2014/main" id="{9F96A7BA-2356-49B1-9423-BA758A4FA5D3}"/>
              </a:ext>
            </a:extLst>
          </p:cNvPr>
          <p:cNvSpPr/>
          <p:nvPr/>
        </p:nvSpPr>
        <p:spPr bwMode="auto">
          <a:xfrm>
            <a:off x="3560221" y="1557077"/>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17" name="Oval 116">
            <a:extLst>
              <a:ext uri="{FF2B5EF4-FFF2-40B4-BE49-F238E27FC236}">
                <a16:creationId xmlns:a16="http://schemas.microsoft.com/office/drawing/2014/main" id="{1430C6AF-27ED-4053-9F6E-D1065CF3B6FF}"/>
              </a:ext>
            </a:extLst>
          </p:cNvPr>
          <p:cNvSpPr/>
          <p:nvPr/>
        </p:nvSpPr>
        <p:spPr bwMode="auto">
          <a:xfrm>
            <a:off x="6150141" y="1144108"/>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18" name="Oval 117">
            <a:extLst>
              <a:ext uri="{FF2B5EF4-FFF2-40B4-BE49-F238E27FC236}">
                <a16:creationId xmlns:a16="http://schemas.microsoft.com/office/drawing/2014/main" id="{E6CD10A4-723A-4AD1-9C95-EEC885F623F5}"/>
              </a:ext>
            </a:extLst>
          </p:cNvPr>
          <p:cNvSpPr/>
          <p:nvPr/>
        </p:nvSpPr>
        <p:spPr bwMode="auto">
          <a:xfrm>
            <a:off x="6602199" y="1244032"/>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19" name="Oval 118">
            <a:extLst>
              <a:ext uri="{FF2B5EF4-FFF2-40B4-BE49-F238E27FC236}">
                <a16:creationId xmlns:a16="http://schemas.microsoft.com/office/drawing/2014/main" id="{50F5C2E3-DCDB-4F6E-B1FD-7AA608F120C4}"/>
              </a:ext>
            </a:extLst>
          </p:cNvPr>
          <p:cNvSpPr/>
          <p:nvPr/>
        </p:nvSpPr>
        <p:spPr bwMode="auto">
          <a:xfrm>
            <a:off x="6430675" y="1573628"/>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20" name="Oval 119">
            <a:extLst>
              <a:ext uri="{FF2B5EF4-FFF2-40B4-BE49-F238E27FC236}">
                <a16:creationId xmlns:a16="http://schemas.microsoft.com/office/drawing/2014/main" id="{740C2F45-5558-4003-8B06-F90C2885B27D}"/>
              </a:ext>
            </a:extLst>
          </p:cNvPr>
          <p:cNvSpPr/>
          <p:nvPr/>
        </p:nvSpPr>
        <p:spPr bwMode="auto">
          <a:xfrm>
            <a:off x="6430675" y="1160848"/>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21" name="Oval 120">
            <a:extLst>
              <a:ext uri="{FF2B5EF4-FFF2-40B4-BE49-F238E27FC236}">
                <a16:creationId xmlns:a16="http://schemas.microsoft.com/office/drawing/2014/main" id="{4BFF3132-501E-40CF-8532-D984FD9C6F65}"/>
              </a:ext>
            </a:extLst>
          </p:cNvPr>
          <p:cNvSpPr/>
          <p:nvPr/>
        </p:nvSpPr>
        <p:spPr bwMode="auto">
          <a:xfrm>
            <a:off x="7053371" y="3908929"/>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22" name="Oval 121">
            <a:extLst>
              <a:ext uri="{FF2B5EF4-FFF2-40B4-BE49-F238E27FC236}">
                <a16:creationId xmlns:a16="http://schemas.microsoft.com/office/drawing/2014/main" id="{72987119-F430-4D6F-9DFA-B6911C1152E0}"/>
              </a:ext>
            </a:extLst>
          </p:cNvPr>
          <p:cNvSpPr/>
          <p:nvPr/>
        </p:nvSpPr>
        <p:spPr bwMode="auto">
          <a:xfrm>
            <a:off x="6956444" y="4159582"/>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23" name="Oval 122">
            <a:extLst>
              <a:ext uri="{FF2B5EF4-FFF2-40B4-BE49-F238E27FC236}">
                <a16:creationId xmlns:a16="http://schemas.microsoft.com/office/drawing/2014/main" id="{D3E0030C-8386-4F3B-A460-8FE7BDC31E7A}"/>
              </a:ext>
            </a:extLst>
          </p:cNvPr>
          <p:cNvSpPr/>
          <p:nvPr/>
        </p:nvSpPr>
        <p:spPr bwMode="auto">
          <a:xfrm>
            <a:off x="6413166" y="1355358"/>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grpSp>
        <p:nvGrpSpPr>
          <p:cNvPr id="124" name="Group 123">
            <a:extLst>
              <a:ext uri="{FF2B5EF4-FFF2-40B4-BE49-F238E27FC236}">
                <a16:creationId xmlns:a16="http://schemas.microsoft.com/office/drawing/2014/main" id="{91286FB6-53D7-42F2-A345-B699EF1EB52F}"/>
              </a:ext>
            </a:extLst>
          </p:cNvPr>
          <p:cNvGrpSpPr/>
          <p:nvPr/>
        </p:nvGrpSpPr>
        <p:grpSpPr>
          <a:xfrm>
            <a:off x="2504443" y="4240178"/>
            <a:ext cx="4054990" cy="2644632"/>
            <a:chOff x="824268" y="4593027"/>
            <a:chExt cx="4136300" cy="2697662"/>
          </a:xfrm>
        </p:grpSpPr>
        <p:sp>
          <p:nvSpPr>
            <p:cNvPr id="125" name="TextBox 124">
              <a:extLst>
                <a:ext uri="{FF2B5EF4-FFF2-40B4-BE49-F238E27FC236}">
                  <a16:creationId xmlns:a16="http://schemas.microsoft.com/office/drawing/2014/main" id="{517E3171-8D21-4F2A-973B-1125769C370F}"/>
                </a:ext>
              </a:extLst>
            </p:cNvPr>
            <p:cNvSpPr txBox="1"/>
            <p:nvPr/>
          </p:nvSpPr>
          <p:spPr>
            <a:xfrm>
              <a:off x="824268" y="4593027"/>
              <a:ext cx="2743059" cy="2697662"/>
            </a:xfrm>
            <a:prstGeom prst="rect">
              <a:avLst/>
            </a:prstGeom>
            <a:noFill/>
          </p:spPr>
          <p:txBody>
            <a:bodyPr wrap="non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596" b="0" i="0" u="none" strike="noStrike" kern="1200" cap="none" spc="-784" normalizeH="0" baseline="0" noProof="0" dirty="0">
                  <a:ln>
                    <a:noFill/>
                  </a:ln>
                  <a:solidFill>
                    <a:srgbClr val="0078D7"/>
                  </a:solidFill>
                  <a:effectLst/>
                  <a:uLnTx/>
                  <a:uFillTx/>
                  <a:latin typeface="Segoe UI Light"/>
                  <a:ea typeface="+mn-ea"/>
                  <a:cs typeface="Segoe UI Semilight" panose="020B0402040204020203" pitchFamily="34" charset="0"/>
                </a:rPr>
                <a:t>42</a:t>
              </a:r>
              <a:r>
                <a:rPr kumimoji="0" lang="en-US" sz="16596" b="0" i="0" u="none" strike="noStrike" kern="1200" cap="none" spc="-784" normalizeH="0" baseline="0" noProof="0" dirty="0">
                  <a:ln>
                    <a:noFill/>
                  </a:ln>
                  <a:solidFill>
                    <a:srgbClr val="0078D7"/>
                  </a:solidFill>
                  <a:effectLst/>
                  <a:uLnTx/>
                  <a:uFillTx/>
                  <a:latin typeface="Segoe UI Light"/>
                  <a:ea typeface="+mn-ea"/>
                  <a:cs typeface="Segoe UI Semibold" panose="020B0702040204020203" pitchFamily="34" charset="0"/>
                </a:rPr>
                <a:t> </a:t>
              </a:r>
              <a:endParaRPr kumimoji="0" lang="en-US" sz="4800" b="0" i="0" u="none" strike="noStrike" kern="1200" cap="none" spc="-784" normalizeH="0" baseline="0" noProof="0" dirty="0">
                <a:ln>
                  <a:noFill/>
                </a:ln>
                <a:solidFill>
                  <a:srgbClr val="0078D7"/>
                </a:solidFill>
                <a:effectLst/>
                <a:uLnTx/>
                <a:uFillTx/>
                <a:latin typeface="Segoe UI Light"/>
                <a:ea typeface="+mn-ea"/>
                <a:cs typeface="Segoe UI Semilight" panose="020B0402040204020203" pitchFamily="34" charset="0"/>
              </a:endParaRPr>
            </a:p>
          </p:txBody>
        </p:sp>
        <p:sp>
          <p:nvSpPr>
            <p:cNvPr id="126" name="Rectangle 125">
              <a:extLst>
                <a:ext uri="{FF2B5EF4-FFF2-40B4-BE49-F238E27FC236}">
                  <a16:creationId xmlns:a16="http://schemas.microsoft.com/office/drawing/2014/main" id="{2933195A-C922-4689-92B2-6487BDC3B85C}"/>
                </a:ext>
              </a:extLst>
            </p:cNvPr>
            <p:cNvSpPr/>
            <p:nvPr/>
          </p:nvSpPr>
          <p:spPr>
            <a:xfrm>
              <a:off x="3009577" y="5727570"/>
              <a:ext cx="1950991" cy="1193003"/>
            </a:xfrm>
            <a:prstGeom prst="rect">
              <a:avLst/>
            </a:prstGeom>
          </p:spPr>
          <p:txBody>
            <a:bodyPr wrap="none">
              <a:spAutoFit/>
            </a:bodyPr>
            <a:lstStyle/>
            <a:p>
              <a:pPr marL="0" marR="0" lvl="0" indent="0" algn="l" defTabSz="914225" rtl="0" eaLnBrk="1" fontAlgn="auto" latinLnBrk="0" hangingPunct="1">
                <a:lnSpc>
                  <a:spcPts val="42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0078D7"/>
                  </a:solidFill>
                  <a:effectLst/>
                  <a:uLnTx/>
                  <a:uFillTx/>
                  <a:latin typeface="Segoe UI Light" panose="020B0502040204020203" pitchFamily="34" charset="0"/>
                  <a:ea typeface="+mn-ea"/>
                  <a:cs typeface="Segoe UI Light" panose="020B0502040204020203" pitchFamily="34" charset="0"/>
                </a:rPr>
                <a:t>Azure </a:t>
              </a:r>
              <a:br>
                <a:rPr kumimoji="0" lang="en-US" sz="4400" b="0" i="0" u="none" strike="noStrike" kern="1200" cap="none" spc="0" normalizeH="0" baseline="0" noProof="0" dirty="0">
                  <a:ln>
                    <a:noFill/>
                  </a:ln>
                  <a:solidFill>
                    <a:srgbClr val="0078D7"/>
                  </a:solidFill>
                  <a:effectLst/>
                  <a:uLnTx/>
                  <a:uFillTx/>
                  <a:latin typeface="Segoe UI Light" panose="020B0502040204020203" pitchFamily="34" charset="0"/>
                  <a:ea typeface="+mn-ea"/>
                  <a:cs typeface="Segoe UI Light" panose="020B0502040204020203" pitchFamily="34" charset="0"/>
                </a:rPr>
              </a:br>
              <a:r>
                <a:rPr kumimoji="0" lang="en-US" sz="4400" b="0" i="0" u="none" strike="noStrike" kern="1200" cap="none" spc="0" normalizeH="0" baseline="0" noProof="0" dirty="0">
                  <a:ln>
                    <a:noFill/>
                  </a:ln>
                  <a:solidFill>
                    <a:srgbClr val="0078D7"/>
                  </a:solidFill>
                  <a:effectLst/>
                  <a:uLnTx/>
                  <a:uFillTx/>
                  <a:latin typeface="Segoe UI Light" panose="020B0502040204020203" pitchFamily="34" charset="0"/>
                  <a:ea typeface="+mn-ea"/>
                  <a:cs typeface="Segoe UI Light" panose="020B0502040204020203" pitchFamily="34" charset="0"/>
                </a:rPr>
                <a:t>regions</a:t>
              </a:r>
            </a:p>
          </p:txBody>
        </p:sp>
      </p:grpSp>
      <p:sp>
        <p:nvSpPr>
          <p:cNvPr id="48" name="Oval 47">
            <a:extLst/>
          </p:cNvPr>
          <p:cNvSpPr/>
          <p:nvPr/>
        </p:nvSpPr>
        <p:spPr bwMode="auto">
          <a:xfrm>
            <a:off x="11239034" y="3890814"/>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49" name="Oval 48">
            <a:extLst/>
          </p:cNvPr>
          <p:cNvSpPr/>
          <p:nvPr/>
        </p:nvSpPr>
        <p:spPr bwMode="auto">
          <a:xfrm>
            <a:off x="10977684" y="4173969"/>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50" name="Rectangle 49">
            <a:extLst>
              <a:ext uri="{FF2B5EF4-FFF2-40B4-BE49-F238E27FC236}">
                <a16:creationId xmlns:a16="http://schemas.microsoft.com/office/drawing/2014/main" id="{AA159894-4777-4BD4-80D1-FD09090A8EAF}"/>
              </a:ext>
            </a:extLst>
          </p:cNvPr>
          <p:cNvSpPr/>
          <p:nvPr/>
        </p:nvSpPr>
        <p:spPr>
          <a:xfrm>
            <a:off x="415961" y="5573677"/>
            <a:ext cx="1224506" cy="452590"/>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2353" b="0" i="0" u="none" strike="noStrike" kern="0" cap="none" spc="49"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Trusted</a:t>
            </a:r>
          </a:p>
        </p:txBody>
      </p:sp>
      <p:sp>
        <p:nvSpPr>
          <p:cNvPr id="51" name="Rectangle 50">
            <a:extLst>
              <a:ext uri="{FF2B5EF4-FFF2-40B4-BE49-F238E27FC236}">
                <a16:creationId xmlns:a16="http://schemas.microsoft.com/office/drawing/2014/main" id="{2008378F-748F-4973-91D2-AE64A243C214}"/>
              </a:ext>
            </a:extLst>
          </p:cNvPr>
          <p:cNvSpPr/>
          <p:nvPr/>
        </p:nvSpPr>
        <p:spPr>
          <a:xfrm>
            <a:off x="458391" y="4252629"/>
            <a:ext cx="1139646" cy="331899"/>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Intelligent</a:t>
            </a:r>
          </a:p>
        </p:txBody>
      </p:sp>
      <p:sp>
        <p:nvSpPr>
          <p:cNvPr id="55"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71537" y="3796742"/>
            <a:ext cx="285750" cy="424238"/>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59" name="Freeform 58"/>
          <p:cNvSpPr>
            <a:spLocks noChangeArrowheads="1"/>
          </p:cNvSpPr>
          <p:nvPr/>
        </p:nvSpPr>
        <p:spPr bwMode="auto">
          <a:xfrm>
            <a:off x="696391" y="4824727"/>
            <a:ext cx="646635" cy="639841"/>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0" name="Rectangle 59">
            <a:extLst>
              <a:ext uri="{FF2B5EF4-FFF2-40B4-BE49-F238E27FC236}">
                <a16:creationId xmlns:a16="http://schemas.microsoft.com/office/drawing/2014/main" id="{D840CA15-E7AF-4D80-A226-6F2F62F5E3F3}"/>
              </a:ext>
            </a:extLst>
          </p:cNvPr>
          <p:cNvSpPr/>
          <p:nvPr/>
        </p:nvSpPr>
        <p:spPr>
          <a:xfrm>
            <a:off x="600013" y="3102867"/>
            <a:ext cx="818686" cy="333617"/>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Hybrid</a:t>
            </a:r>
          </a:p>
        </p:txBody>
      </p:sp>
      <p:sp>
        <p:nvSpPr>
          <p:cNvPr id="61" name="Rectangle 60">
            <a:extLst>
              <a:ext uri="{FF2B5EF4-FFF2-40B4-BE49-F238E27FC236}">
                <a16:creationId xmlns:a16="http://schemas.microsoft.com/office/drawing/2014/main" id="{F69E30BA-F4E2-487C-9E26-A8FB0904BDE2}"/>
              </a:ext>
            </a:extLst>
          </p:cNvPr>
          <p:cNvSpPr/>
          <p:nvPr/>
        </p:nvSpPr>
        <p:spPr>
          <a:xfrm>
            <a:off x="412719" y="1791255"/>
            <a:ext cx="1193275" cy="333617"/>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Productive</a:t>
            </a:r>
          </a:p>
        </p:txBody>
      </p:sp>
      <p:sp>
        <p:nvSpPr>
          <p:cNvPr id="62" name="speedometer_2">
            <a:extLst>
              <a:ext uri="{FF2B5EF4-FFF2-40B4-BE49-F238E27FC236}">
                <a16:creationId xmlns:a16="http://schemas.microsoft.com/office/drawing/2014/main" id="{2697FF53-82DB-44EB-BCE6-BE244712CD87}"/>
              </a:ext>
            </a:extLst>
          </p:cNvPr>
          <p:cNvSpPr>
            <a:spLocks noChangeAspect="1" noEditPoints="1"/>
          </p:cNvSpPr>
          <p:nvPr/>
        </p:nvSpPr>
        <p:spPr bwMode="auto">
          <a:xfrm>
            <a:off x="800949" y="1160459"/>
            <a:ext cx="431098" cy="43109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63" name="Group 62">
            <a:extLst>
              <a:ext uri="{FF2B5EF4-FFF2-40B4-BE49-F238E27FC236}">
                <a16:creationId xmlns:a16="http://schemas.microsoft.com/office/drawing/2014/main" id="{D3F4AD1F-822E-4276-8AFD-9C6F53B0B083}"/>
              </a:ext>
            </a:extLst>
          </p:cNvPr>
          <p:cNvGrpSpPr/>
          <p:nvPr/>
        </p:nvGrpSpPr>
        <p:grpSpPr>
          <a:xfrm>
            <a:off x="775290" y="2524056"/>
            <a:ext cx="451261" cy="440761"/>
            <a:chOff x="2088630" y="3287843"/>
            <a:chExt cx="429718" cy="419725"/>
          </a:xfrm>
          <a:noFill/>
        </p:grpSpPr>
        <p:sp>
          <p:nvSpPr>
            <p:cNvPr id="64" name="Rectangle 63">
              <a:extLst>
                <a:ext uri="{FF2B5EF4-FFF2-40B4-BE49-F238E27FC236}">
                  <a16:creationId xmlns:a16="http://schemas.microsoft.com/office/drawing/2014/main" id="{E9C4BBE8-54F1-44C8-9909-78FC54BA0B7B}"/>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5" name="Rectangle 64">
              <a:extLst>
                <a:ext uri="{FF2B5EF4-FFF2-40B4-BE49-F238E27FC236}">
                  <a16:creationId xmlns:a16="http://schemas.microsoft.com/office/drawing/2014/main" id="{F5DAF9FD-18B3-45B3-BC0D-0E21FBE8F28F}"/>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53" name="Title 2">
            <a:extLst>
              <a:ext uri="{FF2B5EF4-FFF2-40B4-BE49-F238E27FC236}">
                <a16:creationId xmlns:a16="http://schemas.microsoft.com/office/drawing/2014/main" id="{2A2796AA-A8AA-4242-A1DE-15F8FBFBDB27}"/>
              </a:ext>
            </a:extLst>
          </p:cNvPr>
          <p:cNvSpPr txBox="1">
            <a:spLocks/>
          </p:cNvSpPr>
          <p:nvPr/>
        </p:nvSpPr>
        <p:spPr>
          <a:xfrm>
            <a:off x="8062333" y="5762599"/>
            <a:ext cx="3466576" cy="624421"/>
          </a:xfrm>
          <a:prstGeom prst="rect">
            <a:avLst/>
          </a:prstGeom>
        </p:spPr>
        <p:txBody>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dirty="0">
                <a:ln w="3175">
                  <a:noFill/>
                </a:ln>
                <a:solidFill>
                  <a:srgbClr val="505050">
                    <a:lumMod val="60000"/>
                    <a:lumOff val="40000"/>
                  </a:srgbClr>
                </a:solidFill>
                <a:effectLst/>
                <a:uLnTx/>
                <a:uFillTx/>
                <a:latin typeface="Segoe UI"/>
                <a:ea typeface="+mn-ea"/>
                <a:cs typeface="Segoe UI" pitchFamily="34" charset="0"/>
              </a:rPr>
              <a:t>Learn more: Microsoft.com/datacenter</a:t>
            </a:r>
          </a:p>
        </p:txBody>
      </p:sp>
    </p:spTree>
    <p:extLst>
      <p:ext uri="{BB962C8B-B14F-4D97-AF65-F5344CB8AC3E}">
        <p14:creationId xmlns:p14="http://schemas.microsoft.com/office/powerpoint/2010/main" val="947696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93"/>
                                        </p:tgtEl>
                                        <p:attrNameLst>
                                          <p:attrName>style.visibility</p:attrName>
                                        </p:attrNameLst>
                                      </p:cBhvr>
                                      <p:to>
                                        <p:strVal val="visible"/>
                                      </p:to>
                                    </p:set>
                                    <p:animEffect transition="in" filter="fade">
                                      <p:cBhvr>
                                        <p:cTn id="7" dur="500"/>
                                        <p:tgtEl>
                                          <p:spTgt spid="93"/>
                                        </p:tgtEl>
                                      </p:cBhvr>
                                    </p:animEffect>
                                    <p:anim calcmode="lin" valueType="num">
                                      <p:cBhvr>
                                        <p:cTn id="8" dur="500" fill="hold"/>
                                        <p:tgtEl>
                                          <p:spTgt spid="93"/>
                                        </p:tgtEl>
                                        <p:attrNameLst>
                                          <p:attrName>ppt_x</p:attrName>
                                        </p:attrNameLst>
                                      </p:cBhvr>
                                      <p:tavLst>
                                        <p:tav tm="0">
                                          <p:val>
                                            <p:strVal val="#ppt_x"/>
                                          </p:val>
                                        </p:tav>
                                        <p:tav tm="100000">
                                          <p:val>
                                            <p:strVal val="#ppt_x"/>
                                          </p:val>
                                        </p:tav>
                                      </p:tavLst>
                                    </p:anim>
                                    <p:anim calcmode="lin" valueType="num">
                                      <p:cBhvr>
                                        <p:cTn id="9" dur="500" fill="hold"/>
                                        <p:tgtEl>
                                          <p:spTgt spid="93"/>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122"/>
                                        </p:tgtEl>
                                        <p:attrNameLst>
                                          <p:attrName>style.visibility</p:attrName>
                                        </p:attrNameLst>
                                      </p:cBhvr>
                                      <p:to>
                                        <p:strVal val="visible"/>
                                      </p:to>
                                    </p:set>
                                    <p:animEffect transition="in" filter="fade">
                                      <p:cBhvr>
                                        <p:cTn id="13" dur="500"/>
                                        <p:tgtEl>
                                          <p:spTgt spid="12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12"/>
                                        </p:tgtEl>
                                        <p:attrNameLst>
                                          <p:attrName>style.visibility</p:attrName>
                                        </p:attrNameLst>
                                      </p:cBhvr>
                                      <p:to>
                                        <p:strVal val="visible"/>
                                      </p:to>
                                    </p:set>
                                    <p:animEffect transition="in" filter="fade">
                                      <p:cBhvr>
                                        <p:cTn id="16" dur="500"/>
                                        <p:tgtEl>
                                          <p:spTgt spid="11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94"/>
                                        </p:tgtEl>
                                        <p:attrNameLst>
                                          <p:attrName>style.visibility</p:attrName>
                                        </p:attrNameLst>
                                      </p:cBhvr>
                                      <p:to>
                                        <p:strVal val="visible"/>
                                      </p:to>
                                    </p:set>
                                    <p:animEffect transition="in" filter="fade">
                                      <p:cBhvr>
                                        <p:cTn id="19" dur="500"/>
                                        <p:tgtEl>
                                          <p:spTgt spid="94"/>
                                        </p:tgtEl>
                                      </p:cBhvr>
                                    </p:animEffect>
                                  </p:childTnLst>
                                </p:cTn>
                              </p:par>
                              <p:par>
                                <p:cTn id="20" presetID="10" presetClass="entr" presetSubtype="0" fill="hold" grpId="0" nodeType="withEffect">
                                  <p:stCondLst>
                                    <p:cond delay="20"/>
                                  </p:stCondLst>
                                  <p:childTnLst>
                                    <p:set>
                                      <p:cBhvr>
                                        <p:cTn id="21" dur="1" fill="hold">
                                          <p:stCondLst>
                                            <p:cond delay="0"/>
                                          </p:stCondLst>
                                        </p:cTn>
                                        <p:tgtEl>
                                          <p:spTgt spid="95"/>
                                        </p:tgtEl>
                                        <p:attrNameLst>
                                          <p:attrName>style.visibility</p:attrName>
                                        </p:attrNameLst>
                                      </p:cBhvr>
                                      <p:to>
                                        <p:strVal val="visible"/>
                                      </p:to>
                                    </p:set>
                                    <p:animEffect transition="in" filter="fade">
                                      <p:cBhvr>
                                        <p:cTn id="22" dur="500"/>
                                        <p:tgtEl>
                                          <p:spTgt spid="95"/>
                                        </p:tgtEl>
                                      </p:cBhvr>
                                    </p:animEffect>
                                  </p:childTnLst>
                                </p:cTn>
                              </p:par>
                              <p:par>
                                <p:cTn id="23" presetID="10" presetClass="entr" presetSubtype="0" fill="hold" grpId="0" nodeType="withEffect">
                                  <p:stCondLst>
                                    <p:cond delay="40"/>
                                  </p:stCondLst>
                                  <p:childTnLst>
                                    <p:set>
                                      <p:cBhvr>
                                        <p:cTn id="24" dur="1" fill="hold">
                                          <p:stCondLst>
                                            <p:cond delay="0"/>
                                          </p:stCondLst>
                                        </p:cTn>
                                        <p:tgtEl>
                                          <p:spTgt spid="96"/>
                                        </p:tgtEl>
                                        <p:attrNameLst>
                                          <p:attrName>style.visibility</p:attrName>
                                        </p:attrNameLst>
                                      </p:cBhvr>
                                      <p:to>
                                        <p:strVal val="visible"/>
                                      </p:to>
                                    </p:set>
                                    <p:animEffect transition="in" filter="fade">
                                      <p:cBhvr>
                                        <p:cTn id="25" dur="500"/>
                                        <p:tgtEl>
                                          <p:spTgt spid="96"/>
                                        </p:tgtEl>
                                      </p:cBhvr>
                                    </p:animEffect>
                                  </p:childTnLst>
                                </p:cTn>
                              </p:par>
                              <p:par>
                                <p:cTn id="26" presetID="10" presetClass="entr" presetSubtype="0" fill="hold" grpId="0" nodeType="withEffect">
                                  <p:stCondLst>
                                    <p:cond delay="60"/>
                                  </p:stCondLst>
                                  <p:childTnLst>
                                    <p:set>
                                      <p:cBhvr>
                                        <p:cTn id="27" dur="1" fill="hold">
                                          <p:stCondLst>
                                            <p:cond delay="0"/>
                                          </p:stCondLst>
                                        </p:cTn>
                                        <p:tgtEl>
                                          <p:spTgt spid="97"/>
                                        </p:tgtEl>
                                        <p:attrNameLst>
                                          <p:attrName>style.visibility</p:attrName>
                                        </p:attrNameLst>
                                      </p:cBhvr>
                                      <p:to>
                                        <p:strVal val="visible"/>
                                      </p:to>
                                    </p:set>
                                    <p:animEffect transition="in" filter="fade">
                                      <p:cBhvr>
                                        <p:cTn id="28" dur="500"/>
                                        <p:tgtEl>
                                          <p:spTgt spid="97"/>
                                        </p:tgtEl>
                                      </p:cBhvr>
                                    </p:animEffect>
                                  </p:childTnLst>
                                </p:cTn>
                              </p:par>
                              <p:par>
                                <p:cTn id="29" presetID="10" presetClass="entr" presetSubtype="0" fill="hold" grpId="0" nodeType="withEffect">
                                  <p:stCondLst>
                                    <p:cond delay="80"/>
                                  </p:stCondLst>
                                  <p:childTnLst>
                                    <p:set>
                                      <p:cBhvr>
                                        <p:cTn id="30" dur="1" fill="hold">
                                          <p:stCondLst>
                                            <p:cond delay="0"/>
                                          </p:stCondLst>
                                        </p:cTn>
                                        <p:tgtEl>
                                          <p:spTgt spid="98"/>
                                        </p:tgtEl>
                                        <p:attrNameLst>
                                          <p:attrName>style.visibility</p:attrName>
                                        </p:attrNameLst>
                                      </p:cBhvr>
                                      <p:to>
                                        <p:strVal val="visible"/>
                                      </p:to>
                                    </p:set>
                                    <p:animEffect transition="in" filter="fade">
                                      <p:cBhvr>
                                        <p:cTn id="31" dur="500"/>
                                        <p:tgtEl>
                                          <p:spTgt spid="98"/>
                                        </p:tgtEl>
                                      </p:cBhvr>
                                    </p:animEffect>
                                  </p:childTnLst>
                                </p:cTn>
                              </p:par>
                              <p:par>
                                <p:cTn id="32" presetID="10" presetClass="entr" presetSubtype="0" fill="hold" grpId="0" nodeType="withEffect">
                                  <p:stCondLst>
                                    <p:cond delay="100"/>
                                  </p:stCondLst>
                                  <p:childTnLst>
                                    <p:set>
                                      <p:cBhvr>
                                        <p:cTn id="33" dur="1" fill="hold">
                                          <p:stCondLst>
                                            <p:cond delay="0"/>
                                          </p:stCondLst>
                                        </p:cTn>
                                        <p:tgtEl>
                                          <p:spTgt spid="99"/>
                                        </p:tgtEl>
                                        <p:attrNameLst>
                                          <p:attrName>style.visibility</p:attrName>
                                        </p:attrNameLst>
                                      </p:cBhvr>
                                      <p:to>
                                        <p:strVal val="visible"/>
                                      </p:to>
                                    </p:set>
                                    <p:animEffect transition="in" filter="fade">
                                      <p:cBhvr>
                                        <p:cTn id="34" dur="500"/>
                                        <p:tgtEl>
                                          <p:spTgt spid="99"/>
                                        </p:tgtEl>
                                      </p:cBhvr>
                                    </p:animEffect>
                                  </p:childTnLst>
                                </p:cTn>
                              </p:par>
                              <p:par>
                                <p:cTn id="35" presetID="10" presetClass="entr" presetSubtype="0" fill="hold" grpId="0" nodeType="withEffect">
                                  <p:stCondLst>
                                    <p:cond delay="120"/>
                                  </p:stCondLst>
                                  <p:childTnLst>
                                    <p:set>
                                      <p:cBhvr>
                                        <p:cTn id="36" dur="1" fill="hold">
                                          <p:stCondLst>
                                            <p:cond delay="0"/>
                                          </p:stCondLst>
                                        </p:cTn>
                                        <p:tgtEl>
                                          <p:spTgt spid="100"/>
                                        </p:tgtEl>
                                        <p:attrNameLst>
                                          <p:attrName>style.visibility</p:attrName>
                                        </p:attrNameLst>
                                      </p:cBhvr>
                                      <p:to>
                                        <p:strVal val="visible"/>
                                      </p:to>
                                    </p:set>
                                    <p:animEffect transition="in" filter="fade">
                                      <p:cBhvr>
                                        <p:cTn id="37" dur="500"/>
                                        <p:tgtEl>
                                          <p:spTgt spid="100"/>
                                        </p:tgtEl>
                                      </p:cBhvr>
                                    </p:animEffect>
                                  </p:childTnLst>
                                </p:cTn>
                              </p:par>
                              <p:par>
                                <p:cTn id="38" presetID="10" presetClass="entr" presetSubtype="0" fill="hold" grpId="0" nodeType="withEffect">
                                  <p:stCondLst>
                                    <p:cond delay="140"/>
                                  </p:stCondLst>
                                  <p:childTnLst>
                                    <p:set>
                                      <p:cBhvr>
                                        <p:cTn id="39" dur="1" fill="hold">
                                          <p:stCondLst>
                                            <p:cond delay="0"/>
                                          </p:stCondLst>
                                        </p:cTn>
                                        <p:tgtEl>
                                          <p:spTgt spid="101"/>
                                        </p:tgtEl>
                                        <p:attrNameLst>
                                          <p:attrName>style.visibility</p:attrName>
                                        </p:attrNameLst>
                                      </p:cBhvr>
                                      <p:to>
                                        <p:strVal val="visible"/>
                                      </p:to>
                                    </p:set>
                                    <p:animEffect transition="in" filter="fade">
                                      <p:cBhvr>
                                        <p:cTn id="40" dur="500"/>
                                        <p:tgtEl>
                                          <p:spTgt spid="101"/>
                                        </p:tgtEl>
                                      </p:cBhvr>
                                    </p:animEffect>
                                  </p:childTnLst>
                                </p:cTn>
                              </p:par>
                              <p:par>
                                <p:cTn id="41" presetID="10" presetClass="entr" presetSubtype="0" fill="hold" grpId="0" nodeType="withEffect">
                                  <p:stCondLst>
                                    <p:cond delay="180"/>
                                  </p:stCondLst>
                                  <p:childTnLst>
                                    <p:set>
                                      <p:cBhvr>
                                        <p:cTn id="42" dur="1" fill="hold">
                                          <p:stCondLst>
                                            <p:cond delay="0"/>
                                          </p:stCondLst>
                                        </p:cTn>
                                        <p:tgtEl>
                                          <p:spTgt spid="102"/>
                                        </p:tgtEl>
                                        <p:attrNameLst>
                                          <p:attrName>style.visibility</p:attrName>
                                        </p:attrNameLst>
                                      </p:cBhvr>
                                      <p:to>
                                        <p:strVal val="visible"/>
                                      </p:to>
                                    </p:set>
                                    <p:animEffect transition="in" filter="fade">
                                      <p:cBhvr>
                                        <p:cTn id="43" dur="500"/>
                                        <p:tgtEl>
                                          <p:spTgt spid="102"/>
                                        </p:tgtEl>
                                      </p:cBhvr>
                                    </p:animEffect>
                                  </p:childTnLst>
                                </p:cTn>
                              </p:par>
                              <p:par>
                                <p:cTn id="44" presetID="10" presetClass="entr" presetSubtype="0" fill="hold" grpId="0" nodeType="withEffect">
                                  <p:stCondLst>
                                    <p:cond delay="200"/>
                                  </p:stCondLst>
                                  <p:childTnLst>
                                    <p:set>
                                      <p:cBhvr>
                                        <p:cTn id="45" dur="1" fill="hold">
                                          <p:stCondLst>
                                            <p:cond delay="0"/>
                                          </p:stCondLst>
                                        </p:cTn>
                                        <p:tgtEl>
                                          <p:spTgt spid="103"/>
                                        </p:tgtEl>
                                        <p:attrNameLst>
                                          <p:attrName>style.visibility</p:attrName>
                                        </p:attrNameLst>
                                      </p:cBhvr>
                                      <p:to>
                                        <p:strVal val="visible"/>
                                      </p:to>
                                    </p:set>
                                    <p:animEffect transition="in" filter="fade">
                                      <p:cBhvr>
                                        <p:cTn id="46" dur="500"/>
                                        <p:tgtEl>
                                          <p:spTgt spid="103"/>
                                        </p:tgtEl>
                                      </p:cBhvr>
                                    </p:animEffect>
                                  </p:childTnLst>
                                </p:cTn>
                              </p:par>
                              <p:par>
                                <p:cTn id="47" presetID="10" presetClass="entr" presetSubtype="0" fill="hold" grpId="0" nodeType="withEffect">
                                  <p:stCondLst>
                                    <p:cond delay="220"/>
                                  </p:stCondLst>
                                  <p:childTnLst>
                                    <p:set>
                                      <p:cBhvr>
                                        <p:cTn id="48" dur="1" fill="hold">
                                          <p:stCondLst>
                                            <p:cond delay="0"/>
                                          </p:stCondLst>
                                        </p:cTn>
                                        <p:tgtEl>
                                          <p:spTgt spid="104"/>
                                        </p:tgtEl>
                                        <p:attrNameLst>
                                          <p:attrName>style.visibility</p:attrName>
                                        </p:attrNameLst>
                                      </p:cBhvr>
                                      <p:to>
                                        <p:strVal val="visible"/>
                                      </p:to>
                                    </p:set>
                                    <p:animEffect transition="in" filter="fade">
                                      <p:cBhvr>
                                        <p:cTn id="49" dur="500"/>
                                        <p:tgtEl>
                                          <p:spTgt spid="104"/>
                                        </p:tgtEl>
                                      </p:cBhvr>
                                    </p:animEffect>
                                  </p:childTnLst>
                                </p:cTn>
                              </p:par>
                              <p:par>
                                <p:cTn id="50" presetID="10" presetClass="entr" presetSubtype="0" fill="hold" grpId="0" nodeType="withEffect">
                                  <p:stCondLst>
                                    <p:cond delay="240"/>
                                  </p:stCondLst>
                                  <p:childTnLst>
                                    <p:set>
                                      <p:cBhvr>
                                        <p:cTn id="51" dur="1" fill="hold">
                                          <p:stCondLst>
                                            <p:cond delay="0"/>
                                          </p:stCondLst>
                                        </p:cTn>
                                        <p:tgtEl>
                                          <p:spTgt spid="105"/>
                                        </p:tgtEl>
                                        <p:attrNameLst>
                                          <p:attrName>style.visibility</p:attrName>
                                        </p:attrNameLst>
                                      </p:cBhvr>
                                      <p:to>
                                        <p:strVal val="visible"/>
                                      </p:to>
                                    </p:set>
                                    <p:animEffect transition="in" filter="fade">
                                      <p:cBhvr>
                                        <p:cTn id="52" dur="500"/>
                                        <p:tgtEl>
                                          <p:spTgt spid="105"/>
                                        </p:tgtEl>
                                      </p:cBhvr>
                                    </p:animEffect>
                                  </p:childTnLst>
                                </p:cTn>
                              </p:par>
                              <p:par>
                                <p:cTn id="53" presetID="10" presetClass="entr" presetSubtype="0" fill="hold" grpId="0" nodeType="withEffect">
                                  <p:stCondLst>
                                    <p:cond delay="260"/>
                                  </p:stCondLst>
                                  <p:childTnLst>
                                    <p:set>
                                      <p:cBhvr>
                                        <p:cTn id="54" dur="1" fill="hold">
                                          <p:stCondLst>
                                            <p:cond delay="0"/>
                                          </p:stCondLst>
                                        </p:cTn>
                                        <p:tgtEl>
                                          <p:spTgt spid="106"/>
                                        </p:tgtEl>
                                        <p:attrNameLst>
                                          <p:attrName>style.visibility</p:attrName>
                                        </p:attrNameLst>
                                      </p:cBhvr>
                                      <p:to>
                                        <p:strVal val="visible"/>
                                      </p:to>
                                    </p:set>
                                    <p:animEffect transition="in" filter="fade">
                                      <p:cBhvr>
                                        <p:cTn id="55" dur="500"/>
                                        <p:tgtEl>
                                          <p:spTgt spid="106"/>
                                        </p:tgtEl>
                                      </p:cBhvr>
                                    </p:animEffect>
                                  </p:childTnLst>
                                </p:cTn>
                              </p:par>
                              <p:par>
                                <p:cTn id="56" presetID="10" presetClass="entr" presetSubtype="0" fill="hold" grpId="0" nodeType="withEffect">
                                  <p:stCondLst>
                                    <p:cond delay="280"/>
                                  </p:stCondLst>
                                  <p:childTnLst>
                                    <p:set>
                                      <p:cBhvr>
                                        <p:cTn id="57" dur="1" fill="hold">
                                          <p:stCondLst>
                                            <p:cond delay="0"/>
                                          </p:stCondLst>
                                        </p:cTn>
                                        <p:tgtEl>
                                          <p:spTgt spid="107"/>
                                        </p:tgtEl>
                                        <p:attrNameLst>
                                          <p:attrName>style.visibility</p:attrName>
                                        </p:attrNameLst>
                                      </p:cBhvr>
                                      <p:to>
                                        <p:strVal val="visible"/>
                                      </p:to>
                                    </p:set>
                                    <p:animEffect transition="in" filter="fade">
                                      <p:cBhvr>
                                        <p:cTn id="58" dur="500"/>
                                        <p:tgtEl>
                                          <p:spTgt spid="107"/>
                                        </p:tgtEl>
                                      </p:cBhvr>
                                    </p:animEffect>
                                  </p:childTnLst>
                                </p:cTn>
                              </p:par>
                              <p:par>
                                <p:cTn id="59" presetID="10" presetClass="entr" presetSubtype="0" fill="hold" grpId="0" nodeType="withEffect">
                                  <p:stCondLst>
                                    <p:cond delay="300"/>
                                  </p:stCondLst>
                                  <p:childTnLst>
                                    <p:set>
                                      <p:cBhvr>
                                        <p:cTn id="60" dur="1" fill="hold">
                                          <p:stCondLst>
                                            <p:cond delay="0"/>
                                          </p:stCondLst>
                                        </p:cTn>
                                        <p:tgtEl>
                                          <p:spTgt spid="108"/>
                                        </p:tgtEl>
                                        <p:attrNameLst>
                                          <p:attrName>style.visibility</p:attrName>
                                        </p:attrNameLst>
                                      </p:cBhvr>
                                      <p:to>
                                        <p:strVal val="visible"/>
                                      </p:to>
                                    </p:set>
                                    <p:animEffect transition="in" filter="fade">
                                      <p:cBhvr>
                                        <p:cTn id="61" dur="500"/>
                                        <p:tgtEl>
                                          <p:spTgt spid="108"/>
                                        </p:tgtEl>
                                      </p:cBhvr>
                                    </p:animEffect>
                                  </p:childTnLst>
                                </p:cTn>
                              </p:par>
                              <p:par>
                                <p:cTn id="62" presetID="10" presetClass="entr" presetSubtype="0" fill="hold" grpId="0" nodeType="withEffect">
                                  <p:stCondLst>
                                    <p:cond delay="340"/>
                                  </p:stCondLst>
                                  <p:childTnLst>
                                    <p:set>
                                      <p:cBhvr>
                                        <p:cTn id="63" dur="1" fill="hold">
                                          <p:stCondLst>
                                            <p:cond delay="0"/>
                                          </p:stCondLst>
                                        </p:cTn>
                                        <p:tgtEl>
                                          <p:spTgt spid="109"/>
                                        </p:tgtEl>
                                        <p:attrNameLst>
                                          <p:attrName>style.visibility</p:attrName>
                                        </p:attrNameLst>
                                      </p:cBhvr>
                                      <p:to>
                                        <p:strVal val="visible"/>
                                      </p:to>
                                    </p:set>
                                    <p:animEffect transition="in" filter="fade">
                                      <p:cBhvr>
                                        <p:cTn id="64" dur="500"/>
                                        <p:tgtEl>
                                          <p:spTgt spid="109"/>
                                        </p:tgtEl>
                                      </p:cBhvr>
                                    </p:animEffect>
                                  </p:childTnLst>
                                </p:cTn>
                              </p:par>
                              <p:par>
                                <p:cTn id="65" presetID="10" presetClass="entr" presetSubtype="0" fill="hold" grpId="0" nodeType="withEffect">
                                  <p:stCondLst>
                                    <p:cond delay="380"/>
                                  </p:stCondLst>
                                  <p:childTnLst>
                                    <p:set>
                                      <p:cBhvr>
                                        <p:cTn id="66" dur="1" fill="hold">
                                          <p:stCondLst>
                                            <p:cond delay="0"/>
                                          </p:stCondLst>
                                        </p:cTn>
                                        <p:tgtEl>
                                          <p:spTgt spid="110"/>
                                        </p:tgtEl>
                                        <p:attrNameLst>
                                          <p:attrName>style.visibility</p:attrName>
                                        </p:attrNameLst>
                                      </p:cBhvr>
                                      <p:to>
                                        <p:strVal val="visible"/>
                                      </p:to>
                                    </p:set>
                                    <p:animEffect transition="in" filter="fade">
                                      <p:cBhvr>
                                        <p:cTn id="67" dur="500"/>
                                        <p:tgtEl>
                                          <p:spTgt spid="110"/>
                                        </p:tgtEl>
                                      </p:cBhvr>
                                    </p:animEffect>
                                  </p:childTnLst>
                                </p:cTn>
                              </p:par>
                              <p:par>
                                <p:cTn id="68" presetID="10" presetClass="entr" presetSubtype="0" fill="hold" grpId="0" nodeType="withEffect">
                                  <p:stCondLst>
                                    <p:cond delay="420"/>
                                  </p:stCondLst>
                                  <p:childTnLst>
                                    <p:set>
                                      <p:cBhvr>
                                        <p:cTn id="69" dur="1" fill="hold">
                                          <p:stCondLst>
                                            <p:cond delay="0"/>
                                          </p:stCondLst>
                                        </p:cTn>
                                        <p:tgtEl>
                                          <p:spTgt spid="111"/>
                                        </p:tgtEl>
                                        <p:attrNameLst>
                                          <p:attrName>style.visibility</p:attrName>
                                        </p:attrNameLst>
                                      </p:cBhvr>
                                      <p:to>
                                        <p:strVal val="visible"/>
                                      </p:to>
                                    </p:set>
                                    <p:animEffect transition="in" filter="fade">
                                      <p:cBhvr>
                                        <p:cTn id="70" dur="500"/>
                                        <p:tgtEl>
                                          <p:spTgt spid="111"/>
                                        </p:tgtEl>
                                      </p:cBhvr>
                                    </p:animEffect>
                                  </p:childTnLst>
                                </p:cTn>
                              </p:par>
                              <p:par>
                                <p:cTn id="71" presetID="10" presetClass="entr" presetSubtype="0" fill="hold" grpId="0" nodeType="withEffect">
                                  <p:stCondLst>
                                    <p:cond delay="550"/>
                                  </p:stCondLst>
                                  <p:childTnLst>
                                    <p:set>
                                      <p:cBhvr>
                                        <p:cTn id="72" dur="1" fill="hold">
                                          <p:stCondLst>
                                            <p:cond delay="0"/>
                                          </p:stCondLst>
                                        </p:cTn>
                                        <p:tgtEl>
                                          <p:spTgt spid="113"/>
                                        </p:tgtEl>
                                        <p:attrNameLst>
                                          <p:attrName>style.visibility</p:attrName>
                                        </p:attrNameLst>
                                      </p:cBhvr>
                                      <p:to>
                                        <p:strVal val="visible"/>
                                      </p:to>
                                    </p:set>
                                    <p:animEffect transition="in" filter="fade">
                                      <p:cBhvr>
                                        <p:cTn id="73" dur="500"/>
                                        <p:tgtEl>
                                          <p:spTgt spid="113"/>
                                        </p:tgtEl>
                                      </p:cBhvr>
                                    </p:animEffect>
                                  </p:childTnLst>
                                </p:cTn>
                              </p:par>
                              <p:par>
                                <p:cTn id="74" presetID="10" presetClass="entr" presetSubtype="0" fill="hold" grpId="0" nodeType="withEffect">
                                  <p:stCondLst>
                                    <p:cond delay="550"/>
                                  </p:stCondLst>
                                  <p:childTnLst>
                                    <p:set>
                                      <p:cBhvr>
                                        <p:cTn id="75" dur="1" fill="hold">
                                          <p:stCondLst>
                                            <p:cond delay="0"/>
                                          </p:stCondLst>
                                        </p:cTn>
                                        <p:tgtEl>
                                          <p:spTgt spid="114"/>
                                        </p:tgtEl>
                                        <p:attrNameLst>
                                          <p:attrName>style.visibility</p:attrName>
                                        </p:attrNameLst>
                                      </p:cBhvr>
                                      <p:to>
                                        <p:strVal val="visible"/>
                                      </p:to>
                                    </p:set>
                                    <p:animEffect transition="in" filter="fade">
                                      <p:cBhvr>
                                        <p:cTn id="76" dur="500"/>
                                        <p:tgtEl>
                                          <p:spTgt spid="114"/>
                                        </p:tgtEl>
                                      </p:cBhvr>
                                    </p:animEffect>
                                  </p:childTnLst>
                                </p:cTn>
                              </p:par>
                              <p:par>
                                <p:cTn id="77" presetID="10" presetClass="entr" presetSubtype="0" fill="hold" grpId="0" nodeType="withEffect">
                                  <p:stCondLst>
                                    <p:cond delay="600"/>
                                  </p:stCondLst>
                                  <p:childTnLst>
                                    <p:set>
                                      <p:cBhvr>
                                        <p:cTn id="78" dur="1" fill="hold">
                                          <p:stCondLst>
                                            <p:cond delay="0"/>
                                          </p:stCondLst>
                                        </p:cTn>
                                        <p:tgtEl>
                                          <p:spTgt spid="115"/>
                                        </p:tgtEl>
                                        <p:attrNameLst>
                                          <p:attrName>style.visibility</p:attrName>
                                        </p:attrNameLst>
                                      </p:cBhvr>
                                      <p:to>
                                        <p:strVal val="visible"/>
                                      </p:to>
                                    </p:set>
                                    <p:animEffect transition="in" filter="fade">
                                      <p:cBhvr>
                                        <p:cTn id="79" dur="500"/>
                                        <p:tgtEl>
                                          <p:spTgt spid="115"/>
                                        </p:tgtEl>
                                      </p:cBhvr>
                                    </p:animEffect>
                                  </p:childTnLst>
                                </p:cTn>
                              </p:par>
                              <p:par>
                                <p:cTn id="80" presetID="10" presetClass="entr" presetSubtype="0" fill="hold" grpId="0" nodeType="withEffect">
                                  <p:stCondLst>
                                    <p:cond delay="650"/>
                                  </p:stCondLst>
                                  <p:childTnLst>
                                    <p:set>
                                      <p:cBhvr>
                                        <p:cTn id="81" dur="1" fill="hold">
                                          <p:stCondLst>
                                            <p:cond delay="0"/>
                                          </p:stCondLst>
                                        </p:cTn>
                                        <p:tgtEl>
                                          <p:spTgt spid="116"/>
                                        </p:tgtEl>
                                        <p:attrNameLst>
                                          <p:attrName>style.visibility</p:attrName>
                                        </p:attrNameLst>
                                      </p:cBhvr>
                                      <p:to>
                                        <p:strVal val="visible"/>
                                      </p:to>
                                    </p:set>
                                    <p:animEffect transition="in" filter="fade">
                                      <p:cBhvr>
                                        <p:cTn id="82" dur="500"/>
                                        <p:tgtEl>
                                          <p:spTgt spid="116"/>
                                        </p:tgtEl>
                                      </p:cBhvr>
                                    </p:animEffect>
                                  </p:childTnLst>
                                </p:cTn>
                              </p:par>
                              <p:par>
                                <p:cTn id="83" presetID="10" presetClass="entr" presetSubtype="0" fill="hold" grpId="0" nodeType="withEffect">
                                  <p:stCondLst>
                                    <p:cond delay="700"/>
                                  </p:stCondLst>
                                  <p:childTnLst>
                                    <p:set>
                                      <p:cBhvr>
                                        <p:cTn id="84" dur="1" fill="hold">
                                          <p:stCondLst>
                                            <p:cond delay="0"/>
                                          </p:stCondLst>
                                        </p:cTn>
                                        <p:tgtEl>
                                          <p:spTgt spid="117"/>
                                        </p:tgtEl>
                                        <p:attrNameLst>
                                          <p:attrName>style.visibility</p:attrName>
                                        </p:attrNameLst>
                                      </p:cBhvr>
                                      <p:to>
                                        <p:strVal val="visible"/>
                                      </p:to>
                                    </p:set>
                                    <p:animEffect transition="in" filter="fade">
                                      <p:cBhvr>
                                        <p:cTn id="85" dur="500"/>
                                        <p:tgtEl>
                                          <p:spTgt spid="117"/>
                                        </p:tgtEl>
                                      </p:cBhvr>
                                    </p:animEffect>
                                  </p:childTnLst>
                                </p:cTn>
                              </p:par>
                              <p:par>
                                <p:cTn id="86" presetID="10" presetClass="entr" presetSubtype="0" fill="hold" grpId="0" nodeType="withEffect">
                                  <p:stCondLst>
                                    <p:cond delay="750"/>
                                  </p:stCondLst>
                                  <p:childTnLst>
                                    <p:set>
                                      <p:cBhvr>
                                        <p:cTn id="87" dur="1" fill="hold">
                                          <p:stCondLst>
                                            <p:cond delay="0"/>
                                          </p:stCondLst>
                                        </p:cTn>
                                        <p:tgtEl>
                                          <p:spTgt spid="118"/>
                                        </p:tgtEl>
                                        <p:attrNameLst>
                                          <p:attrName>style.visibility</p:attrName>
                                        </p:attrNameLst>
                                      </p:cBhvr>
                                      <p:to>
                                        <p:strVal val="visible"/>
                                      </p:to>
                                    </p:set>
                                    <p:animEffect transition="in" filter="fade">
                                      <p:cBhvr>
                                        <p:cTn id="88" dur="500"/>
                                        <p:tgtEl>
                                          <p:spTgt spid="118"/>
                                        </p:tgtEl>
                                      </p:cBhvr>
                                    </p:animEffect>
                                  </p:childTnLst>
                                </p:cTn>
                              </p:par>
                              <p:par>
                                <p:cTn id="89" presetID="10" presetClass="entr" presetSubtype="0" fill="hold" grpId="0" nodeType="withEffect">
                                  <p:stCondLst>
                                    <p:cond delay="800"/>
                                  </p:stCondLst>
                                  <p:childTnLst>
                                    <p:set>
                                      <p:cBhvr>
                                        <p:cTn id="90" dur="1" fill="hold">
                                          <p:stCondLst>
                                            <p:cond delay="0"/>
                                          </p:stCondLst>
                                        </p:cTn>
                                        <p:tgtEl>
                                          <p:spTgt spid="119"/>
                                        </p:tgtEl>
                                        <p:attrNameLst>
                                          <p:attrName>style.visibility</p:attrName>
                                        </p:attrNameLst>
                                      </p:cBhvr>
                                      <p:to>
                                        <p:strVal val="visible"/>
                                      </p:to>
                                    </p:set>
                                    <p:animEffect transition="in" filter="fade">
                                      <p:cBhvr>
                                        <p:cTn id="91" dur="500"/>
                                        <p:tgtEl>
                                          <p:spTgt spid="119"/>
                                        </p:tgtEl>
                                      </p:cBhvr>
                                    </p:animEffect>
                                  </p:childTnLst>
                                </p:cTn>
                              </p:par>
                              <p:par>
                                <p:cTn id="92" presetID="10" presetClass="entr" presetSubtype="0" fill="hold" grpId="0" nodeType="withEffect">
                                  <p:stCondLst>
                                    <p:cond delay="850"/>
                                  </p:stCondLst>
                                  <p:childTnLst>
                                    <p:set>
                                      <p:cBhvr>
                                        <p:cTn id="93" dur="1" fill="hold">
                                          <p:stCondLst>
                                            <p:cond delay="0"/>
                                          </p:stCondLst>
                                        </p:cTn>
                                        <p:tgtEl>
                                          <p:spTgt spid="120"/>
                                        </p:tgtEl>
                                        <p:attrNameLst>
                                          <p:attrName>style.visibility</p:attrName>
                                        </p:attrNameLst>
                                      </p:cBhvr>
                                      <p:to>
                                        <p:strVal val="visible"/>
                                      </p:to>
                                    </p:set>
                                    <p:animEffect transition="in" filter="fade">
                                      <p:cBhvr>
                                        <p:cTn id="94" dur="500"/>
                                        <p:tgtEl>
                                          <p:spTgt spid="120"/>
                                        </p:tgtEl>
                                      </p:cBhvr>
                                    </p:animEffect>
                                  </p:childTnLst>
                                </p:cTn>
                              </p:par>
                              <p:par>
                                <p:cTn id="95" presetID="10" presetClass="entr" presetSubtype="0" fill="hold" grpId="0" nodeType="withEffect">
                                  <p:stCondLst>
                                    <p:cond delay="900"/>
                                  </p:stCondLst>
                                  <p:childTnLst>
                                    <p:set>
                                      <p:cBhvr>
                                        <p:cTn id="96" dur="1" fill="hold">
                                          <p:stCondLst>
                                            <p:cond delay="0"/>
                                          </p:stCondLst>
                                        </p:cTn>
                                        <p:tgtEl>
                                          <p:spTgt spid="121"/>
                                        </p:tgtEl>
                                        <p:attrNameLst>
                                          <p:attrName>style.visibility</p:attrName>
                                        </p:attrNameLst>
                                      </p:cBhvr>
                                      <p:to>
                                        <p:strVal val="visible"/>
                                      </p:to>
                                    </p:set>
                                    <p:animEffect transition="in" filter="fade">
                                      <p:cBhvr>
                                        <p:cTn id="97" dur="500"/>
                                        <p:tgtEl>
                                          <p:spTgt spid="121"/>
                                        </p:tgtEl>
                                      </p:cBhvr>
                                    </p:animEffect>
                                  </p:childTnLst>
                                </p:cTn>
                              </p:par>
                              <p:par>
                                <p:cTn id="98" presetID="10" presetClass="entr" presetSubtype="0" fill="hold" grpId="0" nodeType="withEffect">
                                  <p:stCondLst>
                                    <p:cond delay="800"/>
                                  </p:stCondLst>
                                  <p:childTnLst>
                                    <p:set>
                                      <p:cBhvr>
                                        <p:cTn id="99" dur="1" fill="hold">
                                          <p:stCondLst>
                                            <p:cond delay="0"/>
                                          </p:stCondLst>
                                        </p:cTn>
                                        <p:tgtEl>
                                          <p:spTgt spid="123"/>
                                        </p:tgtEl>
                                        <p:attrNameLst>
                                          <p:attrName>style.visibility</p:attrName>
                                        </p:attrNameLst>
                                      </p:cBhvr>
                                      <p:to>
                                        <p:strVal val="visible"/>
                                      </p:to>
                                    </p:set>
                                    <p:animEffect transition="in" filter="fade">
                                      <p:cBhvr>
                                        <p:cTn id="100" dur="500"/>
                                        <p:tgtEl>
                                          <p:spTgt spid="123"/>
                                        </p:tgtEl>
                                      </p:cBhvr>
                                    </p:animEffect>
                                  </p:childTnLst>
                                </p:cTn>
                              </p:par>
                            </p:childTnLst>
                          </p:cTn>
                        </p:par>
                        <p:par>
                          <p:cTn id="101" fill="hold">
                            <p:stCondLst>
                              <p:cond delay="1900"/>
                            </p:stCondLst>
                            <p:childTnLst>
                              <p:par>
                                <p:cTn id="102" presetID="10" presetClass="entr" presetSubtype="0" fill="hold" nodeType="afterEffect">
                                  <p:stCondLst>
                                    <p:cond delay="0"/>
                                  </p:stCondLst>
                                  <p:childTnLst>
                                    <p:set>
                                      <p:cBhvr>
                                        <p:cTn id="103" dur="1" fill="hold">
                                          <p:stCondLst>
                                            <p:cond delay="0"/>
                                          </p:stCondLst>
                                        </p:cTn>
                                        <p:tgtEl>
                                          <p:spTgt spid="124"/>
                                        </p:tgtEl>
                                        <p:attrNameLst>
                                          <p:attrName>style.visibility</p:attrName>
                                        </p:attrNameLst>
                                      </p:cBhvr>
                                      <p:to>
                                        <p:strVal val="visible"/>
                                      </p:to>
                                    </p:set>
                                    <p:animEffect transition="in" filter="fade">
                                      <p:cBhvr>
                                        <p:cTn id="104" dur="500"/>
                                        <p:tgtEl>
                                          <p:spTgt spid="124"/>
                                        </p:tgtEl>
                                      </p:cBhvr>
                                    </p:animEffect>
                                  </p:childTnLst>
                                </p:cTn>
                              </p:par>
                              <p:par>
                                <p:cTn id="105" presetID="10" presetClass="entr" presetSubtype="0" fill="hold" grpId="0" nodeType="withEffect">
                                  <p:stCondLst>
                                    <p:cond delay="380"/>
                                  </p:stCondLst>
                                  <p:childTnLst>
                                    <p:set>
                                      <p:cBhvr>
                                        <p:cTn id="106" dur="1" fill="hold">
                                          <p:stCondLst>
                                            <p:cond delay="0"/>
                                          </p:stCondLst>
                                        </p:cTn>
                                        <p:tgtEl>
                                          <p:spTgt spid="48"/>
                                        </p:tgtEl>
                                        <p:attrNameLst>
                                          <p:attrName>style.visibility</p:attrName>
                                        </p:attrNameLst>
                                      </p:cBhvr>
                                      <p:to>
                                        <p:strVal val="visible"/>
                                      </p:to>
                                    </p:set>
                                    <p:animEffect transition="in" filter="fade">
                                      <p:cBhvr>
                                        <p:cTn id="107" dur="500"/>
                                        <p:tgtEl>
                                          <p:spTgt spid="48"/>
                                        </p:tgtEl>
                                      </p:cBhvr>
                                    </p:animEffect>
                                  </p:childTnLst>
                                </p:cTn>
                              </p:par>
                              <p:par>
                                <p:cTn id="108" presetID="10" presetClass="entr" presetSubtype="0" fill="hold" grpId="0" nodeType="withEffect">
                                  <p:stCondLst>
                                    <p:cond delay="420"/>
                                  </p:stCondLst>
                                  <p:childTnLst>
                                    <p:set>
                                      <p:cBhvr>
                                        <p:cTn id="109" dur="1" fill="hold">
                                          <p:stCondLst>
                                            <p:cond delay="0"/>
                                          </p:stCondLst>
                                        </p:cTn>
                                        <p:tgtEl>
                                          <p:spTgt spid="49"/>
                                        </p:tgtEl>
                                        <p:attrNameLst>
                                          <p:attrName>style.visibility</p:attrName>
                                        </p:attrNameLst>
                                      </p:cBhvr>
                                      <p:to>
                                        <p:strVal val="visible"/>
                                      </p:to>
                                    </p:set>
                                    <p:animEffect transition="in" filter="fade">
                                      <p:cBhvr>
                                        <p:cTn id="110" dur="500"/>
                                        <p:tgtEl>
                                          <p:spTgt spid="49"/>
                                        </p:tgtEl>
                                      </p:cBhvr>
                                    </p:animEffect>
                                  </p:childTnLst>
                                </p:cTn>
                              </p:par>
                              <p:par>
                                <p:cTn id="111" presetID="10" presetClass="entr" presetSubtype="0" fill="hold" grpId="0" nodeType="withEffect">
                                  <p:stCondLst>
                                    <p:cond delay="420"/>
                                  </p:stCondLst>
                                  <p:childTnLst>
                                    <p:set>
                                      <p:cBhvr>
                                        <p:cTn id="112" dur="1" fill="hold">
                                          <p:stCondLst>
                                            <p:cond delay="0"/>
                                          </p:stCondLst>
                                        </p:cTn>
                                        <p:tgtEl>
                                          <p:spTgt spid="53"/>
                                        </p:tgtEl>
                                        <p:attrNameLst>
                                          <p:attrName>style.visibility</p:attrName>
                                        </p:attrNameLst>
                                      </p:cBhvr>
                                      <p:to>
                                        <p:strVal val="visible"/>
                                      </p:to>
                                    </p:set>
                                    <p:animEffect transition="in" filter="fade">
                                      <p:cBhvr>
                                        <p:cTn id="113"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94" grpId="0" animBg="1"/>
      <p:bldP spid="95" grpId="0" animBg="1"/>
      <p:bldP spid="96" grpId="0" animBg="1"/>
      <p:bldP spid="97" grpId="0" animBg="1"/>
      <p:bldP spid="98" grpId="0" animBg="1"/>
      <p:bldP spid="99" grpId="0" animBg="1"/>
      <p:bldP spid="100" grpId="0" animBg="1"/>
      <p:bldP spid="101" grpId="0" animBg="1"/>
      <p:bldP spid="102" grpId="0" animBg="1"/>
      <p:bldP spid="103" grpId="0" animBg="1"/>
      <p:bldP spid="104" grpId="0" animBg="1"/>
      <p:bldP spid="105" grpId="0" animBg="1"/>
      <p:bldP spid="106" grpId="0" animBg="1"/>
      <p:bldP spid="107" grpId="0" animBg="1"/>
      <p:bldP spid="108" grpId="0" animBg="1"/>
      <p:bldP spid="109" grpId="0" animBg="1"/>
      <p:bldP spid="110" grpId="0" animBg="1"/>
      <p:bldP spid="111" grpId="0" animBg="1"/>
      <p:bldP spid="112" grpId="0" animBg="1"/>
      <p:bldP spid="113" grpId="0" animBg="1"/>
      <p:bldP spid="114" grpId="0" animBg="1"/>
      <p:bldP spid="115" grpId="0" animBg="1"/>
      <p:bldP spid="116" grpId="0" animBg="1"/>
      <p:bldP spid="117" grpId="0" animBg="1"/>
      <p:bldP spid="118" grpId="0" animBg="1"/>
      <p:bldP spid="119" grpId="0" animBg="1"/>
      <p:bldP spid="120" grpId="0" animBg="1"/>
      <p:bldP spid="121" grpId="0" animBg="1"/>
      <p:bldP spid="122" grpId="0" animBg="1"/>
      <p:bldP spid="123" grpId="0" animBg="1"/>
      <p:bldP spid="48" grpId="0" animBg="1"/>
      <p:bldP spid="49" grpId="0" animBg="1"/>
      <p:bldP spid="53" grpId="0"/>
    </p:bldLst>
  </p:timing>
</p:sld>
</file>

<file path=ppt/slides/slide15.xml><?xml version="1.0" encoding="utf-8"?>
<p:sld xmlns:a="http://schemas.openxmlformats.org/drawingml/2006/main" xmlns:r="http://schemas.openxmlformats.org/officeDocument/2006/relationships" xmlns:p="http://schemas.openxmlformats.org/presentationml/2006/main" show="0">
  <p:cSld>
    <p:bg>
      <p:bgPr>
        <a:solidFill>
          <a:srgbClr val="F2F2F2"/>
        </a:solidFill>
        <a:effectLst/>
      </p:bgPr>
    </p:bg>
    <p:spTree>
      <p:nvGrpSpPr>
        <p:cNvPr id="1" name=""/>
        <p:cNvGrpSpPr/>
        <p:nvPr/>
      </p:nvGrpSpPr>
      <p:grpSpPr>
        <a:xfrm>
          <a:off x="0" y="0"/>
          <a:ext cx="0" cy="0"/>
          <a:chOff x="0" y="0"/>
          <a:chExt cx="0" cy="0"/>
        </a:xfrm>
      </p:grpSpPr>
      <p:cxnSp>
        <p:nvCxnSpPr>
          <p:cNvPr id="18" name="Straight Connector 17">
            <a:extLst>
              <a:ext uri="{FF2B5EF4-FFF2-40B4-BE49-F238E27FC236}">
                <a16:creationId xmlns:a16="http://schemas.microsoft.com/office/drawing/2014/main" id="{153D86BF-D60D-4D45-AD9A-B2638811C3FD}"/>
              </a:ext>
            </a:extLst>
          </p:cNvPr>
          <p:cNvCxnSpPr>
            <a:cxnSpLocks/>
          </p:cNvCxnSpPr>
          <p:nvPr/>
        </p:nvCxnSpPr>
        <p:spPr>
          <a:xfrm>
            <a:off x="1954222" y="487"/>
            <a:ext cx="0" cy="6888317"/>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20" name="Rectangle 19">
            <a:extLst>
              <a:ext uri="{FF2B5EF4-FFF2-40B4-BE49-F238E27FC236}">
                <a16:creationId xmlns:a16="http://schemas.microsoft.com/office/drawing/2014/main" id="{AA159894-4777-4BD4-80D1-FD09090A8EAF}"/>
              </a:ext>
            </a:extLst>
          </p:cNvPr>
          <p:cNvSpPr/>
          <p:nvPr/>
        </p:nvSpPr>
        <p:spPr>
          <a:xfrm>
            <a:off x="415961" y="5573677"/>
            <a:ext cx="1224506" cy="452590"/>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2353" b="0" i="0" u="none" strike="noStrike" kern="0" cap="none" spc="49"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Trusted</a:t>
            </a:r>
          </a:p>
        </p:txBody>
      </p:sp>
      <p:sp>
        <p:nvSpPr>
          <p:cNvPr id="21" name="Rectangle 20">
            <a:extLst>
              <a:ext uri="{FF2B5EF4-FFF2-40B4-BE49-F238E27FC236}">
                <a16:creationId xmlns:a16="http://schemas.microsoft.com/office/drawing/2014/main" id="{2008378F-748F-4973-91D2-AE64A243C214}"/>
              </a:ext>
            </a:extLst>
          </p:cNvPr>
          <p:cNvSpPr/>
          <p:nvPr/>
        </p:nvSpPr>
        <p:spPr>
          <a:xfrm>
            <a:off x="458391" y="4252629"/>
            <a:ext cx="1139646" cy="331899"/>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Intelligent</a:t>
            </a:r>
          </a:p>
        </p:txBody>
      </p:sp>
      <p:sp>
        <p:nvSpPr>
          <p:cNvPr id="25"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71537" y="3796742"/>
            <a:ext cx="285750" cy="424238"/>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9" name="Freeform 28"/>
          <p:cNvSpPr>
            <a:spLocks noChangeArrowheads="1"/>
          </p:cNvSpPr>
          <p:nvPr/>
        </p:nvSpPr>
        <p:spPr bwMode="auto">
          <a:xfrm>
            <a:off x="696391" y="4824727"/>
            <a:ext cx="646635" cy="639841"/>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 name="Rectangle 14">
            <a:extLst>
              <a:ext uri="{FF2B5EF4-FFF2-40B4-BE49-F238E27FC236}">
                <a16:creationId xmlns:a16="http://schemas.microsoft.com/office/drawing/2014/main" id="{A1146EDB-2AF1-424A-9EF5-E4304E03BFAD}"/>
              </a:ext>
            </a:extLst>
          </p:cNvPr>
          <p:cNvSpPr/>
          <p:nvPr/>
        </p:nvSpPr>
        <p:spPr>
          <a:xfrm>
            <a:off x="600013" y="3102867"/>
            <a:ext cx="818686" cy="333617"/>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Hybrid</a:t>
            </a:r>
          </a:p>
        </p:txBody>
      </p:sp>
      <p:sp>
        <p:nvSpPr>
          <p:cNvPr id="16" name="Rectangle 15">
            <a:extLst>
              <a:ext uri="{FF2B5EF4-FFF2-40B4-BE49-F238E27FC236}">
                <a16:creationId xmlns:a16="http://schemas.microsoft.com/office/drawing/2014/main" id="{B35646DF-8C43-4E4D-B624-7900389633A3}"/>
              </a:ext>
            </a:extLst>
          </p:cNvPr>
          <p:cNvSpPr/>
          <p:nvPr/>
        </p:nvSpPr>
        <p:spPr>
          <a:xfrm>
            <a:off x="412719" y="1791255"/>
            <a:ext cx="1193275" cy="333617"/>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Productive</a:t>
            </a:r>
          </a:p>
        </p:txBody>
      </p:sp>
      <p:sp>
        <p:nvSpPr>
          <p:cNvPr id="17" name="speedometer_2">
            <a:extLst>
              <a:ext uri="{FF2B5EF4-FFF2-40B4-BE49-F238E27FC236}">
                <a16:creationId xmlns:a16="http://schemas.microsoft.com/office/drawing/2014/main" id="{6B36E8F2-7074-4E46-8F79-AB1429268D3C}"/>
              </a:ext>
            </a:extLst>
          </p:cNvPr>
          <p:cNvSpPr>
            <a:spLocks noChangeAspect="1" noEditPoints="1"/>
          </p:cNvSpPr>
          <p:nvPr/>
        </p:nvSpPr>
        <p:spPr bwMode="auto">
          <a:xfrm>
            <a:off x="800949" y="1160459"/>
            <a:ext cx="431098" cy="43109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19" name="Group 18">
            <a:extLst>
              <a:ext uri="{FF2B5EF4-FFF2-40B4-BE49-F238E27FC236}">
                <a16:creationId xmlns:a16="http://schemas.microsoft.com/office/drawing/2014/main" id="{3063E2FD-E14B-41C4-8DA5-5C5F57591146}"/>
              </a:ext>
            </a:extLst>
          </p:cNvPr>
          <p:cNvGrpSpPr/>
          <p:nvPr/>
        </p:nvGrpSpPr>
        <p:grpSpPr>
          <a:xfrm>
            <a:off x="775290" y="2524056"/>
            <a:ext cx="451261" cy="440761"/>
            <a:chOff x="2088630" y="3287843"/>
            <a:chExt cx="429718" cy="419725"/>
          </a:xfrm>
          <a:noFill/>
        </p:grpSpPr>
        <p:sp>
          <p:nvSpPr>
            <p:cNvPr id="30" name="Rectangle 29">
              <a:extLst>
                <a:ext uri="{FF2B5EF4-FFF2-40B4-BE49-F238E27FC236}">
                  <a16:creationId xmlns:a16="http://schemas.microsoft.com/office/drawing/2014/main" id="{037D5AFB-935A-4FAB-8C62-922CAA8CE52E}"/>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1" name="Rectangle 30">
              <a:extLst>
                <a:ext uri="{FF2B5EF4-FFF2-40B4-BE49-F238E27FC236}">
                  <a16:creationId xmlns:a16="http://schemas.microsoft.com/office/drawing/2014/main" id="{380087E5-6DB4-4B71-8C58-CE39C1BD283A}"/>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33" name="Title 1">
            <a:extLst>
              <a:ext uri="{FF2B5EF4-FFF2-40B4-BE49-F238E27FC236}">
                <a16:creationId xmlns:a16="http://schemas.microsoft.com/office/drawing/2014/main" id="{DD8C2ABE-87D9-4EFD-B245-F7078E0BB1A4}"/>
              </a:ext>
            </a:extLst>
          </p:cNvPr>
          <p:cNvSpPr txBox="1">
            <a:spLocks/>
          </p:cNvSpPr>
          <p:nvPr/>
        </p:nvSpPr>
        <p:spPr>
          <a:xfrm>
            <a:off x="2277550" y="2152760"/>
            <a:ext cx="6899904" cy="1117295"/>
          </a:xfrm>
          <a:prstGeom prst="rect">
            <a:avLst/>
          </a:prstGeom>
        </p:spPr>
        <p:txBody>
          <a:bodyPr lIns="146263" tIns="9142" rIns="146263" bIns="9142" anchor="b" anchorCtr="0"/>
          <a:lstStyle>
            <a:lvl1pPr marL="0" indent="0" algn="l" defTabSz="914367" rtl="0" eaLnBrk="1" latinLnBrk="0" hangingPunct="1">
              <a:lnSpc>
                <a:spcPct val="90000"/>
              </a:lnSpc>
              <a:spcBef>
                <a:spcPts val="0"/>
              </a:spcBef>
              <a:buNone/>
              <a:defRPr lang="en-US" sz="6000" b="0" kern="1200" cap="none" spc="-100" baseline="0">
                <a:ln w="3175">
                  <a:noFill/>
                </a:ln>
                <a:solidFill>
                  <a:schemeClr val="bg1"/>
                </a:solidFill>
                <a:effectLst/>
                <a:latin typeface="+mj-lt"/>
                <a:ea typeface="+mn-ea"/>
                <a:cs typeface="Segoe UI" pitchFamily="34" charset="0"/>
              </a:defRPr>
            </a:lvl1pPr>
          </a:lstStyle>
          <a:p>
            <a:pPr marL="0" marR="0" lvl="0" indent="0" algn="l" defTabSz="914192" rtl="0" eaLnBrk="1" fontAlgn="base" latinLnBrk="0" hangingPunct="1">
              <a:lnSpc>
                <a:spcPct val="90000"/>
              </a:lnSpc>
              <a:spcBef>
                <a:spcPts val="0"/>
              </a:spcBef>
              <a:spcAft>
                <a:spcPct val="0"/>
              </a:spcAft>
              <a:buClrTx/>
              <a:buSzTx/>
              <a:buFontTx/>
              <a:buNone/>
              <a:tabLst/>
              <a:defRPr/>
            </a:pPr>
            <a:r>
              <a:rPr kumimoji="0" lang="en-US" sz="4705" b="0" i="0" u="none" strike="noStrike" kern="1200" cap="none" spc="-100" normalizeH="0" baseline="0" noProof="0" dirty="0">
                <a:ln w="3175">
                  <a:noFill/>
                </a:ln>
                <a:solidFill>
                  <a:srgbClr val="0078D7"/>
                </a:solidFill>
                <a:effectLst/>
                <a:uLnTx/>
                <a:uFillTx/>
                <a:latin typeface="Segoe UI Light"/>
                <a:ea typeface="+mn-ea"/>
                <a:cs typeface="Segoe UI" pitchFamily="34" charset="0"/>
              </a:rPr>
              <a:t>Azure </a:t>
            </a:r>
          </a:p>
          <a:p>
            <a:pPr marL="0" marR="0" lvl="0" indent="0" algn="l" defTabSz="914192" rtl="0" eaLnBrk="1" fontAlgn="base" latinLnBrk="0" hangingPunct="1">
              <a:lnSpc>
                <a:spcPct val="90000"/>
              </a:lnSpc>
              <a:spcBef>
                <a:spcPts val="0"/>
              </a:spcBef>
              <a:spcAft>
                <a:spcPct val="0"/>
              </a:spcAft>
              <a:buClrTx/>
              <a:buSzTx/>
              <a:buFontTx/>
              <a:buNone/>
              <a:tabLst/>
              <a:defRPr/>
            </a:pPr>
            <a:r>
              <a:rPr kumimoji="0" lang="en-US" sz="4705" b="0" i="0" u="none" strike="noStrike" kern="1200" cap="none" spc="-100" normalizeH="0" baseline="0" noProof="0" dirty="0">
                <a:ln w="3175">
                  <a:noFill/>
                </a:ln>
                <a:solidFill>
                  <a:srgbClr val="0078D7"/>
                </a:solidFill>
                <a:effectLst/>
                <a:uLnTx/>
                <a:uFillTx/>
                <a:latin typeface="Segoe UI Light"/>
                <a:ea typeface="+mn-ea"/>
                <a:cs typeface="Segoe UI" pitchFamily="34" charset="0"/>
              </a:rPr>
              <a:t>Security Center</a:t>
            </a:r>
          </a:p>
        </p:txBody>
      </p:sp>
      <p:sp>
        <p:nvSpPr>
          <p:cNvPr id="34" name="Rectangle 33">
            <a:extLst>
              <a:ext uri="{FF2B5EF4-FFF2-40B4-BE49-F238E27FC236}">
                <a16:creationId xmlns:a16="http://schemas.microsoft.com/office/drawing/2014/main" id="{316EC6B7-3842-4ED7-84C9-FE9B4E62AB61}"/>
              </a:ext>
            </a:extLst>
          </p:cNvPr>
          <p:cNvSpPr/>
          <p:nvPr/>
        </p:nvSpPr>
        <p:spPr>
          <a:xfrm>
            <a:off x="2277551" y="3568596"/>
            <a:ext cx="4669091" cy="1387941"/>
          </a:xfrm>
          <a:prstGeom prst="rect">
            <a:avLst/>
          </a:prstGeom>
        </p:spPr>
        <p:txBody>
          <a:bodyPr wrap="square" lIns="146263">
            <a:spAutoFit/>
          </a:bodyPr>
          <a:lstStyle/>
          <a:p>
            <a:pPr marL="0" marR="0" lvl="0" indent="0" algn="l" defTabSz="913957" rtl="0" eaLnBrk="1" fontAlgn="auto" latinLnBrk="0" hangingPunct="1">
              <a:lnSpc>
                <a:spcPct val="100000"/>
              </a:lnSpc>
              <a:spcBef>
                <a:spcPts val="0"/>
              </a:spcBef>
              <a:spcAft>
                <a:spcPts val="1175"/>
              </a:spcAft>
              <a:buClr>
                <a:srgbClr val="FFFFFF"/>
              </a:buClr>
              <a:buSzTx/>
              <a:buFontTx/>
              <a:buNone/>
              <a:tabLst/>
              <a:defRPr/>
            </a:pPr>
            <a:r>
              <a:rPr kumimoji="0" lang="en-US" sz="2157" b="0" i="0" u="none" strike="noStrike" kern="1200" cap="none" spc="0" normalizeH="0" baseline="0" noProof="0" dirty="0">
                <a:ln>
                  <a:noFill/>
                </a:ln>
                <a:solidFill>
                  <a:srgbClr val="4F504F"/>
                </a:solidFill>
                <a:effectLst/>
                <a:uLnTx/>
                <a:uFillTx/>
                <a:latin typeface="Segoe UI Light" charset="0"/>
                <a:ea typeface="Segoe UI Light" charset="0"/>
                <a:cs typeface="Segoe UI Light" charset="0"/>
              </a:rPr>
              <a:t>Protection through best practices</a:t>
            </a:r>
          </a:p>
          <a:p>
            <a:pPr marL="0" marR="0" lvl="0" indent="0" algn="l" defTabSz="913957" rtl="0" eaLnBrk="1" fontAlgn="auto" latinLnBrk="0" hangingPunct="1">
              <a:lnSpc>
                <a:spcPct val="100000"/>
              </a:lnSpc>
              <a:spcBef>
                <a:spcPts val="0"/>
              </a:spcBef>
              <a:spcAft>
                <a:spcPts val="1175"/>
              </a:spcAft>
              <a:buClr>
                <a:srgbClr val="FFFFFF"/>
              </a:buClr>
              <a:buSzTx/>
              <a:buFontTx/>
              <a:buNone/>
              <a:tabLst/>
              <a:defRPr/>
            </a:pPr>
            <a:r>
              <a:rPr kumimoji="0" lang="en-US" sz="2157" b="0" i="0" u="none" strike="noStrike" kern="1200" cap="none" spc="0" normalizeH="0" baseline="0" noProof="0" dirty="0">
                <a:ln>
                  <a:noFill/>
                </a:ln>
                <a:solidFill>
                  <a:srgbClr val="4F504F"/>
                </a:solidFill>
                <a:effectLst/>
                <a:uLnTx/>
                <a:uFillTx/>
                <a:latin typeface="Segoe UI Light" charset="0"/>
                <a:ea typeface="Segoe UI Light" charset="0"/>
                <a:cs typeface="Segoe UI Light" charset="0"/>
              </a:rPr>
              <a:t>Detect threats and attacks</a:t>
            </a:r>
          </a:p>
          <a:p>
            <a:pPr marL="0" marR="0" lvl="0" indent="0" algn="l" defTabSz="913957" rtl="0" eaLnBrk="1" fontAlgn="auto" latinLnBrk="0" hangingPunct="1">
              <a:lnSpc>
                <a:spcPct val="100000"/>
              </a:lnSpc>
              <a:spcBef>
                <a:spcPts val="0"/>
              </a:spcBef>
              <a:spcAft>
                <a:spcPts val="1175"/>
              </a:spcAft>
              <a:buClr>
                <a:srgbClr val="FFFFFF"/>
              </a:buClr>
              <a:buSzTx/>
              <a:buFontTx/>
              <a:buNone/>
              <a:tabLst/>
              <a:defRPr/>
            </a:pPr>
            <a:r>
              <a:rPr kumimoji="0" lang="en-US" sz="2157" b="0" i="0" u="none" strike="noStrike" kern="1200" cap="none" spc="0" normalizeH="0" baseline="0" noProof="0" dirty="0">
                <a:ln>
                  <a:noFill/>
                </a:ln>
                <a:solidFill>
                  <a:srgbClr val="4F504F"/>
                </a:solidFill>
                <a:effectLst/>
                <a:uLnTx/>
                <a:uFillTx/>
                <a:latin typeface="Segoe UI Light" charset="0"/>
                <a:ea typeface="Segoe UI Light" charset="0"/>
                <a:cs typeface="Segoe UI Light" charset="0"/>
              </a:rPr>
              <a:t>Remediate issues</a:t>
            </a:r>
          </a:p>
        </p:txBody>
      </p:sp>
      <p:grpSp>
        <p:nvGrpSpPr>
          <p:cNvPr id="2" name="Group 1"/>
          <p:cNvGrpSpPr/>
          <p:nvPr/>
        </p:nvGrpSpPr>
        <p:grpSpPr>
          <a:xfrm>
            <a:off x="6136478" y="451924"/>
            <a:ext cx="6055523" cy="6336506"/>
            <a:chOff x="6136478" y="451924"/>
            <a:chExt cx="6055523" cy="6336506"/>
          </a:xfrm>
        </p:grpSpPr>
        <p:pic>
          <p:nvPicPr>
            <p:cNvPr id="42" name="Picture 41" descr="A screenshot of a computer&#10;&#10;Description generated with high confidence">
              <a:extLst>
                <a:ext uri="{FF2B5EF4-FFF2-40B4-BE49-F238E27FC236}">
                  <a16:creationId xmlns:a16="http://schemas.microsoft.com/office/drawing/2014/main" id="{B3FCFB3E-4F42-4D86-BF9D-9A2EE643B3B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136478" y="451924"/>
              <a:ext cx="6055522" cy="6336506"/>
            </a:xfrm>
            <a:prstGeom prst="rect">
              <a:avLst/>
            </a:prstGeom>
          </p:spPr>
        </p:pic>
        <p:pic>
          <p:nvPicPr>
            <p:cNvPr id="43" name="Picture 42">
              <a:extLst>
                <a:ext uri="{FF2B5EF4-FFF2-40B4-BE49-F238E27FC236}">
                  <a16:creationId xmlns:a16="http://schemas.microsoft.com/office/drawing/2014/main" id="{7F4BC64D-772A-494C-9045-9302C0F3B75A}"/>
                </a:ext>
              </a:extLst>
            </p:cNvPr>
            <p:cNvPicPr>
              <a:picLocks noChangeAspect="1"/>
            </p:cNvPicPr>
            <p:nvPr/>
          </p:nvPicPr>
          <p:blipFill>
            <a:blip r:embed="rId4"/>
            <a:stretch>
              <a:fillRect/>
            </a:stretch>
          </p:blipFill>
          <p:spPr>
            <a:xfrm>
              <a:off x="7100347" y="699956"/>
              <a:ext cx="5091654" cy="4305039"/>
            </a:xfrm>
            <a:prstGeom prst="rect">
              <a:avLst/>
            </a:prstGeom>
          </p:spPr>
        </p:pic>
      </p:grpSp>
    </p:spTree>
    <p:extLst>
      <p:ext uri="{BB962C8B-B14F-4D97-AF65-F5344CB8AC3E}">
        <p14:creationId xmlns:p14="http://schemas.microsoft.com/office/powerpoint/2010/main" val="784745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600"/>
                                        <p:tgtEl>
                                          <p:spTgt spid="33"/>
                                        </p:tgtEl>
                                      </p:cBhvr>
                                    </p:animEffect>
                                  </p:childTnLst>
                                </p:cTn>
                              </p:par>
                              <p:par>
                                <p:cTn id="8" presetID="35" presetClass="path" presetSubtype="0" decel="100000" fill="hold" grpId="1" nodeType="withEffect">
                                  <p:stCondLst>
                                    <p:cond delay="0"/>
                                  </p:stCondLst>
                                  <p:childTnLst>
                                    <p:animMotion origin="layout" path="M -0.05553 0.00023 L -1.83304E-6 0.00023 " pathEditMode="relative" rAng="0" ptsTypes="AA">
                                      <p:cBhvr>
                                        <p:cTn id="9" dur="800" fill="hold"/>
                                        <p:tgtEl>
                                          <p:spTgt spid="33"/>
                                        </p:tgtEl>
                                        <p:attrNameLst>
                                          <p:attrName>ppt_x</p:attrName>
                                          <p:attrName>ppt_y</p:attrName>
                                        </p:attrNameLst>
                                      </p:cBhvr>
                                      <p:rCtr x="2770" y="0"/>
                                    </p:animMotion>
                                  </p:childTnLst>
                                </p:cTn>
                              </p:par>
                              <p:par>
                                <p:cTn id="10" presetID="10" presetClass="entr" presetSubtype="0" fill="hold" grpId="0" nodeType="withEffect">
                                  <p:stCondLst>
                                    <p:cond delay="250"/>
                                  </p:stCondLst>
                                  <p:childTnLst>
                                    <p:set>
                                      <p:cBhvr>
                                        <p:cTn id="11" dur="1" fill="hold">
                                          <p:stCondLst>
                                            <p:cond delay="0"/>
                                          </p:stCondLst>
                                        </p:cTn>
                                        <p:tgtEl>
                                          <p:spTgt spid="34"/>
                                        </p:tgtEl>
                                        <p:attrNameLst>
                                          <p:attrName>style.visibility</p:attrName>
                                        </p:attrNameLst>
                                      </p:cBhvr>
                                      <p:to>
                                        <p:strVal val="visible"/>
                                      </p:to>
                                    </p:set>
                                    <p:animEffect transition="in" filter="fade">
                                      <p:cBhvr>
                                        <p:cTn id="12" dur="600"/>
                                        <p:tgtEl>
                                          <p:spTgt spid="34"/>
                                        </p:tgtEl>
                                      </p:cBhvr>
                                    </p:animEffect>
                                  </p:childTnLst>
                                </p:cTn>
                              </p:par>
                              <p:par>
                                <p:cTn id="13" presetID="35" presetClass="path" presetSubtype="0" decel="100000" fill="hold" grpId="1" nodeType="withEffect">
                                  <p:stCondLst>
                                    <p:cond delay="50"/>
                                  </p:stCondLst>
                                  <p:childTnLst>
                                    <p:animMotion origin="layout" path="M -0.05553 0.00022 L 2.29257E-6 0.00022 " pathEditMode="relative" rAng="0" ptsTypes="AA">
                                      <p:cBhvr>
                                        <p:cTn id="14" dur="800" fill="hold"/>
                                        <p:tgtEl>
                                          <p:spTgt spid="34"/>
                                        </p:tgtEl>
                                        <p:attrNameLst>
                                          <p:attrName>ppt_x</p:attrName>
                                          <p:attrName>ppt_y</p:attrName>
                                        </p:attrNameLst>
                                      </p:cBhvr>
                                      <p:rCtr x="2770" y="0"/>
                                    </p:animMotion>
                                  </p:childTnLst>
                                </p:cTn>
                              </p:par>
                              <p:par>
                                <p:cTn id="15" presetID="2" presetClass="entr" presetSubtype="2" decel="100000" fill="hold" nodeType="withEffect">
                                  <p:stCondLst>
                                    <p:cond delay="0"/>
                                  </p:stCondLst>
                                  <p:childTnLst>
                                    <p:set>
                                      <p:cBhvr>
                                        <p:cTn id="16" dur="1" fill="hold">
                                          <p:stCondLst>
                                            <p:cond delay="0"/>
                                          </p:stCondLst>
                                        </p:cTn>
                                        <p:tgtEl>
                                          <p:spTgt spid="2"/>
                                        </p:tgtEl>
                                        <p:attrNameLst>
                                          <p:attrName>style.visibility</p:attrName>
                                        </p:attrNameLst>
                                      </p:cBhvr>
                                      <p:to>
                                        <p:strVal val="visible"/>
                                      </p:to>
                                    </p:set>
                                    <p:anim calcmode="lin" valueType="num">
                                      <p:cBhvr additive="base">
                                        <p:cTn id="17" dur="500" fill="hold"/>
                                        <p:tgtEl>
                                          <p:spTgt spid="2"/>
                                        </p:tgtEl>
                                        <p:attrNameLst>
                                          <p:attrName>ppt_x</p:attrName>
                                        </p:attrNameLst>
                                      </p:cBhvr>
                                      <p:tavLst>
                                        <p:tav tm="0">
                                          <p:val>
                                            <p:strVal val="1+#ppt_w/2"/>
                                          </p:val>
                                        </p:tav>
                                        <p:tav tm="100000">
                                          <p:val>
                                            <p:strVal val="#ppt_x"/>
                                          </p:val>
                                        </p:tav>
                                      </p:tavLst>
                                    </p:anim>
                                    <p:anim calcmode="lin" valueType="num">
                                      <p:cBhvr additive="base">
                                        <p:cTn id="18"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33" grpId="1"/>
      <p:bldP spid="34" grpId="0"/>
      <p:bldP spid="34" grpId="1"/>
    </p:bld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TextBox 10">
            <a:extLst>
              <a:ext uri="{FF2B5EF4-FFF2-40B4-BE49-F238E27FC236}">
                <a16:creationId xmlns:a16="http://schemas.microsoft.com/office/drawing/2014/main" id="{896338E4-5E15-43CE-8AF9-7CEA7FF4CEDC}"/>
              </a:ext>
            </a:extLst>
          </p:cNvPr>
          <p:cNvSpPr txBox="1"/>
          <p:nvPr/>
        </p:nvSpPr>
        <p:spPr>
          <a:xfrm>
            <a:off x="8608253" y="5225320"/>
            <a:ext cx="2097678" cy="3693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29" normalizeH="0" baseline="0" noProof="0" dirty="0">
                <a:ln>
                  <a:noFill/>
                </a:ln>
                <a:solidFill>
                  <a:srgbClr val="0078D7"/>
                </a:solidFill>
                <a:effectLst/>
                <a:uLnTx/>
                <a:uFillTx/>
                <a:latin typeface="Segoe UI"/>
                <a:ea typeface="+mn-ea"/>
                <a:cs typeface="Segoe UI" pitchFamily="34" charset="0"/>
              </a:rPr>
              <a:t>Trusted</a:t>
            </a:r>
          </a:p>
        </p:txBody>
      </p:sp>
      <p:sp>
        <p:nvSpPr>
          <p:cNvPr id="25" name="TextBox 10">
            <a:extLst>
              <a:ext uri="{FF2B5EF4-FFF2-40B4-BE49-F238E27FC236}">
                <a16:creationId xmlns:a16="http://schemas.microsoft.com/office/drawing/2014/main" id="{8BD8644E-02C1-4F61-928F-E8902B1F0AC2}"/>
              </a:ext>
            </a:extLst>
          </p:cNvPr>
          <p:cNvSpPr txBox="1"/>
          <p:nvPr/>
        </p:nvSpPr>
        <p:spPr>
          <a:xfrm>
            <a:off x="1689528" y="5225320"/>
            <a:ext cx="2097678" cy="3693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29" normalizeH="0" baseline="0" noProof="0" dirty="0">
                <a:ln>
                  <a:noFill/>
                </a:ln>
                <a:solidFill>
                  <a:srgbClr val="0078D7"/>
                </a:solidFill>
                <a:effectLst/>
                <a:uLnTx/>
                <a:uFillTx/>
                <a:latin typeface="Segoe UI"/>
                <a:ea typeface="+mn-ea"/>
                <a:cs typeface="Segoe UI" pitchFamily="34" charset="0"/>
              </a:rPr>
              <a:t>Productive</a:t>
            </a:r>
          </a:p>
        </p:txBody>
      </p:sp>
      <p:sp>
        <p:nvSpPr>
          <p:cNvPr id="26" name="TextBox 10">
            <a:extLst>
              <a:ext uri="{FF2B5EF4-FFF2-40B4-BE49-F238E27FC236}">
                <a16:creationId xmlns:a16="http://schemas.microsoft.com/office/drawing/2014/main" id="{FF250B0B-16D0-4242-B609-FCD6071403FF}"/>
              </a:ext>
            </a:extLst>
          </p:cNvPr>
          <p:cNvSpPr txBox="1"/>
          <p:nvPr/>
        </p:nvSpPr>
        <p:spPr>
          <a:xfrm>
            <a:off x="6277979" y="5225320"/>
            <a:ext cx="2097678" cy="3693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29" normalizeH="0" baseline="0" noProof="0" dirty="0">
                <a:ln>
                  <a:noFill/>
                </a:ln>
                <a:solidFill>
                  <a:srgbClr val="0078D7"/>
                </a:solidFill>
                <a:effectLst/>
                <a:uLnTx/>
                <a:uFillTx/>
                <a:latin typeface="Segoe UI"/>
                <a:ea typeface="+mn-ea"/>
                <a:cs typeface="Segoe UI" pitchFamily="34" charset="0"/>
              </a:rPr>
              <a:t>Intelligent</a:t>
            </a:r>
          </a:p>
        </p:txBody>
      </p:sp>
      <p:sp>
        <p:nvSpPr>
          <p:cNvPr id="27" name="TextBox 10">
            <a:extLst>
              <a:ext uri="{FF2B5EF4-FFF2-40B4-BE49-F238E27FC236}">
                <a16:creationId xmlns:a16="http://schemas.microsoft.com/office/drawing/2014/main" id="{2F69F83B-0A06-4322-8678-085D0848E284}"/>
              </a:ext>
            </a:extLst>
          </p:cNvPr>
          <p:cNvSpPr txBox="1"/>
          <p:nvPr/>
        </p:nvSpPr>
        <p:spPr>
          <a:xfrm>
            <a:off x="4014635" y="5225320"/>
            <a:ext cx="2097678" cy="3693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29" normalizeH="0" baseline="0" noProof="0" dirty="0">
                <a:ln>
                  <a:noFill/>
                </a:ln>
                <a:solidFill>
                  <a:srgbClr val="0078D7"/>
                </a:solidFill>
                <a:effectLst/>
                <a:uLnTx/>
                <a:uFillTx/>
                <a:latin typeface="Segoe UI"/>
                <a:ea typeface="+mn-ea"/>
                <a:cs typeface="Segoe UI" pitchFamily="34" charset="0"/>
              </a:rPr>
              <a:t>Hybrid</a:t>
            </a:r>
          </a:p>
        </p:txBody>
      </p:sp>
      <p:sp>
        <p:nvSpPr>
          <p:cNvPr id="35" name="speedometer_2">
            <a:extLst>
              <a:ext uri="{FF2B5EF4-FFF2-40B4-BE49-F238E27FC236}">
                <a16:creationId xmlns:a16="http://schemas.microsoft.com/office/drawing/2014/main" id="{46821C48-C0E2-4818-81B4-7D5236DC9004}"/>
              </a:ext>
            </a:extLst>
          </p:cNvPr>
          <p:cNvSpPr>
            <a:spLocks noChangeAspect="1" noEditPoints="1"/>
          </p:cNvSpPr>
          <p:nvPr/>
        </p:nvSpPr>
        <p:spPr bwMode="auto">
          <a:xfrm>
            <a:off x="2417600" y="3752932"/>
            <a:ext cx="640154" cy="640152"/>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36" name="Group 35">
            <a:extLst>
              <a:ext uri="{FF2B5EF4-FFF2-40B4-BE49-F238E27FC236}">
                <a16:creationId xmlns:a16="http://schemas.microsoft.com/office/drawing/2014/main" id="{77AD9DD7-EB86-45CE-9B27-089347C7D079}"/>
              </a:ext>
            </a:extLst>
          </p:cNvPr>
          <p:cNvGrpSpPr/>
          <p:nvPr/>
        </p:nvGrpSpPr>
        <p:grpSpPr>
          <a:xfrm>
            <a:off x="4748286" y="3785231"/>
            <a:ext cx="589266" cy="575554"/>
            <a:chOff x="2088630" y="3287843"/>
            <a:chExt cx="429718" cy="419725"/>
          </a:xfrm>
          <a:noFill/>
        </p:grpSpPr>
        <p:sp>
          <p:nvSpPr>
            <p:cNvPr id="37" name="Rectangle 36">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8" name="Rectangle 37">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39"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7109952" y="3747628"/>
            <a:ext cx="438324" cy="65076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0" name="Freeform 39"/>
          <p:cNvSpPr>
            <a:spLocks noChangeArrowheads="1"/>
          </p:cNvSpPr>
          <p:nvPr/>
        </p:nvSpPr>
        <p:spPr bwMode="auto">
          <a:xfrm>
            <a:off x="9312242" y="3757138"/>
            <a:ext cx="690740" cy="68348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 name="MS cloud text">
            <a:extLst>
              <a:ext uri="{FF2B5EF4-FFF2-40B4-BE49-F238E27FC236}">
                <a16:creationId xmlns:a16="http://schemas.microsoft.com/office/drawing/2014/main" id="{9E59C516-6363-4A74-B86F-292983DE1AF7}"/>
              </a:ext>
            </a:extLst>
          </p:cNvPr>
          <p:cNvSpPr txBox="1">
            <a:spLocks/>
          </p:cNvSpPr>
          <p:nvPr/>
        </p:nvSpPr>
        <p:spPr>
          <a:xfrm>
            <a:off x="0" y="2055473"/>
            <a:ext cx="12192000" cy="1144502"/>
          </a:xfrm>
          <a:prstGeom prst="rect">
            <a:avLst/>
          </a:prstGeom>
        </p:spPr>
        <p:txBody>
          <a:bodyPr vert="horz" wrap="square" lIns="143428" tIns="89642" rIns="143428" bIns="89642"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marL="0" marR="0" lvl="0" indent="0" algn="ctr" defTabSz="896386" rtl="0" eaLnBrk="1" fontAlgn="auto" latinLnBrk="0" hangingPunct="1">
              <a:lnSpc>
                <a:spcPct val="90000"/>
              </a:lnSpc>
              <a:spcBef>
                <a:spcPct val="0"/>
              </a:spcBef>
              <a:spcAft>
                <a:spcPts val="0"/>
              </a:spcAft>
              <a:buClrTx/>
              <a:buSzTx/>
              <a:buFontTx/>
              <a:buNone/>
              <a:tabLst/>
              <a:defRPr/>
            </a:pPr>
            <a:r>
              <a:rPr kumimoji="0" lang="en-US" sz="5500" b="0" i="0" u="none" strike="noStrike" kern="0" cap="none" spc="-100" normalizeH="0" baseline="0" noProof="0" dirty="0">
                <a:ln w="3175">
                  <a:noFill/>
                </a:ln>
                <a:solidFill>
                  <a:srgbClr val="002050"/>
                </a:solidFill>
                <a:effectLst/>
                <a:uLnTx/>
                <a:uFillTx/>
                <a:latin typeface="Segoe UI Semilight"/>
                <a:ea typeface="+mn-ea"/>
                <a:cs typeface="Segoe UI Semilight" panose="020B0402040204020203" pitchFamily="34" charset="0"/>
              </a:rPr>
              <a:t>Azure. Cloud for all.</a:t>
            </a:r>
            <a:endParaRPr kumimoji="0" lang="en-US" sz="5500" b="0" i="0" u="none" strike="noStrike" kern="0" cap="none" spc="-100" normalizeH="0" baseline="0" noProof="0" dirty="0">
              <a:ln w="3175">
                <a:noFill/>
              </a:ln>
              <a:solidFill>
                <a:srgbClr val="002050"/>
              </a:solidFill>
              <a:effectLst/>
              <a:uLnTx/>
              <a:uFillTx/>
              <a:latin typeface="Segoe UI Light"/>
              <a:ea typeface="+mn-ea"/>
              <a:cs typeface="Segoe UI Semilight" panose="020B0402040204020203" pitchFamily="34" charset="0"/>
            </a:endParaRPr>
          </a:p>
          <a:p>
            <a:pPr marL="0" marR="0" lvl="0" indent="0" algn="ctr" defTabSz="896386" rtl="0" eaLnBrk="1" fontAlgn="auto" latinLnBrk="0" hangingPunct="1">
              <a:lnSpc>
                <a:spcPct val="90000"/>
              </a:lnSpc>
              <a:spcBef>
                <a:spcPct val="0"/>
              </a:spcBef>
              <a:spcAft>
                <a:spcPts val="0"/>
              </a:spcAft>
              <a:buClrTx/>
              <a:buSzTx/>
              <a:buFontTx/>
              <a:buNone/>
              <a:tabLst/>
              <a:defRPr/>
            </a:pPr>
            <a:endParaRPr kumimoji="0" lang="en-US" sz="5500" b="0" i="0" u="none" strike="noStrike" kern="0" cap="none" spc="-100" normalizeH="0" baseline="0" noProof="0" dirty="0">
              <a:ln w="3175">
                <a:noFill/>
              </a:ln>
              <a:solidFill>
                <a:srgbClr val="002050"/>
              </a:solidFill>
              <a:effectLst/>
              <a:uLnTx/>
              <a:uFillTx/>
              <a:latin typeface="Segoe UI Light"/>
              <a:ea typeface="+mn-ea"/>
              <a:cs typeface="Segoe UI Semilight" panose="020B0402040204020203" pitchFamily="34" charset="0"/>
            </a:endParaRPr>
          </a:p>
        </p:txBody>
      </p:sp>
      <p:sp>
        <p:nvSpPr>
          <p:cNvPr id="13" name="Oval 12">
            <a:extLst>
              <a:ext uri="{FF2B5EF4-FFF2-40B4-BE49-F238E27FC236}">
                <a16:creationId xmlns:a16="http://schemas.microsoft.com/office/drawing/2014/main" id="{8356B447-D388-4785-B3F6-4488C99BB77B}"/>
              </a:ext>
            </a:extLst>
          </p:cNvPr>
          <p:cNvSpPr/>
          <p:nvPr/>
        </p:nvSpPr>
        <p:spPr bwMode="auto">
          <a:xfrm rot="16200000">
            <a:off x="2637677" y="4768977"/>
            <a:ext cx="146912" cy="14691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 name="Oval 14">
            <a:extLst>
              <a:ext uri="{FF2B5EF4-FFF2-40B4-BE49-F238E27FC236}">
                <a16:creationId xmlns:a16="http://schemas.microsoft.com/office/drawing/2014/main" id="{8356B447-D388-4785-B3F6-4488C99BB77B}"/>
              </a:ext>
            </a:extLst>
          </p:cNvPr>
          <p:cNvSpPr/>
          <p:nvPr/>
        </p:nvSpPr>
        <p:spPr bwMode="auto">
          <a:xfrm rot="16200000">
            <a:off x="4962276" y="4768978"/>
            <a:ext cx="146912" cy="14691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 name="Oval 15">
            <a:extLst>
              <a:ext uri="{FF2B5EF4-FFF2-40B4-BE49-F238E27FC236}">
                <a16:creationId xmlns:a16="http://schemas.microsoft.com/office/drawing/2014/main" id="{8356B447-D388-4785-B3F6-4488C99BB77B}"/>
              </a:ext>
            </a:extLst>
          </p:cNvPr>
          <p:cNvSpPr/>
          <p:nvPr/>
        </p:nvSpPr>
        <p:spPr bwMode="auto">
          <a:xfrm rot="16200000">
            <a:off x="7250545" y="4768978"/>
            <a:ext cx="146912" cy="14691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 name="Oval 16">
            <a:extLst>
              <a:ext uri="{FF2B5EF4-FFF2-40B4-BE49-F238E27FC236}">
                <a16:creationId xmlns:a16="http://schemas.microsoft.com/office/drawing/2014/main" id="{8356B447-D388-4785-B3F6-4488C99BB77B}"/>
              </a:ext>
            </a:extLst>
          </p:cNvPr>
          <p:cNvSpPr/>
          <p:nvPr/>
        </p:nvSpPr>
        <p:spPr bwMode="auto">
          <a:xfrm rot="16200000">
            <a:off x="9606693" y="4768978"/>
            <a:ext cx="146910" cy="146910"/>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32" name="Straight Connector 31">
            <a:extLst>
              <a:ext uri="{FF2B5EF4-FFF2-40B4-BE49-F238E27FC236}">
                <a16:creationId xmlns:a16="http://schemas.microsoft.com/office/drawing/2014/main" id="{0E56090D-DF36-436E-BAD8-6044593294A5}"/>
              </a:ext>
            </a:extLst>
          </p:cNvPr>
          <p:cNvCxnSpPr/>
          <p:nvPr/>
        </p:nvCxnSpPr>
        <p:spPr>
          <a:xfrm flipV="1">
            <a:off x="2860066" y="4837471"/>
            <a:ext cx="2042298" cy="4962"/>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E56090D-DF36-436E-BAD8-6044593294A5}"/>
              </a:ext>
            </a:extLst>
          </p:cNvPr>
          <p:cNvCxnSpPr/>
          <p:nvPr/>
        </p:nvCxnSpPr>
        <p:spPr>
          <a:xfrm>
            <a:off x="5160278" y="4835555"/>
            <a:ext cx="2019237" cy="7815"/>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E56090D-DF36-436E-BAD8-6044593294A5}"/>
              </a:ext>
            </a:extLst>
          </p:cNvPr>
          <p:cNvCxnSpPr/>
          <p:nvPr/>
        </p:nvCxnSpPr>
        <p:spPr>
          <a:xfrm>
            <a:off x="7467599" y="4835506"/>
            <a:ext cx="2071215" cy="6927"/>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35310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400"/>
                                        <p:tgtEl>
                                          <p:spTgt spid="19"/>
                                        </p:tgtEl>
                                      </p:cBhvr>
                                    </p:animEffect>
                                  </p:childTnLst>
                                </p:cTn>
                              </p:par>
                              <p:par>
                                <p:cTn id="8" presetID="42" presetClass="path" presetSubtype="0" decel="100000" fill="hold" grpId="1" nodeType="withEffect">
                                  <p:stCondLst>
                                    <p:cond delay="300"/>
                                  </p:stCondLst>
                                  <p:childTnLst>
                                    <p:animMotion origin="layout" path="M 4.79167E-6 2.22222E-6 L 4.79167E-6 0.09629 " pathEditMode="relative" rAng="0" ptsTypes="AA">
                                      <p:cBhvr>
                                        <p:cTn id="9" dur="700" spd="-100000" fill="hold"/>
                                        <p:tgtEl>
                                          <p:spTgt spid="19"/>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5FB73271-5311-4BD4-8115-D085B487C5F6}"/>
              </a:ext>
            </a:extLst>
          </p:cNvPr>
          <p:cNvGrpSpPr/>
          <p:nvPr/>
        </p:nvGrpSpPr>
        <p:grpSpPr>
          <a:xfrm>
            <a:off x="3116984" y="-1"/>
            <a:ext cx="9075015" cy="6761019"/>
            <a:chOff x="10229502" y="-1"/>
            <a:chExt cx="1962497" cy="1462089"/>
          </a:xfrm>
        </p:grpSpPr>
        <p:sp>
          <p:nvSpPr>
            <p:cNvPr id="64" name="Rectangle 63">
              <a:extLst>
                <a:ext uri="{FF2B5EF4-FFF2-40B4-BE49-F238E27FC236}">
                  <a16:creationId xmlns:a16="http://schemas.microsoft.com/office/drawing/2014/main" id="{A06B7FB0-F238-4268-818D-A11D108B0687}"/>
                </a:ext>
              </a:extLst>
            </p:cNvPr>
            <p:cNvSpPr/>
            <p:nvPr/>
          </p:nvSpPr>
          <p:spPr bwMode="auto">
            <a:xfrm>
              <a:off x="10593400" y="0"/>
              <a:ext cx="1598599" cy="1462088"/>
            </a:xfrm>
            <a:prstGeom prst="rect">
              <a:avLst/>
            </a:prstGeom>
            <a:solidFill>
              <a:schemeClr val="tx2">
                <a:lumMod val="50000"/>
              </a:schemeClr>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65" name="Rectangle 64">
              <a:extLst>
                <a:ext uri="{FF2B5EF4-FFF2-40B4-BE49-F238E27FC236}">
                  <a16:creationId xmlns:a16="http://schemas.microsoft.com/office/drawing/2014/main" id="{F032E896-EDDE-4919-A57D-C9E8875B9769}"/>
                </a:ext>
              </a:extLst>
            </p:cNvPr>
            <p:cNvSpPr/>
            <p:nvPr/>
          </p:nvSpPr>
          <p:spPr bwMode="auto">
            <a:xfrm>
              <a:off x="10591070" y="0"/>
              <a:ext cx="1198258" cy="358012"/>
            </a:xfrm>
            <a:prstGeom prst="rect">
              <a:avLst/>
            </a:prstGeom>
            <a:solidFill>
              <a:schemeClr val="bg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66" name="Rectangle 65">
              <a:extLst>
                <a:ext uri="{FF2B5EF4-FFF2-40B4-BE49-F238E27FC236}">
                  <a16:creationId xmlns:a16="http://schemas.microsoft.com/office/drawing/2014/main" id="{FB51D270-4952-4A17-B5B8-33597F75A7A3}"/>
                </a:ext>
              </a:extLst>
            </p:cNvPr>
            <p:cNvSpPr/>
            <p:nvPr/>
          </p:nvSpPr>
          <p:spPr bwMode="auto">
            <a:xfrm>
              <a:off x="10229850" y="-1"/>
              <a:ext cx="360997" cy="1460501"/>
            </a:xfrm>
            <a:prstGeom prst="rect">
              <a:avLst/>
            </a:prstGeom>
            <a:solidFill>
              <a:schemeClr val="tx2">
                <a:lumMod val="50000"/>
              </a:schemeClr>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67" name="Rectangle 66">
              <a:extLst>
                <a:ext uri="{FF2B5EF4-FFF2-40B4-BE49-F238E27FC236}">
                  <a16:creationId xmlns:a16="http://schemas.microsoft.com/office/drawing/2014/main" id="{F32C5CDA-58B5-4725-8EED-CF113D92F2AB}"/>
                </a:ext>
              </a:extLst>
            </p:cNvPr>
            <p:cNvSpPr/>
            <p:nvPr/>
          </p:nvSpPr>
          <p:spPr bwMode="auto">
            <a:xfrm>
              <a:off x="10561425" y="1164640"/>
              <a:ext cx="1138928" cy="26507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3C6C"/>
                  </a:solidFill>
                  <a:effectLst/>
                  <a:uLnTx/>
                  <a:uFillTx/>
                  <a:latin typeface="Segoe UI Semibold" panose="020B0702040204020203" pitchFamily="34" charset="0"/>
                  <a:ea typeface="Segoe UI" pitchFamily="34" charset="0"/>
                  <a:cs typeface="Segoe UI Semibold" panose="020B0702040204020203" pitchFamily="34" charset="0"/>
                </a:rPr>
                <a:t>Core infrastructure</a:t>
              </a:r>
            </a:p>
          </p:txBody>
        </p:sp>
        <p:sp>
          <p:nvSpPr>
            <p:cNvPr id="68" name="Rectangle 67">
              <a:extLst>
                <a:ext uri="{FF2B5EF4-FFF2-40B4-BE49-F238E27FC236}">
                  <a16:creationId xmlns:a16="http://schemas.microsoft.com/office/drawing/2014/main" id="{639070BC-D7FA-4AD6-86E7-F4EE0277F62E}"/>
                </a:ext>
              </a:extLst>
            </p:cNvPr>
            <p:cNvSpPr/>
            <p:nvPr/>
          </p:nvSpPr>
          <p:spPr bwMode="auto">
            <a:xfrm>
              <a:off x="10561162" y="567787"/>
              <a:ext cx="1254566" cy="3498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3C6C"/>
                  </a:solidFill>
                  <a:effectLst/>
                  <a:uLnTx/>
                  <a:uFillTx/>
                  <a:latin typeface="Segoe UI Semibold" panose="020B0702040204020203" pitchFamily="34" charset="0"/>
                  <a:ea typeface="Segoe UI" pitchFamily="34" charset="0"/>
                  <a:cs typeface="Segoe UI Semibold" panose="020B0702040204020203" pitchFamily="34" charset="0"/>
                </a:rPr>
                <a:t>Advanced workloads</a:t>
              </a:r>
            </a:p>
          </p:txBody>
        </p:sp>
        <p:sp>
          <p:nvSpPr>
            <p:cNvPr id="69" name="Rectangle 68">
              <a:extLst>
                <a:ext uri="{FF2B5EF4-FFF2-40B4-BE49-F238E27FC236}">
                  <a16:creationId xmlns:a16="http://schemas.microsoft.com/office/drawing/2014/main" id="{19BBAC1A-1FF9-4C79-A88B-864A1FB54CB4}"/>
                </a:ext>
              </a:extLst>
            </p:cNvPr>
            <p:cNvSpPr/>
            <p:nvPr/>
          </p:nvSpPr>
          <p:spPr bwMode="auto">
            <a:xfrm>
              <a:off x="10561161" y="123542"/>
              <a:ext cx="859833" cy="10723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Tools</a:t>
              </a:r>
            </a:p>
          </p:txBody>
        </p:sp>
        <p:sp>
          <p:nvSpPr>
            <p:cNvPr id="70" name="Oval 69">
              <a:extLst>
                <a:ext uri="{FF2B5EF4-FFF2-40B4-BE49-F238E27FC236}">
                  <a16:creationId xmlns:a16="http://schemas.microsoft.com/office/drawing/2014/main" id="{D749CA8D-18F4-4840-82D6-C1ABF6C6FB8E}"/>
                </a:ext>
              </a:extLst>
            </p:cNvPr>
            <p:cNvSpPr/>
            <p:nvPr/>
          </p:nvSpPr>
          <p:spPr bwMode="auto">
            <a:xfrm>
              <a:off x="10287223" y="65216"/>
              <a:ext cx="242785" cy="242785"/>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1" name="Group 70">
              <a:extLst>
                <a:ext uri="{FF2B5EF4-FFF2-40B4-BE49-F238E27FC236}">
                  <a16:creationId xmlns:a16="http://schemas.microsoft.com/office/drawing/2014/main" id="{FB0430EC-1DC1-4372-B10E-F854B6AEA7D9}"/>
                </a:ext>
              </a:extLst>
            </p:cNvPr>
            <p:cNvGrpSpPr/>
            <p:nvPr/>
          </p:nvGrpSpPr>
          <p:grpSpPr>
            <a:xfrm>
              <a:off x="10275569" y="585584"/>
              <a:ext cx="270140" cy="270138"/>
              <a:chOff x="10275569" y="585584"/>
              <a:chExt cx="270140" cy="270138"/>
            </a:xfrm>
          </p:grpSpPr>
          <p:grpSp>
            <p:nvGrpSpPr>
              <p:cNvPr id="102" name="Group 101">
                <a:extLst>
                  <a:ext uri="{FF2B5EF4-FFF2-40B4-BE49-F238E27FC236}">
                    <a16:creationId xmlns:a16="http://schemas.microsoft.com/office/drawing/2014/main" id="{005A2A82-58B3-499E-BACD-F981959467C7}"/>
                  </a:ext>
                </a:extLst>
              </p:cNvPr>
              <p:cNvGrpSpPr/>
              <p:nvPr/>
            </p:nvGrpSpPr>
            <p:grpSpPr>
              <a:xfrm>
                <a:off x="10318223" y="665435"/>
                <a:ext cx="186065" cy="140854"/>
                <a:chOff x="3268663" y="4287838"/>
                <a:chExt cx="4351337" cy="3294062"/>
              </a:xfrm>
              <a:solidFill>
                <a:schemeClr val="bg1"/>
              </a:solidFill>
            </p:grpSpPr>
            <p:sp>
              <p:nvSpPr>
                <p:cNvPr id="104" name="Freeform 6">
                  <a:extLst>
                    <a:ext uri="{FF2B5EF4-FFF2-40B4-BE49-F238E27FC236}">
                      <a16:creationId xmlns:a16="http://schemas.microsoft.com/office/drawing/2014/main" id="{7475C598-F8A0-4EDE-87F5-713A14AA79A6}"/>
                    </a:ext>
                  </a:extLst>
                </p:cNvPr>
                <p:cNvSpPr>
                  <a:spLocks noChangeArrowheads="1"/>
                </p:cNvSpPr>
                <p:nvPr/>
              </p:nvSpPr>
              <p:spPr bwMode="auto">
                <a:xfrm>
                  <a:off x="3268663" y="4287838"/>
                  <a:ext cx="4351337" cy="3294062"/>
                </a:xfrm>
                <a:custGeom>
                  <a:avLst/>
                  <a:gdLst>
                    <a:gd name="T0" fmla="*/ 12087 w 12088"/>
                    <a:gd name="T1" fmla="*/ 7617 h 9150"/>
                    <a:gd name="T2" fmla="*/ 12087 w 12088"/>
                    <a:gd name="T3" fmla="*/ 0 h 9150"/>
                    <a:gd name="T4" fmla="*/ 0 w 12088"/>
                    <a:gd name="T5" fmla="*/ 0 h 9150"/>
                    <a:gd name="T6" fmla="*/ 0 w 12088"/>
                    <a:gd name="T7" fmla="*/ 7617 h 9150"/>
                    <a:gd name="T8" fmla="*/ 5682 w 12088"/>
                    <a:gd name="T9" fmla="*/ 7617 h 9150"/>
                    <a:gd name="T10" fmla="*/ 5682 w 12088"/>
                    <a:gd name="T11" fmla="*/ 8387 h 9150"/>
                    <a:gd name="T12" fmla="*/ 3764 w 12088"/>
                    <a:gd name="T13" fmla="*/ 8387 h 9150"/>
                    <a:gd name="T14" fmla="*/ 3764 w 12088"/>
                    <a:gd name="T15" fmla="*/ 9149 h 9150"/>
                    <a:gd name="T16" fmla="*/ 8323 w 12088"/>
                    <a:gd name="T17" fmla="*/ 9149 h 9150"/>
                    <a:gd name="T18" fmla="*/ 8323 w 12088"/>
                    <a:gd name="T19" fmla="*/ 8387 h 9150"/>
                    <a:gd name="T20" fmla="*/ 6445 w 12088"/>
                    <a:gd name="T21" fmla="*/ 8387 h 9150"/>
                    <a:gd name="T22" fmla="*/ 6445 w 12088"/>
                    <a:gd name="T23" fmla="*/ 7617 h 9150"/>
                    <a:gd name="T24" fmla="*/ 12087 w 12088"/>
                    <a:gd name="T25" fmla="*/ 7617 h 9150"/>
                    <a:gd name="T26" fmla="*/ 762 w 12088"/>
                    <a:gd name="T27" fmla="*/ 6855 h 9150"/>
                    <a:gd name="T28" fmla="*/ 762 w 12088"/>
                    <a:gd name="T29" fmla="*/ 770 h 9150"/>
                    <a:gd name="T30" fmla="*/ 11325 w 12088"/>
                    <a:gd name="T31" fmla="*/ 770 h 9150"/>
                    <a:gd name="T32" fmla="*/ 11325 w 12088"/>
                    <a:gd name="T33" fmla="*/ 6855 h 9150"/>
                    <a:gd name="T34" fmla="*/ 762 w 12088"/>
                    <a:gd name="T35" fmla="*/ 6855 h 9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88" h="9150">
                      <a:moveTo>
                        <a:pt x="12087" y="7617"/>
                      </a:moveTo>
                      <a:lnTo>
                        <a:pt x="12087" y="0"/>
                      </a:lnTo>
                      <a:lnTo>
                        <a:pt x="0" y="0"/>
                      </a:lnTo>
                      <a:lnTo>
                        <a:pt x="0" y="7617"/>
                      </a:lnTo>
                      <a:lnTo>
                        <a:pt x="5682" y="7617"/>
                      </a:lnTo>
                      <a:lnTo>
                        <a:pt x="5682" y="8387"/>
                      </a:lnTo>
                      <a:lnTo>
                        <a:pt x="3764" y="8387"/>
                      </a:lnTo>
                      <a:lnTo>
                        <a:pt x="3764" y="9149"/>
                      </a:lnTo>
                      <a:lnTo>
                        <a:pt x="8323" y="9149"/>
                      </a:lnTo>
                      <a:lnTo>
                        <a:pt x="8323" y="8387"/>
                      </a:lnTo>
                      <a:lnTo>
                        <a:pt x="6445" y="8387"/>
                      </a:lnTo>
                      <a:lnTo>
                        <a:pt x="6445" y="7617"/>
                      </a:lnTo>
                      <a:lnTo>
                        <a:pt x="12087" y="7617"/>
                      </a:lnTo>
                      <a:close/>
                      <a:moveTo>
                        <a:pt x="762" y="6855"/>
                      </a:moveTo>
                      <a:lnTo>
                        <a:pt x="762" y="770"/>
                      </a:lnTo>
                      <a:lnTo>
                        <a:pt x="11325" y="770"/>
                      </a:lnTo>
                      <a:lnTo>
                        <a:pt x="11325" y="6855"/>
                      </a:lnTo>
                      <a:lnTo>
                        <a:pt x="762" y="685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05050"/>
                    </a:solidFill>
                    <a:effectLst/>
                    <a:uLnTx/>
                    <a:uFillTx/>
                    <a:latin typeface="Segoe UI"/>
                    <a:ea typeface="+mn-ea"/>
                    <a:cs typeface="+mn-cs"/>
                  </a:endParaRPr>
                </a:p>
              </p:txBody>
            </p:sp>
            <p:sp>
              <p:nvSpPr>
                <p:cNvPr id="105" name="Freeform 7">
                  <a:extLst>
                    <a:ext uri="{FF2B5EF4-FFF2-40B4-BE49-F238E27FC236}">
                      <a16:creationId xmlns:a16="http://schemas.microsoft.com/office/drawing/2014/main" id="{28F3B2E1-F3FB-42F0-A02C-D981C9890E5B}"/>
                    </a:ext>
                  </a:extLst>
                </p:cNvPr>
                <p:cNvSpPr>
                  <a:spLocks noChangeArrowheads="1"/>
                </p:cNvSpPr>
                <p:nvPr/>
              </p:nvSpPr>
              <p:spPr bwMode="auto">
                <a:xfrm>
                  <a:off x="4695824" y="4762511"/>
                  <a:ext cx="1495425" cy="1765296"/>
                </a:xfrm>
                <a:custGeom>
                  <a:avLst/>
                  <a:gdLst>
                    <a:gd name="T0" fmla="*/ 4096 w 4152"/>
                    <a:gd name="T1" fmla="*/ 1157 h 4902"/>
                    <a:gd name="T2" fmla="*/ 4096 w 4152"/>
                    <a:gd name="T3" fmla="*/ 1157 h 4902"/>
                    <a:gd name="T4" fmla="*/ 4076 w 4152"/>
                    <a:gd name="T5" fmla="*/ 1143 h 4902"/>
                    <a:gd name="T6" fmla="*/ 2123 w 4152"/>
                    <a:gd name="T7" fmla="*/ 13 h 4902"/>
                    <a:gd name="T8" fmla="*/ 2123 w 4152"/>
                    <a:gd name="T9" fmla="*/ 13 h 4902"/>
                    <a:gd name="T10" fmla="*/ 2103 w 4152"/>
                    <a:gd name="T11" fmla="*/ 7 h 4902"/>
                    <a:gd name="T12" fmla="*/ 2075 w 4152"/>
                    <a:gd name="T13" fmla="*/ 0 h 4902"/>
                    <a:gd name="T14" fmla="*/ 2048 w 4152"/>
                    <a:gd name="T15" fmla="*/ 7 h 4902"/>
                    <a:gd name="T16" fmla="*/ 2021 w 4152"/>
                    <a:gd name="T17" fmla="*/ 13 h 4902"/>
                    <a:gd name="T18" fmla="*/ 68 w 4152"/>
                    <a:gd name="T19" fmla="*/ 1150 h 4902"/>
                    <a:gd name="T20" fmla="*/ 68 w 4152"/>
                    <a:gd name="T21" fmla="*/ 1150 h 4902"/>
                    <a:gd name="T22" fmla="*/ 48 w 4152"/>
                    <a:gd name="T23" fmla="*/ 1157 h 4902"/>
                    <a:gd name="T24" fmla="*/ 48 w 4152"/>
                    <a:gd name="T25" fmla="*/ 1157 h 4902"/>
                    <a:gd name="T26" fmla="*/ 27 w 4152"/>
                    <a:gd name="T27" fmla="*/ 1171 h 4902"/>
                    <a:gd name="T28" fmla="*/ 13 w 4152"/>
                    <a:gd name="T29" fmla="*/ 1191 h 4902"/>
                    <a:gd name="T30" fmla="*/ 7 w 4152"/>
                    <a:gd name="T31" fmla="*/ 1218 h 4902"/>
                    <a:gd name="T32" fmla="*/ 0 w 4152"/>
                    <a:gd name="T33" fmla="*/ 1246 h 4902"/>
                    <a:gd name="T34" fmla="*/ 0 w 4152"/>
                    <a:gd name="T35" fmla="*/ 3655 h 4902"/>
                    <a:gd name="T36" fmla="*/ 0 w 4152"/>
                    <a:gd name="T37" fmla="*/ 3655 h 4902"/>
                    <a:gd name="T38" fmla="*/ 7 w 4152"/>
                    <a:gd name="T39" fmla="*/ 3682 h 4902"/>
                    <a:gd name="T40" fmla="*/ 13 w 4152"/>
                    <a:gd name="T41" fmla="*/ 3709 h 4902"/>
                    <a:gd name="T42" fmla="*/ 27 w 4152"/>
                    <a:gd name="T43" fmla="*/ 3730 h 4902"/>
                    <a:gd name="T44" fmla="*/ 48 w 4152"/>
                    <a:gd name="T45" fmla="*/ 3744 h 4902"/>
                    <a:gd name="T46" fmla="*/ 2021 w 4152"/>
                    <a:gd name="T47" fmla="*/ 4888 h 4902"/>
                    <a:gd name="T48" fmla="*/ 2021 w 4152"/>
                    <a:gd name="T49" fmla="*/ 4888 h 4902"/>
                    <a:gd name="T50" fmla="*/ 2048 w 4152"/>
                    <a:gd name="T51" fmla="*/ 4894 h 4902"/>
                    <a:gd name="T52" fmla="*/ 2075 w 4152"/>
                    <a:gd name="T53" fmla="*/ 4901 h 4902"/>
                    <a:gd name="T54" fmla="*/ 2075 w 4152"/>
                    <a:gd name="T55" fmla="*/ 4901 h 4902"/>
                    <a:gd name="T56" fmla="*/ 2103 w 4152"/>
                    <a:gd name="T57" fmla="*/ 4894 h 4902"/>
                    <a:gd name="T58" fmla="*/ 2123 w 4152"/>
                    <a:gd name="T59" fmla="*/ 4888 h 4902"/>
                    <a:gd name="T60" fmla="*/ 4096 w 4152"/>
                    <a:gd name="T61" fmla="*/ 3744 h 4902"/>
                    <a:gd name="T62" fmla="*/ 4096 w 4152"/>
                    <a:gd name="T63" fmla="*/ 3744 h 4902"/>
                    <a:gd name="T64" fmla="*/ 4117 w 4152"/>
                    <a:gd name="T65" fmla="*/ 3730 h 4902"/>
                    <a:gd name="T66" fmla="*/ 4137 w 4152"/>
                    <a:gd name="T67" fmla="*/ 3709 h 4902"/>
                    <a:gd name="T68" fmla="*/ 4144 w 4152"/>
                    <a:gd name="T69" fmla="*/ 3682 h 4902"/>
                    <a:gd name="T70" fmla="*/ 4151 w 4152"/>
                    <a:gd name="T71" fmla="*/ 3655 h 4902"/>
                    <a:gd name="T72" fmla="*/ 4151 w 4152"/>
                    <a:gd name="T73" fmla="*/ 1239 h 4902"/>
                    <a:gd name="T74" fmla="*/ 4151 w 4152"/>
                    <a:gd name="T75" fmla="*/ 1239 h 4902"/>
                    <a:gd name="T76" fmla="*/ 4144 w 4152"/>
                    <a:gd name="T77" fmla="*/ 1212 h 4902"/>
                    <a:gd name="T78" fmla="*/ 4137 w 4152"/>
                    <a:gd name="T79" fmla="*/ 1191 h 4902"/>
                    <a:gd name="T80" fmla="*/ 4117 w 4152"/>
                    <a:gd name="T81" fmla="*/ 1171 h 4902"/>
                    <a:gd name="T82" fmla="*/ 4096 w 4152"/>
                    <a:gd name="T83" fmla="*/ 1157 h 4902"/>
                    <a:gd name="T84" fmla="*/ 3559 w 4152"/>
                    <a:gd name="T85" fmla="*/ 1409 h 4902"/>
                    <a:gd name="T86" fmla="*/ 2075 w 4152"/>
                    <a:gd name="T87" fmla="*/ 2266 h 4902"/>
                    <a:gd name="T88" fmla="*/ 592 w 4152"/>
                    <a:gd name="T89" fmla="*/ 1409 h 4902"/>
                    <a:gd name="T90" fmla="*/ 2075 w 4152"/>
                    <a:gd name="T91" fmla="*/ 551 h 4902"/>
                    <a:gd name="T92" fmla="*/ 3559 w 4152"/>
                    <a:gd name="T93" fmla="*/ 1409 h 4902"/>
                    <a:gd name="T94" fmla="*/ 1830 w 4152"/>
                    <a:gd name="T95" fmla="*/ 2689 h 4902"/>
                    <a:gd name="T96" fmla="*/ 1830 w 4152"/>
                    <a:gd name="T97" fmla="*/ 4213 h 4902"/>
                    <a:gd name="T98" fmla="*/ 490 w 4152"/>
                    <a:gd name="T99" fmla="*/ 3438 h 4902"/>
                    <a:gd name="T100" fmla="*/ 490 w 4152"/>
                    <a:gd name="T101" fmla="*/ 1912 h 4902"/>
                    <a:gd name="T102" fmla="*/ 1830 w 4152"/>
                    <a:gd name="T103" fmla="*/ 2689 h 4902"/>
                    <a:gd name="T104" fmla="*/ 3661 w 4152"/>
                    <a:gd name="T105" fmla="*/ 1912 h 4902"/>
                    <a:gd name="T106" fmla="*/ 3661 w 4152"/>
                    <a:gd name="T107" fmla="*/ 3438 h 4902"/>
                    <a:gd name="T108" fmla="*/ 2320 w 4152"/>
                    <a:gd name="T109" fmla="*/ 4213 h 4902"/>
                    <a:gd name="T110" fmla="*/ 2320 w 4152"/>
                    <a:gd name="T111" fmla="*/ 2689 h 4902"/>
                    <a:gd name="T112" fmla="*/ 3661 w 4152"/>
                    <a:gd name="T113" fmla="*/ 1912 h 4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52" h="4902">
                      <a:moveTo>
                        <a:pt x="4096" y="1157"/>
                      </a:moveTo>
                      <a:lnTo>
                        <a:pt x="4096" y="1157"/>
                      </a:lnTo>
                      <a:lnTo>
                        <a:pt x="4076" y="1143"/>
                      </a:lnTo>
                      <a:lnTo>
                        <a:pt x="2123" y="13"/>
                      </a:lnTo>
                      <a:lnTo>
                        <a:pt x="2123" y="13"/>
                      </a:lnTo>
                      <a:lnTo>
                        <a:pt x="2103" y="7"/>
                      </a:lnTo>
                      <a:lnTo>
                        <a:pt x="2075" y="0"/>
                      </a:lnTo>
                      <a:lnTo>
                        <a:pt x="2048" y="7"/>
                      </a:lnTo>
                      <a:lnTo>
                        <a:pt x="2021" y="13"/>
                      </a:lnTo>
                      <a:lnTo>
                        <a:pt x="68" y="1150"/>
                      </a:lnTo>
                      <a:lnTo>
                        <a:pt x="68" y="1150"/>
                      </a:lnTo>
                      <a:lnTo>
                        <a:pt x="48" y="1157"/>
                      </a:lnTo>
                      <a:lnTo>
                        <a:pt x="48" y="1157"/>
                      </a:lnTo>
                      <a:lnTo>
                        <a:pt x="27" y="1171"/>
                      </a:lnTo>
                      <a:lnTo>
                        <a:pt x="13" y="1191"/>
                      </a:lnTo>
                      <a:lnTo>
                        <a:pt x="7" y="1218"/>
                      </a:lnTo>
                      <a:lnTo>
                        <a:pt x="0" y="1246"/>
                      </a:lnTo>
                      <a:lnTo>
                        <a:pt x="0" y="3655"/>
                      </a:lnTo>
                      <a:lnTo>
                        <a:pt x="0" y="3655"/>
                      </a:lnTo>
                      <a:lnTo>
                        <a:pt x="7" y="3682"/>
                      </a:lnTo>
                      <a:lnTo>
                        <a:pt x="13" y="3709"/>
                      </a:lnTo>
                      <a:lnTo>
                        <a:pt x="27" y="3730"/>
                      </a:lnTo>
                      <a:lnTo>
                        <a:pt x="48" y="3744"/>
                      </a:lnTo>
                      <a:lnTo>
                        <a:pt x="2021" y="4888"/>
                      </a:lnTo>
                      <a:lnTo>
                        <a:pt x="2021" y="4888"/>
                      </a:lnTo>
                      <a:lnTo>
                        <a:pt x="2048" y="4894"/>
                      </a:lnTo>
                      <a:lnTo>
                        <a:pt x="2075" y="4901"/>
                      </a:lnTo>
                      <a:lnTo>
                        <a:pt x="2075" y="4901"/>
                      </a:lnTo>
                      <a:lnTo>
                        <a:pt x="2103" y="4894"/>
                      </a:lnTo>
                      <a:lnTo>
                        <a:pt x="2123" y="4888"/>
                      </a:lnTo>
                      <a:lnTo>
                        <a:pt x="4096" y="3744"/>
                      </a:lnTo>
                      <a:lnTo>
                        <a:pt x="4096" y="3744"/>
                      </a:lnTo>
                      <a:lnTo>
                        <a:pt x="4117" y="3730"/>
                      </a:lnTo>
                      <a:lnTo>
                        <a:pt x="4137" y="3709"/>
                      </a:lnTo>
                      <a:lnTo>
                        <a:pt x="4144" y="3682"/>
                      </a:lnTo>
                      <a:lnTo>
                        <a:pt x="4151" y="3655"/>
                      </a:lnTo>
                      <a:lnTo>
                        <a:pt x="4151" y="1239"/>
                      </a:lnTo>
                      <a:lnTo>
                        <a:pt x="4151" y="1239"/>
                      </a:lnTo>
                      <a:lnTo>
                        <a:pt x="4144" y="1212"/>
                      </a:lnTo>
                      <a:lnTo>
                        <a:pt x="4137" y="1191"/>
                      </a:lnTo>
                      <a:lnTo>
                        <a:pt x="4117" y="1171"/>
                      </a:lnTo>
                      <a:lnTo>
                        <a:pt x="4096" y="1157"/>
                      </a:lnTo>
                      <a:close/>
                      <a:moveTo>
                        <a:pt x="3559" y="1409"/>
                      </a:moveTo>
                      <a:lnTo>
                        <a:pt x="2075" y="2266"/>
                      </a:lnTo>
                      <a:lnTo>
                        <a:pt x="592" y="1409"/>
                      </a:lnTo>
                      <a:lnTo>
                        <a:pt x="2075" y="551"/>
                      </a:lnTo>
                      <a:lnTo>
                        <a:pt x="3559" y="1409"/>
                      </a:lnTo>
                      <a:close/>
                      <a:moveTo>
                        <a:pt x="1830" y="2689"/>
                      </a:moveTo>
                      <a:lnTo>
                        <a:pt x="1830" y="4213"/>
                      </a:lnTo>
                      <a:lnTo>
                        <a:pt x="490" y="3438"/>
                      </a:lnTo>
                      <a:lnTo>
                        <a:pt x="490" y="1912"/>
                      </a:lnTo>
                      <a:lnTo>
                        <a:pt x="1830" y="2689"/>
                      </a:lnTo>
                      <a:close/>
                      <a:moveTo>
                        <a:pt x="3661" y="1912"/>
                      </a:moveTo>
                      <a:lnTo>
                        <a:pt x="3661" y="3438"/>
                      </a:lnTo>
                      <a:lnTo>
                        <a:pt x="2320" y="4213"/>
                      </a:lnTo>
                      <a:lnTo>
                        <a:pt x="2320" y="2689"/>
                      </a:lnTo>
                      <a:lnTo>
                        <a:pt x="3661" y="191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03" name="Oval 102">
                <a:extLst>
                  <a:ext uri="{FF2B5EF4-FFF2-40B4-BE49-F238E27FC236}">
                    <a16:creationId xmlns:a16="http://schemas.microsoft.com/office/drawing/2014/main" id="{05D20C2A-4E56-49A7-A23F-2665C9C8C4C0}"/>
                  </a:ext>
                </a:extLst>
              </p:cNvPr>
              <p:cNvSpPr/>
              <p:nvPr/>
            </p:nvSpPr>
            <p:spPr bwMode="auto">
              <a:xfrm>
                <a:off x="10275569" y="585584"/>
                <a:ext cx="270140" cy="270138"/>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72" name="Group 71">
              <a:extLst>
                <a:ext uri="{FF2B5EF4-FFF2-40B4-BE49-F238E27FC236}">
                  <a16:creationId xmlns:a16="http://schemas.microsoft.com/office/drawing/2014/main" id="{8E1F3A25-1435-462B-8A3B-717D205CEEF8}"/>
                </a:ext>
              </a:extLst>
            </p:cNvPr>
            <p:cNvGrpSpPr/>
            <p:nvPr/>
          </p:nvGrpSpPr>
          <p:grpSpPr>
            <a:xfrm>
              <a:off x="10307043" y="1215198"/>
              <a:ext cx="204883" cy="153765"/>
              <a:chOff x="10307043" y="1215198"/>
              <a:chExt cx="204883" cy="153765"/>
            </a:xfrm>
          </p:grpSpPr>
          <p:sp>
            <p:nvSpPr>
              <p:cNvPr id="86" name="Freeform 1">
                <a:extLst>
                  <a:ext uri="{FF2B5EF4-FFF2-40B4-BE49-F238E27FC236}">
                    <a16:creationId xmlns:a16="http://schemas.microsoft.com/office/drawing/2014/main" id="{17686306-533E-4F6B-84F1-8AE8D1AA25CE}"/>
                  </a:ext>
                </a:extLst>
              </p:cNvPr>
              <p:cNvSpPr>
                <a:spLocks noChangeArrowheads="1"/>
              </p:cNvSpPr>
              <p:nvPr/>
            </p:nvSpPr>
            <p:spPr bwMode="auto">
              <a:xfrm>
                <a:off x="10403043" y="1296167"/>
                <a:ext cx="12883" cy="22303"/>
              </a:xfrm>
              <a:custGeom>
                <a:avLst/>
                <a:gdLst>
                  <a:gd name="T0" fmla="*/ 204 w 819"/>
                  <a:gd name="T1" fmla="*/ 760 h 1419"/>
                  <a:gd name="T2" fmla="*/ 204 w 819"/>
                  <a:gd name="T3" fmla="*/ 760 h 1419"/>
                  <a:gd name="T4" fmla="*/ 204 w 819"/>
                  <a:gd name="T5" fmla="*/ 1418 h 1419"/>
                  <a:gd name="T6" fmla="*/ 204 w 819"/>
                  <a:gd name="T7" fmla="*/ 1418 h 1419"/>
                  <a:gd name="T8" fmla="*/ 614 w 819"/>
                  <a:gd name="T9" fmla="*/ 1418 h 1419"/>
                  <a:gd name="T10" fmla="*/ 614 w 819"/>
                  <a:gd name="T11" fmla="*/ 1418 h 1419"/>
                  <a:gd name="T12" fmla="*/ 614 w 819"/>
                  <a:gd name="T13" fmla="*/ 760 h 1419"/>
                  <a:gd name="T14" fmla="*/ 614 w 819"/>
                  <a:gd name="T15" fmla="*/ 760 h 1419"/>
                  <a:gd name="T16" fmla="*/ 686 w 819"/>
                  <a:gd name="T17" fmla="*/ 687 h 1419"/>
                  <a:gd name="T18" fmla="*/ 752 w 819"/>
                  <a:gd name="T19" fmla="*/ 599 h 1419"/>
                  <a:gd name="T20" fmla="*/ 782 w 819"/>
                  <a:gd name="T21" fmla="*/ 555 h 1419"/>
                  <a:gd name="T22" fmla="*/ 803 w 819"/>
                  <a:gd name="T23" fmla="*/ 511 h 1419"/>
                  <a:gd name="T24" fmla="*/ 818 w 819"/>
                  <a:gd name="T25" fmla="*/ 461 h 1419"/>
                  <a:gd name="T26" fmla="*/ 818 w 819"/>
                  <a:gd name="T27" fmla="*/ 410 h 1419"/>
                  <a:gd name="T28" fmla="*/ 818 w 819"/>
                  <a:gd name="T29" fmla="*/ 410 h 1419"/>
                  <a:gd name="T30" fmla="*/ 811 w 819"/>
                  <a:gd name="T31" fmla="*/ 314 h 1419"/>
                  <a:gd name="T32" fmla="*/ 788 w 819"/>
                  <a:gd name="T33" fmla="*/ 234 h 1419"/>
                  <a:gd name="T34" fmla="*/ 759 w 819"/>
                  <a:gd name="T35" fmla="*/ 168 h 1419"/>
                  <a:gd name="T36" fmla="*/ 708 w 819"/>
                  <a:gd name="T37" fmla="*/ 110 h 1419"/>
                  <a:gd name="T38" fmla="*/ 650 w 819"/>
                  <a:gd name="T39" fmla="*/ 66 h 1419"/>
                  <a:gd name="T40" fmla="*/ 584 w 819"/>
                  <a:gd name="T41" fmla="*/ 29 h 1419"/>
                  <a:gd name="T42" fmla="*/ 503 w 819"/>
                  <a:gd name="T43" fmla="*/ 8 h 1419"/>
                  <a:gd name="T44" fmla="*/ 409 w 819"/>
                  <a:gd name="T45" fmla="*/ 0 h 1419"/>
                  <a:gd name="T46" fmla="*/ 409 w 819"/>
                  <a:gd name="T47" fmla="*/ 0 h 1419"/>
                  <a:gd name="T48" fmla="*/ 329 w 819"/>
                  <a:gd name="T49" fmla="*/ 8 h 1419"/>
                  <a:gd name="T50" fmla="*/ 256 w 819"/>
                  <a:gd name="T51" fmla="*/ 29 h 1419"/>
                  <a:gd name="T52" fmla="*/ 190 w 819"/>
                  <a:gd name="T53" fmla="*/ 66 h 1419"/>
                  <a:gd name="T54" fmla="*/ 124 w 819"/>
                  <a:gd name="T55" fmla="*/ 110 h 1419"/>
                  <a:gd name="T56" fmla="*/ 74 w 819"/>
                  <a:gd name="T57" fmla="*/ 168 h 1419"/>
                  <a:gd name="T58" fmla="*/ 36 w 819"/>
                  <a:gd name="T59" fmla="*/ 234 h 1419"/>
                  <a:gd name="T60" fmla="*/ 15 w 819"/>
                  <a:gd name="T61" fmla="*/ 278 h 1419"/>
                  <a:gd name="T62" fmla="*/ 7 w 819"/>
                  <a:gd name="T63" fmla="*/ 314 h 1419"/>
                  <a:gd name="T64" fmla="*/ 0 w 819"/>
                  <a:gd name="T65" fmla="*/ 358 h 1419"/>
                  <a:gd name="T66" fmla="*/ 0 w 819"/>
                  <a:gd name="T67" fmla="*/ 410 h 1419"/>
                  <a:gd name="T68" fmla="*/ 0 w 819"/>
                  <a:gd name="T69" fmla="*/ 410 h 1419"/>
                  <a:gd name="T70" fmla="*/ 0 w 819"/>
                  <a:gd name="T71" fmla="*/ 461 h 1419"/>
                  <a:gd name="T72" fmla="*/ 15 w 819"/>
                  <a:gd name="T73" fmla="*/ 511 h 1419"/>
                  <a:gd name="T74" fmla="*/ 36 w 819"/>
                  <a:gd name="T75" fmla="*/ 555 h 1419"/>
                  <a:gd name="T76" fmla="*/ 59 w 819"/>
                  <a:gd name="T77" fmla="*/ 599 h 1419"/>
                  <a:gd name="T78" fmla="*/ 124 w 819"/>
                  <a:gd name="T79" fmla="*/ 687 h 1419"/>
                  <a:gd name="T80" fmla="*/ 204 w 819"/>
                  <a:gd name="T81" fmla="*/ 760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9" h="1419">
                    <a:moveTo>
                      <a:pt x="204" y="760"/>
                    </a:moveTo>
                    <a:lnTo>
                      <a:pt x="204" y="760"/>
                    </a:lnTo>
                    <a:lnTo>
                      <a:pt x="204" y="1418"/>
                    </a:lnTo>
                    <a:lnTo>
                      <a:pt x="204" y="1418"/>
                    </a:lnTo>
                    <a:lnTo>
                      <a:pt x="614" y="1418"/>
                    </a:lnTo>
                    <a:lnTo>
                      <a:pt x="614" y="1418"/>
                    </a:lnTo>
                    <a:lnTo>
                      <a:pt x="614" y="760"/>
                    </a:lnTo>
                    <a:lnTo>
                      <a:pt x="614" y="760"/>
                    </a:lnTo>
                    <a:lnTo>
                      <a:pt x="686" y="687"/>
                    </a:lnTo>
                    <a:lnTo>
                      <a:pt x="752" y="599"/>
                    </a:lnTo>
                    <a:lnTo>
                      <a:pt x="782" y="555"/>
                    </a:lnTo>
                    <a:lnTo>
                      <a:pt x="803" y="511"/>
                    </a:lnTo>
                    <a:lnTo>
                      <a:pt x="818" y="461"/>
                    </a:lnTo>
                    <a:lnTo>
                      <a:pt x="818" y="410"/>
                    </a:lnTo>
                    <a:lnTo>
                      <a:pt x="818" y="410"/>
                    </a:lnTo>
                    <a:lnTo>
                      <a:pt x="811" y="314"/>
                    </a:lnTo>
                    <a:lnTo>
                      <a:pt x="788" y="234"/>
                    </a:lnTo>
                    <a:lnTo>
                      <a:pt x="759" y="168"/>
                    </a:lnTo>
                    <a:lnTo>
                      <a:pt x="708" y="110"/>
                    </a:lnTo>
                    <a:lnTo>
                      <a:pt x="650" y="66"/>
                    </a:lnTo>
                    <a:lnTo>
                      <a:pt x="584" y="29"/>
                    </a:lnTo>
                    <a:lnTo>
                      <a:pt x="503" y="8"/>
                    </a:lnTo>
                    <a:lnTo>
                      <a:pt x="409" y="0"/>
                    </a:lnTo>
                    <a:lnTo>
                      <a:pt x="409" y="0"/>
                    </a:lnTo>
                    <a:lnTo>
                      <a:pt x="329" y="8"/>
                    </a:lnTo>
                    <a:lnTo>
                      <a:pt x="256" y="29"/>
                    </a:lnTo>
                    <a:lnTo>
                      <a:pt x="190" y="66"/>
                    </a:lnTo>
                    <a:lnTo>
                      <a:pt x="124" y="110"/>
                    </a:lnTo>
                    <a:lnTo>
                      <a:pt x="74" y="168"/>
                    </a:lnTo>
                    <a:lnTo>
                      <a:pt x="36" y="234"/>
                    </a:lnTo>
                    <a:lnTo>
                      <a:pt x="15" y="278"/>
                    </a:lnTo>
                    <a:lnTo>
                      <a:pt x="7" y="314"/>
                    </a:lnTo>
                    <a:lnTo>
                      <a:pt x="0" y="358"/>
                    </a:lnTo>
                    <a:lnTo>
                      <a:pt x="0" y="410"/>
                    </a:lnTo>
                    <a:lnTo>
                      <a:pt x="0" y="410"/>
                    </a:lnTo>
                    <a:lnTo>
                      <a:pt x="0" y="461"/>
                    </a:lnTo>
                    <a:lnTo>
                      <a:pt x="15" y="511"/>
                    </a:lnTo>
                    <a:lnTo>
                      <a:pt x="36" y="555"/>
                    </a:lnTo>
                    <a:lnTo>
                      <a:pt x="59" y="599"/>
                    </a:lnTo>
                    <a:lnTo>
                      <a:pt x="124" y="687"/>
                    </a:lnTo>
                    <a:lnTo>
                      <a:pt x="204" y="760"/>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05050"/>
                  </a:solidFill>
                  <a:effectLst/>
                  <a:uLnTx/>
                  <a:uFillTx/>
                  <a:latin typeface="Segoe UI"/>
                  <a:ea typeface="+mn-ea"/>
                  <a:cs typeface="+mn-cs"/>
                </a:endParaRPr>
              </a:p>
            </p:txBody>
          </p:sp>
          <p:sp>
            <p:nvSpPr>
              <p:cNvPr id="99" name="Freeform 2">
                <a:extLst>
                  <a:ext uri="{FF2B5EF4-FFF2-40B4-BE49-F238E27FC236}">
                    <a16:creationId xmlns:a16="http://schemas.microsoft.com/office/drawing/2014/main" id="{FFA6E64C-76B5-426E-B2CD-AF90D68F126F}"/>
                  </a:ext>
                </a:extLst>
              </p:cNvPr>
              <p:cNvSpPr>
                <a:spLocks noChangeArrowheads="1"/>
              </p:cNvSpPr>
              <p:nvPr/>
            </p:nvSpPr>
            <p:spPr bwMode="auto">
              <a:xfrm>
                <a:off x="10447233" y="1339457"/>
                <a:ext cx="11498" cy="11498"/>
              </a:xfrm>
              <a:custGeom>
                <a:avLst/>
                <a:gdLst>
                  <a:gd name="T0" fmla="*/ 365 w 732"/>
                  <a:gd name="T1" fmla="*/ 0 h 732"/>
                  <a:gd name="T2" fmla="*/ 365 w 732"/>
                  <a:gd name="T3" fmla="*/ 0 h 732"/>
                  <a:gd name="T4" fmla="*/ 292 w 732"/>
                  <a:gd name="T5" fmla="*/ 7 h 732"/>
                  <a:gd name="T6" fmla="*/ 226 w 732"/>
                  <a:gd name="T7" fmla="*/ 29 h 732"/>
                  <a:gd name="T8" fmla="*/ 161 w 732"/>
                  <a:gd name="T9" fmla="*/ 65 h 732"/>
                  <a:gd name="T10" fmla="*/ 109 w 732"/>
                  <a:gd name="T11" fmla="*/ 109 h 732"/>
                  <a:gd name="T12" fmla="*/ 65 w 732"/>
                  <a:gd name="T13" fmla="*/ 161 h 732"/>
                  <a:gd name="T14" fmla="*/ 29 w 732"/>
                  <a:gd name="T15" fmla="*/ 226 h 732"/>
                  <a:gd name="T16" fmla="*/ 7 w 732"/>
                  <a:gd name="T17" fmla="*/ 292 h 732"/>
                  <a:gd name="T18" fmla="*/ 0 w 732"/>
                  <a:gd name="T19" fmla="*/ 365 h 732"/>
                  <a:gd name="T20" fmla="*/ 0 w 732"/>
                  <a:gd name="T21" fmla="*/ 365 h 732"/>
                  <a:gd name="T22" fmla="*/ 7 w 732"/>
                  <a:gd name="T23" fmla="*/ 438 h 732"/>
                  <a:gd name="T24" fmla="*/ 29 w 732"/>
                  <a:gd name="T25" fmla="*/ 512 h 732"/>
                  <a:gd name="T26" fmla="*/ 65 w 732"/>
                  <a:gd name="T27" fmla="*/ 570 h 732"/>
                  <a:gd name="T28" fmla="*/ 109 w 732"/>
                  <a:gd name="T29" fmla="*/ 629 h 732"/>
                  <a:gd name="T30" fmla="*/ 161 w 732"/>
                  <a:gd name="T31" fmla="*/ 673 h 732"/>
                  <a:gd name="T32" fmla="*/ 226 w 732"/>
                  <a:gd name="T33" fmla="*/ 709 h 732"/>
                  <a:gd name="T34" fmla="*/ 292 w 732"/>
                  <a:gd name="T35" fmla="*/ 723 h 732"/>
                  <a:gd name="T36" fmla="*/ 365 w 732"/>
                  <a:gd name="T37" fmla="*/ 731 h 732"/>
                  <a:gd name="T38" fmla="*/ 365 w 732"/>
                  <a:gd name="T39" fmla="*/ 731 h 732"/>
                  <a:gd name="T40" fmla="*/ 438 w 732"/>
                  <a:gd name="T41" fmla="*/ 723 h 732"/>
                  <a:gd name="T42" fmla="*/ 511 w 732"/>
                  <a:gd name="T43" fmla="*/ 709 h 732"/>
                  <a:gd name="T44" fmla="*/ 570 w 732"/>
                  <a:gd name="T45" fmla="*/ 673 h 732"/>
                  <a:gd name="T46" fmla="*/ 629 w 732"/>
                  <a:gd name="T47" fmla="*/ 629 h 732"/>
                  <a:gd name="T48" fmla="*/ 673 w 732"/>
                  <a:gd name="T49" fmla="*/ 570 h 732"/>
                  <a:gd name="T50" fmla="*/ 702 w 732"/>
                  <a:gd name="T51" fmla="*/ 512 h 732"/>
                  <a:gd name="T52" fmla="*/ 723 w 732"/>
                  <a:gd name="T53" fmla="*/ 438 h 732"/>
                  <a:gd name="T54" fmla="*/ 731 w 732"/>
                  <a:gd name="T55" fmla="*/ 365 h 732"/>
                  <a:gd name="T56" fmla="*/ 731 w 732"/>
                  <a:gd name="T57" fmla="*/ 365 h 732"/>
                  <a:gd name="T58" fmla="*/ 723 w 732"/>
                  <a:gd name="T59" fmla="*/ 292 h 732"/>
                  <a:gd name="T60" fmla="*/ 702 w 732"/>
                  <a:gd name="T61" fmla="*/ 226 h 732"/>
                  <a:gd name="T62" fmla="*/ 673 w 732"/>
                  <a:gd name="T63" fmla="*/ 161 h 732"/>
                  <a:gd name="T64" fmla="*/ 629 w 732"/>
                  <a:gd name="T65" fmla="*/ 109 h 732"/>
                  <a:gd name="T66" fmla="*/ 570 w 732"/>
                  <a:gd name="T67" fmla="*/ 65 h 732"/>
                  <a:gd name="T68" fmla="*/ 511 w 732"/>
                  <a:gd name="T69" fmla="*/ 29 h 732"/>
                  <a:gd name="T70" fmla="*/ 438 w 732"/>
                  <a:gd name="T71" fmla="*/ 7 h 732"/>
                  <a:gd name="T72" fmla="*/ 365 w 732"/>
                  <a:gd name="T73"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2" h="732">
                    <a:moveTo>
                      <a:pt x="365" y="0"/>
                    </a:moveTo>
                    <a:lnTo>
                      <a:pt x="365" y="0"/>
                    </a:lnTo>
                    <a:lnTo>
                      <a:pt x="292" y="7"/>
                    </a:lnTo>
                    <a:lnTo>
                      <a:pt x="226" y="29"/>
                    </a:lnTo>
                    <a:lnTo>
                      <a:pt x="161" y="65"/>
                    </a:lnTo>
                    <a:lnTo>
                      <a:pt x="109" y="109"/>
                    </a:lnTo>
                    <a:lnTo>
                      <a:pt x="65" y="161"/>
                    </a:lnTo>
                    <a:lnTo>
                      <a:pt x="29" y="226"/>
                    </a:lnTo>
                    <a:lnTo>
                      <a:pt x="7" y="292"/>
                    </a:lnTo>
                    <a:lnTo>
                      <a:pt x="0" y="365"/>
                    </a:lnTo>
                    <a:lnTo>
                      <a:pt x="0" y="365"/>
                    </a:lnTo>
                    <a:lnTo>
                      <a:pt x="7" y="438"/>
                    </a:lnTo>
                    <a:lnTo>
                      <a:pt x="29" y="512"/>
                    </a:lnTo>
                    <a:lnTo>
                      <a:pt x="65" y="570"/>
                    </a:lnTo>
                    <a:lnTo>
                      <a:pt x="109" y="629"/>
                    </a:lnTo>
                    <a:lnTo>
                      <a:pt x="161" y="673"/>
                    </a:lnTo>
                    <a:lnTo>
                      <a:pt x="226" y="709"/>
                    </a:lnTo>
                    <a:lnTo>
                      <a:pt x="292" y="723"/>
                    </a:lnTo>
                    <a:lnTo>
                      <a:pt x="365" y="731"/>
                    </a:lnTo>
                    <a:lnTo>
                      <a:pt x="365" y="731"/>
                    </a:lnTo>
                    <a:lnTo>
                      <a:pt x="438" y="723"/>
                    </a:lnTo>
                    <a:lnTo>
                      <a:pt x="511" y="709"/>
                    </a:lnTo>
                    <a:lnTo>
                      <a:pt x="570" y="673"/>
                    </a:lnTo>
                    <a:lnTo>
                      <a:pt x="629" y="629"/>
                    </a:lnTo>
                    <a:lnTo>
                      <a:pt x="673" y="570"/>
                    </a:lnTo>
                    <a:lnTo>
                      <a:pt x="702" y="512"/>
                    </a:lnTo>
                    <a:lnTo>
                      <a:pt x="723" y="438"/>
                    </a:lnTo>
                    <a:lnTo>
                      <a:pt x="731" y="365"/>
                    </a:lnTo>
                    <a:lnTo>
                      <a:pt x="731" y="365"/>
                    </a:lnTo>
                    <a:lnTo>
                      <a:pt x="723" y="292"/>
                    </a:lnTo>
                    <a:lnTo>
                      <a:pt x="702" y="226"/>
                    </a:lnTo>
                    <a:lnTo>
                      <a:pt x="673" y="161"/>
                    </a:lnTo>
                    <a:lnTo>
                      <a:pt x="629" y="109"/>
                    </a:lnTo>
                    <a:lnTo>
                      <a:pt x="570" y="65"/>
                    </a:lnTo>
                    <a:lnTo>
                      <a:pt x="511" y="29"/>
                    </a:lnTo>
                    <a:lnTo>
                      <a:pt x="438" y="7"/>
                    </a:lnTo>
                    <a:lnTo>
                      <a:pt x="365" y="0"/>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Freeform 3">
                <a:extLst>
                  <a:ext uri="{FF2B5EF4-FFF2-40B4-BE49-F238E27FC236}">
                    <a16:creationId xmlns:a16="http://schemas.microsoft.com/office/drawing/2014/main" id="{399D5604-028D-410E-BA6A-2C7E84EBC886}"/>
                  </a:ext>
                </a:extLst>
              </p:cNvPr>
              <p:cNvSpPr>
                <a:spLocks noChangeArrowheads="1"/>
              </p:cNvSpPr>
              <p:nvPr/>
            </p:nvSpPr>
            <p:spPr bwMode="auto">
              <a:xfrm>
                <a:off x="10362454" y="1341396"/>
                <a:ext cx="63307" cy="7688"/>
              </a:xfrm>
              <a:custGeom>
                <a:avLst/>
                <a:gdLst>
                  <a:gd name="T0" fmla="*/ 0 w 4029"/>
                  <a:gd name="T1" fmla="*/ 73 h 491"/>
                  <a:gd name="T2" fmla="*/ 0 w 4029"/>
                  <a:gd name="T3" fmla="*/ 490 h 491"/>
                  <a:gd name="T4" fmla="*/ 4028 w 4029"/>
                  <a:gd name="T5" fmla="*/ 490 h 491"/>
                  <a:gd name="T6" fmla="*/ 4028 w 4029"/>
                  <a:gd name="T7" fmla="*/ 73 h 491"/>
                  <a:gd name="T8" fmla="*/ 4028 w 4029"/>
                  <a:gd name="T9" fmla="*/ 0 h 491"/>
                  <a:gd name="T10" fmla="*/ 0 w 4029"/>
                  <a:gd name="T11" fmla="*/ 0 h 491"/>
                  <a:gd name="T12" fmla="*/ 0 w 4029"/>
                  <a:gd name="T13" fmla="*/ 73 h 491"/>
                </a:gdLst>
                <a:ahLst/>
                <a:cxnLst>
                  <a:cxn ang="0">
                    <a:pos x="T0" y="T1"/>
                  </a:cxn>
                  <a:cxn ang="0">
                    <a:pos x="T2" y="T3"/>
                  </a:cxn>
                  <a:cxn ang="0">
                    <a:pos x="T4" y="T5"/>
                  </a:cxn>
                  <a:cxn ang="0">
                    <a:pos x="T6" y="T7"/>
                  </a:cxn>
                  <a:cxn ang="0">
                    <a:pos x="T8" y="T9"/>
                  </a:cxn>
                  <a:cxn ang="0">
                    <a:pos x="T10" y="T11"/>
                  </a:cxn>
                  <a:cxn ang="0">
                    <a:pos x="T12" y="T13"/>
                  </a:cxn>
                </a:cxnLst>
                <a:rect l="0" t="0" r="r" b="b"/>
                <a:pathLst>
                  <a:path w="4029" h="491">
                    <a:moveTo>
                      <a:pt x="0" y="73"/>
                    </a:moveTo>
                    <a:lnTo>
                      <a:pt x="0" y="490"/>
                    </a:lnTo>
                    <a:lnTo>
                      <a:pt x="4028" y="490"/>
                    </a:lnTo>
                    <a:lnTo>
                      <a:pt x="4028" y="73"/>
                    </a:lnTo>
                    <a:lnTo>
                      <a:pt x="4028" y="0"/>
                    </a:lnTo>
                    <a:lnTo>
                      <a:pt x="0" y="0"/>
                    </a:lnTo>
                    <a:lnTo>
                      <a:pt x="0" y="73"/>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05050"/>
                  </a:solidFill>
                  <a:effectLst/>
                  <a:uLnTx/>
                  <a:uFillTx/>
                  <a:latin typeface="Segoe UI"/>
                  <a:ea typeface="+mn-ea"/>
                  <a:cs typeface="+mn-cs"/>
                </a:endParaRPr>
              </a:p>
            </p:txBody>
          </p:sp>
          <p:sp>
            <p:nvSpPr>
              <p:cNvPr id="101" name="Freeform 4">
                <a:extLst>
                  <a:ext uri="{FF2B5EF4-FFF2-40B4-BE49-F238E27FC236}">
                    <a16:creationId xmlns:a16="http://schemas.microsoft.com/office/drawing/2014/main" id="{1885A6C3-7735-4EB6-B738-421DBB2C8EDB}"/>
                  </a:ext>
                </a:extLst>
              </p:cNvPr>
              <p:cNvSpPr>
                <a:spLocks noChangeArrowheads="1"/>
              </p:cNvSpPr>
              <p:nvPr/>
            </p:nvSpPr>
            <p:spPr bwMode="auto">
              <a:xfrm>
                <a:off x="10307043" y="1215198"/>
                <a:ext cx="204883" cy="153765"/>
              </a:xfrm>
              <a:custGeom>
                <a:avLst/>
                <a:gdLst>
                  <a:gd name="T0" fmla="*/ 8831 w 13043"/>
                  <a:gd name="T1" fmla="*/ 848 h 9788"/>
                  <a:gd name="T2" fmla="*/ 6769 w 13043"/>
                  <a:gd name="T3" fmla="*/ 7 h 9788"/>
                  <a:gd name="T4" fmla="*/ 5162 w 13043"/>
                  <a:gd name="T5" fmla="*/ 249 h 9788"/>
                  <a:gd name="T6" fmla="*/ 3699 w 13043"/>
                  <a:gd name="T7" fmla="*/ 1287 h 9788"/>
                  <a:gd name="T8" fmla="*/ 2910 w 13043"/>
                  <a:gd name="T9" fmla="*/ 2909 h 9788"/>
                  <a:gd name="T10" fmla="*/ 1718 w 13043"/>
                  <a:gd name="T11" fmla="*/ 3472 h 9788"/>
                  <a:gd name="T12" fmla="*/ 556 w 13043"/>
                  <a:gd name="T13" fmla="*/ 4408 h 9788"/>
                  <a:gd name="T14" fmla="*/ 15 w 13043"/>
                  <a:gd name="T15" fmla="*/ 5796 h 9788"/>
                  <a:gd name="T16" fmla="*/ 176 w 13043"/>
                  <a:gd name="T17" fmla="*/ 7090 h 9788"/>
                  <a:gd name="T18" fmla="*/ 906 w 13043"/>
                  <a:gd name="T19" fmla="*/ 8194 h 9788"/>
                  <a:gd name="T20" fmla="*/ 2076 w 13043"/>
                  <a:gd name="T21" fmla="*/ 8823 h 9788"/>
                  <a:gd name="T22" fmla="*/ 2471 w 13043"/>
                  <a:gd name="T23" fmla="*/ 9553 h 9788"/>
                  <a:gd name="T24" fmla="*/ 10293 w 13043"/>
                  <a:gd name="T25" fmla="*/ 9787 h 9788"/>
                  <a:gd name="T26" fmla="*/ 10856 w 13043"/>
                  <a:gd name="T27" fmla="*/ 9451 h 9788"/>
                  <a:gd name="T28" fmla="*/ 11770 w 13043"/>
                  <a:gd name="T29" fmla="*/ 8121 h 9788"/>
                  <a:gd name="T30" fmla="*/ 12793 w 13043"/>
                  <a:gd name="T31" fmla="*/ 6732 h 9788"/>
                  <a:gd name="T32" fmla="*/ 13042 w 13043"/>
                  <a:gd name="T33" fmla="*/ 5475 h 9788"/>
                  <a:gd name="T34" fmla="*/ 12574 w 13043"/>
                  <a:gd name="T35" fmla="*/ 3771 h 9788"/>
                  <a:gd name="T36" fmla="*/ 11346 w 13043"/>
                  <a:gd name="T37" fmla="*/ 2551 h 9788"/>
                  <a:gd name="T38" fmla="*/ 10446 w 13043"/>
                  <a:gd name="T39" fmla="*/ 7968 h 9788"/>
                  <a:gd name="T40" fmla="*/ 10293 w 13043"/>
                  <a:gd name="T41" fmla="*/ 9297 h 9788"/>
                  <a:gd name="T42" fmla="*/ 2814 w 13043"/>
                  <a:gd name="T43" fmla="*/ 8917 h 9788"/>
                  <a:gd name="T44" fmla="*/ 2968 w 13043"/>
                  <a:gd name="T45" fmla="*/ 7258 h 9788"/>
                  <a:gd name="T46" fmla="*/ 5242 w 13043"/>
                  <a:gd name="T47" fmla="*/ 6769 h 9788"/>
                  <a:gd name="T48" fmla="*/ 4884 w 13043"/>
                  <a:gd name="T49" fmla="*/ 5592 h 9788"/>
                  <a:gd name="T50" fmla="*/ 5871 w 13043"/>
                  <a:gd name="T51" fmla="*/ 4268 h 9788"/>
                  <a:gd name="T52" fmla="*/ 7449 w 13043"/>
                  <a:gd name="T53" fmla="*/ 4415 h 9788"/>
                  <a:gd name="T54" fmla="*/ 8165 w 13043"/>
                  <a:gd name="T55" fmla="*/ 5760 h 9788"/>
                  <a:gd name="T56" fmla="*/ 7661 w 13043"/>
                  <a:gd name="T57" fmla="*/ 6922 h 9788"/>
                  <a:gd name="T58" fmla="*/ 10352 w 13043"/>
                  <a:gd name="T59" fmla="*/ 7266 h 9788"/>
                  <a:gd name="T60" fmla="*/ 5293 w 13043"/>
                  <a:gd name="T61" fmla="*/ 3611 h 9788"/>
                  <a:gd name="T62" fmla="*/ 6046 w 13043"/>
                  <a:gd name="T63" fmla="*/ 2616 h 9788"/>
                  <a:gd name="T64" fmla="*/ 7208 w 13043"/>
                  <a:gd name="T65" fmla="*/ 2727 h 9788"/>
                  <a:gd name="T66" fmla="*/ 7756 w 13043"/>
                  <a:gd name="T67" fmla="*/ 3742 h 9788"/>
                  <a:gd name="T68" fmla="*/ 6521 w 13043"/>
                  <a:gd name="T69" fmla="*/ 3742 h 9788"/>
                  <a:gd name="T70" fmla="*/ 10937 w 13043"/>
                  <a:gd name="T71" fmla="*/ 7412 h 9788"/>
                  <a:gd name="T72" fmla="*/ 10600 w 13043"/>
                  <a:gd name="T73" fmla="*/ 6849 h 9788"/>
                  <a:gd name="T74" fmla="*/ 8465 w 13043"/>
                  <a:gd name="T75" fmla="*/ 6418 h 9788"/>
                  <a:gd name="T76" fmla="*/ 8407 w 13043"/>
                  <a:gd name="T77" fmla="*/ 4949 h 9788"/>
                  <a:gd name="T78" fmla="*/ 7968 w 13043"/>
                  <a:gd name="T79" fmla="*/ 2960 h 9788"/>
                  <a:gd name="T80" fmla="*/ 6521 w 13043"/>
                  <a:gd name="T81" fmla="*/ 2127 h 9788"/>
                  <a:gd name="T82" fmla="*/ 5154 w 13043"/>
                  <a:gd name="T83" fmla="*/ 2829 h 9788"/>
                  <a:gd name="T84" fmla="*/ 4701 w 13043"/>
                  <a:gd name="T85" fmla="*/ 4802 h 9788"/>
                  <a:gd name="T86" fmla="*/ 4533 w 13043"/>
                  <a:gd name="T87" fmla="*/ 6293 h 9788"/>
                  <a:gd name="T88" fmla="*/ 2720 w 13043"/>
                  <a:gd name="T89" fmla="*/ 6819 h 9788"/>
                  <a:gd name="T90" fmla="*/ 2332 w 13043"/>
                  <a:gd name="T91" fmla="*/ 7346 h 9788"/>
                  <a:gd name="T92" fmla="*/ 1243 w 13043"/>
                  <a:gd name="T93" fmla="*/ 7324 h 9788"/>
                  <a:gd name="T94" fmla="*/ 848 w 13043"/>
                  <a:gd name="T95" fmla="*/ 5716 h 9788"/>
                  <a:gd name="T96" fmla="*/ 1981 w 13043"/>
                  <a:gd name="T97" fmla="*/ 4254 h 9788"/>
                  <a:gd name="T98" fmla="*/ 3422 w 13043"/>
                  <a:gd name="T99" fmla="*/ 4013 h 9788"/>
                  <a:gd name="T100" fmla="*/ 3838 w 13043"/>
                  <a:gd name="T101" fmla="*/ 2690 h 9788"/>
                  <a:gd name="T102" fmla="*/ 4687 w 13043"/>
                  <a:gd name="T103" fmla="*/ 1476 h 9788"/>
                  <a:gd name="T104" fmla="*/ 6075 w 13043"/>
                  <a:gd name="T105" fmla="*/ 848 h 9788"/>
                  <a:gd name="T106" fmla="*/ 7895 w 13043"/>
                  <a:gd name="T107" fmla="*/ 1191 h 9788"/>
                  <a:gd name="T108" fmla="*/ 9270 w 13043"/>
                  <a:gd name="T109" fmla="*/ 2836 h 9788"/>
                  <a:gd name="T110" fmla="*/ 10593 w 13043"/>
                  <a:gd name="T111" fmla="*/ 3048 h 9788"/>
                  <a:gd name="T112" fmla="*/ 11689 w 13043"/>
                  <a:gd name="T113" fmla="*/ 3911 h 9788"/>
                  <a:gd name="T114" fmla="*/ 12209 w 13043"/>
                  <a:gd name="T115" fmla="*/ 5211 h 9788"/>
                  <a:gd name="T116" fmla="*/ 11865 w 13043"/>
                  <a:gd name="T117" fmla="*/ 6813 h 9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43" h="9788">
                    <a:moveTo>
                      <a:pt x="9781" y="2025"/>
                    </a:moveTo>
                    <a:lnTo>
                      <a:pt x="9781" y="2025"/>
                    </a:lnTo>
                    <a:lnTo>
                      <a:pt x="9723" y="1915"/>
                    </a:lnTo>
                    <a:lnTo>
                      <a:pt x="9657" y="1805"/>
                    </a:lnTo>
                    <a:lnTo>
                      <a:pt x="9591" y="1696"/>
                    </a:lnTo>
                    <a:lnTo>
                      <a:pt x="9518" y="1593"/>
                    </a:lnTo>
                    <a:lnTo>
                      <a:pt x="9445" y="1491"/>
                    </a:lnTo>
                    <a:lnTo>
                      <a:pt x="9364" y="1389"/>
                    </a:lnTo>
                    <a:lnTo>
                      <a:pt x="9196" y="1199"/>
                    </a:lnTo>
                    <a:lnTo>
                      <a:pt x="9020" y="1016"/>
                    </a:lnTo>
                    <a:lnTo>
                      <a:pt x="8831" y="848"/>
                    </a:lnTo>
                    <a:lnTo>
                      <a:pt x="8626" y="694"/>
                    </a:lnTo>
                    <a:lnTo>
                      <a:pt x="8414" y="556"/>
                    </a:lnTo>
                    <a:lnTo>
                      <a:pt x="8202" y="432"/>
                    </a:lnTo>
                    <a:lnTo>
                      <a:pt x="7976" y="321"/>
                    </a:lnTo>
                    <a:lnTo>
                      <a:pt x="7741" y="226"/>
                    </a:lnTo>
                    <a:lnTo>
                      <a:pt x="7500" y="146"/>
                    </a:lnTo>
                    <a:lnTo>
                      <a:pt x="7259" y="80"/>
                    </a:lnTo>
                    <a:lnTo>
                      <a:pt x="7142" y="59"/>
                    </a:lnTo>
                    <a:lnTo>
                      <a:pt x="7018" y="36"/>
                    </a:lnTo>
                    <a:lnTo>
                      <a:pt x="6894" y="22"/>
                    </a:lnTo>
                    <a:lnTo>
                      <a:pt x="6769" y="7"/>
                    </a:lnTo>
                    <a:lnTo>
                      <a:pt x="6645" y="0"/>
                    </a:lnTo>
                    <a:lnTo>
                      <a:pt x="6521" y="0"/>
                    </a:lnTo>
                    <a:lnTo>
                      <a:pt x="6521" y="0"/>
                    </a:lnTo>
                    <a:lnTo>
                      <a:pt x="6339" y="7"/>
                    </a:lnTo>
                    <a:lnTo>
                      <a:pt x="6163" y="15"/>
                    </a:lnTo>
                    <a:lnTo>
                      <a:pt x="5988" y="36"/>
                    </a:lnTo>
                    <a:lnTo>
                      <a:pt x="5819" y="65"/>
                    </a:lnTo>
                    <a:lnTo>
                      <a:pt x="5645" y="103"/>
                    </a:lnTo>
                    <a:lnTo>
                      <a:pt x="5483" y="146"/>
                    </a:lnTo>
                    <a:lnTo>
                      <a:pt x="5322" y="190"/>
                    </a:lnTo>
                    <a:lnTo>
                      <a:pt x="5162" y="249"/>
                    </a:lnTo>
                    <a:lnTo>
                      <a:pt x="5008" y="314"/>
                    </a:lnTo>
                    <a:lnTo>
                      <a:pt x="4855" y="388"/>
                    </a:lnTo>
                    <a:lnTo>
                      <a:pt x="4708" y="461"/>
                    </a:lnTo>
                    <a:lnTo>
                      <a:pt x="4563" y="548"/>
                    </a:lnTo>
                    <a:lnTo>
                      <a:pt x="4423" y="636"/>
                    </a:lnTo>
                    <a:lnTo>
                      <a:pt x="4292" y="731"/>
                    </a:lnTo>
                    <a:lnTo>
                      <a:pt x="4160" y="833"/>
                    </a:lnTo>
                    <a:lnTo>
                      <a:pt x="4036" y="935"/>
                    </a:lnTo>
                    <a:lnTo>
                      <a:pt x="3919" y="1052"/>
                    </a:lnTo>
                    <a:lnTo>
                      <a:pt x="3802" y="1170"/>
                    </a:lnTo>
                    <a:lnTo>
                      <a:pt x="3699" y="1287"/>
                    </a:lnTo>
                    <a:lnTo>
                      <a:pt x="3597" y="1418"/>
                    </a:lnTo>
                    <a:lnTo>
                      <a:pt x="3495" y="1549"/>
                    </a:lnTo>
                    <a:lnTo>
                      <a:pt x="3407" y="1681"/>
                    </a:lnTo>
                    <a:lnTo>
                      <a:pt x="3319" y="1820"/>
                    </a:lnTo>
                    <a:lnTo>
                      <a:pt x="3239" y="1966"/>
                    </a:lnTo>
                    <a:lnTo>
                      <a:pt x="3166" y="2113"/>
                    </a:lnTo>
                    <a:lnTo>
                      <a:pt x="3100" y="2266"/>
                    </a:lnTo>
                    <a:lnTo>
                      <a:pt x="3041" y="2419"/>
                    </a:lnTo>
                    <a:lnTo>
                      <a:pt x="2990" y="2580"/>
                    </a:lnTo>
                    <a:lnTo>
                      <a:pt x="2946" y="2741"/>
                    </a:lnTo>
                    <a:lnTo>
                      <a:pt x="2910" y="2909"/>
                    </a:lnTo>
                    <a:lnTo>
                      <a:pt x="2881" y="3077"/>
                    </a:lnTo>
                    <a:lnTo>
                      <a:pt x="2852" y="3245"/>
                    </a:lnTo>
                    <a:lnTo>
                      <a:pt x="2852" y="3245"/>
                    </a:lnTo>
                    <a:lnTo>
                      <a:pt x="2705" y="3245"/>
                    </a:lnTo>
                    <a:lnTo>
                      <a:pt x="2552" y="3260"/>
                    </a:lnTo>
                    <a:lnTo>
                      <a:pt x="2405" y="3274"/>
                    </a:lnTo>
                    <a:lnTo>
                      <a:pt x="2267" y="3304"/>
                    </a:lnTo>
                    <a:lnTo>
                      <a:pt x="2120" y="3333"/>
                    </a:lnTo>
                    <a:lnTo>
                      <a:pt x="1988" y="3377"/>
                    </a:lnTo>
                    <a:lnTo>
                      <a:pt x="1850" y="3421"/>
                    </a:lnTo>
                    <a:lnTo>
                      <a:pt x="1718" y="3472"/>
                    </a:lnTo>
                    <a:lnTo>
                      <a:pt x="1594" y="3530"/>
                    </a:lnTo>
                    <a:lnTo>
                      <a:pt x="1470" y="3597"/>
                    </a:lnTo>
                    <a:lnTo>
                      <a:pt x="1353" y="3662"/>
                    </a:lnTo>
                    <a:lnTo>
                      <a:pt x="1235" y="3742"/>
                    </a:lnTo>
                    <a:lnTo>
                      <a:pt x="1126" y="3823"/>
                    </a:lnTo>
                    <a:lnTo>
                      <a:pt x="1017" y="3911"/>
                    </a:lnTo>
                    <a:lnTo>
                      <a:pt x="914" y="3998"/>
                    </a:lnTo>
                    <a:lnTo>
                      <a:pt x="819" y="4094"/>
                    </a:lnTo>
                    <a:lnTo>
                      <a:pt x="724" y="4196"/>
                    </a:lnTo>
                    <a:lnTo>
                      <a:pt x="636" y="4298"/>
                    </a:lnTo>
                    <a:lnTo>
                      <a:pt x="556" y="4408"/>
                    </a:lnTo>
                    <a:lnTo>
                      <a:pt x="476" y="4517"/>
                    </a:lnTo>
                    <a:lnTo>
                      <a:pt x="402" y="4634"/>
                    </a:lnTo>
                    <a:lnTo>
                      <a:pt x="336" y="4751"/>
                    </a:lnTo>
                    <a:lnTo>
                      <a:pt x="271" y="4876"/>
                    </a:lnTo>
                    <a:lnTo>
                      <a:pt x="220" y="5000"/>
                    </a:lnTo>
                    <a:lnTo>
                      <a:pt x="168" y="5124"/>
                    </a:lnTo>
                    <a:lnTo>
                      <a:pt x="124" y="5255"/>
                    </a:lnTo>
                    <a:lnTo>
                      <a:pt x="88" y="5387"/>
                    </a:lnTo>
                    <a:lnTo>
                      <a:pt x="59" y="5526"/>
                    </a:lnTo>
                    <a:lnTo>
                      <a:pt x="36" y="5658"/>
                    </a:lnTo>
                    <a:lnTo>
                      <a:pt x="15" y="5796"/>
                    </a:lnTo>
                    <a:lnTo>
                      <a:pt x="7" y="5943"/>
                    </a:lnTo>
                    <a:lnTo>
                      <a:pt x="0" y="6081"/>
                    </a:lnTo>
                    <a:lnTo>
                      <a:pt x="0" y="6081"/>
                    </a:lnTo>
                    <a:lnTo>
                      <a:pt x="7" y="6213"/>
                    </a:lnTo>
                    <a:lnTo>
                      <a:pt x="15" y="6345"/>
                    </a:lnTo>
                    <a:lnTo>
                      <a:pt x="29" y="6476"/>
                    </a:lnTo>
                    <a:lnTo>
                      <a:pt x="44" y="6608"/>
                    </a:lnTo>
                    <a:lnTo>
                      <a:pt x="73" y="6732"/>
                    </a:lnTo>
                    <a:lnTo>
                      <a:pt x="103" y="6856"/>
                    </a:lnTo>
                    <a:lnTo>
                      <a:pt x="132" y="6973"/>
                    </a:lnTo>
                    <a:lnTo>
                      <a:pt x="176" y="7090"/>
                    </a:lnTo>
                    <a:lnTo>
                      <a:pt x="220" y="7207"/>
                    </a:lnTo>
                    <a:lnTo>
                      <a:pt x="271" y="7324"/>
                    </a:lnTo>
                    <a:lnTo>
                      <a:pt x="321" y="7433"/>
                    </a:lnTo>
                    <a:lnTo>
                      <a:pt x="380" y="7536"/>
                    </a:lnTo>
                    <a:lnTo>
                      <a:pt x="438" y="7638"/>
                    </a:lnTo>
                    <a:lnTo>
                      <a:pt x="512" y="7741"/>
                    </a:lnTo>
                    <a:lnTo>
                      <a:pt x="577" y="7836"/>
                    </a:lnTo>
                    <a:lnTo>
                      <a:pt x="650" y="7930"/>
                    </a:lnTo>
                    <a:lnTo>
                      <a:pt x="731" y="8018"/>
                    </a:lnTo>
                    <a:lnTo>
                      <a:pt x="819" y="8106"/>
                    </a:lnTo>
                    <a:lnTo>
                      <a:pt x="906" y="8194"/>
                    </a:lnTo>
                    <a:lnTo>
                      <a:pt x="994" y="8267"/>
                    </a:lnTo>
                    <a:lnTo>
                      <a:pt x="1089" y="8347"/>
                    </a:lnTo>
                    <a:lnTo>
                      <a:pt x="1185" y="8413"/>
                    </a:lnTo>
                    <a:lnTo>
                      <a:pt x="1287" y="8479"/>
                    </a:lnTo>
                    <a:lnTo>
                      <a:pt x="1389" y="8544"/>
                    </a:lnTo>
                    <a:lnTo>
                      <a:pt x="1499" y="8603"/>
                    </a:lnTo>
                    <a:lnTo>
                      <a:pt x="1608" y="8655"/>
                    </a:lnTo>
                    <a:lnTo>
                      <a:pt x="1718" y="8706"/>
                    </a:lnTo>
                    <a:lnTo>
                      <a:pt x="1835" y="8750"/>
                    </a:lnTo>
                    <a:lnTo>
                      <a:pt x="1952" y="8786"/>
                    </a:lnTo>
                    <a:lnTo>
                      <a:pt x="2076" y="8823"/>
                    </a:lnTo>
                    <a:lnTo>
                      <a:pt x="2200" y="8852"/>
                    </a:lnTo>
                    <a:lnTo>
                      <a:pt x="2325" y="8873"/>
                    </a:lnTo>
                    <a:lnTo>
                      <a:pt x="2325" y="9144"/>
                    </a:lnTo>
                    <a:lnTo>
                      <a:pt x="2325" y="9144"/>
                    </a:lnTo>
                    <a:lnTo>
                      <a:pt x="2332" y="9210"/>
                    </a:lnTo>
                    <a:lnTo>
                      <a:pt x="2340" y="9276"/>
                    </a:lnTo>
                    <a:lnTo>
                      <a:pt x="2355" y="9334"/>
                    </a:lnTo>
                    <a:lnTo>
                      <a:pt x="2376" y="9393"/>
                    </a:lnTo>
                    <a:lnTo>
                      <a:pt x="2405" y="9451"/>
                    </a:lnTo>
                    <a:lnTo>
                      <a:pt x="2435" y="9502"/>
                    </a:lnTo>
                    <a:lnTo>
                      <a:pt x="2471" y="9553"/>
                    </a:lnTo>
                    <a:lnTo>
                      <a:pt x="2515" y="9597"/>
                    </a:lnTo>
                    <a:lnTo>
                      <a:pt x="2559" y="9641"/>
                    </a:lnTo>
                    <a:lnTo>
                      <a:pt x="2610" y="9678"/>
                    </a:lnTo>
                    <a:lnTo>
                      <a:pt x="2661" y="9707"/>
                    </a:lnTo>
                    <a:lnTo>
                      <a:pt x="2720" y="9737"/>
                    </a:lnTo>
                    <a:lnTo>
                      <a:pt x="2778" y="9758"/>
                    </a:lnTo>
                    <a:lnTo>
                      <a:pt x="2837" y="9773"/>
                    </a:lnTo>
                    <a:lnTo>
                      <a:pt x="2902" y="9780"/>
                    </a:lnTo>
                    <a:lnTo>
                      <a:pt x="2968" y="9787"/>
                    </a:lnTo>
                    <a:lnTo>
                      <a:pt x="10293" y="9787"/>
                    </a:lnTo>
                    <a:lnTo>
                      <a:pt x="10293" y="9787"/>
                    </a:lnTo>
                    <a:lnTo>
                      <a:pt x="10359" y="9780"/>
                    </a:lnTo>
                    <a:lnTo>
                      <a:pt x="10425" y="9773"/>
                    </a:lnTo>
                    <a:lnTo>
                      <a:pt x="10483" y="9758"/>
                    </a:lnTo>
                    <a:lnTo>
                      <a:pt x="10542" y="9737"/>
                    </a:lnTo>
                    <a:lnTo>
                      <a:pt x="10600" y="9707"/>
                    </a:lnTo>
                    <a:lnTo>
                      <a:pt x="10651" y="9678"/>
                    </a:lnTo>
                    <a:lnTo>
                      <a:pt x="10702" y="9641"/>
                    </a:lnTo>
                    <a:lnTo>
                      <a:pt x="10746" y="9597"/>
                    </a:lnTo>
                    <a:lnTo>
                      <a:pt x="10790" y="9553"/>
                    </a:lnTo>
                    <a:lnTo>
                      <a:pt x="10827" y="9502"/>
                    </a:lnTo>
                    <a:lnTo>
                      <a:pt x="10856" y="9451"/>
                    </a:lnTo>
                    <a:lnTo>
                      <a:pt x="10885" y="9393"/>
                    </a:lnTo>
                    <a:lnTo>
                      <a:pt x="10907" y="9334"/>
                    </a:lnTo>
                    <a:lnTo>
                      <a:pt x="10922" y="9276"/>
                    </a:lnTo>
                    <a:lnTo>
                      <a:pt x="10929" y="9210"/>
                    </a:lnTo>
                    <a:lnTo>
                      <a:pt x="10937" y="9144"/>
                    </a:lnTo>
                    <a:lnTo>
                      <a:pt x="10937" y="8632"/>
                    </a:lnTo>
                    <a:lnTo>
                      <a:pt x="10937" y="8632"/>
                    </a:lnTo>
                    <a:lnTo>
                      <a:pt x="11156" y="8530"/>
                    </a:lnTo>
                    <a:lnTo>
                      <a:pt x="11368" y="8406"/>
                    </a:lnTo>
                    <a:lnTo>
                      <a:pt x="11580" y="8267"/>
                    </a:lnTo>
                    <a:lnTo>
                      <a:pt x="11770" y="8121"/>
                    </a:lnTo>
                    <a:lnTo>
                      <a:pt x="11960" y="7953"/>
                    </a:lnTo>
                    <a:lnTo>
                      <a:pt x="12136" y="7777"/>
                    </a:lnTo>
                    <a:lnTo>
                      <a:pt x="12296" y="7587"/>
                    </a:lnTo>
                    <a:lnTo>
                      <a:pt x="12369" y="7492"/>
                    </a:lnTo>
                    <a:lnTo>
                      <a:pt x="12442" y="7390"/>
                    </a:lnTo>
                    <a:lnTo>
                      <a:pt x="12508" y="7287"/>
                    </a:lnTo>
                    <a:lnTo>
                      <a:pt x="12574" y="7178"/>
                    </a:lnTo>
                    <a:lnTo>
                      <a:pt x="12633" y="7075"/>
                    </a:lnTo>
                    <a:lnTo>
                      <a:pt x="12691" y="6959"/>
                    </a:lnTo>
                    <a:lnTo>
                      <a:pt x="12750" y="6849"/>
                    </a:lnTo>
                    <a:lnTo>
                      <a:pt x="12793" y="6732"/>
                    </a:lnTo>
                    <a:lnTo>
                      <a:pt x="12837" y="6615"/>
                    </a:lnTo>
                    <a:lnTo>
                      <a:pt x="12881" y="6498"/>
                    </a:lnTo>
                    <a:lnTo>
                      <a:pt x="12918" y="6374"/>
                    </a:lnTo>
                    <a:lnTo>
                      <a:pt x="12947" y="6249"/>
                    </a:lnTo>
                    <a:lnTo>
                      <a:pt x="12977" y="6125"/>
                    </a:lnTo>
                    <a:lnTo>
                      <a:pt x="12998" y="6001"/>
                    </a:lnTo>
                    <a:lnTo>
                      <a:pt x="13020" y="5869"/>
                    </a:lnTo>
                    <a:lnTo>
                      <a:pt x="13027" y="5738"/>
                    </a:lnTo>
                    <a:lnTo>
                      <a:pt x="13035" y="5606"/>
                    </a:lnTo>
                    <a:lnTo>
                      <a:pt x="13042" y="5475"/>
                    </a:lnTo>
                    <a:lnTo>
                      <a:pt x="13042" y="5475"/>
                    </a:lnTo>
                    <a:lnTo>
                      <a:pt x="13035" y="5307"/>
                    </a:lnTo>
                    <a:lnTo>
                      <a:pt x="13020" y="5138"/>
                    </a:lnTo>
                    <a:lnTo>
                      <a:pt x="13006" y="4970"/>
                    </a:lnTo>
                    <a:lnTo>
                      <a:pt x="12977" y="4809"/>
                    </a:lnTo>
                    <a:lnTo>
                      <a:pt x="12939" y="4649"/>
                    </a:lnTo>
                    <a:lnTo>
                      <a:pt x="12896" y="4495"/>
                    </a:lnTo>
                    <a:lnTo>
                      <a:pt x="12845" y="4342"/>
                    </a:lnTo>
                    <a:lnTo>
                      <a:pt x="12786" y="4196"/>
                    </a:lnTo>
                    <a:lnTo>
                      <a:pt x="12728" y="4050"/>
                    </a:lnTo>
                    <a:lnTo>
                      <a:pt x="12654" y="3903"/>
                    </a:lnTo>
                    <a:lnTo>
                      <a:pt x="12574" y="3771"/>
                    </a:lnTo>
                    <a:lnTo>
                      <a:pt x="12494" y="3633"/>
                    </a:lnTo>
                    <a:lnTo>
                      <a:pt x="12398" y="3509"/>
                    </a:lnTo>
                    <a:lnTo>
                      <a:pt x="12304" y="3377"/>
                    </a:lnTo>
                    <a:lnTo>
                      <a:pt x="12201" y="3260"/>
                    </a:lnTo>
                    <a:lnTo>
                      <a:pt x="12099" y="3143"/>
                    </a:lnTo>
                    <a:lnTo>
                      <a:pt x="11982" y="3033"/>
                    </a:lnTo>
                    <a:lnTo>
                      <a:pt x="11865" y="2924"/>
                    </a:lnTo>
                    <a:lnTo>
                      <a:pt x="11748" y="2821"/>
                    </a:lnTo>
                    <a:lnTo>
                      <a:pt x="11616" y="2727"/>
                    </a:lnTo>
                    <a:lnTo>
                      <a:pt x="11484" y="2631"/>
                    </a:lnTo>
                    <a:lnTo>
                      <a:pt x="11346" y="2551"/>
                    </a:lnTo>
                    <a:lnTo>
                      <a:pt x="11207" y="2471"/>
                    </a:lnTo>
                    <a:lnTo>
                      <a:pt x="11061" y="2398"/>
                    </a:lnTo>
                    <a:lnTo>
                      <a:pt x="10914" y="2325"/>
                    </a:lnTo>
                    <a:lnTo>
                      <a:pt x="10761" y="2266"/>
                    </a:lnTo>
                    <a:lnTo>
                      <a:pt x="10607" y="2207"/>
                    </a:lnTo>
                    <a:lnTo>
                      <a:pt x="10446" y="2157"/>
                    </a:lnTo>
                    <a:lnTo>
                      <a:pt x="10286" y="2113"/>
                    </a:lnTo>
                    <a:lnTo>
                      <a:pt x="10117" y="2076"/>
                    </a:lnTo>
                    <a:lnTo>
                      <a:pt x="9949" y="2046"/>
                    </a:lnTo>
                    <a:lnTo>
                      <a:pt x="9781" y="2025"/>
                    </a:lnTo>
                    <a:close/>
                    <a:moveTo>
                      <a:pt x="10446" y="7968"/>
                    </a:moveTo>
                    <a:lnTo>
                      <a:pt x="10446" y="8800"/>
                    </a:lnTo>
                    <a:lnTo>
                      <a:pt x="10446" y="9144"/>
                    </a:lnTo>
                    <a:lnTo>
                      <a:pt x="10446" y="9144"/>
                    </a:lnTo>
                    <a:lnTo>
                      <a:pt x="10446" y="9173"/>
                    </a:lnTo>
                    <a:lnTo>
                      <a:pt x="10432" y="9203"/>
                    </a:lnTo>
                    <a:lnTo>
                      <a:pt x="10417" y="9232"/>
                    </a:lnTo>
                    <a:lnTo>
                      <a:pt x="10402" y="9254"/>
                    </a:lnTo>
                    <a:lnTo>
                      <a:pt x="10381" y="9276"/>
                    </a:lnTo>
                    <a:lnTo>
                      <a:pt x="10352" y="9283"/>
                    </a:lnTo>
                    <a:lnTo>
                      <a:pt x="10322" y="9297"/>
                    </a:lnTo>
                    <a:lnTo>
                      <a:pt x="10293" y="9297"/>
                    </a:lnTo>
                    <a:lnTo>
                      <a:pt x="2968" y="9297"/>
                    </a:lnTo>
                    <a:lnTo>
                      <a:pt x="2968" y="9297"/>
                    </a:lnTo>
                    <a:lnTo>
                      <a:pt x="2932" y="9297"/>
                    </a:lnTo>
                    <a:lnTo>
                      <a:pt x="2910" y="9283"/>
                    </a:lnTo>
                    <a:lnTo>
                      <a:pt x="2881" y="9276"/>
                    </a:lnTo>
                    <a:lnTo>
                      <a:pt x="2858" y="9254"/>
                    </a:lnTo>
                    <a:lnTo>
                      <a:pt x="2837" y="9232"/>
                    </a:lnTo>
                    <a:lnTo>
                      <a:pt x="2822" y="9203"/>
                    </a:lnTo>
                    <a:lnTo>
                      <a:pt x="2814" y="9173"/>
                    </a:lnTo>
                    <a:lnTo>
                      <a:pt x="2814" y="9144"/>
                    </a:lnTo>
                    <a:lnTo>
                      <a:pt x="2814" y="8917"/>
                    </a:lnTo>
                    <a:lnTo>
                      <a:pt x="2814" y="8106"/>
                    </a:lnTo>
                    <a:lnTo>
                      <a:pt x="2814" y="7412"/>
                    </a:lnTo>
                    <a:lnTo>
                      <a:pt x="2814" y="7412"/>
                    </a:lnTo>
                    <a:lnTo>
                      <a:pt x="2814" y="7375"/>
                    </a:lnTo>
                    <a:lnTo>
                      <a:pt x="2822" y="7353"/>
                    </a:lnTo>
                    <a:lnTo>
                      <a:pt x="2837" y="7324"/>
                    </a:lnTo>
                    <a:lnTo>
                      <a:pt x="2858" y="7302"/>
                    </a:lnTo>
                    <a:lnTo>
                      <a:pt x="2881" y="7280"/>
                    </a:lnTo>
                    <a:lnTo>
                      <a:pt x="2910" y="7266"/>
                    </a:lnTo>
                    <a:lnTo>
                      <a:pt x="2932" y="7258"/>
                    </a:lnTo>
                    <a:lnTo>
                      <a:pt x="2968" y="7258"/>
                    </a:lnTo>
                    <a:lnTo>
                      <a:pt x="5140" y="7258"/>
                    </a:lnTo>
                    <a:lnTo>
                      <a:pt x="5900" y="7258"/>
                    </a:lnTo>
                    <a:lnTo>
                      <a:pt x="5900" y="7258"/>
                    </a:lnTo>
                    <a:lnTo>
                      <a:pt x="5805" y="7215"/>
                    </a:lnTo>
                    <a:lnTo>
                      <a:pt x="5710" y="7163"/>
                    </a:lnTo>
                    <a:lnTo>
                      <a:pt x="5622" y="7112"/>
                    </a:lnTo>
                    <a:lnTo>
                      <a:pt x="5534" y="7054"/>
                    </a:lnTo>
                    <a:lnTo>
                      <a:pt x="5454" y="6988"/>
                    </a:lnTo>
                    <a:lnTo>
                      <a:pt x="5381" y="6922"/>
                    </a:lnTo>
                    <a:lnTo>
                      <a:pt x="5308" y="6849"/>
                    </a:lnTo>
                    <a:lnTo>
                      <a:pt x="5242" y="6769"/>
                    </a:lnTo>
                    <a:lnTo>
                      <a:pt x="5242" y="6769"/>
                    </a:lnTo>
                    <a:lnTo>
                      <a:pt x="5162" y="6659"/>
                    </a:lnTo>
                    <a:lnTo>
                      <a:pt x="5089" y="6549"/>
                    </a:lnTo>
                    <a:lnTo>
                      <a:pt x="5022" y="6425"/>
                    </a:lnTo>
                    <a:lnTo>
                      <a:pt x="4972" y="6301"/>
                    </a:lnTo>
                    <a:lnTo>
                      <a:pt x="4928" y="6169"/>
                    </a:lnTo>
                    <a:lnTo>
                      <a:pt x="4898" y="6037"/>
                    </a:lnTo>
                    <a:lnTo>
                      <a:pt x="4884" y="5899"/>
                    </a:lnTo>
                    <a:lnTo>
                      <a:pt x="4877" y="5760"/>
                    </a:lnTo>
                    <a:lnTo>
                      <a:pt x="4877" y="5760"/>
                    </a:lnTo>
                    <a:lnTo>
                      <a:pt x="4884" y="5592"/>
                    </a:lnTo>
                    <a:lnTo>
                      <a:pt x="4906" y="5431"/>
                    </a:lnTo>
                    <a:lnTo>
                      <a:pt x="4949" y="5278"/>
                    </a:lnTo>
                    <a:lnTo>
                      <a:pt x="5001" y="5124"/>
                    </a:lnTo>
                    <a:lnTo>
                      <a:pt x="5066" y="4985"/>
                    </a:lnTo>
                    <a:lnTo>
                      <a:pt x="5154" y="4853"/>
                    </a:lnTo>
                    <a:lnTo>
                      <a:pt x="5242" y="4729"/>
                    </a:lnTo>
                    <a:lnTo>
                      <a:pt x="5352" y="4612"/>
                    </a:lnTo>
                    <a:lnTo>
                      <a:pt x="5469" y="4510"/>
                    </a:lnTo>
                    <a:lnTo>
                      <a:pt x="5593" y="4415"/>
                    </a:lnTo>
                    <a:lnTo>
                      <a:pt x="5732" y="4335"/>
                    </a:lnTo>
                    <a:lnTo>
                      <a:pt x="5871" y="4268"/>
                    </a:lnTo>
                    <a:lnTo>
                      <a:pt x="6024" y="4218"/>
                    </a:lnTo>
                    <a:lnTo>
                      <a:pt x="6186" y="4174"/>
                    </a:lnTo>
                    <a:lnTo>
                      <a:pt x="6354" y="4152"/>
                    </a:lnTo>
                    <a:lnTo>
                      <a:pt x="6521" y="4144"/>
                    </a:lnTo>
                    <a:lnTo>
                      <a:pt x="6521" y="4144"/>
                    </a:lnTo>
                    <a:lnTo>
                      <a:pt x="6688" y="4152"/>
                    </a:lnTo>
                    <a:lnTo>
                      <a:pt x="6856" y="4174"/>
                    </a:lnTo>
                    <a:lnTo>
                      <a:pt x="7018" y="4218"/>
                    </a:lnTo>
                    <a:lnTo>
                      <a:pt x="7171" y="4268"/>
                    </a:lnTo>
                    <a:lnTo>
                      <a:pt x="7310" y="4335"/>
                    </a:lnTo>
                    <a:lnTo>
                      <a:pt x="7449" y="4415"/>
                    </a:lnTo>
                    <a:lnTo>
                      <a:pt x="7573" y="4510"/>
                    </a:lnTo>
                    <a:lnTo>
                      <a:pt x="7690" y="4612"/>
                    </a:lnTo>
                    <a:lnTo>
                      <a:pt x="7800" y="4729"/>
                    </a:lnTo>
                    <a:lnTo>
                      <a:pt x="7888" y="4853"/>
                    </a:lnTo>
                    <a:lnTo>
                      <a:pt x="7968" y="4985"/>
                    </a:lnTo>
                    <a:lnTo>
                      <a:pt x="8041" y="5124"/>
                    </a:lnTo>
                    <a:lnTo>
                      <a:pt x="8093" y="5278"/>
                    </a:lnTo>
                    <a:lnTo>
                      <a:pt x="8136" y="5431"/>
                    </a:lnTo>
                    <a:lnTo>
                      <a:pt x="8158" y="5592"/>
                    </a:lnTo>
                    <a:lnTo>
                      <a:pt x="8165" y="5760"/>
                    </a:lnTo>
                    <a:lnTo>
                      <a:pt x="8165" y="5760"/>
                    </a:lnTo>
                    <a:lnTo>
                      <a:pt x="8158" y="5899"/>
                    </a:lnTo>
                    <a:lnTo>
                      <a:pt x="8144" y="6037"/>
                    </a:lnTo>
                    <a:lnTo>
                      <a:pt x="8114" y="6169"/>
                    </a:lnTo>
                    <a:lnTo>
                      <a:pt x="8070" y="6301"/>
                    </a:lnTo>
                    <a:lnTo>
                      <a:pt x="8020" y="6425"/>
                    </a:lnTo>
                    <a:lnTo>
                      <a:pt x="7953" y="6549"/>
                    </a:lnTo>
                    <a:lnTo>
                      <a:pt x="7880" y="6659"/>
                    </a:lnTo>
                    <a:lnTo>
                      <a:pt x="7800" y="6769"/>
                    </a:lnTo>
                    <a:lnTo>
                      <a:pt x="7800" y="6769"/>
                    </a:lnTo>
                    <a:lnTo>
                      <a:pt x="7734" y="6849"/>
                    </a:lnTo>
                    <a:lnTo>
                      <a:pt x="7661" y="6922"/>
                    </a:lnTo>
                    <a:lnTo>
                      <a:pt x="7588" y="6988"/>
                    </a:lnTo>
                    <a:lnTo>
                      <a:pt x="7508" y="7054"/>
                    </a:lnTo>
                    <a:lnTo>
                      <a:pt x="7420" y="7112"/>
                    </a:lnTo>
                    <a:lnTo>
                      <a:pt x="7332" y="7163"/>
                    </a:lnTo>
                    <a:lnTo>
                      <a:pt x="7237" y="7215"/>
                    </a:lnTo>
                    <a:lnTo>
                      <a:pt x="7142" y="7258"/>
                    </a:lnTo>
                    <a:lnTo>
                      <a:pt x="7902" y="7258"/>
                    </a:lnTo>
                    <a:lnTo>
                      <a:pt x="10293" y="7258"/>
                    </a:lnTo>
                    <a:lnTo>
                      <a:pt x="10293" y="7258"/>
                    </a:lnTo>
                    <a:lnTo>
                      <a:pt x="10322" y="7258"/>
                    </a:lnTo>
                    <a:lnTo>
                      <a:pt x="10352" y="7266"/>
                    </a:lnTo>
                    <a:lnTo>
                      <a:pt x="10381" y="7280"/>
                    </a:lnTo>
                    <a:lnTo>
                      <a:pt x="10402" y="7302"/>
                    </a:lnTo>
                    <a:lnTo>
                      <a:pt x="10417" y="7324"/>
                    </a:lnTo>
                    <a:lnTo>
                      <a:pt x="10432" y="7353"/>
                    </a:lnTo>
                    <a:lnTo>
                      <a:pt x="10446" y="7375"/>
                    </a:lnTo>
                    <a:lnTo>
                      <a:pt x="10446" y="7412"/>
                    </a:lnTo>
                    <a:lnTo>
                      <a:pt x="10446" y="7968"/>
                    </a:lnTo>
                    <a:close/>
                    <a:moveTo>
                      <a:pt x="5286" y="4144"/>
                    </a:moveTo>
                    <a:lnTo>
                      <a:pt x="5286" y="3742"/>
                    </a:lnTo>
                    <a:lnTo>
                      <a:pt x="5286" y="3742"/>
                    </a:lnTo>
                    <a:lnTo>
                      <a:pt x="5293" y="3611"/>
                    </a:lnTo>
                    <a:lnTo>
                      <a:pt x="5315" y="3486"/>
                    </a:lnTo>
                    <a:lnTo>
                      <a:pt x="5345" y="3370"/>
                    </a:lnTo>
                    <a:lnTo>
                      <a:pt x="5389" y="3253"/>
                    </a:lnTo>
                    <a:lnTo>
                      <a:pt x="5439" y="3143"/>
                    </a:lnTo>
                    <a:lnTo>
                      <a:pt x="5498" y="3048"/>
                    </a:lnTo>
                    <a:lnTo>
                      <a:pt x="5571" y="2953"/>
                    </a:lnTo>
                    <a:lnTo>
                      <a:pt x="5651" y="2872"/>
                    </a:lnTo>
                    <a:lnTo>
                      <a:pt x="5739" y="2792"/>
                    </a:lnTo>
                    <a:lnTo>
                      <a:pt x="5834" y="2727"/>
                    </a:lnTo>
                    <a:lnTo>
                      <a:pt x="5937" y="2668"/>
                    </a:lnTo>
                    <a:lnTo>
                      <a:pt x="6046" y="2616"/>
                    </a:lnTo>
                    <a:lnTo>
                      <a:pt x="6156" y="2580"/>
                    </a:lnTo>
                    <a:lnTo>
                      <a:pt x="6273" y="2551"/>
                    </a:lnTo>
                    <a:lnTo>
                      <a:pt x="6397" y="2536"/>
                    </a:lnTo>
                    <a:lnTo>
                      <a:pt x="6521" y="2529"/>
                    </a:lnTo>
                    <a:lnTo>
                      <a:pt x="6521" y="2529"/>
                    </a:lnTo>
                    <a:lnTo>
                      <a:pt x="6645" y="2536"/>
                    </a:lnTo>
                    <a:lnTo>
                      <a:pt x="6769" y="2551"/>
                    </a:lnTo>
                    <a:lnTo>
                      <a:pt x="6886" y="2580"/>
                    </a:lnTo>
                    <a:lnTo>
                      <a:pt x="6996" y="2616"/>
                    </a:lnTo>
                    <a:lnTo>
                      <a:pt x="7105" y="2668"/>
                    </a:lnTo>
                    <a:lnTo>
                      <a:pt x="7208" y="2727"/>
                    </a:lnTo>
                    <a:lnTo>
                      <a:pt x="7303" y="2792"/>
                    </a:lnTo>
                    <a:lnTo>
                      <a:pt x="7391" y="2872"/>
                    </a:lnTo>
                    <a:lnTo>
                      <a:pt x="7471" y="2953"/>
                    </a:lnTo>
                    <a:lnTo>
                      <a:pt x="7544" y="3048"/>
                    </a:lnTo>
                    <a:lnTo>
                      <a:pt x="7603" y="3143"/>
                    </a:lnTo>
                    <a:lnTo>
                      <a:pt x="7653" y="3253"/>
                    </a:lnTo>
                    <a:lnTo>
                      <a:pt x="7697" y="3370"/>
                    </a:lnTo>
                    <a:lnTo>
                      <a:pt x="7727" y="3486"/>
                    </a:lnTo>
                    <a:lnTo>
                      <a:pt x="7749" y="3611"/>
                    </a:lnTo>
                    <a:lnTo>
                      <a:pt x="7756" y="3742"/>
                    </a:lnTo>
                    <a:lnTo>
                      <a:pt x="7756" y="3742"/>
                    </a:lnTo>
                    <a:lnTo>
                      <a:pt x="7756" y="4144"/>
                    </a:lnTo>
                    <a:lnTo>
                      <a:pt x="7756" y="4144"/>
                    </a:lnTo>
                    <a:lnTo>
                      <a:pt x="7617" y="4056"/>
                    </a:lnTo>
                    <a:lnTo>
                      <a:pt x="7479" y="3976"/>
                    </a:lnTo>
                    <a:lnTo>
                      <a:pt x="7325" y="3903"/>
                    </a:lnTo>
                    <a:lnTo>
                      <a:pt x="7179" y="3845"/>
                    </a:lnTo>
                    <a:lnTo>
                      <a:pt x="7018" y="3801"/>
                    </a:lnTo>
                    <a:lnTo>
                      <a:pt x="6856" y="3771"/>
                    </a:lnTo>
                    <a:lnTo>
                      <a:pt x="6688" y="3750"/>
                    </a:lnTo>
                    <a:lnTo>
                      <a:pt x="6521" y="3742"/>
                    </a:lnTo>
                    <a:lnTo>
                      <a:pt x="6521" y="3742"/>
                    </a:lnTo>
                    <a:lnTo>
                      <a:pt x="6354" y="3750"/>
                    </a:lnTo>
                    <a:lnTo>
                      <a:pt x="6186" y="3771"/>
                    </a:lnTo>
                    <a:lnTo>
                      <a:pt x="6024" y="3801"/>
                    </a:lnTo>
                    <a:lnTo>
                      <a:pt x="5863" y="3845"/>
                    </a:lnTo>
                    <a:lnTo>
                      <a:pt x="5710" y="3903"/>
                    </a:lnTo>
                    <a:lnTo>
                      <a:pt x="5563" y="3976"/>
                    </a:lnTo>
                    <a:lnTo>
                      <a:pt x="5425" y="4056"/>
                    </a:lnTo>
                    <a:lnTo>
                      <a:pt x="5286" y="4144"/>
                    </a:lnTo>
                    <a:close/>
                    <a:moveTo>
                      <a:pt x="10937" y="7741"/>
                    </a:moveTo>
                    <a:lnTo>
                      <a:pt x="10937" y="7412"/>
                    </a:lnTo>
                    <a:lnTo>
                      <a:pt x="10937" y="7412"/>
                    </a:lnTo>
                    <a:lnTo>
                      <a:pt x="10929" y="7346"/>
                    </a:lnTo>
                    <a:lnTo>
                      <a:pt x="10922" y="7280"/>
                    </a:lnTo>
                    <a:lnTo>
                      <a:pt x="10907" y="7222"/>
                    </a:lnTo>
                    <a:lnTo>
                      <a:pt x="10885" y="7163"/>
                    </a:lnTo>
                    <a:lnTo>
                      <a:pt x="10856" y="7104"/>
                    </a:lnTo>
                    <a:lnTo>
                      <a:pt x="10827" y="7054"/>
                    </a:lnTo>
                    <a:lnTo>
                      <a:pt x="10790" y="7002"/>
                    </a:lnTo>
                    <a:lnTo>
                      <a:pt x="10746" y="6959"/>
                    </a:lnTo>
                    <a:lnTo>
                      <a:pt x="10702" y="6915"/>
                    </a:lnTo>
                    <a:lnTo>
                      <a:pt x="10651" y="6878"/>
                    </a:lnTo>
                    <a:lnTo>
                      <a:pt x="10600" y="6849"/>
                    </a:lnTo>
                    <a:lnTo>
                      <a:pt x="10542" y="6819"/>
                    </a:lnTo>
                    <a:lnTo>
                      <a:pt x="10483" y="6798"/>
                    </a:lnTo>
                    <a:lnTo>
                      <a:pt x="10425" y="6783"/>
                    </a:lnTo>
                    <a:lnTo>
                      <a:pt x="10359" y="6775"/>
                    </a:lnTo>
                    <a:lnTo>
                      <a:pt x="10293" y="6769"/>
                    </a:lnTo>
                    <a:lnTo>
                      <a:pt x="8326" y="6769"/>
                    </a:lnTo>
                    <a:lnTo>
                      <a:pt x="8305" y="6769"/>
                    </a:lnTo>
                    <a:lnTo>
                      <a:pt x="8305" y="6769"/>
                    </a:lnTo>
                    <a:lnTo>
                      <a:pt x="8363" y="6659"/>
                    </a:lnTo>
                    <a:lnTo>
                      <a:pt x="8421" y="6534"/>
                    </a:lnTo>
                    <a:lnTo>
                      <a:pt x="8465" y="6418"/>
                    </a:lnTo>
                    <a:lnTo>
                      <a:pt x="8509" y="6293"/>
                    </a:lnTo>
                    <a:lnTo>
                      <a:pt x="8538" y="6162"/>
                    </a:lnTo>
                    <a:lnTo>
                      <a:pt x="8561" y="6031"/>
                    </a:lnTo>
                    <a:lnTo>
                      <a:pt x="8575" y="5899"/>
                    </a:lnTo>
                    <a:lnTo>
                      <a:pt x="8575" y="5760"/>
                    </a:lnTo>
                    <a:lnTo>
                      <a:pt x="8575" y="5760"/>
                    </a:lnTo>
                    <a:lnTo>
                      <a:pt x="8575" y="5592"/>
                    </a:lnTo>
                    <a:lnTo>
                      <a:pt x="8553" y="5423"/>
                    </a:lnTo>
                    <a:lnTo>
                      <a:pt x="8517" y="5255"/>
                    </a:lnTo>
                    <a:lnTo>
                      <a:pt x="8473" y="5102"/>
                    </a:lnTo>
                    <a:lnTo>
                      <a:pt x="8407" y="4949"/>
                    </a:lnTo>
                    <a:lnTo>
                      <a:pt x="8341" y="4802"/>
                    </a:lnTo>
                    <a:lnTo>
                      <a:pt x="8261" y="4671"/>
                    </a:lnTo>
                    <a:lnTo>
                      <a:pt x="8165" y="4547"/>
                    </a:lnTo>
                    <a:lnTo>
                      <a:pt x="8165" y="4547"/>
                    </a:lnTo>
                    <a:lnTo>
                      <a:pt x="8165" y="3742"/>
                    </a:lnTo>
                    <a:lnTo>
                      <a:pt x="8165" y="3742"/>
                    </a:lnTo>
                    <a:lnTo>
                      <a:pt x="8158" y="3574"/>
                    </a:lnTo>
                    <a:lnTo>
                      <a:pt x="8136" y="3413"/>
                    </a:lnTo>
                    <a:lnTo>
                      <a:pt x="8093" y="3253"/>
                    </a:lnTo>
                    <a:lnTo>
                      <a:pt x="8041" y="3107"/>
                    </a:lnTo>
                    <a:lnTo>
                      <a:pt x="7968" y="2960"/>
                    </a:lnTo>
                    <a:lnTo>
                      <a:pt x="7888" y="2829"/>
                    </a:lnTo>
                    <a:lnTo>
                      <a:pt x="7800" y="2704"/>
                    </a:lnTo>
                    <a:lnTo>
                      <a:pt x="7690" y="2595"/>
                    </a:lnTo>
                    <a:lnTo>
                      <a:pt x="7573" y="2486"/>
                    </a:lnTo>
                    <a:lnTo>
                      <a:pt x="7449" y="2398"/>
                    </a:lnTo>
                    <a:lnTo>
                      <a:pt x="7310" y="2317"/>
                    </a:lnTo>
                    <a:lnTo>
                      <a:pt x="7171" y="2251"/>
                    </a:lnTo>
                    <a:lnTo>
                      <a:pt x="7018" y="2193"/>
                    </a:lnTo>
                    <a:lnTo>
                      <a:pt x="6856" y="2157"/>
                    </a:lnTo>
                    <a:lnTo>
                      <a:pt x="6688" y="2134"/>
                    </a:lnTo>
                    <a:lnTo>
                      <a:pt x="6521" y="2127"/>
                    </a:lnTo>
                    <a:lnTo>
                      <a:pt x="6521" y="2127"/>
                    </a:lnTo>
                    <a:lnTo>
                      <a:pt x="6354" y="2134"/>
                    </a:lnTo>
                    <a:lnTo>
                      <a:pt x="6186" y="2157"/>
                    </a:lnTo>
                    <a:lnTo>
                      <a:pt x="6024" y="2193"/>
                    </a:lnTo>
                    <a:lnTo>
                      <a:pt x="5871" y="2251"/>
                    </a:lnTo>
                    <a:lnTo>
                      <a:pt x="5732" y="2317"/>
                    </a:lnTo>
                    <a:lnTo>
                      <a:pt x="5593" y="2398"/>
                    </a:lnTo>
                    <a:lnTo>
                      <a:pt x="5469" y="2486"/>
                    </a:lnTo>
                    <a:lnTo>
                      <a:pt x="5352" y="2595"/>
                    </a:lnTo>
                    <a:lnTo>
                      <a:pt x="5242" y="2704"/>
                    </a:lnTo>
                    <a:lnTo>
                      <a:pt x="5154" y="2829"/>
                    </a:lnTo>
                    <a:lnTo>
                      <a:pt x="5066" y="2960"/>
                    </a:lnTo>
                    <a:lnTo>
                      <a:pt x="5001" y="3107"/>
                    </a:lnTo>
                    <a:lnTo>
                      <a:pt x="4949" y="3253"/>
                    </a:lnTo>
                    <a:lnTo>
                      <a:pt x="4906" y="3413"/>
                    </a:lnTo>
                    <a:lnTo>
                      <a:pt x="4884" y="3574"/>
                    </a:lnTo>
                    <a:lnTo>
                      <a:pt x="4877" y="3742"/>
                    </a:lnTo>
                    <a:lnTo>
                      <a:pt x="4877" y="3742"/>
                    </a:lnTo>
                    <a:lnTo>
                      <a:pt x="4877" y="4547"/>
                    </a:lnTo>
                    <a:lnTo>
                      <a:pt x="4877" y="4547"/>
                    </a:lnTo>
                    <a:lnTo>
                      <a:pt x="4781" y="4671"/>
                    </a:lnTo>
                    <a:lnTo>
                      <a:pt x="4701" y="4802"/>
                    </a:lnTo>
                    <a:lnTo>
                      <a:pt x="4628" y="4949"/>
                    </a:lnTo>
                    <a:lnTo>
                      <a:pt x="4569" y="5102"/>
                    </a:lnTo>
                    <a:lnTo>
                      <a:pt x="4525" y="5255"/>
                    </a:lnTo>
                    <a:lnTo>
                      <a:pt x="4489" y="5423"/>
                    </a:lnTo>
                    <a:lnTo>
                      <a:pt x="4467" y="5592"/>
                    </a:lnTo>
                    <a:lnTo>
                      <a:pt x="4460" y="5760"/>
                    </a:lnTo>
                    <a:lnTo>
                      <a:pt x="4460" y="5760"/>
                    </a:lnTo>
                    <a:lnTo>
                      <a:pt x="4467" y="5899"/>
                    </a:lnTo>
                    <a:lnTo>
                      <a:pt x="4481" y="6031"/>
                    </a:lnTo>
                    <a:lnTo>
                      <a:pt x="4504" y="6162"/>
                    </a:lnTo>
                    <a:lnTo>
                      <a:pt x="4533" y="6293"/>
                    </a:lnTo>
                    <a:lnTo>
                      <a:pt x="4577" y="6418"/>
                    </a:lnTo>
                    <a:lnTo>
                      <a:pt x="4621" y="6534"/>
                    </a:lnTo>
                    <a:lnTo>
                      <a:pt x="4679" y="6659"/>
                    </a:lnTo>
                    <a:lnTo>
                      <a:pt x="4737" y="6769"/>
                    </a:lnTo>
                    <a:lnTo>
                      <a:pt x="4708" y="6769"/>
                    </a:lnTo>
                    <a:lnTo>
                      <a:pt x="2968" y="6769"/>
                    </a:lnTo>
                    <a:lnTo>
                      <a:pt x="2968" y="6769"/>
                    </a:lnTo>
                    <a:lnTo>
                      <a:pt x="2902" y="6775"/>
                    </a:lnTo>
                    <a:lnTo>
                      <a:pt x="2837" y="6783"/>
                    </a:lnTo>
                    <a:lnTo>
                      <a:pt x="2778" y="6798"/>
                    </a:lnTo>
                    <a:lnTo>
                      <a:pt x="2720" y="6819"/>
                    </a:lnTo>
                    <a:lnTo>
                      <a:pt x="2661" y="6849"/>
                    </a:lnTo>
                    <a:lnTo>
                      <a:pt x="2610" y="6878"/>
                    </a:lnTo>
                    <a:lnTo>
                      <a:pt x="2559" y="6915"/>
                    </a:lnTo>
                    <a:lnTo>
                      <a:pt x="2515" y="6959"/>
                    </a:lnTo>
                    <a:lnTo>
                      <a:pt x="2471" y="7002"/>
                    </a:lnTo>
                    <a:lnTo>
                      <a:pt x="2435" y="7054"/>
                    </a:lnTo>
                    <a:lnTo>
                      <a:pt x="2405" y="7104"/>
                    </a:lnTo>
                    <a:lnTo>
                      <a:pt x="2376" y="7163"/>
                    </a:lnTo>
                    <a:lnTo>
                      <a:pt x="2355" y="7222"/>
                    </a:lnTo>
                    <a:lnTo>
                      <a:pt x="2340" y="7280"/>
                    </a:lnTo>
                    <a:lnTo>
                      <a:pt x="2332" y="7346"/>
                    </a:lnTo>
                    <a:lnTo>
                      <a:pt x="2325" y="7412"/>
                    </a:lnTo>
                    <a:lnTo>
                      <a:pt x="2325" y="8041"/>
                    </a:lnTo>
                    <a:lnTo>
                      <a:pt x="2325" y="8041"/>
                    </a:lnTo>
                    <a:lnTo>
                      <a:pt x="2164" y="7989"/>
                    </a:lnTo>
                    <a:lnTo>
                      <a:pt x="2011" y="7924"/>
                    </a:lnTo>
                    <a:lnTo>
                      <a:pt x="1864" y="7850"/>
                    </a:lnTo>
                    <a:lnTo>
                      <a:pt x="1726" y="7762"/>
                    </a:lnTo>
                    <a:lnTo>
                      <a:pt x="1594" y="7668"/>
                    </a:lnTo>
                    <a:lnTo>
                      <a:pt x="1470" y="7565"/>
                    </a:lnTo>
                    <a:lnTo>
                      <a:pt x="1353" y="7448"/>
                    </a:lnTo>
                    <a:lnTo>
                      <a:pt x="1243" y="7324"/>
                    </a:lnTo>
                    <a:lnTo>
                      <a:pt x="1147" y="7192"/>
                    </a:lnTo>
                    <a:lnTo>
                      <a:pt x="1067" y="7046"/>
                    </a:lnTo>
                    <a:lnTo>
                      <a:pt x="994" y="6900"/>
                    </a:lnTo>
                    <a:lnTo>
                      <a:pt x="929" y="6746"/>
                    </a:lnTo>
                    <a:lnTo>
                      <a:pt x="885" y="6586"/>
                    </a:lnTo>
                    <a:lnTo>
                      <a:pt x="848" y="6425"/>
                    </a:lnTo>
                    <a:lnTo>
                      <a:pt x="826" y="6257"/>
                    </a:lnTo>
                    <a:lnTo>
                      <a:pt x="819" y="6081"/>
                    </a:lnTo>
                    <a:lnTo>
                      <a:pt x="819" y="6081"/>
                    </a:lnTo>
                    <a:lnTo>
                      <a:pt x="826" y="5899"/>
                    </a:lnTo>
                    <a:lnTo>
                      <a:pt x="848" y="5716"/>
                    </a:lnTo>
                    <a:lnTo>
                      <a:pt x="892" y="5548"/>
                    </a:lnTo>
                    <a:lnTo>
                      <a:pt x="943" y="5379"/>
                    </a:lnTo>
                    <a:lnTo>
                      <a:pt x="1017" y="5211"/>
                    </a:lnTo>
                    <a:lnTo>
                      <a:pt x="1097" y="5058"/>
                    </a:lnTo>
                    <a:lnTo>
                      <a:pt x="1191" y="4912"/>
                    </a:lnTo>
                    <a:lnTo>
                      <a:pt x="1302" y="4780"/>
                    </a:lnTo>
                    <a:lnTo>
                      <a:pt x="1418" y="4649"/>
                    </a:lnTo>
                    <a:lnTo>
                      <a:pt x="1543" y="4532"/>
                    </a:lnTo>
                    <a:lnTo>
                      <a:pt x="1682" y="4429"/>
                    </a:lnTo>
                    <a:lnTo>
                      <a:pt x="1828" y="4335"/>
                    </a:lnTo>
                    <a:lnTo>
                      <a:pt x="1981" y="4254"/>
                    </a:lnTo>
                    <a:lnTo>
                      <a:pt x="2149" y="4181"/>
                    </a:lnTo>
                    <a:lnTo>
                      <a:pt x="2317" y="4130"/>
                    </a:lnTo>
                    <a:lnTo>
                      <a:pt x="2493" y="4086"/>
                    </a:lnTo>
                    <a:lnTo>
                      <a:pt x="2493" y="4086"/>
                    </a:lnTo>
                    <a:lnTo>
                      <a:pt x="2500" y="4086"/>
                    </a:lnTo>
                    <a:lnTo>
                      <a:pt x="2500" y="4086"/>
                    </a:lnTo>
                    <a:lnTo>
                      <a:pt x="2764" y="4056"/>
                    </a:lnTo>
                    <a:lnTo>
                      <a:pt x="2764" y="4056"/>
                    </a:lnTo>
                    <a:lnTo>
                      <a:pt x="2961" y="4042"/>
                    </a:lnTo>
                    <a:lnTo>
                      <a:pt x="3181" y="4027"/>
                    </a:lnTo>
                    <a:lnTo>
                      <a:pt x="3422" y="4013"/>
                    </a:lnTo>
                    <a:lnTo>
                      <a:pt x="3670" y="4013"/>
                    </a:lnTo>
                    <a:lnTo>
                      <a:pt x="3670" y="4013"/>
                    </a:lnTo>
                    <a:lnTo>
                      <a:pt x="3670" y="3647"/>
                    </a:lnTo>
                    <a:lnTo>
                      <a:pt x="3670" y="3647"/>
                    </a:lnTo>
                    <a:lnTo>
                      <a:pt x="3670" y="3509"/>
                    </a:lnTo>
                    <a:lnTo>
                      <a:pt x="3685" y="3370"/>
                    </a:lnTo>
                    <a:lnTo>
                      <a:pt x="3699" y="3231"/>
                    </a:lnTo>
                    <a:lnTo>
                      <a:pt x="3722" y="3092"/>
                    </a:lnTo>
                    <a:lnTo>
                      <a:pt x="3758" y="2953"/>
                    </a:lnTo>
                    <a:lnTo>
                      <a:pt x="3795" y="2821"/>
                    </a:lnTo>
                    <a:lnTo>
                      <a:pt x="3838" y="2690"/>
                    </a:lnTo>
                    <a:lnTo>
                      <a:pt x="3882" y="2566"/>
                    </a:lnTo>
                    <a:lnTo>
                      <a:pt x="3940" y="2442"/>
                    </a:lnTo>
                    <a:lnTo>
                      <a:pt x="3999" y="2317"/>
                    </a:lnTo>
                    <a:lnTo>
                      <a:pt x="4072" y="2200"/>
                    </a:lnTo>
                    <a:lnTo>
                      <a:pt x="4138" y="2083"/>
                    </a:lnTo>
                    <a:lnTo>
                      <a:pt x="4219" y="1973"/>
                    </a:lnTo>
                    <a:lnTo>
                      <a:pt x="4307" y="1864"/>
                    </a:lnTo>
                    <a:lnTo>
                      <a:pt x="4394" y="1761"/>
                    </a:lnTo>
                    <a:lnTo>
                      <a:pt x="4481" y="1659"/>
                    </a:lnTo>
                    <a:lnTo>
                      <a:pt x="4584" y="1564"/>
                    </a:lnTo>
                    <a:lnTo>
                      <a:pt x="4687" y="1476"/>
                    </a:lnTo>
                    <a:lnTo>
                      <a:pt x="4789" y="1389"/>
                    </a:lnTo>
                    <a:lnTo>
                      <a:pt x="4906" y="1308"/>
                    </a:lnTo>
                    <a:lnTo>
                      <a:pt x="5016" y="1235"/>
                    </a:lnTo>
                    <a:lnTo>
                      <a:pt x="5140" y="1162"/>
                    </a:lnTo>
                    <a:lnTo>
                      <a:pt x="5264" y="1096"/>
                    </a:lnTo>
                    <a:lnTo>
                      <a:pt x="5389" y="1038"/>
                    </a:lnTo>
                    <a:lnTo>
                      <a:pt x="5520" y="987"/>
                    </a:lnTo>
                    <a:lnTo>
                      <a:pt x="5651" y="943"/>
                    </a:lnTo>
                    <a:lnTo>
                      <a:pt x="5790" y="906"/>
                    </a:lnTo>
                    <a:lnTo>
                      <a:pt x="5930" y="870"/>
                    </a:lnTo>
                    <a:lnTo>
                      <a:pt x="6075" y="848"/>
                    </a:lnTo>
                    <a:lnTo>
                      <a:pt x="6222" y="826"/>
                    </a:lnTo>
                    <a:lnTo>
                      <a:pt x="6368" y="811"/>
                    </a:lnTo>
                    <a:lnTo>
                      <a:pt x="6521" y="811"/>
                    </a:lnTo>
                    <a:lnTo>
                      <a:pt x="6521" y="811"/>
                    </a:lnTo>
                    <a:lnTo>
                      <a:pt x="6732" y="819"/>
                    </a:lnTo>
                    <a:lnTo>
                      <a:pt x="6937" y="841"/>
                    </a:lnTo>
                    <a:lnTo>
                      <a:pt x="7135" y="885"/>
                    </a:lnTo>
                    <a:lnTo>
                      <a:pt x="7332" y="943"/>
                    </a:lnTo>
                    <a:lnTo>
                      <a:pt x="7529" y="1009"/>
                    </a:lnTo>
                    <a:lnTo>
                      <a:pt x="7720" y="1096"/>
                    </a:lnTo>
                    <a:lnTo>
                      <a:pt x="7895" y="1191"/>
                    </a:lnTo>
                    <a:lnTo>
                      <a:pt x="8070" y="1308"/>
                    </a:lnTo>
                    <a:lnTo>
                      <a:pt x="8238" y="1432"/>
                    </a:lnTo>
                    <a:lnTo>
                      <a:pt x="8399" y="1572"/>
                    </a:lnTo>
                    <a:lnTo>
                      <a:pt x="8553" y="1717"/>
                    </a:lnTo>
                    <a:lnTo>
                      <a:pt x="8699" y="1878"/>
                    </a:lnTo>
                    <a:lnTo>
                      <a:pt x="8831" y="2054"/>
                    </a:lnTo>
                    <a:lnTo>
                      <a:pt x="8955" y="2237"/>
                    </a:lnTo>
                    <a:lnTo>
                      <a:pt x="9064" y="2434"/>
                    </a:lnTo>
                    <a:lnTo>
                      <a:pt x="9167" y="2639"/>
                    </a:lnTo>
                    <a:lnTo>
                      <a:pt x="9167" y="2639"/>
                    </a:lnTo>
                    <a:lnTo>
                      <a:pt x="9270" y="2836"/>
                    </a:lnTo>
                    <a:lnTo>
                      <a:pt x="9270" y="2836"/>
                    </a:lnTo>
                    <a:lnTo>
                      <a:pt x="9576" y="2836"/>
                    </a:lnTo>
                    <a:lnTo>
                      <a:pt x="9576" y="2836"/>
                    </a:lnTo>
                    <a:lnTo>
                      <a:pt x="9708" y="2843"/>
                    </a:lnTo>
                    <a:lnTo>
                      <a:pt x="9840" y="2851"/>
                    </a:lnTo>
                    <a:lnTo>
                      <a:pt x="9972" y="2872"/>
                    </a:lnTo>
                    <a:lnTo>
                      <a:pt x="10103" y="2895"/>
                    </a:lnTo>
                    <a:lnTo>
                      <a:pt x="10228" y="2924"/>
                    </a:lnTo>
                    <a:lnTo>
                      <a:pt x="10352" y="2960"/>
                    </a:lnTo>
                    <a:lnTo>
                      <a:pt x="10476" y="3004"/>
                    </a:lnTo>
                    <a:lnTo>
                      <a:pt x="10593" y="3048"/>
                    </a:lnTo>
                    <a:lnTo>
                      <a:pt x="10710" y="3107"/>
                    </a:lnTo>
                    <a:lnTo>
                      <a:pt x="10819" y="3165"/>
                    </a:lnTo>
                    <a:lnTo>
                      <a:pt x="10937" y="3231"/>
                    </a:lnTo>
                    <a:lnTo>
                      <a:pt x="11039" y="3297"/>
                    </a:lnTo>
                    <a:lnTo>
                      <a:pt x="11148" y="3370"/>
                    </a:lnTo>
                    <a:lnTo>
                      <a:pt x="11243" y="3450"/>
                    </a:lnTo>
                    <a:lnTo>
                      <a:pt x="11346" y="3538"/>
                    </a:lnTo>
                    <a:lnTo>
                      <a:pt x="11434" y="3626"/>
                    </a:lnTo>
                    <a:lnTo>
                      <a:pt x="11521" y="3713"/>
                    </a:lnTo>
                    <a:lnTo>
                      <a:pt x="11609" y="3815"/>
                    </a:lnTo>
                    <a:lnTo>
                      <a:pt x="11689" y="3911"/>
                    </a:lnTo>
                    <a:lnTo>
                      <a:pt x="11763" y="4013"/>
                    </a:lnTo>
                    <a:lnTo>
                      <a:pt x="11836" y="4123"/>
                    </a:lnTo>
                    <a:lnTo>
                      <a:pt x="11901" y="4232"/>
                    </a:lnTo>
                    <a:lnTo>
                      <a:pt x="11960" y="4349"/>
                    </a:lnTo>
                    <a:lnTo>
                      <a:pt x="12011" y="4466"/>
                    </a:lnTo>
                    <a:lnTo>
                      <a:pt x="12063" y="4583"/>
                    </a:lnTo>
                    <a:lnTo>
                      <a:pt x="12106" y="4700"/>
                    </a:lnTo>
                    <a:lnTo>
                      <a:pt x="12143" y="4824"/>
                    </a:lnTo>
                    <a:lnTo>
                      <a:pt x="12172" y="4956"/>
                    </a:lnTo>
                    <a:lnTo>
                      <a:pt x="12194" y="5080"/>
                    </a:lnTo>
                    <a:lnTo>
                      <a:pt x="12209" y="5211"/>
                    </a:lnTo>
                    <a:lnTo>
                      <a:pt x="12223" y="5343"/>
                    </a:lnTo>
                    <a:lnTo>
                      <a:pt x="12223" y="5475"/>
                    </a:lnTo>
                    <a:lnTo>
                      <a:pt x="12223" y="5475"/>
                    </a:lnTo>
                    <a:lnTo>
                      <a:pt x="12216" y="5658"/>
                    </a:lnTo>
                    <a:lnTo>
                      <a:pt x="12201" y="5840"/>
                    </a:lnTo>
                    <a:lnTo>
                      <a:pt x="12172" y="6016"/>
                    </a:lnTo>
                    <a:lnTo>
                      <a:pt x="12128" y="6184"/>
                    </a:lnTo>
                    <a:lnTo>
                      <a:pt x="12077" y="6352"/>
                    </a:lnTo>
                    <a:lnTo>
                      <a:pt x="12019" y="6513"/>
                    </a:lnTo>
                    <a:lnTo>
                      <a:pt x="11945" y="6666"/>
                    </a:lnTo>
                    <a:lnTo>
                      <a:pt x="11865" y="6813"/>
                    </a:lnTo>
                    <a:lnTo>
                      <a:pt x="11777" y="6959"/>
                    </a:lnTo>
                    <a:lnTo>
                      <a:pt x="11675" y="7090"/>
                    </a:lnTo>
                    <a:lnTo>
                      <a:pt x="11572" y="7222"/>
                    </a:lnTo>
                    <a:lnTo>
                      <a:pt x="11455" y="7339"/>
                    </a:lnTo>
                    <a:lnTo>
                      <a:pt x="11339" y="7456"/>
                    </a:lnTo>
                    <a:lnTo>
                      <a:pt x="11207" y="7558"/>
                    </a:lnTo>
                    <a:lnTo>
                      <a:pt x="11075" y="7653"/>
                    </a:lnTo>
                    <a:lnTo>
                      <a:pt x="10937" y="7741"/>
                    </a:lnTo>
                    <a:close/>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73" name="Group 72">
              <a:extLst>
                <a:ext uri="{FF2B5EF4-FFF2-40B4-BE49-F238E27FC236}">
                  <a16:creationId xmlns:a16="http://schemas.microsoft.com/office/drawing/2014/main" id="{B0B1C9DC-272E-4EE7-BF54-0C761F702F2A}"/>
                </a:ext>
              </a:extLst>
            </p:cNvPr>
            <p:cNvGrpSpPr/>
            <p:nvPr/>
          </p:nvGrpSpPr>
          <p:grpSpPr>
            <a:xfrm>
              <a:off x="11900152" y="229164"/>
              <a:ext cx="178445" cy="226817"/>
              <a:chOff x="11900152" y="229164"/>
              <a:chExt cx="178445" cy="226817"/>
            </a:xfrm>
          </p:grpSpPr>
          <p:sp>
            <p:nvSpPr>
              <p:cNvPr id="83" name="Freeform 82">
                <a:extLst>
                  <a:ext uri="{FF2B5EF4-FFF2-40B4-BE49-F238E27FC236}">
                    <a16:creationId xmlns:a16="http://schemas.microsoft.com/office/drawing/2014/main" id="{CF164747-B5A1-4797-8A22-2D2380A173EE}"/>
                  </a:ext>
                </a:extLst>
              </p:cNvPr>
              <p:cNvSpPr>
                <a:spLocks noChangeArrowheads="1"/>
              </p:cNvSpPr>
              <p:nvPr/>
            </p:nvSpPr>
            <p:spPr bwMode="auto">
              <a:xfrm>
                <a:off x="11900152" y="229164"/>
                <a:ext cx="178445" cy="226817"/>
              </a:xfrm>
              <a:custGeom>
                <a:avLst/>
                <a:gdLst>
                  <a:gd name="T0" fmla="*/ 8885 w 16104"/>
                  <a:gd name="T1" fmla="*/ 10922 h 20470"/>
                  <a:gd name="T2" fmla="*/ 13006 w 16104"/>
                  <a:gd name="T3" fmla="*/ 10675 h 20470"/>
                  <a:gd name="T4" fmla="*/ 14471 w 16104"/>
                  <a:gd name="T5" fmla="*/ 9706 h 20470"/>
                  <a:gd name="T6" fmla="*/ 15397 w 16104"/>
                  <a:gd name="T7" fmla="*/ 8170 h 20470"/>
                  <a:gd name="T8" fmla="*/ 15635 w 16104"/>
                  <a:gd name="T9" fmla="*/ 6494 h 20470"/>
                  <a:gd name="T10" fmla="*/ 15185 w 16104"/>
                  <a:gd name="T11" fmla="*/ 4765 h 20470"/>
                  <a:gd name="T12" fmla="*/ 14135 w 16104"/>
                  <a:gd name="T13" fmla="*/ 3406 h 20470"/>
                  <a:gd name="T14" fmla="*/ 12617 w 16104"/>
                  <a:gd name="T15" fmla="*/ 2612 h 20470"/>
                  <a:gd name="T16" fmla="*/ 11179 w 16104"/>
                  <a:gd name="T17" fmla="*/ 1465 h 20470"/>
                  <a:gd name="T18" fmla="*/ 9379 w 16104"/>
                  <a:gd name="T19" fmla="*/ 221 h 20470"/>
                  <a:gd name="T20" fmla="*/ 8048 w 16104"/>
                  <a:gd name="T21" fmla="*/ 0 h 20470"/>
                  <a:gd name="T22" fmla="*/ 6512 w 16104"/>
                  <a:gd name="T23" fmla="*/ 309 h 20470"/>
                  <a:gd name="T24" fmla="*/ 5056 w 16104"/>
                  <a:gd name="T25" fmla="*/ 1288 h 20470"/>
                  <a:gd name="T26" fmla="*/ 4077 w 16104"/>
                  <a:gd name="T27" fmla="*/ 2779 h 20470"/>
                  <a:gd name="T28" fmla="*/ 3450 w 16104"/>
                  <a:gd name="T29" fmla="*/ 3988 h 20470"/>
                  <a:gd name="T30" fmla="*/ 2082 w 16104"/>
                  <a:gd name="T31" fmla="*/ 4491 h 20470"/>
                  <a:gd name="T32" fmla="*/ 1041 w 16104"/>
                  <a:gd name="T33" fmla="*/ 5532 h 20470"/>
                  <a:gd name="T34" fmla="*/ 494 w 16104"/>
                  <a:gd name="T35" fmla="*/ 6935 h 20470"/>
                  <a:gd name="T36" fmla="*/ 565 w 16104"/>
                  <a:gd name="T37" fmla="*/ 8338 h 20470"/>
                  <a:gd name="T38" fmla="*/ 1235 w 16104"/>
                  <a:gd name="T39" fmla="*/ 9688 h 20470"/>
                  <a:gd name="T40" fmla="*/ 2365 w 16104"/>
                  <a:gd name="T41" fmla="*/ 10596 h 20470"/>
                  <a:gd name="T42" fmla="*/ 3777 w 16104"/>
                  <a:gd name="T43" fmla="*/ 10922 h 20470"/>
                  <a:gd name="T44" fmla="*/ 1191 w 16104"/>
                  <a:gd name="T45" fmla="*/ 14831 h 20470"/>
                  <a:gd name="T46" fmla="*/ 344 w 16104"/>
                  <a:gd name="T47" fmla="*/ 15175 h 20470"/>
                  <a:gd name="T48" fmla="*/ 0 w 16104"/>
                  <a:gd name="T49" fmla="*/ 19269 h 20470"/>
                  <a:gd name="T50" fmla="*/ 344 w 16104"/>
                  <a:gd name="T51" fmla="*/ 20116 h 20470"/>
                  <a:gd name="T52" fmla="*/ 14903 w 16104"/>
                  <a:gd name="T53" fmla="*/ 20469 h 20470"/>
                  <a:gd name="T54" fmla="*/ 15750 w 16104"/>
                  <a:gd name="T55" fmla="*/ 20116 h 20470"/>
                  <a:gd name="T56" fmla="*/ 16103 w 16104"/>
                  <a:gd name="T57" fmla="*/ 16022 h 20470"/>
                  <a:gd name="T58" fmla="*/ 15750 w 16104"/>
                  <a:gd name="T59" fmla="*/ 15175 h 20470"/>
                  <a:gd name="T60" fmla="*/ 1403 w 16104"/>
                  <a:gd name="T61" fmla="*/ 7447 h 20470"/>
                  <a:gd name="T62" fmla="*/ 1588 w 16104"/>
                  <a:gd name="T63" fmla="*/ 6503 h 20470"/>
                  <a:gd name="T64" fmla="*/ 2162 w 16104"/>
                  <a:gd name="T65" fmla="*/ 5638 h 20470"/>
                  <a:gd name="T66" fmla="*/ 3027 w 16104"/>
                  <a:gd name="T67" fmla="*/ 5100 h 20470"/>
                  <a:gd name="T68" fmla="*/ 4730 w 16104"/>
                  <a:gd name="T69" fmla="*/ 4968 h 20470"/>
                  <a:gd name="T70" fmla="*/ 4933 w 16104"/>
                  <a:gd name="T71" fmla="*/ 3300 h 20470"/>
                  <a:gd name="T72" fmla="*/ 5718 w 16104"/>
                  <a:gd name="T73" fmla="*/ 2029 h 20470"/>
                  <a:gd name="T74" fmla="*/ 6927 w 16104"/>
                  <a:gd name="T75" fmla="*/ 1209 h 20470"/>
                  <a:gd name="T76" fmla="*/ 8311 w 16104"/>
                  <a:gd name="T77" fmla="*/ 1006 h 20470"/>
                  <a:gd name="T78" fmla="*/ 10323 w 16104"/>
                  <a:gd name="T79" fmla="*/ 1923 h 20470"/>
                  <a:gd name="T80" fmla="*/ 11250 w 16104"/>
                  <a:gd name="T81" fmla="*/ 3476 h 20470"/>
                  <a:gd name="T82" fmla="*/ 12653 w 16104"/>
                  <a:gd name="T83" fmla="*/ 3679 h 20470"/>
                  <a:gd name="T84" fmla="*/ 13773 w 16104"/>
                  <a:gd name="T85" fmla="*/ 4438 h 20470"/>
                  <a:gd name="T86" fmla="*/ 14497 w 16104"/>
                  <a:gd name="T87" fmla="*/ 5612 h 20470"/>
                  <a:gd name="T88" fmla="*/ 14682 w 16104"/>
                  <a:gd name="T89" fmla="*/ 6882 h 20470"/>
                  <a:gd name="T90" fmla="*/ 14312 w 16104"/>
                  <a:gd name="T91" fmla="*/ 8276 h 20470"/>
                  <a:gd name="T92" fmla="*/ 13429 w 16104"/>
                  <a:gd name="T93" fmla="*/ 9317 h 20470"/>
                  <a:gd name="T94" fmla="*/ 12212 w 16104"/>
                  <a:gd name="T95" fmla="*/ 9873 h 20470"/>
                  <a:gd name="T96" fmla="*/ 3538 w 16104"/>
                  <a:gd name="T97" fmla="*/ 9917 h 20470"/>
                  <a:gd name="T98" fmla="*/ 2550 w 16104"/>
                  <a:gd name="T99" fmla="*/ 9573 h 20470"/>
                  <a:gd name="T100" fmla="*/ 1809 w 16104"/>
                  <a:gd name="T101" fmla="*/ 8841 h 20470"/>
                  <a:gd name="T102" fmla="*/ 1430 w 16104"/>
                  <a:gd name="T103" fmla="*/ 7826 h 20470"/>
                  <a:gd name="T104" fmla="*/ 15106 w 16104"/>
                  <a:gd name="T105" fmla="*/ 19472 h 20470"/>
                  <a:gd name="T106" fmla="*/ 1032 w 16104"/>
                  <a:gd name="T107" fmla="*/ 19507 h 20470"/>
                  <a:gd name="T108" fmla="*/ 927 w 16104"/>
                  <a:gd name="T109" fmla="*/ 15916 h 20470"/>
                  <a:gd name="T110" fmla="*/ 14903 w 16104"/>
                  <a:gd name="T111" fmla="*/ 15740 h 20470"/>
                  <a:gd name="T112" fmla="*/ 15185 w 16104"/>
                  <a:gd name="T113" fmla="*/ 16022 h 20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104" h="20470">
                    <a:moveTo>
                      <a:pt x="14903" y="14831"/>
                    </a:moveTo>
                    <a:lnTo>
                      <a:pt x="6759" y="14831"/>
                    </a:lnTo>
                    <a:lnTo>
                      <a:pt x="6759" y="12484"/>
                    </a:lnTo>
                    <a:lnTo>
                      <a:pt x="8664" y="14381"/>
                    </a:lnTo>
                    <a:lnTo>
                      <a:pt x="10959" y="12131"/>
                    </a:lnTo>
                    <a:lnTo>
                      <a:pt x="10659" y="11778"/>
                    </a:lnTo>
                    <a:lnTo>
                      <a:pt x="8885" y="13481"/>
                    </a:lnTo>
                    <a:lnTo>
                      <a:pt x="8885" y="10922"/>
                    </a:lnTo>
                    <a:lnTo>
                      <a:pt x="8885" y="10922"/>
                    </a:lnTo>
                    <a:lnTo>
                      <a:pt x="11603" y="10922"/>
                    </a:lnTo>
                    <a:lnTo>
                      <a:pt x="11603" y="10922"/>
                    </a:lnTo>
                    <a:lnTo>
                      <a:pt x="11814" y="10922"/>
                    </a:lnTo>
                    <a:lnTo>
                      <a:pt x="12026" y="10905"/>
                    </a:lnTo>
                    <a:lnTo>
                      <a:pt x="12229" y="10878"/>
                    </a:lnTo>
                    <a:lnTo>
                      <a:pt x="12423" y="10843"/>
                    </a:lnTo>
                    <a:lnTo>
                      <a:pt x="12626" y="10799"/>
                    </a:lnTo>
                    <a:lnTo>
                      <a:pt x="12812" y="10737"/>
                    </a:lnTo>
                    <a:lnTo>
                      <a:pt x="13006" y="10675"/>
                    </a:lnTo>
                    <a:lnTo>
                      <a:pt x="13191" y="10596"/>
                    </a:lnTo>
                    <a:lnTo>
                      <a:pt x="13368" y="10516"/>
                    </a:lnTo>
                    <a:lnTo>
                      <a:pt x="13544" y="10419"/>
                    </a:lnTo>
                    <a:lnTo>
                      <a:pt x="13712" y="10322"/>
                    </a:lnTo>
                    <a:lnTo>
                      <a:pt x="13871" y="10217"/>
                    </a:lnTo>
                    <a:lnTo>
                      <a:pt x="14029" y="10094"/>
                    </a:lnTo>
                    <a:lnTo>
                      <a:pt x="14179" y="9970"/>
                    </a:lnTo>
                    <a:lnTo>
                      <a:pt x="14329" y="9838"/>
                    </a:lnTo>
                    <a:lnTo>
                      <a:pt x="14471" y="9706"/>
                    </a:lnTo>
                    <a:lnTo>
                      <a:pt x="14603" y="9556"/>
                    </a:lnTo>
                    <a:lnTo>
                      <a:pt x="14726" y="9406"/>
                    </a:lnTo>
                    <a:lnTo>
                      <a:pt x="14841" y="9247"/>
                    </a:lnTo>
                    <a:lnTo>
                      <a:pt x="14956" y="9079"/>
                    </a:lnTo>
                    <a:lnTo>
                      <a:pt x="15062" y="8903"/>
                    </a:lnTo>
                    <a:lnTo>
                      <a:pt x="15159" y="8726"/>
                    </a:lnTo>
                    <a:lnTo>
                      <a:pt x="15247" y="8550"/>
                    </a:lnTo>
                    <a:lnTo>
                      <a:pt x="15326" y="8364"/>
                    </a:lnTo>
                    <a:lnTo>
                      <a:pt x="15397" y="8170"/>
                    </a:lnTo>
                    <a:lnTo>
                      <a:pt x="15459" y="7967"/>
                    </a:lnTo>
                    <a:lnTo>
                      <a:pt x="15512" y="7773"/>
                    </a:lnTo>
                    <a:lnTo>
                      <a:pt x="15556" y="7562"/>
                    </a:lnTo>
                    <a:lnTo>
                      <a:pt x="15591" y="7359"/>
                    </a:lnTo>
                    <a:lnTo>
                      <a:pt x="15618" y="7138"/>
                    </a:lnTo>
                    <a:lnTo>
                      <a:pt x="15635" y="6926"/>
                    </a:lnTo>
                    <a:lnTo>
                      <a:pt x="15635" y="6706"/>
                    </a:lnTo>
                    <a:lnTo>
                      <a:pt x="15635" y="6706"/>
                    </a:lnTo>
                    <a:lnTo>
                      <a:pt x="15635" y="6494"/>
                    </a:lnTo>
                    <a:lnTo>
                      <a:pt x="15618" y="6291"/>
                    </a:lnTo>
                    <a:lnTo>
                      <a:pt x="15600" y="6088"/>
                    </a:lnTo>
                    <a:lnTo>
                      <a:pt x="15565" y="5885"/>
                    </a:lnTo>
                    <a:lnTo>
                      <a:pt x="15521" y="5691"/>
                    </a:lnTo>
                    <a:lnTo>
                      <a:pt x="15468" y="5497"/>
                    </a:lnTo>
                    <a:lnTo>
                      <a:pt x="15415" y="5303"/>
                    </a:lnTo>
                    <a:lnTo>
                      <a:pt x="15344" y="5118"/>
                    </a:lnTo>
                    <a:lnTo>
                      <a:pt x="15274" y="4941"/>
                    </a:lnTo>
                    <a:lnTo>
                      <a:pt x="15185" y="4765"/>
                    </a:lnTo>
                    <a:lnTo>
                      <a:pt x="15097" y="4588"/>
                    </a:lnTo>
                    <a:lnTo>
                      <a:pt x="15000" y="4420"/>
                    </a:lnTo>
                    <a:lnTo>
                      <a:pt x="14894" y="4262"/>
                    </a:lnTo>
                    <a:lnTo>
                      <a:pt x="14788" y="4103"/>
                    </a:lnTo>
                    <a:lnTo>
                      <a:pt x="14665" y="3953"/>
                    </a:lnTo>
                    <a:lnTo>
                      <a:pt x="14541" y="3803"/>
                    </a:lnTo>
                    <a:lnTo>
                      <a:pt x="14409" y="3662"/>
                    </a:lnTo>
                    <a:lnTo>
                      <a:pt x="14276" y="3529"/>
                    </a:lnTo>
                    <a:lnTo>
                      <a:pt x="14135" y="3406"/>
                    </a:lnTo>
                    <a:lnTo>
                      <a:pt x="13985" y="3282"/>
                    </a:lnTo>
                    <a:lnTo>
                      <a:pt x="13826" y="3176"/>
                    </a:lnTo>
                    <a:lnTo>
                      <a:pt x="13668" y="3071"/>
                    </a:lnTo>
                    <a:lnTo>
                      <a:pt x="13509" y="2973"/>
                    </a:lnTo>
                    <a:lnTo>
                      <a:pt x="13341" y="2885"/>
                    </a:lnTo>
                    <a:lnTo>
                      <a:pt x="13165" y="2797"/>
                    </a:lnTo>
                    <a:lnTo>
                      <a:pt x="12988" y="2726"/>
                    </a:lnTo>
                    <a:lnTo>
                      <a:pt x="12803" y="2665"/>
                    </a:lnTo>
                    <a:lnTo>
                      <a:pt x="12617" y="2612"/>
                    </a:lnTo>
                    <a:lnTo>
                      <a:pt x="12432" y="2568"/>
                    </a:lnTo>
                    <a:lnTo>
                      <a:pt x="12238" y="2523"/>
                    </a:lnTo>
                    <a:lnTo>
                      <a:pt x="12044" y="2497"/>
                    </a:lnTo>
                    <a:lnTo>
                      <a:pt x="11841" y="2479"/>
                    </a:lnTo>
                    <a:lnTo>
                      <a:pt x="11841" y="2479"/>
                    </a:lnTo>
                    <a:lnTo>
                      <a:pt x="11700" y="2206"/>
                    </a:lnTo>
                    <a:lnTo>
                      <a:pt x="11541" y="1950"/>
                    </a:lnTo>
                    <a:lnTo>
                      <a:pt x="11373" y="1703"/>
                    </a:lnTo>
                    <a:lnTo>
                      <a:pt x="11179" y="1465"/>
                    </a:lnTo>
                    <a:lnTo>
                      <a:pt x="10985" y="1244"/>
                    </a:lnTo>
                    <a:lnTo>
                      <a:pt x="10764" y="1041"/>
                    </a:lnTo>
                    <a:lnTo>
                      <a:pt x="10544" y="856"/>
                    </a:lnTo>
                    <a:lnTo>
                      <a:pt x="10306" y="679"/>
                    </a:lnTo>
                    <a:lnTo>
                      <a:pt x="10050" y="529"/>
                    </a:lnTo>
                    <a:lnTo>
                      <a:pt x="9794" y="397"/>
                    </a:lnTo>
                    <a:lnTo>
                      <a:pt x="9653" y="335"/>
                    </a:lnTo>
                    <a:lnTo>
                      <a:pt x="9520" y="274"/>
                    </a:lnTo>
                    <a:lnTo>
                      <a:pt x="9379" y="221"/>
                    </a:lnTo>
                    <a:lnTo>
                      <a:pt x="9238" y="176"/>
                    </a:lnTo>
                    <a:lnTo>
                      <a:pt x="9097" y="141"/>
                    </a:lnTo>
                    <a:lnTo>
                      <a:pt x="8955" y="106"/>
                    </a:lnTo>
                    <a:lnTo>
                      <a:pt x="8805" y="71"/>
                    </a:lnTo>
                    <a:lnTo>
                      <a:pt x="8655" y="44"/>
                    </a:lnTo>
                    <a:lnTo>
                      <a:pt x="8505" y="26"/>
                    </a:lnTo>
                    <a:lnTo>
                      <a:pt x="8355" y="9"/>
                    </a:lnTo>
                    <a:lnTo>
                      <a:pt x="8205" y="0"/>
                    </a:lnTo>
                    <a:lnTo>
                      <a:pt x="8048" y="0"/>
                    </a:lnTo>
                    <a:lnTo>
                      <a:pt x="8048" y="0"/>
                    </a:lnTo>
                    <a:lnTo>
                      <a:pt x="7853" y="9"/>
                    </a:lnTo>
                    <a:lnTo>
                      <a:pt x="7651" y="18"/>
                    </a:lnTo>
                    <a:lnTo>
                      <a:pt x="7456" y="44"/>
                    </a:lnTo>
                    <a:lnTo>
                      <a:pt x="7262" y="79"/>
                    </a:lnTo>
                    <a:lnTo>
                      <a:pt x="7068" y="124"/>
                    </a:lnTo>
                    <a:lnTo>
                      <a:pt x="6883" y="176"/>
                    </a:lnTo>
                    <a:lnTo>
                      <a:pt x="6697" y="238"/>
                    </a:lnTo>
                    <a:lnTo>
                      <a:pt x="6512" y="309"/>
                    </a:lnTo>
                    <a:lnTo>
                      <a:pt x="6336" y="388"/>
                    </a:lnTo>
                    <a:lnTo>
                      <a:pt x="6159" y="468"/>
                    </a:lnTo>
                    <a:lnTo>
                      <a:pt x="5992" y="565"/>
                    </a:lnTo>
                    <a:lnTo>
                      <a:pt x="5824" y="671"/>
                    </a:lnTo>
                    <a:lnTo>
                      <a:pt x="5656" y="776"/>
                    </a:lnTo>
                    <a:lnTo>
                      <a:pt x="5497" y="891"/>
                    </a:lnTo>
                    <a:lnTo>
                      <a:pt x="5347" y="1015"/>
                    </a:lnTo>
                    <a:lnTo>
                      <a:pt x="5197" y="1147"/>
                    </a:lnTo>
                    <a:lnTo>
                      <a:pt x="5056" y="1288"/>
                    </a:lnTo>
                    <a:lnTo>
                      <a:pt x="4924" y="1429"/>
                    </a:lnTo>
                    <a:lnTo>
                      <a:pt x="4791" y="1579"/>
                    </a:lnTo>
                    <a:lnTo>
                      <a:pt x="4668" y="1738"/>
                    </a:lnTo>
                    <a:lnTo>
                      <a:pt x="4553" y="1897"/>
                    </a:lnTo>
                    <a:lnTo>
                      <a:pt x="4447" y="2065"/>
                    </a:lnTo>
                    <a:lnTo>
                      <a:pt x="4341" y="2232"/>
                    </a:lnTo>
                    <a:lnTo>
                      <a:pt x="4244" y="2409"/>
                    </a:lnTo>
                    <a:lnTo>
                      <a:pt x="4156" y="2594"/>
                    </a:lnTo>
                    <a:lnTo>
                      <a:pt x="4077" y="2779"/>
                    </a:lnTo>
                    <a:lnTo>
                      <a:pt x="4006" y="2965"/>
                    </a:lnTo>
                    <a:lnTo>
                      <a:pt x="3944" y="3159"/>
                    </a:lnTo>
                    <a:lnTo>
                      <a:pt x="3891" y="3362"/>
                    </a:lnTo>
                    <a:lnTo>
                      <a:pt x="3838" y="3565"/>
                    </a:lnTo>
                    <a:lnTo>
                      <a:pt x="3803" y="3768"/>
                    </a:lnTo>
                    <a:lnTo>
                      <a:pt x="3777" y="3970"/>
                    </a:lnTo>
                    <a:lnTo>
                      <a:pt x="3777" y="3970"/>
                    </a:lnTo>
                    <a:lnTo>
                      <a:pt x="3609" y="3979"/>
                    </a:lnTo>
                    <a:lnTo>
                      <a:pt x="3450" y="3988"/>
                    </a:lnTo>
                    <a:lnTo>
                      <a:pt x="3283" y="4015"/>
                    </a:lnTo>
                    <a:lnTo>
                      <a:pt x="3124" y="4050"/>
                    </a:lnTo>
                    <a:lnTo>
                      <a:pt x="2965" y="4085"/>
                    </a:lnTo>
                    <a:lnTo>
                      <a:pt x="2815" y="4138"/>
                    </a:lnTo>
                    <a:lnTo>
                      <a:pt x="2656" y="4191"/>
                    </a:lnTo>
                    <a:lnTo>
                      <a:pt x="2506" y="4253"/>
                    </a:lnTo>
                    <a:lnTo>
                      <a:pt x="2365" y="4323"/>
                    </a:lnTo>
                    <a:lnTo>
                      <a:pt x="2224" y="4403"/>
                    </a:lnTo>
                    <a:lnTo>
                      <a:pt x="2082" y="4491"/>
                    </a:lnTo>
                    <a:lnTo>
                      <a:pt x="1941" y="4579"/>
                    </a:lnTo>
                    <a:lnTo>
                      <a:pt x="1818" y="4685"/>
                    </a:lnTo>
                    <a:lnTo>
                      <a:pt x="1685" y="4782"/>
                    </a:lnTo>
                    <a:lnTo>
                      <a:pt x="1571" y="4897"/>
                    </a:lnTo>
                    <a:lnTo>
                      <a:pt x="1447" y="5012"/>
                    </a:lnTo>
                    <a:lnTo>
                      <a:pt x="1341" y="5135"/>
                    </a:lnTo>
                    <a:lnTo>
                      <a:pt x="1235" y="5259"/>
                    </a:lnTo>
                    <a:lnTo>
                      <a:pt x="1129" y="5391"/>
                    </a:lnTo>
                    <a:lnTo>
                      <a:pt x="1041" y="5532"/>
                    </a:lnTo>
                    <a:lnTo>
                      <a:pt x="953" y="5673"/>
                    </a:lnTo>
                    <a:lnTo>
                      <a:pt x="865" y="5815"/>
                    </a:lnTo>
                    <a:lnTo>
                      <a:pt x="794" y="5965"/>
                    </a:lnTo>
                    <a:lnTo>
                      <a:pt x="724" y="6123"/>
                    </a:lnTo>
                    <a:lnTo>
                      <a:pt x="662" y="6282"/>
                    </a:lnTo>
                    <a:lnTo>
                      <a:pt x="609" y="6441"/>
                    </a:lnTo>
                    <a:lnTo>
                      <a:pt x="565" y="6600"/>
                    </a:lnTo>
                    <a:lnTo>
                      <a:pt x="529" y="6767"/>
                    </a:lnTo>
                    <a:lnTo>
                      <a:pt x="494" y="6935"/>
                    </a:lnTo>
                    <a:lnTo>
                      <a:pt x="477" y="7103"/>
                    </a:lnTo>
                    <a:lnTo>
                      <a:pt x="459" y="7279"/>
                    </a:lnTo>
                    <a:lnTo>
                      <a:pt x="459" y="7447"/>
                    </a:lnTo>
                    <a:lnTo>
                      <a:pt x="459" y="7447"/>
                    </a:lnTo>
                    <a:lnTo>
                      <a:pt x="459" y="7632"/>
                    </a:lnTo>
                    <a:lnTo>
                      <a:pt x="477" y="7817"/>
                    </a:lnTo>
                    <a:lnTo>
                      <a:pt x="494" y="7994"/>
                    </a:lnTo>
                    <a:lnTo>
                      <a:pt x="529" y="8170"/>
                    </a:lnTo>
                    <a:lnTo>
                      <a:pt x="565" y="8338"/>
                    </a:lnTo>
                    <a:lnTo>
                      <a:pt x="609" y="8506"/>
                    </a:lnTo>
                    <a:lnTo>
                      <a:pt x="662" y="8673"/>
                    </a:lnTo>
                    <a:lnTo>
                      <a:pt x="724" y="8832"/>
                    </a:lnTo>
                    <a:lnTo>
                      <a:pt x="794" y="8991"/>
                    </a:lnTo>
                    <a:lnTo>
                      <a:pt x="865" y="9141"/>
                    </a:lnTo>
                    <a:lnTo>
                      <a:pt x="953" y="9282"/>
                    </a:lnTo>
                    <a:lnTo>
                      <a:pt x="1041" y="9423"/>
                    </a:lnTo>
                    <a:lnTo>
                      <a:pt x="1129" y="9556"/>
                    </a:lnTo>
                    <a:lnTo>
                      <a:pt x="1235" y="9688"/>
                    </a:lnTo>
                    <a:lnTo>
                      <a:pt x="1341" y="9811"/>
                    </a:lnTo>
                    <a:lnTo>
                      <a:pt x="1447" y="9935"/>
                    </a:lnTo>
                    <a:lnTo>
                      <a:pt x="1571" y="10050"/>
                    </a:lnTo>
                    <a:lnTo>
                      <a:pt x="1685" y="10156"/>
                    </a:lnTo>
                    <a:lnTo>
                      <a:pt x="1818" y="10252"/>
                    </a:lnTo>
                    <a:lnTo>
                      <a:pt x="1941" y="10349"/>
                    </a:lnTo>
                    <a:lnTo>
                      <a:pt x="2082" y="10437"/>
                    </a:lnTo>
                    <a:lnTo>
                      <a:pt x="2224" y="10516"/>
                    </a:lnTo>
                    <a:lnTo>
                      <a:pt x="2365" y="10596"/>
                    </a:lnTo>
                    <a:lnTo>
                      <a:pt x="2506" y="10666"/>
                    </a:lnTo>
                    <a:lnTo>
                      <a:pt x="2656" y="10719"/>
                    </a:lnTo>
                    <a:lnTo>
                      <a:pt x="2815" y="10772"/>
                    </a:lnTo>
                    <a:lnTo>
                      <a:pt x="2965" y="10825"/>
                    </a:lnTo>
                    <a:lnTo>
                      <a:pt x="3124" y="10860"/>
                    </a:lnTo>
                    <a:lnTo>
                      <a:pt x="3283" y="10887"/>
                    </a:lnTo>
                    <a:lnTo>
                      <a:pt x="3450" y="10913"/>
                    </a:lnTo>
                    <a:lnTo>
                      <a:pt x="3609" y="10922"/>
                    </a:lnTo>
                    <a:lnTo>
                      <a:pt x="3777" y="10922"/>
                    </a:lnTo>
                    <a:lnTo>
                      <a:pt x="3777" y="10922"/>
                    </a:lnTo>
                    <a:lnTo>
                      <a:pt x="8435" y="10922"/>
                    </a:lnTo>
                    <a:lnTo>
                      <a:pt x="8435" y="13481"/>
                    </a:lnTo>
                    <a:lnTo>
                      <a:pt x="6539" y="11602"/>
                    </a:lnTo>
                    <a:lnTo>
                      <a:pt x="4289" y="13904"/>
                    </a:lnTo>
                    <a:lnTo>
                      <a:pt x="4589" y="14257"/>
                    </a:lnTo>
                    <a:lnTo>
                      <a:pt x="6292" y="12484"/>
                    </a:lnTo>
                    <a:lnTo>
                      <a:pt x="6292" y="14831"/>
                    </a:lnTo>
                    <a:lnTo>
                      <a:pt x="1191" y="14831"/>
                    </a:lnTo>
                    <a:lnTo>
                      <a:pt x="1191" y="14831"/>
                    </a:lnTo>
                    <a:lnTo>
                      <a:pt x="1068" y="14831"/>
                    </a:lnTo>
                    <a:lnTo>
                      <a:pt x="953" y="14849"/>
                    </a:lnTo>
                    <a:lnTo>
                      <a:pt x="838" y="14884"/>
                    </a:lnTo>
                    <a:lnTo>
                      <a:pt x="732" y="14919"/>
                    </a:lnTo>
                    <a:lnTo>
                      <a:pt x="627" y="14972"/>
                    </a:lnTo>
                    <a:lnTo>
                      <a:pt x="521" y="15034"/>
                    </a:lnTo>
                    <a:lnTo>
                      <a:pt x="432" y="15104"/>
                    </a:lnTo>
                    <a:lnTo>
                      <a:pt x="344" y="15175"/>
                    </a:lnTo>
                    <a:lnTo>
                      <a:pt x="274" y="15263"/>
                    </a:lnTo>
                    <a:lnTo>
                      <a:pt x="203" y="15352"/>
                    </a:lnTo>
                    <a:lnTo>
                      <a:pt x="141" y="15457"/>
                    </a:lnTo>
                    <a:lnTo>
                      <a:pt x="88" y="15554"/>
                    </a:lnTo>
                    <a:lnTo>
                      <a:pt x="53" y="15669"/>
                    </a:lnTo>
                    <a:lnTo>
                      <a:pt x="18" y="15784"/>
                    </a:lnTo>
                    <a:lnTo>
                      <a:pt x="0" y="15899"/>
                    </a:lnTo>
                    <a:lnTo>
                      <a:pt x="0" y="16022"/>
                    </a:lnTo>
                    <a:lnTo>
                      <a:pt x="0" y="19269"/>
                    </a:lnTo>
                    <a:lnTo>
                      <a:pt x="0" y="19269"/>
                    </a:lnTo>
                    <a:lnTo>
                      <a:pt x="0" y="19393"/>
                    </a:lnTo>
                    <a:lnTo>
                      <a:pt x="18" y="19516"/>
                    </a:lnTo>
                    <a:lnTo>
                      <a:pt x="53" y="19631"/>
                    </a:lnTo>
                    <a:lnTo>
                      <a:pt x="88" y="19737"/>
                    </a:lnTo>
                    <a:lnTo>
                      <a:pt x="141" y="19843"/>
                    </a:lnTo>
                    <a:lnTo>
                      <a:pt x="203" y="19940"/>
                    </a:lnTo>
                    <a:lnTo>
                      <a:pt x="274" y="20037"/>
                    </a:lnTo>
                    <a:lnTo>
                      <a:pt x="344" y="20116"/>
                    </a:lnTo>
                    <a:lnTo>
                      <a:pt x="432" y="20195"/>
                    </a:lnTo>
                    <a:lnTo>
                      <a:pt x="521" y="20266"/>
                    </a:lnTo>
                    <a:lnTo>
                      <a:pt x="627" y="20328"/>
                    </a:lnTo>
                    <a:lnTo>
                      <a:pt x="732" y="20372"/>
                    </a:lnTo>
                    <a:lnTo>
                      <a:pt x="838" y="20416"/>
                    </a:lnTo>
                    <a:lnTo>
                      <a:pt x="953" y="20443"/>
                    </a:lnTo>
                    <a:lnTo>
                      <a:pt x="1068" y="20460"/>
                    </a:lnTo>
                    <a:lnTo>
                      <a:pt x="1191" y="20469"/>
                    </a:lnTo>
                    <a:lnTo>
                      <a:pt x="14903" y="20469"/>
                    </a:lnTo>
                    <a:lnTo>
                      <a:pt x="14903" y="20469"/>
                    </a:lnTo>
                    <a:lnTo>
                      <a:pt x="15026" y="20460"/>
                    </a:lnTo>
                    <a:lnTo>
                      <a:pt x="15141" y="20443"/>
                    </a:lnTo>
                    <a:lnTo>
                      <a:pt x="15256" y="20416"/>
                    </a:lnTo>
                    <a:lnTo>
                      <a:pt x="15371" y="20372"/>
                    </a:lnTo>
                    <a:lnTo>
                      <a:pt x="15476" y="20328"/>
                    </a:lnTo>
                    <a:lnTo>
                      <a:pt x="15574" y="20266"/>
                    </a:lnTo>
                    <a:lnTo>
                      <a:pt x="15662" y="20195"/>
                    </a:lnTo>
                    <a:lnTo>
                      <a:pt x="15750" y="20116"/>
                    </a:lnTo>
                    <a:lnTo>
                      <a:pt x="15829" y="20037"/>
                    </a:lnTo>
                    <a:lnTo>
                      <a:pt x="15891" y="19940"/>
                    </a:lnTo>
                    <a:lnTo>
                      <a:pt x="15953" y="19843"/>
                    </a:lnTo>
                    <a:lnTo>
                      <a:pt x="16006" y="19737"/>
                    </a:lnTo>
                    <a:lnTo>
                      <a:pt x="16041" y="19631"/>
                    </a:lnTo>
                    <a:lnTo>
                      <a:pt x="16077" y="19516"/>
                    </a:lnTo>
                    <a:lnTo>
                      <a:pt x="16094" y="19393"/>
                    </a:lnTo>
                    <a:lnTo>
                      <a:pt x="16103" y="19269"/>
                    </a:lnTo>
                    <a:lnTo>
                      <a:pt x="16103" y="16022"/>
                    </a:lnTo>
                    <a:lnTo>
                      <a:pt x="16103" y="16022"/>
                    </a:lnTo>
                    <a:lnTo>
                      <a:pt x="16094" y="15899"/>
                    </a:lnTo>
                    <a:lnTo>
                      <a:pt x="16077" y="15784"/>
                    </a:lnTo>
                    <a:lnTo>
                      <a:pt x="16041" y="15669"/>
                    </a:lnTo>
                    <a:lnTo>
                      <a:pt x="16006" y="15554"/>
                    </a:lnTo>
                    <a:lnTo>
                      <a:pt x="15953" y="15457"/>
                    </a:lnTo>
                    <a:lnTo>
                      <a:pt x="15891" y="15352"/>
                    </a:lnTo>
                    <a:lnTo>
                      <a:pt x="15829" y="15263"/>
                    </a:lnTo>
                    <a:lnTo>
                      <a:pt x="15750" y="15175"/>
                    </a:lnTo>
                    <a:lnTo>
                      <a:pt x="15662" y="15104"/>
                    </a:lnTo>
                    <a:lnTo>
                      <a:pt x="15574" y="15034"/>
                    </a:lnTo>
                    <a:lnTo>
                      <a:pt x="15476" y="14972"/>
                    </a:lnTo>
                    <a:lnTo>
                      <a:pt x="15371" y="14919"/>
                    </a:lnTo>
                    <a:lnTo>
                      <a:pt x="15256" y="14884"/>
                    </a:lnTo>
                    <a:lnTo>
                      <a:pt x="15141" y="14849"/>
                    </a:lnTo>
                    <a:lnTo>
                      <a:pt x="15026" y="14831"/>
                    </a:lnTo>
                    <a:lnTo>
                      <a:pt x="14903" y="14831"/>
                    </a:lnTo>
                    <a:close/>
                    <a:moveTo>
                      <a:pt x="1403" y="7447"/>
                    </a:moveTo>
                    <a:lnTo>
                      <a:pt x="1403" y="7447"/>
                    </a:lnTo>
                    <a:lnTo>
                      <a:pt x="1412" y="7323"/>
                    </a:lnTo>
                    <a:lnTo>
                      <a:pt x="1421" y="7200"/>
                    </a:lnTo>
                    <a:lnTo>
                      <a:pt x="1430" y="7076"/>
                    </a:lnTo>
                    <a:lnTo>
                      <a:pt x="1456" y="6962"/>
                    </a:lnTo>
                    <a:lnTo>
                      <a:pt x="1482" y="6838"/>
                    </a:lnTo>
                    <a:lnTo>
                      <a:pt x="1509" y="6723"/>
                    </a:lnTo>
                    <a:lnTo>
                      <a:pt x="1544" y="6609"/>
                    </a:lnTo>
                    <a:lnTo>
                      <a:pt x="1588" y="6503"/>
                    </a:lnTo>
                    <a:lnTo>
                      <a:pt x="1632" y="6388"/>
                    </a:lnTo>
                    <a:lnTo>
                      <a:pt x="1685" y="6282"/>
                    </a:lnTo>
                    <a:lnTo>
                      <a:pt x="1738" y="6185"/>
                    </a:lnTo>
                    <a:lnTo>
                      <a:pt x="1800" y="6088"/>
                    </a:lnTo>
                    <a:lnTo>
                      <a:pt x="1862" y="5991"/>
                    </a:lnTo>
                    <a:lnTo>
                      <a:pt x="1932" y="5894"/>
                    </a:lnTo>
                    <a:lnTo>
                      <a:pt x="2003" y="5806"/>
                    </a:lnTo>
                    <a:lnTo>
                      <a:pt x="2082" y="5717"/>
                    </a:lnTo>
                    <a:lnTo>
                      <a:pt x="2162" y="5638"/>
                    </a:lnTo>
                    <a:lnTo>
                      <a:pt x="2250" y="5559"/>
                    </a:lnTo>
                    <a:lnTo>
                      <a:pt x="2338" y="5488"/>
                    </a:lnTo>
                    <a:lnTo>
                      <a:pt x="2427" y="5417"/>
                    </a:lnTo>
                    <a:lnTo>
                      <a:pt x="2524" y="5347"/>
                    </a:lnTo>
                    <a:lnTo>
                      <a:pt x="2612" y="5294"/>
                    </a:lnTo>
                    <a:lnTo>
                      <a:pt x="2718" y="5232"/>
                    </a:lnTo>
                    <a:lnTo>
                      <a:pt x="2815" y="5179"/>
                    </a:lnTo>
                    <a:lnTo>
                      <a:pt x="2921" y="5135"/>
                    </a:lnTo>
                    <a:lnTo>
                      <a:pt x="3027" y="5100"/>
                    </a:lnTo>
                    <a:lnTo>
                      <a:pt x="3141" y="5065"/>
                    </a:lnTo>
                    <a:lnTo>
                      <a:pt x="3256" y="5029"/>
                    </a:lnTo>
                    <a:lnTo>
                      <a:pt x="3362" y="5003"/>
                    </a:lnTo>
                    <a:lnTo>
                      <a:pt x="3486" y="4985"/>
                    </a:lnTo>
                    <a:lnTo>
                      <a:pt x="3600" y="4976"/>
                    </a:lnTo>
                    <a:lnTo>
                      <a:pt x="3715" y="4968"/>
                    </a:lnTo>
                    <a:lnTo>
                      <a:pt x="3715" y="4968"/>
                    </a:lnTo>
                    <a:lnTo>
                      <a:pt x="4730" y="4968"/>
                    </a:lnTo>
                    <a:lnTo>
                      <a:pt x="4730" y="4968"/>
                    </a:lnTo>
                    <a:lnTo>
                      <a:pt x="4730" y="4473"/>
                    </a:lnTo>
                    <a:lnTo>
                      <a:pt x="4730" y="4473"/>
                    </a:lnTo>
                    <a:lnTo>
                      <a:pt x="4730" y="4297"/>
                    </a:lnTo>
                    <a:lnTo>
                      <a:pt x="4747" y="4120"/>
                    </a:lnTo>
                    <a:lnTo>
                      <a:pt x="4765" y="3953"/>
                    </a:lnTo>
                    <a:lnTo>
                      <a:pt x="4800" y="3785"/>
                    </a:lnTo>
                    <a:lnTo>
                      <a:pt x="4836" y="3618"/>
                    </a:lnTo>
                    <a:lnTo>
                      <a:pt x="4880" y="3459"/>
                    </a:lnTo>
                    <a:lnTo>
                      <a:pt x="4933" y="3300"/>
                    </a:lnTo>
                    <a:lnTo>
                      <a:pt x="4994" y="3141"/>
                    </a:lnTo>
                    <a:lnTo>
                      <a:pt x="5065" y="2991"/>
                    </a:lnTo>
                    <a:lnTo>
                      <a:pt x="5136" y="2841"/>
                    </a:lnTo>
                    <a:lnTo>
                      <a:pt x="5224" y="2691"/>
                    </a:lnTo>
                    <a:lnTo>
                      <a:pt x="5312" y="2550"/>
                    </a:lnTo>
                    <a:lnTo>
                      <a:pt x="5400" y="2418"/>
                    </a:lnTo>
                    <a:lnTo>
                      <a:pt x="5506" y="2285"/>
                    </a:lnTo>
                    <a:lnTo>
                      <a:pt x="5612" y="2153"/>
                    </a:lnTo>
                    <a:lnTo>
                      <a:pt x="5718" y="2029"/>
                    </a:lnTo>
                    <a:lnTo>
                      <a:pt x="5842" y="1915"/>
                    </a:lnTo>
                    <a:lnTo>
                      <a:pt x="5956" y="1809"/>
                    </a:lnTo>
                    <a:lnTo>
                      <a:pt x="6089" y="1703"/>
                    </a:lnTo>
                    <a:lnTo>
                      <a:pt x="6212" y="1606"/>
                    </a:lnTo>
                    <a:lnTo>
                      <a:pt x="6353" y="1509"/>
                    </a:lnTo>
                    <a:lnTo>
                      <a:pt x="6486" y="1421"/>
                    </a:lnTo>
                    <a:lnTo>
                      <a:pt x="6636" y="1350"/>
                    </a:lnTo>
                    <a:lnTo>
                      <a:pt x="6777" y="1271"/>
                    </a:lnTo>
                    <a:lnTo>
                      <a:pt x="6927" y="1209"/>
                    </a:lnTo>
                    <a:lnTo>
                      <a:pt x="7077" y="1156"/>
                    </a:lnTo>
                    <a:lnTo>
                      <a:pt x="7236" y="1103"/>
                    </a:lnTo>
                    <a:lnTo>
                      <a:pt x="7395" y="1068"/>
                    </a:lnTo>
                    <a:lnTo>
                      <a:pt x="7553" y="1032"/>
                    </a:lnTo>
                    <a:lnTo>
                      <a:pt x="7721" y="1015"/>
                    </a:lnTo>
                    <a:lnTo>
                      <a:pt x="7880" y="997"/>
                    </a:lnTo>
                    <a:lnTo>
                      <a:pt x="8048" y="997"/>
                    </a:lnTo>
                    <a:lnTo>
                      <a:pt x="8048" y="997"/>
                    </a:lnTo>
                    <a:lnTo>
                      <a:pt x="8311" y="1006"/>
                    </a:lnTo>
                    <a:lnTo>
                      <a:pt x="8567" y="1032"/>
                    </a:lnTo>
                    <a:lnTo>
                      <a:pt x="8823" y="1085"/>
                    </a:lnTo>
                    <a:lnTo>
                      <a:pt x="9061" y="1147"/>
                    </a:lnTo>
                    <a:lnTo>
                      <a:pt x="9300" y="1235"/>
                    </a:lnTo>
                    <a:lnTo>
                      <a:pt x="9520" y="1341"/>
                    </a:lnTo>
                    <a:lnTo>
                      <a:pt x="9741" y="1465"/>
                    </a:lnTo>
                    <a:lnTo>
                      <a:pt x="9944" y="1597"/>
                    </a:lnTo>
                    <a:lnTo>
                      <a:pt x="10138" y="1756"/>
                    </a:lnTo>
                    <a:lnTo>
                      <a:pt x="10323" y="1923"/>
                    </a:lnTo>
                    <a:lnTo>
                      <a:pt x="10491" y="2109"/>
                    </a:lnTo>
                    <a:lnTo>
                      <a:pt x="10650" y="2303"/>
                    </a:lnTo>
                    <a:lnTo>
                      <a:pt x="10791" y="2515"/>
                    </a:lnTo>
                    <a:lnTo>
                      <a:pt x="10923" y="2744"/>
                    </a:lnTo>
                    <a:lnTo>
                      <a:pt x="11038" y="2982"/>
                    </a:lnTo>
                    <a:lnTo>
                      <a:pt x="11135" y="3229"/>
                    </a:lnTo>
                    <a:lnTo>
                      <a:pt x="11135" y="3229"/>
                    </a:lnTo>
                    <a:lnTo>
                      <a:pt x="11250" y="3476"/>
                    </a:lnTo>
                    <a:lnTo>
                      <a:pt x="11250" y="3476"/>
                    </a:lnTo>
                    <a:lnTo>
                      <a:pt x="11603" y="3476"/>
                    </a:lnTo>
                    <a:lnTo>
                      <a:pt x="11603" y="3476"/>
                    </a:lnTo>
                    <a:lnTo>
                      <a:pt x="11762" y="3485"/>
                    </a:lnTo>
                    <a:lnTo>
                      <a:pt x="11912" y="3494"/>
                    </a:lnTo>
                    <a:lnTo>
                      <a:pt x="12062" y="3512"/>
                    </a:lnTo>
                    <a:lnTo>
                      <a:pt x="12212" y="3547"/>
                    </a:lnTo>
                    <a:lnTo>
                      <a:pt x="12362" y="3582"/>
                    </a:lnTo>
                    <a:lnTo>
                      <a:pt x="12512" y="3626"/>
                    </a:lnTo>
                    <a:lnTo>
                      <a:pt x="12653" y="3679"/>
                    </a:lnTo>
                    <a:lnTo>
                      <a:pt x="12785" y="3741"/>
                    </a:lnTo>
                    <a:lnTo>
                      <a:pt x="12926" y="3803"/>
                    </a:lnTo>
                    <a:lnTo>
                      <a:pt x="13059" y="3873"/>
                    </a:lnTo>
                    <a:lnTo>
                      <a:pt x="13182" y="3953"/>
                    </a:lnTo>
                    <a:lnTo>
                      <a:pt x="13315" y="4041"/>
                    </a:lnTo>
                    <a:lnTo>
                      <a:pt x="13429" y="4129"/>
                    </a:lnTo>
                    <a:lnTo>
                      <a:pt x="13553" y="4226"/>
                    </a:lnTo>
                    <a:lnTo>
                      <a:pt x="13659" y="4332"/>
                    </a:lnTo>
                    <a:lnTo>
                      <a:pt x="13773" y="4438"/>
                    </a:lnTo>
                    <a:lnTo>
                      <a:pt x="13871" y="4553"/>
                    </a:lnTo>
                    <a:lnTo>
                      <a:pt x="13976" y="4668"/>
                    </a:lnTo>
                    <a:lnTo>
                      <a:pt x="14065" y="4791"/>
                    </a:lnTo>
                    <a:lnTo>
                      <a:pt x="14153" y="4923"/>
                    </a:lnTo>
                    <a:lnTo>
                      <a:pt x="14232" y="5047"/>
                    </a:lnTo>
                    <a:lnTo>
                      <a:pt x="14312" y="5188"/>
                    </a:lnTo>
                    <a:lnTo>
                      <a:pt x="14382" y="5329"/>
                    </a:lnTo>
                    <a:lnTo>
                      <a:pt x="14444" y="5470"/>
                    </a:lnTo>
                    <a:lnTo>
                      <a:pt x="14497" y="5612"/>
                    </a:lnTo>
                    <a:lnTo>
                      <a:pt x="14550" y="5762"/>
                    </a:lnTo>
                    <a:lnTo>
                      <a:pt x="14594" y="5912"/>
                    </a:lnTo>
                    <a:lnTo>
                      <a:pt x="14629" y="6070"/>
                    </a:lnTo>
                    <a:lnTo>
                      <a:pt x="14656" y="6220"/>
                    </a:lnTo>
                    <a:lnTo>
                      <a:pt x="14673" y="6379"/>
                    </a:lnTo>
                    <a:lnTo>
                      <a:pt x="14682" y="6547"/>
                    </a:lnTo>
                    <a:lnTo>
                      <a:pt x="14691" y="6706"/>
                    </a:lnTo>
                    <a:lnTo>
                      <a:pt x="14691" y="6706"/>
                    </a:lnTo>
                    <a:lnTo>
                      <a:pt x="14682" y="6882"/>
                    </a:lnTo>
                    <a:lnTo>
                      <a:pt x="14673" y="7050"/>
                    </a:lnTo>
                    <a:lnTo>
                      <a:pt x="14656" y="7217"/>
                    </a:lnTo>
                    <a:lnTo>
                      <a:pt x="14629" y="7376"/>
                    </a:lnTo>
                    <a:lnTo>
                      <a:pt x="14594" y="7535"/>
                    </a:lnTo>
                    <a:lnTo>
                      <a:pt x="14550" y="7694"/>
                    </a:lnTo>
                    <a:lnTo>
                      <a:pt x="14497" y="7844"/>
                    </a:lnTo>
                    <a:lnTo>
                      <a:pt x="14444" y="7994"/>
                    </a:lnTo>
                    <a:lnTo>
                      <a:pt x="14382" y="8144"/>
                    </a:lnTo>
                    <a:lnTo>
                      <a:pt x="14312" y="8276"/>
                    </a:lnTo>
                    <a:lnTo>
                      <a:pt x="14232" y="8417"/>
                    </a:lnTo>
                    <a:lnTo>
                      <a:pt x="14153" y="8550"/>
                    </a:lnTo>
                    <a:lnTo>
                      <a:pt x="14065" y="8673"/>
                    </a:lnTo>
                    <a:lnTo>
                      <a:pt x="13976" y="8788"/>
                    </a:lnTo>
                    <a:lnTo>
                      <a:pt x="13871" y="8912"/>
                    </a:lnTo>
                    <a:lnTo>
                      <a:pt x="13773" y="9017"/>
                    </a:lnTo>
                    <a:lnTo>
                      <a:pt x="13659" y="9123"/>
                    </a:lnTo>
                    <a:lnTo>
                      <a:pt x="13553" y="9220"/>
                    </a:lnTo>
                    <a:lnTo>
                      <a:pt x="13429" y="9317"/>
                    </a:lnTo>
                    <a:lnTo>
                      <a:pt x="13315" y="9406"/>
                    </a:lnTo>
                    <a:lnTo>
                      <a:pt x="13182" y="9485"/>
                    </a:lnTo>
                    <a:lnTo>
                      <a:pt x="13059" y="9564"/>
                    </a:lnTo>
                    <a:lnTo>
                      <a:pt x="12926" y="9626"/>
                    </a:lnTo>
                    <a:lnTo>
                      <a:pt x="12785" y="9688"/>
                    </a:lnTo>
                    <a:lnTo>
                      <a:pt x="12653" y="9750"/>
                    </a:lnTo>
                    <a:lnTo>
                      <a:pt x="12512" y="9794"/>
                    </a:lnTo>
                    <a:lnTo>
                      <a:pt x="12362" y="9838"/>
                    </a:lnTo>
                    <a:lnTo>
                      <a:pt x="12212" y="9873"/>
                    </a:lnTo>
                    <a:lnTo>
                      <a:pt x="12062" y="9900"/>
                    </a:lnTo>
                    <a:lnTo>
                      <a:pt x="11912" y="9917"/>
                    </a:lnTo>
                    <a:lnTo>
                      <a:pt x="11762" y="9926"/>
                    </a:lnTo>
                    <a:lnTo>
                      <a:pt x="11603" y="9935"/>
                    </a:lnTo>
                    <a:lnTo>
                      <a:pt x="11603" y="9935"/>
                    </a:lnTo>
                    <a:lnTo>
                      <a:pt x="3777" y="9935"/>
                    </a:lnTo>
                    <a:lnTo>
                      <a:pt x="3777" y="9935"/>
                    </a:lnTo>
                    <a:lnTo>
                      <a:pt x="3653" y="9935"/>
                    </a:lnTo>
                    <a:lnTo>
                      <a:pt x="3538" y="9917"/>
                    </a:lnTo>
                    <a:lnTo>
                      <a:pt x="3415" y="9909"/>
                    </a:lnTo>
                    <a:lnTo>
                      <a:pt x="3300" y="9882"/>
                    </a:lnTo>
                    <a:lnTo>
                      <a:pt x="3186" y="9856"/>
                    </a:lnTo>
                    <a:lnTo>
                      <a:pt x="3071" y="9820"/>
                    </a:lnTo>
                    <a:lnTo>
                      <a:pt x="2965" y="9785"/>
                    </a:lnTo>
                    <a:lnTo>
                      <a:pt x="2859" y="9741"/>
                    </a:lnTo>
                    <a:lnTo>
                      <a:pt x="2753" y="9688"/>
                    </a:lnTo>
                    <a:lnTo>
                      <a:pt x="2647" y="9635"/>
                    </a:lnTo>
                    <a:lnTo>
                      <a:pt x="2550" y="9573"/>
                    </a:lnTo>
                    <a:lnTo>
                      <a:pt x="2453" y="9511"/>
                    </a:lnTo>
                    <a:lnTo>
                      <a:pt x="2365" y="9441"/>
                    </a:lnTo>
                    <a:lnTo>
                      <a:pt x="2268" y="9361"/>
                    </a:lnTo>
                    <a:lnTo>
                      <a:pt x="2188" y="9291"/>
                    </a:lnTo>
                    <a:lnTo>
                      <a:pt x="2100" y="9203"/>
                    </a:lnTo>
                    <a:lnTo>
                      <a:pt x="2021" y="9114"/>
                    </a:lnTo>
                    <a:lnTo>
                      <a:pt x="1950" y="9026"/>
                    </a:lnTo>
                    <a:lnTo>
                      <a:pt x="1880" y="8938"/>
                    </a:lnTo>
                    <a:lnTo>
                      <a:pt x="1809" y="8841"/>
                    </a:lnTo>
                    <a:lnTo>
                      <a:pt x="1747" y="8735"/>
                    </a:lnTo>
                    <a:lnTo>
                      <a:pt x="1694" y="8629"/>
                    </a:lnTo>
                    <a:lnTo>
                      <a:pt x="1641" y="8523"/>
                    </a:lnTo>
                    <a:lnTo>
                      <a:pt x="1597" y="8417"/>
                    </a:lnTo>
                    <a:lnTo>
                      <a:pt x="1553" y="8303"/>
                    </a:lnTo>
                    <a:lnTo>
                      <a:pt x="1509" y="8188"/>
                    </a:lnTo>
                    <a:lnTo>
                      <a:pt x="1482" y="8073"/>
                    </a:lnTo>
                    <a:lnTo>
                      <a:pt x="1456" y="7950"/>
                    </a:lnTo>
                    <a:lnTo>
                      <a:pt x="1430" y="7826"/>
                    </a:lnTo>
                    <a:lnTo>
                      <a:pt x="1421" y="7703"/>
                    </a:lnTo>
                    <a:lnTo>
                      <a:pt x="1412" y="7579"/>
                    </a:lnTo>
                    <a:lnTo>
                      <a:pt x="1403" y="7447"/>
                    </a:lnTo>
                    <a:close/>
                    <a:moveTo>
                      <a:pt x="15185" y="19269"/>
                    </a:moveTo>
                    <a:lnTo>
                      <a:pt x="15185" y="19269"/>
                    </a:lnTo>
                    <a:lnTo>
                      <a:pt x="15185" y="19331"/>
                    </a:lnTo>
                    <a:lnTo>
                      <a:pt x="15168" y="19384"/>
                    </a:lnTo>
                    <a:lnTo>
                      <a:pt x="15141" y="19428"/>
                    </a:lnTo>
                    <a:lnTo>
                      <a:pt x="15106" y="19472"/>
                    </a:lnTo>
                    <a:lnTo>
                      <a:pt x="15062" y="19507"/>
                    </a:lnTo>
                    <a:lnTo>
                      <a:pt x="15018" y="19534"/>
                    </a:lnTo>
                    <a:lnTo>
                      <a:pt x="14956" y="19551"/>
                    </a:lnTo>
                    <a:lnTo>
                      <a:pt x="14903" y="19560"/>
                    </a:lnTo>
                    <a:lnTo>
                      <a:pt x="1191" y="19560"/>
                    </a:lnTo>
                    <a:lnTo>
                      <a:pt x="1191" y="19560"/>
                    </a:lnTo>
                    <a:lnTo>
                      <a:pt x="1138" y="19551"/>
                    </a:lnTo>
                    <a:lnTo>
                      <a:pt x="1085" y="19534"/>
                    </a:lnTo>
                    <a:lnTo>
                      <a:pt x="1032" y="19507"/>
                    </a:lnTo>
                    <a:lnTo>
                      <a:pt x="988" y="19472"/>
                    </a:lnTo>
                    <a:lnTo>
                      <a:pt x="953" y="19428"/>
                    </a:lnTo>
                    <a:lnTo>
                      <a:pt x="927" y="19384"/>
                    </a:lnTo>
                    <a:lnTo>
                      <a:pt x="909" y="19331"/>
                    </a:lnTo>
                    <a:lnTo>
                      <a:pt x="909" y="19269"/>
                    </a:lnTo>
                    <a:lnTo>
                      <a:pt x="909" y="16022"/>
                    </a:lnTo>
                    <a:lnTo>
                      <a:pt x="909" y="16022"/>
                    </a:lnTo>
                    <a:lnTo>
                      <a:pt x="909" y="15969"/>
                    </a:lnTo>
                    <a:lnTo>
                      <a:pt x="927" y="15916"/>
                    </a:lnTo>
                    <a:lnTo>
                      <a:pt x="953" y="15863"/>
                    </a:lnTo>
                    <a:lnTo>
                      <a:pt x="988" y="15819"/>
                    </a:lnTo>
                    <a:lnTo>
                      <a:pt x="1032" y="15784"/>
                    </a:lnTo>
                    <a:lnTo>
                      <a:pt x="1085" y="15757"/>
                    </a:lnTo>
                    <a:lnTo>
                      <a:pt x="1138" y="15740"/>
                    </a:lnTo>
                    <a:lnTo>
                      <a:pt x="1191" y="15740"/>
                    </a:lnTo>
                    <a:lnTo>
                      <a:pt x="6292" y="15740"/>
                    </a:lnTo>
                    <a:lnTo>
                      <a:pt x="6759" y="15740"/>
                    </a:lnTo>
                    <a:lnTo>
                      <a:pt x="14903" y="15740"/>
                    </a:lnTo>
                    <a:lnTo>
                      <a:pt x="14903" y="15740"/>
                    </a:lnTo>
                    <a:lnTo>
                      <a:pt x="14956" y="15740"/>
                    </a:lnTo>
                    <a:lnTo>
                      <a:pt x="15018" y="15757"/>
                    </a:lnTo>
                    <a:lnTo>
                      <a:pt x="15062" y="15784"/>
                    </a:lnTo>
                    <a:lnTo>
                      <a:pt x="15106" y="15819"/>
                    </a:lnTo>
                    <a:lnTo>
                      <a:pt x="15141" y="15863"/>
                    </a:lnTo>
                    <a:lnTo>
                      <a:pt x="15168" y="15916"/>
                    </a:lnTo>
                    <a:lnTo>
                      <a:pt x="15185" y="15969"/>
                    </a:lnTo>
                    <a:lnTo>
                      <a:pt x="15185" y="16022"/>
                    </a:lnTo>
                    <a:lnTo>
                      <a:pt x="15185" y="19269"/>
                    </a:ln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Segoe UI"/>
                  <a:ea typeface="+mn-ea"/>
                  <a:cs typeface="+mn-cs"/>
                </a:endParaRPr>
              </a:p>
            </p:txBody>
          </p:sp>
          <p:sp>
            <p:nvSpPr>
              <p:cNvPr id="84" name="Freeform 83">
                <a:extLst>
                  <a:ext uri="{FF2B5EF4-FFF2-40B4-BE49-F238E27FC236}">
                    <a16:creationId xmlns:a16="http://schemas.microsoft.com/office/drawing/2014/main" id="{536675C1-3DDA-448B-BE3F-EA1F35D375DE}"/>
                  </a:ext>
                </a:extLst>
              </p:cNvPr>
              <p:cNvSpPr>
                <a:spLocks noChangeArrowheads="1"/>
              </p:cNvSpPr>
              <p:nvPr/>
            </p:nvSpPr>
            <p:spPr bwMode="auto">
              <a:xfrm>
                <a:off x="12036917" y="417184"/>
                <a:ext cx="15147" cy="15147"/>
              </a:xfrm>
              <a:custGeom>
                <a:avLst/>
                <a:gdLst>
                  <a:gd name="T0" fmla="*/ 688 w 1369"/>
                  <a:gd name="T1" fmla="*/ 0 h 1369"/>
                  <a:gd name="T2" fmla="*/ 547 w 1369"/>
                  <a:gd name="T3" fmla="*/ 9 h 1369"/>
                  <a:gd name="T4" fmla="*/ 415 w 1369"/>
                  <a:gd name="T5" fmla="*/ 53 h 1369"/>
                  <a:gd name="T6" fmla="*/ 300 w 1369"/>
                  <a:gd name="T7" fmla="*/ 115 h 1369"/>
                  <a:gd name="T8" fmla="*/ 203 w 1369"/>
                  <a:gd name="T9" fmla="*/ 194 h 1369"/>
                  <a:gd name="T10" fmla="*/ 115 w 1369"/>
                  <a:gd name="T11" fmla="*/ 300 h 1369"/>
                  <a:gd name="T12" fmla="*/ 53 w 1369"/>
                  <a:gd name="T13" fmla="*/ 415 h 1369"/>
                  <a:gd name="T14" fmla="*/ 18 w 1369"/>
                  <a:gd name="T15" fmla="*/ 547 h 1369"/>
                  <a:gd name="T16" fmla="*/ 0 w 1369"/>
                  <a:gd name="T17" fmla="*/ 680 h 1369"/>
                  <a:gd name="T18" fmla="*/ 0 w 1369"/>
                  <a:gd name="T19" fmla="*/ 750 h 1369"/>
                  <a:gd name="T20" fmla="*/ 35 w 1369"/>
                  <a:gd name="T21" fmla="*/ 882 h 1369"/>
                  <a:gd name="T22" fmla="*/ 79 w 1369"/>
                  <a:gd name="T23" fmla="*/ 1006 h 1369"/>
                  <a:gd name="T24" fmla="*/ 159 w 1369"/>
                  <a:gd name="T25" fmla="*/ 1121 h 1369"/>
                  <a:gd name="T26" fmla="*/ 247 w 1369"/>
                  <a:gd name="T27" fmla="*/ 1209 h 1369"/>
                  <a:gd name="T28" fmla="*/ 362 w 1369"/>
                  <a:gd name="T29" fmla="*/ 1288 h 1369"/>
                  <a:gd name="T30" fmla="*/ 485 w 1369"/>
                  <a:gd name="T31" fmla="*/ 1332 h 1369"/>
                  <a:gd name="T32" fmla="*/ 618 w 1369"/>
                  <a:gd name="T33" fmla="*/ 1368 h 1369"/>
                  <a:gd name="T34" fmla="*/ 688 w 1369"/>
                  <a:gd name="T35" fmla="*/ 1368 h 1369"/>
                  <a:gd name="T36" fmla="*/ 821 w 1369"/>
                  <a:gd name="T37" fmla="*/ 1350 h 1369"/>
                  <a:gd name="T38" fmla="*/ 953 w 1369"/>
                  <a:gd name="T39" fmla="*/ 1315 h 1369"/>
                  <a:gd name="T40" fmla="*/ 1068 w 1369"/>
                  <a:gd name="T41" fmla="*/ 1253 h 1369"/>
                  <a:gd name="T42" fmla="*/ 1174 w 1369"/>
                  <a:gd name="T43" fmla="*/ 1165 h 1369"/>
                  <a:gd name="T44" fmla="*/ 1253 w 1369"/>
                  <a:gd name="T45" fmla="*/ 1068 h 1369"/>
                  <a:gd name="T46" fmla="*/ 1315 w 1369"/>
                  <a:gd name="T47" fmla="*/ 953 h 1369"/>
                  <a:gd name="T48" fmla="*/ 1359 w 1369"/>
                  <a:gd name="T49" fmla="*/ 821 h 1369"/>
                  <a:gd name="T50" fmla="*/ 1368 w 1369"/>
                  <a:gd name="T51" fmla="*/ 680 h 1369"/>
                  <a:gd name="T52" fmla="*/ 1368 w 1369"/>
                  <a:gd name="T53" fmla="*/ 609 h 1369"/>
                  <a:gd name="T54" fmla="*/ 1341 w 1369"/>
                  <a:gd name="T55" fmla="*/ 477 h 1369"/>
                  <a:gd name="T56" fmla="*/ 1288 w 1369"/>
                  <a:gd name="T57" fmla="*/ 353 h 1369"/>
                  <a:gd name="T58" fmla="*/ 1218 w 1369"/>
                  <a:gd name="T59" fmla="*/ 247 h 1369"/>
                  <a:gd name="T60" fmla="*/ 1121 w 1369"/>
                  <a:gd name="T61" fmla="*/ 150 h 1369"/>
                  <a:gd name="T62" fmla="*/ 1015 w 1369"/>
                  <a:gd name="T63" fmla="*/ 80 h 1369"/>
                  <a:gd name="T64" fmla="*/ 891 w 1369"/>
                  <a:gd name="T65" fmla="*/ 27 h 1369"/>
                  <a:gd name="T66" fmla="*/ 759 w 1369"/>
                  <a:gd name="T67" fmla="*/ 0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9" h="1369">
                    <a:moveTo>
                      <a:pt x="688" y="0"/>
                    </a:moveTo>
                    <a:lnTo>
                      <a:pt x="688" y="0"/>
                    </a:lnTo>
                    <a:lnTo>
                      <a:pt x="618" y="0"/>
                    </a:lnTo>
                    <a:lnTo>
                      <a:pt x="547" y="9"/>
                    </a:lnTo>
                    <a:lnTo>
                      <a:pt x="485" y="27"/>
                    </a:lnTo>
                    <a:lnTo>
                      <a:pt x="415" y="53"/>
                    </a:lnTo>
                    <a:lnTo>
                      <a:pt x="362" y="80"/>
                    </a:lnTo>
                    <a:lnTo>
                      <a:pt x="300" y="115"/>
                    </a:lnTo>
                    <a:lnTo>
                      <a:pt x="247" y="150"/>
                    </a:lnTo>
                    <a:lnTo>
                      <a:pt x="203" y="194"/>
                    </a:lnTo>
                    <a:lnTo>
                      <a:pt x="159" y="247"/>
                    </a:lnTo>
                    <a:lnTo>
                      <a:pt x="115" y="300"/>
                    </a:lnTo>
                    <a:lnTo>
                      <a:pt x="79" y="353"/>
                    </a:lnTo>
                    <a:lnTo>
                      <a:pt x="53" y="415"/>
                    </a:lnTo>
                    <a:lnTo>
                      <a:pt x="35" y="477"/>
                    </a:lnTo>
                    <a:lnTo>
                      <a:pt x="18" y="547"/>
                    </a:lnTo>
                    <a:lnTo>
                      <a:pt x="0" y="609"/>
                    </a:lnTo>
                    <a:lnTo>
                      <a:pt x="0" y="680"/>
                    </a:lnTo>
                    <a:lnTo>
                      <a:pt x="0" y="680"/>
                    </a:lnTo>
                    <a:lnTo>
                      <a:pt x="0" y="750"/>
                    </a:lnTo>
                    <a:lnTo>
                      <a:pt x="18" y="821"/>
                    </a:lnTo>
                    <a:lnTo>
                      <a:pt x="35" y="882"/>
                    </a:lnTo>
                    <a:lnTo>
                      <a:pt x="53" y="953"/>
                    </a:lnTo>
                    <a:lnTo>
                      <a:pt x="79" y="1006"/>
                    </a:lnTo>
                    <a:lnTo>
                      <a:pt x="115" y="1068"/>
                    </a:lnTo>
                    <a:lnTo>
                      <a:pt x="159" y="1121"/>
                    </a:lnTo>
                    <a:lnTo>
                      <a:pt x="203" y="1165"/>
                    </a:lnTo>
                    <a:lnTo>
                      <a:pt x="247" y="1209"/>
                    </a:lnTo>
                    <a:lnTo>
                      <a:pt x="300" y="1253"/>
                    </a:lnTo>
                    <a:lnTo>
                      <a:pt x="362" y="1288"/>
                    </a:lnTo>
                    <a:lnTo>
                      <a:pt x="415" y="1315"/>
                    </a:lnTo>
                    <a:lnTo>
                      <a:pt x="485" y="1332"/>
                    </a:lnTo>
                    <a:lnTo>
                      <a:pt x="547" y="1350"/>
                    </a:lnTo>
                    <a:lnTo>
                      <a:pt x="618" y="1368"/>
                    </a:lnTo>
                    <a:lnTo>
                      <a:pt x="688" y="1368"/>
                    </a:lnTo>
                    <a:lnTo>
                      <a:pt x="688" y="1368"/>
                    </a:lnTo>
                    <a:lnTo>
                      <a:pt x="759" y="1368"/>
                    </a:lnTo>
                    <a:lnTo>
                      <a:pt x="821" y="1350"/>
                    </a:lnTo>
                    <a:lnTo>
                      <a:pt x="891" y="1332"/>
                    </a:lnTo>
                    <a:lnTo>
                      <a:pt x="953" y="1315"/>
                    </a:lnTo>
                    <a:lnTo>
                      <a:pt x="1015" y="1288"/>
                    </a:lnTo>
                    <a:lnTo>
                      <a:pt x="1068" y="1253"/>
                    </a:lnTo>
                    <a:lnTo>
                      <a:pt x="1121" y="1209"/>
                    </a:lnTo>
                    <a:lnTo>
                      <a:pt x="1174" y="1165"/>
                    </a:lnTo>
                    <a:lnTo>
                      <a:pt x="1218" y="1121"/>
                    </a:lnTo>
                    <a:lnTo>
                      <a:pt x="1253" y="1068"/>
                    </a:lnTo>
                    <a:lnTo>
                      <a:pt x="1288" y="1006"/>
                    </a:lnTo>
                    <a:lnTo>
                      <a:pt x="1315" y="953"/>
                    </a:lnTo>
                    <a:lnTo>
                      <a:pt x="1341" y="882"/>
                    </a:lnTo>
                    <a:lnTo>
                      <a:pt x="1359" y="821"/>
                    </a:lnTo>
                    <a:lnTo>
                      <a:pt x="1368" y="750"/>
                    </a:lnTo>
                    <a:lnTo>
                      <a:pt x="1368" y="680"/>
                    </a:lnTo>
                    <a:lnTo>
                      <a:pt x="1368" y="680"/>
                    </a:lnTo>
                    <a:lnTo>
                      <a:pt x="1368" y="609"/>
                    </a:lnTo>
                    <a:lnTo>
                      <a:pt x="1359" y="547"/>
                    </a:lnTo>
                    <a:lnTo>
                      <a:pt x="1341" y="477"/>
                    </a:lnTo>
                    <a:lnTo>
                      <a:pt x="1315" y="415"/>
                    </a:lnTo>
                    <a:lnTo>
                      <a:pt x="1288" y="353"/>
                    </a:lnTo>
                    <a:lnTo>
                      <a:pt x="1253" y="300"/>
                    </a:lnTo>
                    <a:lnTo>
                      <a:pt x="1218" y="247"/>
                    </a:lnTo>
                    <a:lnTo>
                      <a:pt x="1174" y="194"/>
                    </a:lnTo>
                    <a:lnTo>
                      <a:pt x="1121" y="150"/>
                    </a:lnTo>
                    <a:lnTo>
                      <a:pt x="1068" y="115"/>
                    </a:lnTo>
                    <a:lnTo>
                      <a:pt x="1015" y="80"/>
                    </a:lnTo>
                    <a:lnTo>
                      <a:pt x="953" y="53"/>
                    </a:lnTo>
                    <a:lnTo>
                      <a:pt x="891" y="27"/>
                    </a:lnTo>
                    <a:lnTo>
                      <a:pt x="821" y="9"/>
                    </a:lnTo>
                    <a:lnTo>
                      <a:pt x="759" y="0"/>
                    </a:lnTo>
                    <a:lnTo>
                      <a:pt x="688" y="0"/>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Segoe UI"/>
                  <a:ea typeface="+mn-ea"/>
                  <a:cs typeface="+mn-cs"/>
                </a:endParaRPr>
              </a:p>
            </p:txBody>
          </p:sp>
          <p:sp>
            <p:nvSpPr>
              <p:cNvPr id="85" name="Freeform 84">
                <a:extLst>
                  <a:ext uri="{FF2B5EF4-FFF2-40B4-BE49-F238E27FC236}">
                    <a16:creationId xmlns:a16="http://schemas.microsoft.com/office/drawing/2014/main" id="{658DBE67-0EEB-4561-B232-616916BC25F1}"/>
                  </a:ext>
                </a:extLst>
              </p:cNvPr>
              <p:cNvSpPr>
                <a:spLocks noChangeArrowheads="1"/>
              </p:cNvSpPr>
              <p:nvPr/>
            </p:nvSpPr>
            <p:spPr bwMode="auto">
              <a:xfrm>
                <a:off x="11925072" y="419725"/>
                <a:ext cx="83603" cy="10066"/>
              </a:xfrm>
              <a:custGeom>
                <a:avLst/>
                <a:gdLst>
                  <a:gd name="T0" fmla="*/ 0 w 7545"/>
                  <a:gd name="T1" fmla="*/ 908 h 909"/>
                  <a:gd name="T2" fmla="*/ 7544 w 7545"/>
                  <a:gd name="T3" fmla="*/ 908 h 909"/>
                  <a:gd name="T4" fmla="*/ 7544 w 7545"/>
                  <a:gd name="T5" fmla="*/ 0 h 909"/>
                  <a:gd name="T6" fmla="*/ 0 w 7545"/>
                  <a:gd name="T7" fmla="*/ 0 h 909"/>
                  <a:gd name="T8" fmla="*/ 0 w 7545"/>
                  <a:gd name="T9" fmla="*/ 908 h 909"/>
                </a:gdLst>
                <a:ahLst/>
                <a:cxnLst>
                  <a:cxn ang="0">
                    <a:pos x="T0" y="T1"/>
                  </a:cxn>
                  <a:cxn ang="0">
                    <a:pos x="T2" y="T3"/>
                  </a:cxn>
                  <a:cxn ang="0">
                    <a:pos x="T4" y="T5"/>
                  </a:cxn>
                  <a:cxn ang="0">
                    <a:pos x="T6" y="T7"/>
                  </a:cxn>
                  <a:cxn ang="0">
                    <a:pos x="T8" y="T9"/>
                  </a:cxn>
                </a:cxnLst>
                <a:rect l="0" t="0" r="r" b="b"/>
                <a:pathLst>
                  <a:path w="7545" h="909">
                    <a:moveTo>
                      <a:pt x="0" y="908"/>
                    </a:moveTo>
                    <a:lnTo>
                      <a:pt x="7544" y="908"/>
                    </a:lnTo>
                    <a:lnTo>
                      <a:pt x="7544" y="0"/>
                    </a:lnTo>
                    <a:lnTo>
                      <a:pt x="0" y="0"/>
                    </a:lnTo>
                    <a:lnTo>
                      <a:pt x="0" y="908"/>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Segoe UI"/>
                  <a:ea typeface="+mn-ea"/>
                  <a:cs typeface="+mn-cs"/>
                </a:endParaRPr>
              </a:p>
            </p:txBody>
          </p:sp>
        </p:grpSp>
        <p:sp>
          <p:nvSpPr>
            <p:cNvPr id="74" name="Rectangle 73">
              <a:extLst>
                <a:ext uri="{FF2B5EF4-FFF2-40B4-BE49-F238E27FC236}">
                  <a16:creationId xmlns:a16="http://schemas.microsoft.com/office/drawing/2014/main" id="{1300881D-8BBD-4C41-BBEB-47DF0A847192}"/>
                </a:ext>
              </a:extLst>
            </p:cNvPr>
            <p:cNvSpPr/>
            <p:nvPr/>
          </p:nvSpPr>
          <p:spPr bwMode="auto">
            <a:xfrm rot="16200000">
              <a:off x="11494999" y="754162"/>
              <a:ext cx="990389" cy="2769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3C6C"/>
                  </a:solidFill>
                  <a:effectLst/>
                  <a:uLnTx/>
                  <a:uFillTx/>
                  <a:latin typeface="Segoe UI Semibold" panose="020B0702040204020203" pitchFamily="34" charset="0"/>
                  <a:ea typeface="Segoe UI" pitchFamily="34" charset="0"/>
                  <a:cs typeface="Segoe UI Semibold" panose="020B0702040204020203" pitchFamily="34" charset="0"/>
                </a:rPr>
                <a:t>Azure Stack + Hybrid</a:t>
              </a:r>
              <a:endParaRPr kumimoji="0" lang="en-US" sz="800" b="0" i="0" u="none" strike="noStrike" kern="1200" cap="none" spc="0" normalizeH="0" baseline="0" noProof="0" dirty="0">
                <a:ln>
                  <a:noFill/>
                </a:ln>
                <a:solidFill>
                  <a:srgbClr val="003C6C"/>
                </a:solidFill>
                <a:effectLst/>
                <a:uLnTx/>
                <a:uFillTx/>
                <a:latin typeface="Segoe UI Semibold" panose="020B0702040204020203" pitchFamily="34" charset="0"/>
                <a:ea typeface="Segoe UI" pitchFamily="34" charset="0"/>
                <a:cs typeface="Segoe UI Semibold" panose="020B0702040204020203" pitchFamily="34" charset="0"/>
              </a:endParaRPr>
            </a:p>
          </p:txBody>
        </p:sp>
        <p:cxnSp>
          <p:nvCxnSpPr>
            <p:cNvPr id="75" name="Straight Connector 74">
              <a:extLst>
                <a:ext uri="{FF2B5EF4-FFF2-40B4-BE49-F238E27FC236}">
                  <a16:creationId xmlns:a16="http://schemas.microsoft.com/office/drawing/2014/main" id="{B5F4E21B-E9CD-4791-9EA9-97A123629660}"/>
                </a:ext>
              </a:extLst>
            </p:cNvPr>
            <p:cNvCxnSpPr>
              <a:cxnSpLocks/>
            </p:cNvCxnSpPr>
            <p:nvPr/>
          </p:nvCxnSpPr>
          <p:spPr>
            <a:xfrm>
              <a:off x="10229850" y="0"/>
              <a:ext cx="0" cy="146050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6" name="Straight Connector 75">
              <a:extLst>
                <a:ext uri="{FF2B5EF4-FFF2-40B4-BE49-F238E27FC236}">
                  <a16:creationId xmlns:a16="http://schemas.microsoft.com/office/drawing/2014/main" id="{8145ACF5-64B3-449A-9D40-117CFFE58C55}"/>
                </a:ext>
              </a:extLst>
            </p:cNvPr>
            <p:cNvCxnSpPr>
              <a:cxnSpLocks/>
            </p:cNvCxnSpPr>
            <p:nvPr/>
          </p:nvCxnSpPr>
          <p:spPr>
            <a:xfrm>
              <a:off x="10229502" y="356659"/>
              <a:ext cx="1559827"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7" name="Straight Connector 76">
              <a:extLst>
                <a:ext uri="{FF2B5EF4-FFF2-40B4-BE49-F238E27FC236}">
                  <a16:creationId xmlns:a16="http://schemas.microsoft.com/office/drawing/2014/main" id="{8C83DA53-74B2-444D-B374-A7926B9E61DE}"/>
                </a:ext>
              </a:extLst>
            </p:cNvPr>
            <p:cNvCxnSpPr>
              <a:cxnSpLocks/>
            </p:cNvCxnSpPr>
            <p:nvPr/>
          </p:nvCxnSpPr>
          <p:spPr>
            <a:xfrm>
              <a:off x="10229502" y="1105412"/>
              <a:ext cx="1559827"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8" name="Straight Connector 77">
              <a:extLst>
                <a:ext uri="{FF2B5EF4-FFF2-40B4-BE49-F238E27FC236}">
                  <a16:creationId xmlns:a16="http://schemas.microsoft.com/office/drawing/2014/main" id="{B10ED1BF-ED52-4924-BFF9-320FD1D54A17}"/>
                </a:ext>
              </a:extLst>
            </p:cNvPr>
            <p:cNvCxnSpPr>
              <a:cxnSpLocks/>
            </p:cNvCxnSpPr>
            <p:nvPr/>
          </p:nvCxnSpPr>
          <p:spPr>
            <a:xfrm>
              <a:off x="11790020" y="103"/>
              <a:ext cx="0" cy="1457222"/>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9" name="Straight Connector 78">
              <a:extLst>
                <a:ext uri="{FF2B5EF4-FFF2-40B4-BE49-F238E27FC236}">
                  <a16:creationId xmlns:a16="http://schemas.microsoft.com/office/drawing/2014/main" id="{4EEB1964-B2CF-4192-8033-0AD991832E7A}"/>
                </a:ext>
              </a:extLst>
            </p:cNvPr>
            <p:cNvCxnSpPr>
              <a:cxnSpLocks/>
            </p:cNvCxnSpPr>
            <p:nvPr/>
          </p:nvCxnSpPr>
          <p:spPr>
            <a:xfrm>
              <a:off x="10591068" y="103"/>
              <a:ext cx="0" cy="1460397"/>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80" name="Group 79">
              <a:extLst>
                <a:ext uri="{FF2B5EF4-FFF2-40B4-BE49-F238E27FC236}">
                  <a16:creationId xmlns:a16="http://schemas.microsoft.com/office/drawing/2014/main" id="{8217A3E4-69B7-4BF8-9F2F-0D5ED8C92728}"/>
                </a:ext>
              </a:extLst>
            </p:cNvPr>
            <p:cNvGrpSpPr/>
            <p:nvPr/>
          </p:nvGrpSpPr>
          <p:grpSpPr>
            <a:xfrm>
              <a:off x="10289040" y="60787"/>
              <a:ext cx="249576" cy="249576"/>
              <a:chOff x="3521877" y="511997"/>
              <a:chExt cx="640398" cy="640398"/>
            </a:xfrm>
          </p:grpSpPr>
          <p:sp>
            <p:nvSpPr>
              <p:cNvPr id="81" name="Freeform 33">
                <a:extLst>
                  <a:ext uri="{FF2B5EF4-FFF2-40B4-BE49-F238E27FC236}">
                    <a16:creationId xmlns:a16="http://schemas.microsoft.com/office/drawing/2014/main" id="{3878CB3B-4B24-4212-A78B-525B1E5E5855}"/>
                  </a:ext>
                </a:extLst>
              </p:cNvPr>
              <p:cNvSpPr>
                <a:spLocks noChangeArrowheads="1"/>
              </p:cNvSpPr>
              <p:nvPr/>
            </p:nvSpPr>
            <p:spPr bwMode="auto">
              <a:xfrm>
                <a:off x="3612111" y="576198"/>
                <a:ext cx="460544" cy="448320"/>
              </a:xfrm>
              <a:custGeom>
                <a:avLst/>
                <a:gdLst>
                  <a:gd name="T0" fmla="*/ 8978 w 9802"/>
                  <a:gd name="T1" fmla="*/ 4962 h 9544"/>
                  <a:gd name="T2" fmla="*/ 8923 w 9802"/>
                  <a:gd name="T3" fmla="*/ 4315 h 9544"/>
                  <a:gd name="T4" fmla="*/ 7398 w 9802"/>
                  <a:gd name="T5" fmla="*/ 1654 h 9544"/>
                  <a:gd name="T6" fmla="*/ 6378 w 9802"/>
                  <a:gd name="T7" fmla="*/ 1021 h 9544"/>
                  <a:gd name="T8" fmla="*/ 3145 w 9802"/>
                  <a:gd name="T9" fmla="*/ 1156 h 9544"/>
                  <a:gd name="T10" fmla="*/ 1430 w 9802"/>
                  <a:gd name="T11" fmla="*/ 1245 h 9544"/>
                  <a:gd name="T12" fmla="*/ 2157 w 9802"/>
                  <a:gd name="T13" fmla="*/ 7984 h 9544"/>
                  <a:gd name="T14" fmla="*/ 3879 w 9802"/>
                  <a:gd name="T15" fmla="*/ 5513 h 9544"/>
                  <a:gd name="T16" fmla="*/ 3703 w 9802"/>
                  <a:gd name="T17" fmla="*/ 4989 h 9544"/>
                  <a:gd name="T18" fmla="*/ 3723 w 9802"/>
                  <a:gd name="T19" fmla="*/ 4390 h 9544"/>
                  <a:gd name="T20" fmla="*/ 4023 w 9802"/>
                  <a:gd name="T21" fmla="*/ 3893 h 9544"/>
                  <a:gd name="T22" fmla="*/ 4642 w 9802"/>
                  <a:gd name="T23" fmla="*/ 3492 h 9544"/>
                  <a:gd name="T24" fmla="*/ 4839 w 9802"/>
                  <a:gd name="T25" fmla="*/ 3505 h 9544"/>
                  <a:gd name="T26" fmla="*/ 4397 w 9802"/>
                  <a:gd name="T27" fmla="*/ 4342 h 9544"/>
                  <a:gd name="T28" fmla="*/ 4492 w 9802"/>
                  <a:gd name="T29" fmla="*/ 4833 h 9544"/>
                  <a:gd name="T30" fmla="*/ 4832 w 9802"/>
                  <a:gd name="T31" fmla="*/ 5132 h 9544"/>
                  <a:gd name="T32" fmla="*/ 5329 w 9802"/>
                  <a:gd name="T33" fmla="*/ 5159 h 9544"/>
                  <a:gd name="T34" fmla="*/ 5785 w 9802"/>
                  <a:gd name="T35" fmla="*/ 4894 h 9544"/>
                  <a:gd name="T36" fmla="*/ 6235 w 9802"/>
                  <a:gd name="T37" fmla="*/ 4499 h 9544"/>
                  <a:gd name="T38" fmla="*/ 6235 w 9802"/>
                  <a:gd name="T39" fmla="*/ 4996 h 9544"/>
                  <a:gd name="T40" fmla="*/ 6051 w 9802"/>
                  <a:gd name="T41" fmla="*/ 5439 h 9544"/>
                  <a:gd name="T42" fmla="*/ 5656 w 9802"/>
                  <a:gd name="T43" fmla="*/ 5847 h 9544"/>
                  <a:gd name="T44" fmla="*/ 5112 w 9802"/>
                  <a:gd name="T45" fmla="*/ 6037 h 9544"/>
                  <a:gd name="T46" fmla="*/ 3567 w 9802"/>
                  <a:gd name="T47" fmla="*/ 8032 h 9544"/>
                  <a:gd name="T48" fmla="*/ 6398 w 9802"/>
                  <a:gd name="T49" fmla="*/ 8515 h 9544"/>
                  <a:gd name="T50" fmla="*/ 7297 w 9802"/>
                  <a:gd name="T51" fmla="*/ 8066 h 9544"/>
                  <a:gd name="T52" fmla="*/ 9012 w 9802"/>
                  <a:gd name="T53" fmla="*/ 6235 h 9544"/>
                  <a:gd name="T54" fmla="*/ 6807 w 9802"/>
                  <a:gd name="T55" fmla="*/ 7719 h 9544"/>
                  <a:gd name="T56" fmla="*/ 5751 w 9802"/>
                  <a:gd name="T57" fmla="*/ 8978 h 9544"/>
                  <a:gd name="T58" fmla="*/ 5377 w 9802"/>
                  <a:gd name="T59" fmla="*/ 6459 h 9544"/>
                  <a:gd name="T60" fmla="*/ 5895 w 9802"/>
                  <a:gd name="T61" fmla="*/ 6249 h 9544"/>
                  <a:gd name="T62" fmla="*/ 6358 w 9802"/>
                  <a:gd name="T63" fmla="*/ 5861 h 9544"/>
                  <a:gd name="T64" fmla="*/ 6670 w 9802"/>
                  <a:gd name="T65" fmla="*/ 5282 h 9544"/>
                  <a:gd name="T66" fmla="*/ 6691 w 9802"/>
                  <a:gd name="T67" fmla="*/ 4349 h 9544"/>
                  <a:gd name="T68" fmla="*/ 6126 w 9802"/>
                  <a:gd name="T69" fmla="*/ 3314 h 9544"/>
                  <a:gd name="T70" fmla="*/ 5207 w 9802"/>
                  <a:gd name="T71" fmla="*/ 4696 h 9544"/>
                  <a:gd name="T72" fmla="*/ 4942 w 9802"/>
                  <a:gd name="T73" fmla="*/ 4595 h 9544"/>
                  <a:gd name="T74" fmla="*/ 4914 w 9802"/>
                  <a:gd name="T75" fmla="*/ 4342 h 9544"/>
                  <a:gd name="T76" fmla="*/ 5003 w 9802"/>
                  <a:gd name="T77" fmla="*/ 2954 h 9544"/>
                  <a:gd name="T78" fmla="*/ 4431 w 9802"/>
                  <a:gd name="T79" fmla="*/ 3015 h 9544"/>
                  <a:gd name="T80" fmla="*/ 3900 w 9802"/>
                  <a:gd name="T81" fmla="*/ 3294 h 9544"/>
                  <a:gd name="T82" fmla="*/ 3457 w 9802"/>
                  <a:gd name="T83" fmla="*/ 3777 h 9544"/>
                  <a:gd name="T84" fmla="*/ 3206 w 9802"/>
                  <a:gd name="T85" fmla="*/ 4336 h 9544"/>
                  <a:gd name="T86" fmla="*/ 3192 w 9802"/>
                  <a:gd name="T87" fmla="*/ 5051 h 9544"/>
                  <a:gd name="T88" fmla="*/ 1647 w 9802"/>
                  <a:gd name="T89" fmla="*/ 7610 h 9544"/>
                  <a:gd name="T90" fmla="*/ 1416 w 9802"/>
                  <a:gd name="T91" fmla="*/ 5282 h 9544"/>
                  <a:gd name="T92" fmla="*/ 1416 w 9802"/>
                  <a:gd name="T93" fmla="*/ 4349 h 9544"/>
                  <a:gd name="T94" fmla="*/ 2328 w 9802"/>
                  <a:gd name="T95" fmla="*/ 2409 h 9544"/>
                  <a:gd name="T96" fmla="*/ 2940 w 9802"/>
                  <a:gd name="T97" fmla="*/ 1906 h 9544"/>
                  <a:gd name="T98" fmla="*/ 5751 w 9802"/>
                  <a:gd name="T99" fmla="*/ 558 h 9544"/>
                  <a:gd name="T100" fmla="*/ 6657 w 9802"/>
                  <a:gd name="T101" fmla="*/ 1817 h 9544"/>
                  <a:gd name="T102" fmla="*/ 9012 w 9802"/>
                  <a:gd name="T103" fmla="*/ 3396 h 9544"/>
                  <a:gd name="T104" fmla="*/ 8358 w 9802"/>
                  <a:gd name="T105" fmla="*/ 4424 h 9544"/>
                  <a:gd name="T106" fmla="*/ 8392 w 9802"/>
                  <a:gd name="T107" fmla="*/ 5010 h 9544"/>
                  <a:gd name="T108" fmla="*/ 8236 w 9802"/>
                  <a:gd name="T109" fmla="*/ 5758 h 9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802" h="9544">
                    <a:moveTo>
                      <a:pt x="8896" y="5384"/>
                    </a:moveTo>
                    <a:lnTo>
                      <a:pt x="8896" y="5384"/>
                    </a:lnTo>
                    <a:lnTo>
                      <a:pt x="8923" y="5323"/>
                    </a:lnTo>
                    <a:lnTo>
                      <a:pt x="8944" y="5255"/>
                    </a:lnTo>
                    <a:lnTo>
                      <a:pt x="8957" y="5186"/>
                    </a:lnTo>
                    <a:lnTo>
                      <a:pt x="8971" y="5118"/>
                    </a:lnTo>
                    <a:lnTo>
                      <a:pt x="8978" y="4962"/>
                    </a:lnTo>
                    <a:lnTo>
                      <a:pt x="8978" y="4771"/>
                    </a:lnTo>
                    <a:lnTo>
                      <a:pt x="8978" y="4771"/>
                    </a:lnTo>
                    <a:lnTo>
                      <a:pt x="8978" y="4635"/>
                    </a:lnTo>
                    <a:lnTo>
                      <a:pt x="8971" y="4506"/>
                    </a:lnTo>
                    <a:lnTo>
                      <a:pt x="8957" y="4438"/>
                    </a:lnTo>
                    <a:lnTo>
                      <a:pt x="8944" y="4376"/>
                    </a:lnTo>
                    <a:lnTo>
                      <a:pt x="8923" y="4315"/>
                    </a:lnTo>
                    <a:lnTo>
                      <a:pt x="8896" y="4254"/>
                    </a:lnTo>
                    <a:lnTo>
                      <a:pt x="8855" y="4172"/>
                    </a:lnTo>
                    <a:lnTo>
                      <a:pt x="9801" y="3614"/>
                    </a:lnTo>
                    <a:lnTo>
                      <a:pt x="8372" y="1245"/>
                    </a:lnTo>
                    <a:lnTo>
                      <a:pt x="7446" y="1701"/>
                    </a:lnTo>
                    <a:lnTo>
                      <a:pt x="7398" y="1654"/>
                    </a:lnTo>
                    <a:lnTo>
                      <a:pt x="7398" y="1654"/>
                    </a:lnTo>
                    <a:lnTo>
                      <a:pt x="7290" y="1558"/>
                    </a:lnTo>
                    <a:lnTo>
                      <a:pt x="7174" y="1470"/>
                    </a:lnTo>
                    <a:lnTo>
                      <a:pt x="7051" y="1382"/>
                    </a:lnTo>
                    <a:lnTo>
                      <a:pt x="6922" y="1307"/>
                    </a:lnTo>
                    <a:lnTo>
                      <a:pt x="6786" y="1232"/>
                    </a:lnTo>
                    <a:lnTo>
                      <a:pt x="6650" y="1156"/>
                    </a:lnTo>
                    <a:lnTo>
                      <a:pt x="6378" y="1021"/>
                    </a:lnTo>
                    <a:lnTo>
                      <a:pt x="6323" y="994"/>
                    </a:lnTo>
                    <a:lnTo>
                      <a:pt x="6323" y="0"/>
                    </a:lnTo>
                    <a:lnTo>
                      <a:pt x="3478" y="0"/>
                    </a:lnTo>
                    <a:lnTo>
                      <a:pt x="3478" y="994"/>
                    </a:lnTo>
                    <a:lnTo>
                      <a:pt x="3423" y="1021"/>
                    </a:lnTo>
                    <a:lnTo>
                      <a:pt x="3423" y="1021"/>
                    </a:lnTo>
                    <a:lnTo>
                      <a:pt x="3145" y="1156"/>
                    </a:lnTo>
                    <a:lnTo>
                      <a:pt x="2866" y="1307"/>
                    </a:lnTo>
                    <a:lnTo>
                      <a:pt x="2723" y="1388"/>
                    </a:lnTo>
                    <a:lnTo>
                      <a:pt x="2579" y="1470"/>
                    </a:lnTo>
                    <a:lnTo>
                      <a:pt x="2444" y="1565"/>
                    </a:lnTo>
                    <a:lnTo>
                      <a:pt x="2301" y="1667"/>
                    </a:lnTo>
                    <a:lnTo>
                      <a:pt x="2253" y="1701"/>
                    </a:lnTo>
                    <a:lnTo>
                      <a:pt x="1430" y="1245"/>
                    </a:lnTo>
                    <a:lnTo>
                      <a:pt x="0" y="3621"/>
                    </a:lnTo>
                    <a:lnTo>
                      <a:pt x="823" y="4159"/>
                    </a:lnTo>
                    <a:lnTo>
                      <a:pt x="823" y="5473"/>
                    </a:lnTo>
                    <a:lnTo>
                      <a:pt x="0" y="6017"/>
                    </a:lnTo>
                    <a:lnTo>
                      <a:pt x="1430" y="8386"/>
                    </a:lnTo>
                    <a:lnTo>
                      <a:pt x="1606" y="8283"/>
                    </a:lnTo>
                    <a:lnTo>
                      <a:pt x="2157" y="7984"/>
                    </a:lnTo>
                    <a:lnTo>
                      <a:pt x="2157" y="7984"/>
                    </a:lnTo>
                    <a:lnTo>
                      <a:pt x="2484" y="7807"/>
                    </a:lnTo>
                    <a:lnTo>
                      <a:pt x="2484" y="7807"/>
                    </a:lnTo>
                    <a:lnTo>
                      <a:pt x="2654" y="7528"/>
                    </a:lnTo>
                    <a:lnTo>
                      <a:pt x="2654" y="7528"/>
                    </a:lnTo>
                    <a:lnTo>
                      <a:pt x="3879" y="5513"/>
                    </a:lnTo>
                    <a:lnTo>
                      <a:pt x="3879" y="5513"/>
                    </a:lnTo>
                    <a:lnTo>
                      <a:pt x="3852" y="5391"/>
                    </a:lnTo>
                    <a:lnTo>
                      <a:pt x="3852" y="5391"/>
                    </a:lnTo>
                    <a:lnTo>
                      <a:pt x="3811" y="5316"/>
                    </a:lnTo>
                    <a:lnTo>
                      <a:pt x="3771" y="5234"/>
                    </a:lnTo>
                    <a:lnTo>
                      <a:pt x="3744" y="5152"/>
                    </a:lnTo>
                    <a:lnTo>
                      <a:pt x="3723" y="5071"/>
                    </a:lnTo>
                    <a:lnTo>
                      <a:pt x="3703" y="4989"/>
                    </a:lnTo>
                    <a:lnTo>
                      <a:pt x="3689" y="4901"/>
                    </a:lnTo>
                    <a:lnTo>
                      <a:pt x="3683" y="4819"/>
                    </a:lnTo>
                    <a:lnTo>
                      <a:pt x="3676" y="4730"/>
                    </a:lnTo>
                    <a:lnTo>
                      <a:pt x="3683" y="4642"/>
                    </a:lnTo>
                    <a:lnTo>
                      <a:pt x="3689" y="4561"/>
                    </a:lnTo>
                    <a:lnTo>
                      <a:pt x="3703" y="4472"/>
                    </a:lnTo>
                    <a:lnTo>
                      <a:pt x="3723" y="4390"/>
                    </a:lnTo>
                    <a:lnTo>
                      <a:pt x="3751" y="4308"/>
                    </a:lnTo>
                    <a:lnTo>
                      <a:pt x="3778" y="4226"/>
                    </a:lnTo>
                    <a:lnTo>
                      <a:pt x="3811" y="4152"/>
                    </a:lnTo>
                    <a:lnTo>
                      <a:pt x="3852" y="4077"/>
                    </a:lnTo>
                    <a:lnTo>
                      <a:pt x="3852" y="4077"/>
                    </a:lnTo>
                    <a:lnTo>
                      <a:pt x="3934" y="3989"/>
                    </a:lnTo>
                    <a:lnTo>
                      <a:pt x="4023" y="3893"/>
                    </a:lnTo>
                    <a:lnTo>
                      <a:pt x="4111" y="3804"/>
                    </a:lnTo>
                    <a:lnTo>
                      <a:pt x="4207" y="3723"/>
                    </a:lnTo>
                    <a:lnTo>
                      <a:pt x="4308" y="3648"/>
                    </a:lnTo>
                    <a:lnTo>
                      <a:pt x="4410" y="3580"/>
                    </a:lnTo>
                    <a:lnTo>
                      <a:pt x="4526" y="3526"/>
                    </a:lnTo>
                    <a:lnTo>
                      <a:pt x="4581" y="3505"/>
                    </a:lnTo>
                    <a:lnTo>
                      <a:pt x="4642" y="3492"/>
                    </a:lnTo>
                    <a:lnTo>
                      <a:pt x="4642" y="3492"/>
                    </a:lnTo>
                    <a:lnTo>
                      <a:pt x="4663" y="3485"/>
                    </a:lnTo>
                    <a:lnTo>
                      <a:pt x="4690" y="3485"/>
                    </a:lnTo>
                    <a:lnTo>
                      <a:pt x="4737" y="3498"/>
                    </a:lnTo>
                    <a:lnTo>
                      <a:pt x="4792" y="3505"/>
                    </a:lnTo>
                    <a:lnTo>
                      <a:pt x="4819" y="3505"/>
                    </a:lnTo>
                    <a:lnTo>
                      <a:pt x="4839" y="3505"/>
                    </a:lnTo>
                    <a:lnTo>
                      <a:pt x="4839" y="3505"/>
                    </a:lnTo>
                    <a:lnTo>
                      <a:pt x="4513" y="4050"/>
                    </a:lnTo>
                    <a:lnTo>
                      <a:pt x="4513" y="4050"/>
                    </a:lnTo>
                    <a:lnTo>
                      <a:pt x="4472" y="4118"/>
                    </a:lnTo>
                    <a:lnTo>
                      <a:pt x="4438" y="4193"/>
                    </a:lnTo>
                    <a:lnTo>
                      <a:pt x="4417" y="4267"/>
                    </a:lnTo>
                    <a:lnTo>
                      <a:pt x="4397" y="4342"/>
                    </a:lnTo>
                    <a:lnTo>
                      <a:pt x="4390" y="4417"/>
                    </a:lnTo>
                    <a:lnTo>
                      <a:pt x="4390" y="4486"/>
                    </a:lnTo>
                    <a:lnTo>
                      <a:pt x="4397" y="4561"/>
                    </a:lnTo>
                    <a:lnTo>
                      <a:pt x="4410" y="4628"/>
                    </a:lnTo>
                    <a:lnTo>
                      <a:pt x="4431" y="4696"/>
                    </a:lnTo>
                    <a:lnTo>
                      <a:pt x="4458" y="4764"/>
                    </a:lnTo>
                    <a:lnTo>
                      <a:pt x="4492" y="4833"/>
                    </a:lnTo>
                    <a:lnTo>
                      <a:pt x="4533" y="4887"/>
                    </a:lnTo>
                    <a:lnTo>
                      <a:pt x="4581" y="4949"/>
                    </a:lnTo>
                    <a:lnTo>
                      <a:pt x="4642" y="5003"/>
                    </a:lnTo>
                    <a:lnTo>
                      <a:pt x="4703" y="5051"/>
                    </a:lnTo>
                    <a:lnTo>
                      <a:pt x="4771" y="5098"/>
                    </a:lnTo>
                    <a:lnTo>
                      <a:pt x="4771" y="5098"/>
                    </a:lnTo>
                    <a:lnTo>
                      <a:pt x="4832" y="5132"/>
                    </a:lnTo>
                    <a:lnTo>
                      <a:pt x="4901" y="5152"/>
                    </a:lnTo>
                    <a:lnTo>
                      <a:pt x="4969" y="5173"/>
                    </a:lnTo>
                    <a:lnTo>
                      <a:pt x="5037" y="5179"/>
                    </a:lnTo>
                    <a:lnTo>
                      <a:pt x="5105" y="5186"/>
                    </a:lnTo>
                    <a:lnTo>
                      <a:pt x="5179" y="5179"/>
                    </a:lnTo>
                    <a:lnTo>
                      <a:pt x="5254" y="5173"/>
                    </a:lnTo>
                    <a:lnTo>
                      <a:pt x="5329" y="5159"/>
                    </a:lnTo>
                    <a:lnTo>
                      <a:pt x="5398" y="5132"/>
                    </a:lnTo>
                    <a:lnTo>
                      <a:pt x="5473" y="5111"/>
                    </a:lnTo>
                    <a:lnTo>
                      <a:pt x="5541" y="5078"/>
                    </a:lnTo>
                    <a:lnTo>
                      <a:pt x="5608" y="5037"/>
                    </a:lnTo>
                    <a:lnTo>
                      <a:pt x="5670" y="4996"/>
                    </a:lnTo>
                    <a:lnTo>
                      <a:pt x="5731" y="4949"/>
                    </a:lnTo>
                    <a:lnTo>
                      <a:pt x="5785" y="4894"/>
                    </a:lnTo>
                    <a:lnTo>
                      <a:pt x="5833" y="4833"/>
                    </a:lnTo>
                    <a:lnTo>
                      <a:pt x="5833" y="4833"/>
                    </a:lnTo>
                    <a:lnTo>
                      <a:pt x="6167" y="4295"/>
                    </a:lnTo>
                    <a:lnTo>
                      <a:pt x="6167" y="4295"/>
                    </a:lnTo>
                    <a:lnTo>
                      <a:pt x="6194" y="4356"/>
                    </a:lnTo>
                    <a:lnTo>
                      <a:pt x="6214" y="4424"/>
                    </a:lnTo>
                    <a:lnTo>
                      <a:pt x="6235" y="4499"/>
                    </a:lnTo>
                    <a:lnTo>
                      <a:pt x="6248" y="4567"/>
                    </a:lnTo>
                    <a:lnTo>
                      <a:pt x="6255" y="4635"/>
                    </a:lnTo>
                    <a:lnTo>
                      <a:pt x="6262" y="4710"/>
                    </a:lnTo>
                    <a:lnTo>
                      <a:pt x="6262" y="4778"/>
                    </a:lnTo>
                    <a:lnTo>
                      <a:pt x="6255" y="4853"/>
                    </a:lnTo>
                    <a:lnTo>
                      <a:pt x="6248" y="4921"/>
                    </a:lnTo>
                    <a:lnTo>
                      <a:pt x="6235" y="4996"/>
                    </a:lnTo>
                    <a:lnTo>
                      <a:pt x="6214" y="5071"/>
                    </a:lnTo>
                    <a:lnTo>
                      <a:pt x="6194" y="5145"/>
                    </a:lnTo>
                    <a:lnTo>
                      <a:pt x="6167" y="5214"/>
                    </a:lnTo>
                    <a:lnTo>
                      <a:pt x="6132" y="5289"/>
                    </a:lnTo>
                    <a:lnTo>
                      <a:pt x="6091" y="5364"/>
                    </a:lnTo>
                    <a:lnTo>
                      <a:pt x="6051" y="5439"/>
                    </a:lnTo>
                    <a:lnTo>
                      <a:pt x="6051" y="5439"/>
                    </a:lnTo>
                    <a:lnTo>
                      <a:pt x="6003" y="5507"/>
                    </a:lnTo>
                    <a:lnTo>
                      <a:pt x="5956" y="5574"/>
                    </a:lnTo>
                    <a:lnTo>
                      <a:pt x="5901" y="5636"/>
                    </a:lnTo>
                    <a:lnTo>
                      <a:pt x="5847" y="5697"/>
                    </a:lnTo>
                    <a:lnTo>
                      <a:pt x="5785" y="5752"/>
                    </a:lnTo>
                    <a:lnTo>
                      <a:pt x="5717" y="5799"/>
                    </a:lnTo>
                    <a:lnTo>
                      <a:pt x="5656" y="5847"/>
                    </a:lnTo>
                    <a:lnTo>
                      <a:pt x="5581" y="5888"/>
                    </a:lnTo>
                    <a:lnTo>
                      <a:pt x="5514" y="5929"/>
                    </a:lnTo>
                    <a:lnTo>
                      <a:pt x="5439" y="5956"/>
                    </a:lnTo>
                    <a:lnTo>
                      <a:pt x="5357" y="5983"/>
                    </a:lnTo>
                    <a:lnTo>
                      <a:pt x="5282" y="6003"/>
                    </a:lnTo>
                    <a:lnTo>
                      <a:pt x="5200" y="6023"/>
                    </a:lnTo>
                    <a:lnTo>
                      <a:pt x="5112" y="6037"/>
                    </a:lnTo>
                    <a:lnTo>
                      <a:pt x="5030" y="6037"/>
                    </a:lnTo>
                    <a:lnTo>
                      <a:pt x="4942" y="6037"/>
                    </a:lnTo>
                    <a:lnTo>
                      <a:pt x="4942" y="6037"/>
                    </a:lnTo>
                    <a:lnTo>
                      <a:pt x="4798" y="6010"/>
                    </a:lnTo>
                    <a:lnTo>
                      <a:pt x="4798" y="6010"/>
                    </a:lnTo>
                    <a:lnTo>
                      <a:pt x="3567" y="8032"/>
                    </a:lnTo>
                    <a:lnTo>
                      <a:pt x="3567" y="8032"/>
                    </a:lnTo>
                    <a:lnTo>
                      <a:pt x="3492" y="8162"/>
                    </a:lnTo>
                    <a:lnTo>
                      <a:pt x="3492" y="9114"/>
                    </a:lnTo>
                    <a:lnTo>
                      <a:pt x="3492" y="9543"/>
                    </a:lnTo>
                    <a:lnTo>
                      <a:pt x="6323" y="9543"/>
                    </a:lnTo>
                    <a:lnTo>
                      <a:pt x="6323" y="8529"/>
                    </a:lnTo>
                    <a:lnTo>
                      <a:pt x="6398" y="8515"/>
                    </a:lnTo>
                    <a:lnTo>
                      <a:pt x="6398" y="8515"/>
                    </a:lnTo>
                    <a:lnTo>
                      <a:pt x="6541" y="8475"/>
                    </a:lnTo>
                    <a:lnTo>
                      <a:pt x="6684" y="8427"/>
                    </a:lnTo>
                    <a:lnTo>
                      <a:pt x="6820" y="8365"/>
                    </a:lnTo>
                    <a:lnTo>
                      <a:pt x="6949" y="8304"/>
                    </a:lnTo>
                    <a:lnTo>
                      <a:pt x="7072" y="8229"/>
                    </a:lnTo>
                    <a:lnTo>
                      <a:pt x="7188" y="8155"/>
                    </a:lnTo>
                    <a:lnTo>
                      <a:pt x="7297" y="8066"/>
                    </a:lnTo>
                    <a:lnTo>
                      <a:pt x="7398" y="7977"/>
                    </a:lnTo>
                    <a:lnTo>
                      <a:pt x="7446" y="7930"/>
                    </a:lnTo>
                    <a:lnTo>
                      <a:pt x="8372" y="8393"/>
                    </a:lnTo>
                    <a:lnTo>
                      <a:pt x="9801" y="6017"/>
                    </a:lnTo>
                    <a:lnTo>
                      <a:pt x="8855" y="5459"/>
                    </a:lnTo>
                    <a:lnTo>
                      <a:pt x="8896" y="5384"/>
                    </a:lnTo>
                    <a:close/>
                    <a:moveTo>
                      <a:pt x="9012" y="6235"/>
                    </a:moveTo>
                    <a:lnTo>
                      <a:pt x="8161" y="7603"/>
                    </a:lnTo>
                    <a:lnTo>
                      <a:pt x="7385" y="7222"/>
                    </a:lnTo>
                    <a:lnTo>
                      <a:pt x="7242" y="7364"/>
                    </a:lnTo>
                    <a:lnTo>
                      <a:pt x="7242" y="7364"/>
                    </a:lnTo>
                    <a:lnTo>
                      <a:pt x="7099" y="7494"/>
                    </a:lnTo>
                    <a:lnTo>
                      <a:pt x="6956" y="7610"/>
                    </a:lnTo>
                    <a:lnTo>
                      <a:pt x="6807" y="7719"/>
                    </a:lnTo>
                    <a:lnTo>
                      <a:pt x="6657" y="7814"/>
                    </a:lnTo>
                    <a:lnTo>
                      <a:pt x="6493" y="7902"/>
                    </a:lnTo>
                    <a:lnTo>
                      <a:pt x="6330" y="7984"/>
                    </a:lnTo>
                    <a:lnTo>
                      <a:pt x="6160" y="8059"/>
                    </a:lnTo>
                    <a:lnTo>
                      <a:pt x="5976" y="8134"/>
                    </a:lnTo>
                    <a:lnTo>
                      <a:pt x="5751" y="8202"/>
                    </a:lnTo>
                    <a:lnTo>
                      <a:pt x="5751" y="8978"/>
                    </a:lnTo>
                    <a:lnTo>
                      <a:pt x="4050" y="8978"/>
                    </a:lnTo>
                    <a:lnTo>
                      <a:pt x="4050" y="8202"/>
                    </a:lnTo>
                    <a:lnTo>
                      <a:pt x="4043" y="8202"/>
                    </a:lnTo>
                    <a:lnTo>
                      <a:pt x="4043" y="8202"/>
                    </a:lnTo>
                    <a:lnTo>
                      <a:pt x="5064" y="6534"/>
                    </a:lnTo>
                    <a:lnTo>
                      <a:pt x="5064" y="6534"/>
                    </a:lnTo>
                    <a:lnTo>
                      <a:pt x="5377" y="6459"/>
                    </a:lnTo>
                    <a:lnTo>
                      <a:pt x="5377" y="6459"/>
                    </a:lnTo>
                    <a:lnTo>
                      <a:pt x="5473" y="6432"/>
                    </a:lnTo>
                    <a:lnTo>
                      <a:pt x="5561" y="6405"/>
                    </a:lnTo>
                    <a:lnTo>
                      <a:pt x="5649" y="6371"/>
                    </a:lnTo>
                    <a:lnTo>
                      <a:pt x="5731" y="6330"/>
                    </a:lnTo>
                    <a:lnTo>
                      <a:pt x="5813" y="6296"/>
                    </a:lnTo>
                    <a:lnTo>
                      <a:pt x="5895" y="6249"/>
                    </a:lnTo>
                    <a:lnTo>
                      <a:pt x="5970" y="6201"/>
                    </a:lnTo>
                    <a:lnTo>
                      <a:pt x="6037" y="6153"/>
                    </a:lnTo>
                    <a:lnTo>
                      <a:pt x="6112" y="6099"/>
                    </a:lnTo>
                    <a:lnTo>
                      <a:pt x="6173" y="6044"/>
                    </a:lnTo>
                    <a:lnTo>
                      <a:pt x="6242" y="5983"/>
                    </a:lnTo>
                    <a:lnTo>
                      <a:pt x="6296" y="5922"/>
                    </a:lnTo>
                    <a:lnTo>
                      <a:pt x="6358" y="5861"/>
                    </a:lnTo>
                    <a:lnTo>
                      <a:pt x="6412" y="5793"/>
                    </a:lnTo>
                    <a:lnTo>
                      <a:pt x="6459" y="5724"/>
                    </a:lnTo>
                    <a:lnTo>
                      <a:pt x="6507" y="5649"/>
                    </a:lnTo>
                    <a:lnTo>
                      <a:pt x="6507" y="5649"/>
                    </a:lnTo>
                    <a:lnTo>
                      <a:pt x="6568" y="5534"/>
                    </a:lnTo>
                    <a:lnTo>
                      <a:pt x="6623" y="5411"/>
                    </a:lnTo>
                    <a:lnTo>
                      <a:pt x="6670" y="5282"/>
                    </a:lnTo>
                    <a:lnTo>
                      <a:pt x="6704" y="5152"/>
                    </a:lnTo>
                    <a:lnTo>
                      <a:pt x="6725" y="5024"/>
                    </a:lnTo>
                    <a:lnTo>
                      <a:pt x="6739" y="4887"/>
                    </a:lnTo>
                    <a:lnTo>
                      <a:pt x="6745" y="4751"/>
                    </a:lnTo>
                    <a:lnTo>
                      <a:pt x="6739" y="4615"/>
                    </a:lnTo>
                    <a:lnTo>
                      <a:pt x="6718" y="4479"/>
                    </a:lnTo>
                    <a:lnTo>
                      <a:pt x="6691" y="4349"/>
                    </a:lnTo>
                    <a:lnTo>
                      <a:pt x="6657" y="4213"/>
                    </a:lnTo>
                    <a:lnTo>
                      <a:pt x="6609" y="4084"/>
                    </a:lnTo>
                    <a:lnTo>
                      <a:pt x="6554" y="3954"/>
                    </a:lnTo>
                    <a:lnTo>
                      <a:pt x="6486" y="3832"/>
                    </a:lnTo>
                    <a:lnTo>
                      <a:pt x="6412" y="3710"/>
                    </a:lnTo>
                    <a:lnTo>
                      <a:pt x="6323" y="3594"/>
                    </a:lnTo>
                    <a:lnTo>
                      <a:pt x="6126" y="3314"/>
                    </a:lnTo>
                    <a:lnTo>
                      <a:pt x="6126" y="3314"/>
                    </a:lnTo>
                    <a:lnTo>
                      <a:pt x="5370" y="4554"/>
                    </a:lnTo>
                    <a:lnTo>
                      <a:pt x="5370" y="4554"/>
                    </a:lnTo>
                    <a:lnTo>
                      <a:pt x="5329" y="4608"/>
                    </a:lnTo>
                    <a:lnTo>
                      <a:pt x="5295" y="4649"/>
                    </a:lnTo>
                    <a:lnTo>
                      <a:pt x="5248" y="4676"/>
                    </a:lnTo>
                    <a:lnTo>
                      <a:pt x="5207" y="4696"/>
                    </a:lnTo>
                    <a:lnTo>
                      <a:pt x="5159" y="4703"/>
                    </a:lnTo>
                    <a:lnTo>
                      <a:pt x="5105" y="4696"/>
                    </a:lnTo>
                    <a:lnTo>
                      <a:pt x="5051" y="4676"/>
                    </a:lnTo>
                    <a:lnTo>
                      <a:pt x="4996" y="4649"/>
                    </a:lnTo>
                    <a:lnTo>
                      <a:pt x="4996" y="4649"/>
                    </a:lnTo>
                    <a:lnTo>
                      <a:pt x="4969" y="4628"/>
                    </a:lnTo>
                    <a:lnTo>
                      <a:pt x="4942" y="4595"/>
                    </a:lnTo>
                    <a:lnTo>
                      <a:pt x="4921" y="4554"/>
                    </a:lnTo>
                    <a:lnTo>
                      <a:pt x="4907" y="4506"/>
                    </a:lnTo>
                    <a:lnTo>
                      <a:pt x="4901" y="4458"/>
                    </a:lnTo>
                    <a:lnTo>
                      <a:pt x="4901" y="4417"/>
                    </a:lnTo>
                    <a:lnTo>
                      <a:pt x="4901" y="4376"/>
                    </a:lnTo>
                    <a:lnTo>
                      <a:pt x="4914" y="4342"/>
                    </a:lnTo>
                    <a:lnTo>
                      <a:pt x="4914" y="4342"/>
                    </a:lnTo>
                    <a:lnTo>
                      <a:pt x="5670" y="3104"/>
                    </a:lnTo>
                    <a:lnTo>
                      <a:pt x="5670" y="3104"/>
                    </a:lnTo>
                    <a:lnTo>
                      <a:pt x="5316" y="2995"/>
                    </a:lnTo>
                    <a:lnTo>
                      <a:pt x="5316" y="2995"/>
                    </a:lnTo>
                    <a:lnTo>
                      <a:pt x="5207" y="2974"/>
                    </a:lnTo>
                    <a:lnTo>
                      <a:pt x="5105" y="2960"/>
                    </a:lnTo>
                    <a:lnTo>
                      <a:pt x="5003" y="2954"/>
                    </a:lnTo>
                    <a:lnTo>
                      <a:pt x="4901" y="2947"/>
                    </a:lnTo>
                    <a:lnTo>
                      <a:pt x="4805" y="2954"/>
                    </a:lnTo>
                    <a:lnTo>
                      <a:pt x="4703" y="2960"/>
                    </a:lnTo>
                    <a:lnTo>
                      <a:pt x="4608" y="2974"/>
                    </a:lnTo>
                    <a:lnTo>
                      <a:pt x="4513" y="2995"/>
                    </a:lnTo>
                    <a:lnTo>
                      <a:pt x="4513" y="2995"/>
                    </a:lnTo>
                    <a:lnTo>
                      <a:pt x="4431" y="3015"/>
                    </a:lnTo>
                    <a:lnTo>
                      <a:pt x="4356" y="3042"/>
                    </a:lnTo>
                    <a:lnTo>
                      <a:pt x="4274" y="3076"/>
                    </a:lnTo>
                    <a:lnTo>
                      <a:pt x="4200" y="3110"/>
                    </a:lnTo>
                    <a:lnTo>
                      <a:pt x="4118" y="3151"/>
                    </a:lnTo>
                    <a:lnTo>
                      <a:pt x="4043" y="3199"/>
                    </a:lnTo>
                    <a:lnTo>
                      <a:pt x="3975" y="3247"/>
                    </a:lnTo>
                    <a:lnTo>
                      <a:pt x="3900" y="3294"/>
                    </a:lnTo>
                    <a:lnTo>
                      <a:pt x="3832" y="3355"/>
                    </a:lnTo>
                    <a:lnTo>
                      <a:pt x="3764" y="3417"/>
                    </a:lnTo>
                    <a:lnTo>
                      <a:pt x="3696" y="3478"/>
                    </a:lnTo>
                    <a:lnTo>
                      <a:pt x="3635" y="3546"/>
                    </a:lnTo>
                    <a:lnTo>
                      <a:pt x="3573" y="3621"/>
                    </a:lnTo>
                    <a:lnTo>
                      <a:pt x="3512" y="3696"/>
                    </a:lnTo>
                    <a:lnTo>
                      <a:pt x="3457" y="3777"/>
                    </a:lnTo>
                    <a:lnTo>
                      <a:pt x="3403" y="3866"/>
                    </a:lnTo>
                    <a:lnTo>
                      <a:pt x="3403" y="3866"/>
                    </a:lnTo>
                    <a:lnTo>
                      <a:pt x="3355" y="3954"/>
                    </a:lnTo>
                    <a:lnTo>
                      <a:pt x="3308" y="4043"/>
                    </a:lnTo>
                    <a:lnTo>
                      <a:pt x="3267" y="4139"/>
                    </a:lnTo>
                    <a:lnTo>
                      <a:pt x="3233" y="4233"/>
                    </a:lnTo>
                    <a:lnTo>
                      <a:pt x="3206" y="4336"/>
                    </a:lnTo>
                    <a:lnTo>
                      <a:pt x="3186" y="4431"/>
                    </a:lnTo>
                    <a:lnTo>
                      <a:pt x="3172" y="4533"/>
                    </a:lnTo>
                    <a:lnTo>
                      <a:pt x="3165" y="4635"/>
                    </a:lnTo>
                    <a:lnTo>
                      <a:pt x="3165" y="4737"/>
                    </a:lnTo>
                    <a:lnTo>
                      <a:pt x="3165" y="4846"/>
                    </a:lnTo>
                    <a:lnTo>
                      <a:pt x="3179" y="4949"/>
                    </a:lnTo>
                    <a:lnTo>
                      <a:pt x="3192" y="5051"/>
                    </a:lnTo>
                    <a:lnTo>
                      <a:pt x="3220" y="5152"/>
                    </a:lnTo>
                    <a:lnTo>
                      <a:pt x="3254" y="5255"/>
                    </a:lnTo>
                    <a:lnTo>
                      <a:pt x="3288" y="5357"/>
                    </a:lnTo>
                    <a:lnTo>
                      <a:pt x="3335" y="5459"/>
                    </a:lnTo>
                    <a:lnTo>
                      <a:pt x="3335" y="5459"/>
                    </a:lnTo>
                    <a:lnTo>
                      <a:pt x="2219" y="7283"/>
                    </a:lnTo>
                    <a:lnTo>
                      <a:pt x="1647" y="7610"/>
                    </a:lnTo>
                    <a:lnTo>
                      <a:pt x="789" y="6242"/>
                    </a:lnTo>
                    <a:lnTo>
                      <a:pt x="1491" y="5752"/>
                    </a:lnTo>
                    <a:lnTo>
                      <a:pt x="1491" y="5540"/>
                    </a:lnTo>
                    <a:lnTo>
                      <a:pt x="1491" y="5540"/>
                    </a:lnTo>
                    <a:lnTo>
                      <a:pt x="1457" y="5459"/>
                    </a:lnTo>
                    <a:lnTo>
                      <a:pt x="1436" y="5371"/>
                    </a:lnTo>
                    <a:lnTo>
                      <a:pt x="1416" y="5282"/>
                    </a:lnTo>
                    <a:lnTo>
                      <a:pt x="1402" y="5179"/>
                    </a:lnTo>
                    <a:lnTo>
                      <a:pt x="1395" y="4976"/>
                    </a:lnTo>
                    <a:lnTo>
                      <a:pt x="1395" y="4771"/>
                    </a:lnTo>
                    <a:lnTo>
                      <a:pt x="1395" y="4771"/>
                    </a:lnTo>
                    <a:lnTo>
                      <a:pt x="1395" y="4615"/>
                    </a:lnTo>
                    <a:lnTo>
                      <a:pt x="1402" y="4438"/>
                    </a:lnTo>
                    <a:lnTo>
                      <a:pt x="1416" y="4349"/>
                    </a:lnTo>
                    <a:lnTo>
                      <a:pt x="1436" y="4260"/>
                    </a:lnTo>
                    <a:lnTo>
                      <a:pt x="1457" y="4172"/>
                    </a:lnTo>
                    <a:lnTo>
                      <a:pt x="1491" y="4091"/>
                    </a:lnTo>
                    <a:lnTo>
                      <a:pt x="1491" y="3886"/>
                    </a:lnTo>
                    <a:lnTo>
                      <a:pt x="789" y="3389"/>
                    </a:lnTo>
                    <a:lnTo>
                      <a:pt x="1647" y="2028"/>
                    </a:lnTo>
                    <a:lnTo>
                      <a:pt x="2328" y="2409"/>
                    </a:lnTo>
                    <a:lnTo>
                      <a:pt x="2464" y="2273"/>
                    </a:lnTo>
                    <a:lnTo>
                      <a:pt x="2464" y="2273"/>
                    </a:lnTo>
                    <a:lnTo>
                      <a:pt x="2539" y="2198"/>
                    </a:lnTo>
                    <a:lnTo>
                      <a:pt x="2614" y="2137"/>
                    </a:lnTo>
                    <a:lnTo>
                      <a:pt x="2695" y="2069"/>
                    </a:lnTo>
                    <a:lnTo>
                      <a:pt x="2777" y="2014"/>
                    </a:lnTo>
                    <a:lnTo>
                      <a:pt x="2940" y="1906"/>
                    </a:lnTo>
                    <a:lnTo>
                      <a:pt x="3117" y="1810"/>
                    </a:lnTo>
                    <a:lnTo>
                      <a:pt x="3288" y="1722"/>
                    </a:lnTo>
                    <a:lnTo>
                      <a:pt x="3471" y="1647"/>
                    </a:lnTo>
                    <a:lnTo>
                      <a:pt x="3825" y="1497"/>
                    </a:lnTo>
                    <a:lnTo>
                      <a:pt x="4050" y="1429"/>
                    </a:lnTo>
                    <a:lnTo>
                      <a:pt x="4050" y="558"/>
                    </a:lnTo>
                    <a:lnTo>
                      <a:pt x="5751" y="558"/>
                    </a:lnTo>
                    <a:lnTo>
                      <a:pt x="5751" y="1429"/>
                    </a:lnTo>
                    <a:lnTo>
                      <a:pt x="5976" y="1504"/>
                    </a:lnTo>
                    <a:lnTo>
                      <a:pt x="5976" y="1504"/>
                    </a:lnTo>
                    <a:lnTo>
                      <a:pt x="6160" y="1578"/>
                    </a:lnTo>
                    <a:lnTo>
                      <a:pt x="6330" y="1654"/>
                    </a:lnTo>
                    <a:lnTo>
                      <a:pt x="6500" y="1735"/>
                    </a:lnTo>
                    <a:lnTo>
                      <a:pt x="6657" y="1817"/>
                    </a:lnTo>
                    <a:lnTo>
                      <a:pt x="6807" y="1913"/>
                    </a:lnTo>
                    <a:lnTo>
                      <a:pt x="6956" y="2021"/>
                    </a:lnTo>
                    <a:lnTo>
                      <a:pt x="7099" y="2137"/>
                    </a:lnTo>
                    <a:lnTo>
                      <a:pt x="7242" y="2273"/>
                    </a:lnTo>
                    <a:lnTo>
                      <a:pt x="7385" y="2409"/>
                    </a:lnTo>
                    <a:lnTo>
                      <a:pt x="8161" y="2028"/>
                    </a:lnTo>
                    <a:lnTo>
                      <a:pt x="9012" y="3396"/>
                    </a:lnTo>
                    <a:lnTo>
                      <a:pt x="8236" y="3873"/>
                    </a:lnTo>
                    <a:lnTo>
                      <a:pt x="8310" y="4098"/>
                    </a:lnTo>
                    <a:lnTo>
                      <a:pt x="8310" y="4118"/>
                    </a:lnTo>
                    <a:lnTo>
                      <a:pt x="8310" y="4118"/>
                    </a:lnTo>
                    <a:lnTo>
                      <a:pt x="8317" y="4186"/>
                    </a:lnTo>
                    <a:lnTo>
                      <a:pt x="8331" y="4260"/>
                    </a:lnTo>
                    <a:lnTo>
                      <a:pt x="8358" y="4424"/>
                    </a:lnTo>
                    <a:lnTo>
                      <a:pt x="8358" y="4424"/>
                    </a:lnTo>
                    <a:lnTo>
                      <a:pt x="8392" y="4601"/>
                    </a:lnTo>
                    <a:lnTo>
                      <a:pt x="8406" y="4689"/>
                    </a:lnTo>
                    <a:lnTo>
                      <a:pt x="8406" y="4771"/>
                    </a:lnTo>
                    <a:lnTo>
                      <a:pt x="8406" y="4771"/>
                    </a:lnTo>
                    <a:lnTo>
                      <a:pt x="8406" y="4894"/>
                    </a:lnTo>
                    <a:lnTo>
                      <a:pt x="8392" y="5010"/>
                    </a:lnTo>
                    <a:lnTo>
                      <a:pt x="8351" y="5234"/>
                    </a:lnTo>
                    <a:lnTo>
                      <a:pt x="8351" y="5234"/>
                    </a:lnTo>
                    <a:lnTo>
                      <a:pt x="8324" y="5391"/>
                    </a:lnTo>
                    <a:lnTo>
                      <a:pt x="8317" y="5459"/>
                    </a:lnTo>
                    <a:lnTo>
                      <a:pt x="8310" y="5520"/>
                    </a:lnTo>
                    <a:lnTo>
                      <a:pt x="8310" y="5534"/>
                    </a:lnTo>
                    <a:lnTo>
                      <a:pt x="8236" y="5758"/>
                    </a:lnTo>
                    <a:lnTo>
                      <a:pt x="9012" y="6235"/>
                    </a:lnTo>
                    <a:close/>
                  </a:path>
                </a:pathLst>
              </a:custGeom>
              <a:solidFill>
                <a:schemeClr val="bg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Oval 81">
                <a:extLst>
                  <a:ext uri="{FF2B5EF4-FFF2-40B4-BE49-F238E27FC236}">
                    <a16:creationId xmlns:a16="http://schemas.microsoft.com/office/drawing/2014/main" id="{42CB0EA3-B7DC-4F56-8F13-FAE3DDD52E4D}"/>
                  </a:ext>
                </a:extLst>
              </p:cNvPr>
              <p:cNvSpPr/>
              <p:nvPr/>
            </p:nvSpPr>
            <p:spPr bwMode="auto">
              <a:xfrm>
                <a:off x="3521877" y="511997"/>
                <a:ext cx="640398" cy="640398"/>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43" name="TextBox 10">
            <a:extLst>
              <a:ext uri="{FF2B5EF4-FFF2-40B4-BE49-F238E27FC236}">
                <a16:creationId xmlns:a16="http://schemas.microsoft.com/office/drawing/2014/main" id="{896338E4-5E15-43CE-8AF9-7CEA7FF4CEDC}"/>
              </a:ext>
            </a:extLst>
          </p:cNvPr>
          <p:cNvSpPr txBox="1"/>
          <p:nvPr/>
        </p:nvSpPr>
        <p:spPr>
          <a:xfrm>
            <a:off x="666918" y="3255903"/>
            <a:ext cx="2097678" cy="4524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600" b="0" i="0" u="none" strike="noStrike" kern="1200" cap="none" spc="29" normalizeH="0" baseline="0" noProof="0" dirty="0">
                <a:ln>
                  <a:noFill/>
                </a:ln>
                <a:solidFill>
                  <a:srgbClr val="0078D7"/>
                </a:solidFill>
                <a:effectLst/>
                <a:uLnTx/>
                <a:uFillTx/>
                <a:latin typeface="Segoe UI Light"/>
                <a:ea typeface="+mn-ea"/>
                <a:cs typeface="Segoe UI" pitchFamily="34" charset="0"/>
              </a:rPr>
              <a:t>Trusted</a:t>
            </a:r>
          </a:p>
        </p:txBody>
      </p:sp>
      <p:sp>
        <p:nvSpPr>
          <p:cNvPr id="49" name="TextBox 10">
            <a:extLst>
              <a:ext uri="{FF2B5EF4-FFF2-40B4-BE49-F238E27FC236}">
                <a16:creationId xmlns:a16="http://schemas.microsoft.com/office/drawing/2014/main" id="{8BD8644E-02C1-4F61-928F-E8902B1F0AC2}"/>
              </a:ext>
            </a:extLst>
          </p:cNvPr>
          <p:cNvSpPr txBox="1"/>
          <p:nvPr/>
        </p:nvSpPr>
        <p:spPr>
          <a:xfrm>
            <a:off x="666918" y="3255903"/>
            <a:ext cx="2097678" cy="4524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600" b="0" i="0" u="none" strike="noStrike" kern="1200" cap="none" spc="29" normalizeH="0" baseline="0" noProof="0" dirty="0">
                <a:ln>
                  <a:noFill/>
                </a:ln>
                <a:solidFill>
                  <a:srgbClr val="0078D7"/>
                </a:solidFill>
                <a:effectLst/>
                <a:uLnTx/>
                <a:uFillTx/>
                <a:latin typeface="Segoe UI Light"/>
                <a:ea typeface="+mn-ea"/>
                <a:cs typeface="Segoe UI" pitchFamily="34" charset="0"/>
              </a:rPr>
              <a:t>Productive</a:t>
            </a:r>
          </a:p>
        </p:txBody>
      </p:sp>
      <p:sp>
        <p:nvSpPr>
          <p:cNvPr id="50" name="TextBox 10">
            <a:extLst>
              <a:ext uri="{FF2B5EF4-FFF2-40B4-BE49-F238E27FC236}">
                <a16:creationId xmlns:a16="http://schemas.microsoft.com/office/drawing/2014/main" id="{FF250B0B-16D0-4242-B609-FCD6071403FF}"/>
              </a:ext>
            </a:extLst>
          </p:cNvPr>
          <p:cNvSpPr txBox="1"/>
          <p:nvPr/>
        </p:nvSpPr>
        <p:spPr>
          <a:xfrm>
            <a:off x="666918" y="3255903"/>
            <a:ext cx="2097678" cy="4524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600" b="0" i="0" u="none" strike="noStrike" kern="1200" cap="none" spc="29" normalizeH="0" baseline="0" noProof="0" dirty="0">
                <a:ln>
                  <a:noFill/>
                </a:ln>
                <a:solidFill>
                  <a:srgbClr val="0078D7"/>
                </a:solidFill>
                <a:effectLst/>
                <a:uLnTx/>
                <a:uFillTx/>
                <a:latin typeface="Segoe UI Light"/>
                <a:ea typeface="+mn-ea"/>
                <a:cs typeface="Segoe UI" pitchFamily="34" charset="0"/>
              </a:rPr>
              <a:t>Intelligent</a:t>
            </a:r>
          </a:p>
        </p:txBody>
      </p:sp>
      <p:sp>
        <p:nvSpPr>
          <p:cNvPr id="56" name="TextBox 10">
            <a:extLst>
              <a:ext uri="{FF2B5EF4-FFF2-40B4-BE49-F238E27FC236}">
                <a16:creationId xmlns:a16="http://schemas.microsoft.com/office/drawing/2014/main" id="{2F69F83B-0A06-4322-8678-085D0848E284}"/>
              </a:ext>
            </a:extLst>
          </p:cNvPr>
          <p:cNvSpPr txBox="1"/>
          <p:nvPr/>
        </p:nvSpPr>
        <p:spPr>
          <a:xfrm>
            <a:off x="666918" y="3255903"/>
            <a:ext cx="2097678" cy="4524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600" b="0" i="0" u="none" strike="noStrike" kern="1200" cap="none" spc="29" normalizeH="0" baseline="0" noProof="0" dirty="0">
                <a:ln>
                  <a:noFill/>
                </a:ln>
                <a:solidFill>
                  <a:srgbClr val="0078D7"/>
                </a:solidFill>
                <a:effectLst/>
                <a:uLnTx/>
                <a:uFillTx/>
                <a:latin typeface="Segoe UI Light"/>
                <a:ea typeface="+mn-ea"/>
                <a:cs typeface="Segoe UI" pitchFamily="34" charset="0"/>
              </a:rPr>
              <a:t>Hybrid</a:t>
            </a:r>
          </a:p>
        </p:txBody>
      </p:sp>
      <p:sp>
        <p:nvSpPr>
          <p:cNvPr id="57" name="speedometer_2">
            <a:extLst>
              <a:ext uri="{FF2B5EF4-FFF2-40B4-BE49-F238E27FC236}">
                <a16:creationId xmlns:a16="http://schemas.microsoft.com/office/drawing/2014/main" id="{46821C48-C0E2-4818-81B4-7D5236DC9004}"/>
              </a:ext>
            </a:extLst>
          </p:cNvPr>
          <p:cNvSpPr>
            <a:spLocks noChangeAspect="1" noEditPoints="1"/>
          </p:cNvSpPr>
          <p:nvPr/>
        </p:nvSpPr>
        <p:spPr bwMode="auto">
          <a:xfrm>
            <a:off x="1349546" y="3115909"/>
            <a:ext cx="732422" cy="732420"/>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58" name="Group 57">
            <a:extLst>
              <a:ext uri="{FF2B5EF4-FFF2-40B4-BE49-F238E27FC236}">
                <a16:creationId xmlns:a16="http://schemas.microsoft.com/office/drawing/2014/main" id="{77AD9DD7-EB86-45CE-9B27-089347C7D079}"/>
              </a:ext>
            </a:extLst>
          </p:cNvPr>
          <p:cNvGrpSpPr/>
          <p:nvPr/>
        </p:nvGrpSpPr>
        <p:grpSpPr>
          <a:xfrm>
            <a:off x="1378658" y="3152864"/>
            <a:ext cx="674198" cy="658510"/>
            <a:chOff x="2088630" y="3287843"/>
            <a:chExt cx="429718" cy="419725"/>
          </a:xfrm>
          <a:noFill/>
        </p:grpSpPr>
        <p:sp>
          <p:nvSpPr>
            <p:cNvPr id="59" name="Rectangle 58">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0" name="Rectangle 59">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61"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1465007" y="3109842"/>
            <a:ext cx="501500" cy="744554"/>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2" name="Freeform 61"/>
          <p:cNvSpPr>
            <a:spLocks noChangeArrowheads="1"/>
          </p:cNvSpPr>
          <p:nvPr/>
        </p:nvSpPr>
        <p:spPr bwMode="auto">
          <a:xfrm>
            <a:off x="1320608" y="3091120"/>
            <a:ext cx="790298" cy="781998"/>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 name="Rectangle 1">
            <a:extLst>
              <a:ext uri="{FF2B5EF4-FFF2-40B4-BE49-F238E27FC236}">
                <a16:creationId xmlns:a16="http://schemas.microsoft.com/office/drawing/2014/main" id="{887160B4-1DB5-425F-9148-F4A021E3317E}"/>
              </a:ext>
            </a:extLst>
          </p:cNvPr>
          <p:cNvSpPr/>
          <p:nvPr/>
        </p:nvSpPr>
        <p:spPr bwMode="auto">
          <a:xfrm>
            <a:off x="-9782" y="0"/>
            <a:ext cx="3417024"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3" name="Rectangle 172"/>
          <p:cNvSpPr/>
          <p:nvPr/>
        </p:nvSpPr>
        <p:spPr bwMode="auto">
          <a:xfrm>
            <a:off x="-9782" y="-1"/>
            <a:ext cx="3421746" cy="6876791"/>
          </a:xfrm>
          <a:prstGeom prst="rect">
            <a:avLst/>
          </a:prstGeom>
          <a:solidFill>
            <a:srgbClr val="001F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63" name="Picture 62">
            <a:extLst>
              <a:ext uri="{FF2B5EF4-FFF2-40B4-BE49-F238E27FC236}">
                <a16:creationId xmlns:a16="http://schemas.microsoft.com/office/drawing/2014/main" id="{D3306387-D82A-41F4-953A-523158B43CD8}"/>
              </a:ext>
            </a:extLst>
          </p:cNvPr>
          <p:cNvPicPr>
            <a:picLocks noChangeAspect="1"/>
          </p:cNvPicPr>
          <p:nvPr/>
        </p:nvPicPr>
        <p:blipFill>
          <a:blip r:embed="rId3"/>
          <a:stretch>
            <a:fillRect/>
          </a:stretch>
        </p:blipFill>
        <p:spPr>
          <a:xfrm>
            <a:off x="576183" y="3020725"/>
            <a:ext cx="2375781" cy="836425"/>
          </a:xfrm>
          <a:prstGeom prst="rect">
            <a:avLst/>
          </a:prstGeom>
        </p:spPr>
      </p:pic>
      <p:sp>
        <p:nvSpPr>
          <p:cNvPr id="87" name="Rectangle 86">
            <a:extLst>
              <a:ext uri="{FF2B5EF4-FFF2-40B4-BE49-F238E27FC236}">
                <a16:creationId xmlns:a16="http://schemas.microsoft.com/office/drawing/2014/main" id="{4672BFE8-5A5B-445B-84BF-7DBF1D908135}"/>
              </a:ext>
            </a:extLst>
          </p:cNvPr>
          <p:cNvSpPr/>
          <p:nvPr/>
        </p:nvSpPr>
        <p:spPr bwMode="auto">
          <a:xfrm>
            <a:off x="4283901" y="1671142"/>
            <a:ext cx="6964943" cy="3505138"/>
          </a:xfrm>
          <a:prstGeom prst="rect">
            <a:avLst/>
          </a:prstGeom>
          <a:solidFill>
            <a:srgbClr val="F8F8F8"/>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8" name="Rectangle 87">
            <a:extLst>
              <a:ext uri="{FF2B5EF4-FFF2-40B4-BE49-F238E27FC236}">
                <a16:creationId xmlns:a16="http://schemas.microsoft.com/office/drawing/2014/main" id="{A1BA17D9-4BE6-4AAA-B428-80E9880C6841}"/>
              </a:ext>
            </a:extLst>
          </p:cNvPr>
          <p:cNvSpPr/>
          <p:nvPr/>
        </p:nvSpPr>
        <p:spPr bwMode="auto">
          <a:xfrm>
            <a:off x="4271375" y="5177941"/>
            <a:ext cx="6978510" cy="1697188"/>
          </a:xfrm>
          <a:prstGeom prst="rect">
            <a:avLst/>
          </a:prstGeom>
          <a:solidFill>
            <a:srgbClr val="005AA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9" name="Rectangle 88">
            <a:extLst>
              <a:ext uri="{FF2B5EF4-FFF2-40B4-BE49-F238E27FC236}">
                <a16:creationId xmlns:a16="http://schemas.microsoft.com/office/drawing/2014/main" id="{986C5579-A663-48B3-ABA6-0DFE6A537BEB}"/>
              </a:ext>
            </a:extLst>
          </p:cNvPr>
          <p:cNvSpPr/>
          <p:nvPr/>
        </p:nvSpPr>
        <p:spPr bwMode="auto">
          <a:xfrm>
            <a:off x="4271376" y="-1"/>
            <a:ext cx="6978508" cy="1676987"/>
          </a:xfrm>
          <a:prstGeom prst="rect">
            <a:avLst/>
          </a:prstGeom>
          <a:solidFill>
            <a:srgbClr val="005AA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4" name="Rectangle 53">
            <a:extLst>
              <a:ext uri="{FF2B5EF4-FFF2-40B4-BE49-F238E27FC236}">
                <a16:creationId xmlns:a16="http://schemas.microsoft.com/office/drawing/2014/main" id="{1832C7CA-1472-4170-A7A0-EE52DB868596}"/>
              </a:ext>
            </a:extLst>
          </p:cNvPr>
          <p:cNvSpPr/>
          <p:nvPr/>
        </p:nvSpPr>
        <p:spPr bwMode="auto">
          <a:xfrm>
            <a:off x="3411963" y="0"/>
            <a:ext cx="858371" cy="6876790"/>
          </a:xfrm>
          <a:prstGeom prst="rect">
            <a:avLst/>
          </a:prstGeom>
          <a:solidFill>
            <a:schemeClr val="tx2">
              <a:lumMod val="50000"/>
            </a:schemeClr>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0" name="Rectangle 89">
            <a:extLst>
              <a:ext uri="{FF2B5EF4-FFF2-40B4-BE49-F238E27FC236}">
                <a16:creationId xmlns:a16="http://schemas.microsoft.com/office/drawing/2014/main" id="{BDD43FDD-BE02-4937-B9CD-56A2ED044C6A}"/>
              </a:ext>
            </a:extLst>
          </p:cNvPr>
          <p:cNvSpPr/>
          <p:nvPr/>
        </p:nvSpPr>
        <p:spPr bwMode="auto">
          <a:xfrm>
            <a:off x="11249886" y="0"/>
            <a:ext cx="968618" cy="6875129"/>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18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charset="0"/>
              <a:ea typeface="Segoe UI Semibold" charset="0"/>
              <a:cs typeface="Segoe UI Semibold" charset="0"/>
            </a:endParaRPr>
          </a:p>
        </p:txBody>
      </p:sp>
      <p:sp>
        <p:nvSpPr>
          <p:cNvPr id="91" name="Rectangle 90">
            <a:extLst>
              <a:ext uri="{FF2B5EF4-FFF2-40B4-BE49-F238E27FC236}">
                <a16:creationId xmlns:a16="http://schemas.microsoft.com/office/drawing/2014/main" id="{881B7889-9433-4477-8390-30C02AA0B732}"/>
              </a:ext>
            </a:extLst>
          </p:cNvPr>
          <p:cNvSpPr/>
          <p:nvPr/>
        </p:nvSpPr>
        <p:spPr bwMode="auto">
          <a:xfrm>
            <a:off x="4549300" y="5398707"/>
            <a:ext cx="2852473" cy="5380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9EFF"/>
                </a:solidFill>
                <a:effectLst/>
                <a:uLnTx/>
                <a:uFillTx/>
                <a:latin typeface="Segoe UI Semibold" panose="020B0702040204020203" pitchFamily="34" charset="0"/>
                <a:ea typeface="Segoe UI" pitchFamily="34" charset="0"/>
                <a:cs typeface="Segoe UI Semibold" panose="020B0702040204020203" pitchFamily="34" charset="0"/>
              </a:rPr>
              <a:t>Core infrastructure</a:t>
            </a:r>
          </a:p>
        </p:txBody>
      </p:sp>
      <p:sp>
        <p:nvSpPr>
          <p:cNvPr id="92" name="Rectangle 91">
            <a:extLst>
              <a:ext uri="{FF2B5EF4-FFF2-40B4-BE49-F238E27FC236}">
                <a16:creationId xmlns:a16="http://schemas.microsoft.com/office/drawing/2014/main" id="{12C140FC-89E6-41E7-A953-E4F097DA7561}"/>
              </a:ext>
            </a:extLst>
          </p:cNvPr>
          <p:cNvSpPr/>
          <p:nvPr/>
        </p:nvSpPr>
        <p:spPr bwMode="auto">
          <a:xfrm>
            <a:off x="4363071" y="6211916"/>
            <a:ext cx="1475167" cy="4337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charset="0"/>
                <a:ea typeface="Segoe UI" charset="0"/>
                <a:cs typeface="Segoe UI" charset="0"/>
              </a:rPr>
              <a:t>Compute</a:t>
            </a:r>
          </a:p>
        </p:txBody>
      </p:sp>
      <p:sp>
        <p:nvSpPr>
          <p:cNvPr id="93" name="Rectangle 92">
            <a:extLst>
              <a:ext uri="{FF2B5EF4-FFF2-40B4-BE49-F238E27FC236}">
                <a16:creationId xmlns:a16="http://schemas.microsoft.com/office/drawing/2014/main" id="{9CC46666-3FE1-47AC-BC85-84166401FDD1}"/>
              </a:ext>
            </a:extLst>
          </p:cNvPr>
          <p:cNvSpPr/>
          <p:nvPr/>
        </p:nvSpPr>
        <p:spPr bwMode="auto">
          <a:xfrm>
            <a:off x="6593931" y="6211916"/>
            <a:ext cx="1475167" cy="4337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charset="0"/>
                <a:ea typeface="Segoe UI" charset="0"/>
                <a:cs typeface="Segoe UI" charset="0"/>
              </a:rPr>
              <a:t>Storage</a:t>
            </a:r>
          </a:p>
        </p:txBody>
      </p:sp>
      <p:sp>
        <p:nvSpPr>
          <p:cNvPr id="94" name="Rectangle 93">
            <a:extLst>
              <a:ext uri="{FF2B5EF4-FFF2-40B4-BE49-F238E27FC236}">
                <a16:creationId xmlns:a16="http://schemas.microsoft.com/office/drawing/2014/main" id="{306EFD60-9757-4D36-9CF0-E73F11CF1794}"/>
              </a:ext>
            </a:extLst>
          </p:cNvPr>
          <p:cNvSpPr/>
          <p:nvPr/>
        </p:nvSpPr>
        <p:spPr bwMode="auto">
          <a:xfrm>
            <a:off x="9226053" y="6211916"/>
            <a:ext cx="1475167" cy="4337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charset="0"/>
                <a:ea typeface="Segoe UI" charset="0"/>
                <a:cs typeface="Segoe UI" charset="0"/>
              </a:rPr>
              <a:t>Networking</a:t>
            </a:r>
          </a:p>
        </p:txBody>
      </p:sp>
      <p:sp>
        <p:nvSpPr>
          <p:cNvPr id="95" name="Rectangle 94">
            <a:extLst>
              <a:ext uri="{FF2B5EF4-FFF2-40B4-BE49-F238E27FC236}">
                <a16:creationId xmlns:a16="http://schemas.microsoft.com/office/drawing/2014/main" id="{FF7E1DFE-EDCC-43C5-9ADD-98FA88208A03}"/>
              </a:ext>
            </a:extLst>
          </p:cNvPr>
          <p:cNvSpPr/>
          <p:nvPr/>
        </p:nvSpPr>
        <p:spPr bwMode="auto">
          <a:xfrm>
            <a:off x="5532128" y="5870763"/>
            <a:ext cx="1475167" cy="4337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charset="0"/>
                <a:ea typeface="Segoe UI" charset="0"/>
                <a:cs typeface="Segoe UI" charset="0"/>
              </a:rPr>
              <a:t>Security</a:t>
            </a:r>
          </a:p>
        </p:txBody>
      </p:sp>
      <p:sp>
        <p:nvSpPr>
          <p:cNvPr id="96" name="Rectangle 95">
            <a:extLst>
              <a:ext uri="{FF2B5EF4-FFF2-40B4-BE49-F238E27FC236}">
                <a16:creationId xmlns:a16="http://schemas.microsoft.com/office/drawing/2014/main" id="{0D3791ED-56BD-4265-8E7E-BDDF4BE39F05}"/>
              </a:ext>
            </a:extLst>
          </p:cNvPr>
          <p:cNvSpPr/>
          <p:nvPr/>
        </p:nvSpPr>
        <p:spPr bwMode="auto">
          <a:xfrm>
            <a:off x="7649531" y="5870763"/>
            <a:ext cx="1719402" cy="4337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charset="0"/>
                <a:ea typeface="Segoe UI" charset="0"/>
                <a:cs typeface="Segoe UI" charset="0"/>
              </a:rPr>
              <a:t>Management</a:t>
            </a:r>
          </a:p>
        </p:txBody>
      </p:sp>
      <p:sp>
        <p:nvSpPr>
          <p:cNvPr id="97" name="Rectangle 96">
            <a:extLst>
              <a:ext uri="{FF2B5EF4-FFF2-40B4-BE49-F238E27FC236}">
                <a16:creationId xmlns:a16="http://schemas.microsoft.com/office/drawing/2014/main" id="{8B9CB29C-B882-4525-A951-22B3F47AD167}"/>
              </a:ext>
            </a:extLst>
          </p:cNvPr>
          <p:cNvSpPr/>
          <p:nvPr/>
        </p:nvSpPr>
        <p:spPr bwMode="auto">
          <a:xfrm>
            <a:off x="4548063" y="2194008"/>
            <a:ext cx="2982593" cy="4901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9EFF"/>
                </a:solidFill>
                <a:effectLst/>
                <a:uLnTx/>
                <a:uFillTx/>
                <a:latin typeface="Segoe UI Semibold" panose="020B0702040204020203" pitchFamily="34" charset="0"/>
                <a:ea typeface="Segoe UI" pitchFamily="34" charset="0"/>
                <a:cs typeface="Segoe UI Semibold" panose="020B0702040204020203" pitchFamily="34" charset="0"/>
              </a:rPr>
              <a:t>Advanced workloads</a:t>
            </a:r>
          </a:p>
        </p:txBody>
      </p:sp>
      <p:sp>
        <p:nvSpPr>
          <p:cNvPr id="98" name="Rectangle 97">
            <a:extLst>
              <a:ext uri="{FF2B5EF4-FFF2-40B4-BE49-F238E27FC236}">
                <a16:creationId xmlns:a16="http://schemas.microsoft.com/office/drawing/2014/main" id="{8639CA34-8DBF-428D-9B55-7DA79FB5150D}"/>
              </a:ext>
            </a:extLst>
          </p:cNvPr>
          <p:cNvSpPr/>
          <p:nvPr/>
        </p:nvSpPr>
        <p:spPr bwMode="auto">
          <a:xfrm>
            <a:off x="4568919" y="2535726"/>
            <a:ext cx="3421684" cy="226891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5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505050">
                    <a:lumMod val="75000"/>
                  </a:srgbClr>
                </a:solidFill>
                <a:effectLst/>
                <a:uLnTx/>
                <a:uFillTx/>
                <a:latin typeface="Segoe UI Semilight"/>
                <a:ea typeface="Segoe UI" pitchFamily="34" charset="0"/>
                <a:cs typeface="Segoe UI" pitchFamily="34" charset="0"/>
              </a:rPr>
              <a:t>Web + mobile</a:t>
            </a:r>
            <a:br>
              <a:rPr kumimoji="0" lang="en-US" sz="1800" b="0" i="0" u="none" strike="noStrike" kern="1200" cap="none" spc="0" normalizeH="0" baseline="0" noProof="0" dirty="0">
                <a:ln>
                  <a:noFill/>
                </a:ln>
                <a:solidFill>
                  <a:srgbClr val="505050">
                    <a:lumMod val="75000"/>
                  </a:srgbClr>
                </a:solidFill>
                <a:effectLst/>
                <a:uLnTx/>
                <a:uFillTx/>
                <a:latin typeface="Segoe UI Semilight"/>
                <a:ea typeface="Segoe UI" pitchFamily="34" charset="0"/>
                <a:cs typeface="Segoe UI" pitchFamily="34" charset="0"/>
              </a:rPr>
            </a:br>
            <a:r>
              <a:rPr kumimoji="0" lang="en-US" sz="1800" b="0" i="0" u="none" strike="noStrike" kern="1200" cap="none" spc="0" normalizeH="0" baseline="0" noProof="0" dirty="0">
                <a:ln>
                  <a:noFill/>
                </a:ln>
                <a:solidFill>
                  <a:srgbClr val="505050">
                    <a:lumMod val="75000"/>
                  </a:srgbClr>
                </a:solidFill>
                <a:effectLst/>
                <a:uLnTx/>
                <a:uFillTx/>
                <a:latin typeface="Segoe UI Semilight"/>
                <a:ea typeface="Segoe UI" pitchFamily="34" charset="0"/>
                <a:cs typeface="Segoe UI" pitchFamily="34" charset="0"/>
              </a:rPr>
              <a:t>Internet of Things</a:t>
            </a:r>
          </a:p>
          <a:p>
            <a:pPr marL="0" marR="0" lvl="0" indent="0" algn="l" defTabSz="932293" rtl="0" eaLnBrk="1" fontAlgn="base" latinLnBrk="0" hangingPunct="1">
              <a:lnSpc>
                <a:spcPct val="15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505050">
                    <a:lumMod val="75000"/>
                  </a:srgbClr>
                </a:solidFill>
                <a:effectLst/>
                <a:uLnTx/>
                <a:uFillTx/>
                <a:latin typeface="Segoe UI Semilight"/>
                <a:ea typeface="Segoe UI" pitchFamily="34" charset="0"/>
                <a:cs typeface="Segoe UI" pitchFamily="34" charset="0"/>
              </a:rPr>
              <a:t>Microservices</a:t>
            </a:r>
          </a:p>
          <a:p>
            <a:pPr marL="0" marR="0" lvl="0" indent="0" algn="l" defTabSz="932293" rtl="0" eaLnBrk="1" fontAlgn="base" latinLnBrk="0" hangingPunct="1">
              <a:lnSpc>
                <a:spcPct val="15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505050">
                    <a:lumMod val="75000"/>
                  </a:srgbClr>
                </a:solidFill>
                <a:effectLst/>
                <a:uLnTx/>
                <a:uFillTx/>
                <a:latin typeface="Segoe UI Semilight"/>
                <a:ea typeface="Segoe UI" pitchFamily="34" charset="0"/>
                <a:cs typeface="Segoe UI" pitchFamily="34" charset="0"/>
              </a:rPr>
              <a:t>Containers</a:t>
            </a:r>
          </a:p>
          <a:p>
            <a:pPr marL="0" marR="0" lvl="0" indent="0" algn="l" defTabSz="932293" rtl="0" eaLnBrk="1" fontAlgn="base" latinLnBrk="0" hangingPunct="1">
              <a:lnSpc>
                <a:spcPct val="15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505050">
                    <a:lumMod val="75000"/>
                  </a:srgbClr>
                </a:solidFill>
                <a:effectLst/>
                <a:uLnTx/>
                <a:uFillTx/>
                <a:latin typeface="Segoe UI Semilight"/>
                <a:ea typeface="Segoe UI" pitchFamily="34" charset="0"/>
                <a:cs typeface="Segoe UI" pitchFamily="34" charset="0"/>
              </a:rPr>
              <a:t>Serverless</a:t>
            </a:r>
          </a:p>
        </p:txBody>
      </p:sp>
      <p:sp>
        <p:nvSpPr>
          <p:cNvPr id="134" name="Rectangle 133">
            <a:extLst>
              <a:ext uri="{FF2B5EF4-FFF2-40B4-BE49-F238E27FC236}">
                <a16:creationId xmlns:a16="http://schemas.microsoft.com/office/drawing/2014/main" id="{87093771-0E22-4D72-BC75-036AB0CA806C}"/>
              </a:ext>
            </a:extLst>
          </p:cNvPr>
          <p:cNvSpPr/>
          <p:nvPr/>
        </p:nvSpPr>
        <p:spPr bwMode="auto">
          <a:xfrm>
            <a:off x="7232792" y="2535726"/>
            <a:ext cx="3421684" cy="226891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5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505050">
                    <a:lumMod val="75000"/>
                  </a:srgbClr>
                </a:solidFill>
                <a:effectLst/>
                <a:uLnTx/>
                <a:uFillTx/>
                <a:latin typeface="Segoe UI Semilight"/>
                <a:ea typeface="Segoe UI" pitchFamily="34" charset="0"/>
                <a:cs typeface="Segoe UI" pitchFamily="34" charset="0"/>
              </a:rPr>
              <a:t>Identity</a:t>
            </a:r>
          </a:p>
          <a:p>
            <a:pPr marL="0" marR="0" lvl="0" indent="0" algn="l" defTabSz="932293" rtl="0" eaLnBrk="1" fontAlgn="base" latinLnBrk="0" hangingPunct="1">
              <a:lnSpc>
                <a:spcPct val="15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505050">
                    <a:lumMod val="75000"/>
                  </a:srgbClr>
                </a:solidFill>
                <a:effectLst/>
                <a:uLnTx/>
                <a:uFillTx/>
                <a:latin typeface="Segoe UI Semilight"/>
                <a:ea typeface="Segoe UI" pitchFamily="34" charset="0"/>
                <a:cs typeface="Segoe UI" pitchFamily="34" charset="0"/>
              </a:rPr>
              <a:t>Data + analytics</a:t>
            </a:r>
          </a:p>
          <a:p>
            <a:pPr marL="0" marR="0" lvl="0" indent="0" algn="l" defTabSz="932293" rtl="0" eaLnBrk="1" fontAlgn="base" latinLnBrk="0" hangingPunct="1">
              <a:lnSpc>
                <a:spcPct val="15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505050">
                    <a:lumMod val="75000"/>
                  </a:srgbClr>
                </a:solidFill>
                <a:effectLst/>
                <a:uLnTx/>
                <a:uFillTx/>
                <a:latin typeface="Segoe UI Semilight"/>
                <a:ea typeface="Segoe UI" pitchFamily="34" charset="0"/>
                <a:cs typeface="Segoe UI" pitchFamily="34" charset="0"/>
              </a:rPr>
              <a:t>Artificial intelligence</a:t>
            </a:r>
          </a:p>
          <a:p>
            <a:pPr marL="0" marR="0" lvl="0" indent="0" algn="l" defTabSz="932293" rtl="0" eaLnBrk="1" fontAlgn="base" latinLnBrk="0" hangingPunct="1">
              <a:lnSpc>
                <a:spcPct val="15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505050">
                    <a:lumMod val="75000"/>
                  </a:srgbClr>
                </a:solidFill>
                <a:effectLst/>
                <a:uLnTx/>
                <a:uFillTx/>
                <a:latin typeface="Segoe UI Semilight"/>
                <a:ea typeface="Segoe UI" pitchFamily="34" charset="0"/>
                <a:cs typeface="Segoe UI" pitchFamily="34" charset="0"/>
              </a:rPr>
              <a:t>Cognitive services</a:t>
            </a:r>
          </a:p>
          <a:p>
            <a:pPr marL="0" marR="0" lvl="0" indent="0" algn="l" defTabSz="932293" rtl="0" eaLnBrk="1" fontAlgn="base" latinLnBrk="0" hangingPunct="1">
              <a:lnSpc>
                <a:spcPct val="15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505050">
                    <a:lumMod val="75000"/>
                  </a:srgbClr>
                </a:solidFill>
                <a:effectLst/>
                <a:uLnTx/>
                <a:uFillTx/>
                <a:latin typeface="Segoe UI Semilight"/>
                <a:ea typeface="Segoe UI" pitchFamily="34" charset="0"/>
                <a:cs typeface="Segoe UI" pitchFamily="34" charset="0"/>
              </a:rPr>
              <a:t>High performance computing</a:t>
            </a:r>
          </a:p>
        </p:txBody>
      </p:sp>
      <p:sp>
        <p:nvSpPr>
          <p:cNvPr id="135" name="Rectangle 134">
            <a:extLst>
              <a:ext uri="{FF2B5EF4-FFF2-40B4-BE49-F238E27FC236}">
                <a16:creationId xmlns:a16="http://schemas.microsoft.com/office/drawing/2014/main" id="{1553F0DC-5351-4E3E-AF56-75C2BF5BFAC5}"/>
              </a:ext>
            </a:extLst>
          </p:cNvPr>
          <p:cNvSpPr/>
          <p:nvPr/>
        </p:nvSpPr>
        <p:spPr bwMode="auto">
          <a:xfrm>
            <a:off x="4548063" y="213926"/>
            <a:ext cx="1713037" cy="4901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9EFF"/>
                </a:solidFill>
                <a:effectLst/>
                <a:uLnTx/>
                <a:uFillTx/>
                <a:latin typeface="Segoe UI Semibold" panose="020B0702040204020203" pitchFamily="34" charset="0"/>
                <a:ea typeface="Segoe UI" pitchFamily="34" charset="0"/>
                <a:cs typeface="Segoe UI Semibold" panose="020B0702040204020203" pitchFamily="34" charset="0"/>
              </a:rPr>
              <a:t>Tools</a:t>
            </a:r>
          </a:p>
        </p:txBody>
      </p:sp>
      <p:sp>
        <p:nvSpPr>
          <p:cNvPr id="136" name="Rectangle 135">
            <a:extLst>
              <a:ext uri="{FF2B5EF4-FFF2-40B4-BE49-F238E27FC236}">
                <a16:creationId xmlns:a16="http://schemas.microsoft.com/office/drawing/2014/main" id="{89ABB50E-050C-4B91-A399-CEC7CFE142E3}"/>
              </a:ext>
            </a:extLst>
          </p:cNvPr>
          <p:cNvSpPr/>
          <p:nvPr/>
        </p:nvSpPr>
        <p:spPr bwMode="auto">
          <a:xfrm>
            <a:off x="4568918" y="699261"/>
            <a:ext cx="5497922" cy="8274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3" spcCol="18288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charset="0"/>
                <a:ea typeface="Segoe UI" charset="0"/>
                <a:cs typeface="Segoe UI" charset="0"/>
              </a:rPr>
              <a:t>Developer </a:t>
            </a:r>
            <a:br>
              <a:rPr kumimoji="0" lang="en-US" sz="1600" b="0" i="0" u="none" strike="noStrike" kern="1200" cap="none" spc="0" normalizeH="0" baseline="0" noProof="0" dirty="0">
                <a:ln>
                  <a:noFill/>
                </a:ln>
                <a:solidFill>
                  <a:srgbClr val="FFFFFF"/>
                </a:solidFill>
                <a:effectLst/>
                <a:uLnTx/>
                <a:uFillTx/>
                <a:latin typeface="Segoe UI" charset="0"/>
                <a:ea typeface="Segoe UI" charset="0"/>
                <a:cs typeface="Segoe UI" charset="0"/>
              </a:rPr>
            </a:br>
            <a:r>
              <a:rPr kumimoji="0" lang="en-US" sz="1600" b="0" i="0" u="none" strike="noStrike" kern="1200" cap="none" spc="0" normalizeH="0" baseline="0" noProof="0" dirty="0">
                <a:ln>
                  <a:noFill/>
                </a:ln>
                <a:solidFill>
                  <a:srgbClr val="FFFFFF"/>
                </a:solidFill>
                <a:effectLst/>
                <a:uLnTx/>
                <a:uFillTx/>
                <a:latin typeface="Segoe UI" charset="0"/>
                <a:ea typeface="Segoe UI" charset="0"/>
                <a:cs typeface="Segoe UI" charset="0"/>
              </a:rPr>
              <a:t>tools</a:t>
            </a: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charset="0"/>
              <a:ea typeface="Segoe UI" charset="0"/>
              <a:cs typeface="Segoe UI"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charset="0"/>
                <a:ea typeface="Segoe UI" charset="0"/>
                <a:cs typeface="Segoe UI" charset="0"/>
              </a:rPr>
              <a:t>DevOps  </a:t>
            </a:r>
            <a:br>
              <a:rPr kumimoji="0" lang="en-US" sz="1600" b="0" i="0" u="none" strike="noStrike" kern="1200" cap="none" spc="0" normalizeH="0" baseline="0" noProof="0" dirty="0">
                <a:ln>
                  <a:noFill/>
                </a:ln>
                <a:solidFill>
                  <a:srgbClr val="FFFFFF"/>
                </a:solidFill>
                <a:effectLst/>
                <a:uLnTx/>
                <a:uFillTx/>
                <a:latin typeface="Segoe UI" charset="0"/>
                <a:ea typeface="Segoe UI" charset="0"/>
                <a:cs typeface="Segoe UI" charset="0"/>
              </a:rPr>
            </a:br>
            <a:r>
              <a:rPr kumimoji="0" lang="en-US" sz="1600" b="0" i="0" u="none" strike="noStrike" kern="1200" cap="none" spc="0" normalizeH="0" baseline="0" noProof="0" dirty="0">
                <a:ln>
                  <a:noFill/>
                </a:ln>
                <a:solidFill>
                  <a:srgbClr val="FFFFFF"/>
                </a:solidFill>
                <a:effectLst/>
                <a:uLnTx/>
                <a:uFillTx/>
                <a:latin typeface="Segoe UI" charset="0"/>
                <a:ea typeface="Segoe UI" charset="0"/>
                <a:cs typeface="Segoe UI" charset="0"/>
              </a:rPr>
              <a:t>     </a:t>
            </a: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charset="0"/>
              <a:ea typeface="Segoe UI" charset="0"/>
              <a:cs typeface="Segoe UI"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charset="0"/>
                <a:ea typeface="Segoe UI" charset="0"/>
                <a:cs typeface="Segoe UI" charset="0"/>
              </a:rPr>
              <a:t>Portal + </a:t>
            </a:r>
            <a:br>
              <a:rPr kumimoji="0" lang="en-US" sz="1600" b="0" i="0" u="none" strike="noStrike" kern="1200" cap="none" spc="0" normalizeH="0" baseline="0" noProof="0" dirty="0">
                <a:ln>
                  <a:noFill/>
                </a:ln>
                <a:solidFill>
                  <a:srgbClr val="FFFFFF"/>
                </a:solidFill>
                <a:effectLst/>
                <a:uLnTx/>
                <a:uFillTx/>
                <a:latin typeface="Segoe UI" charset="0"/>
                <a:ea typeface="Segoe UI" charset="0"/>
                <a:cs typeface="Segoe UI" charset="0"/>
              </a:rPr>
            </a:br>
            <a:r>
              <a:rPr kumimoji="0" lang="en-US" sz="1600" b="0" i="0" u="none" strike="noStrike" kern="1200" cap="none" spc="0" normalizeH="0" baseline="0" noProof="0" dirty="0">
                <a:ln>
                  <a:noFill/>
                </a:ln>
                <a:solidFill>
                  <a:srgbClr val="FFFFFF"/>
                </a:solidFill>
                <a:effectLst/>
                <a:uLnTx/>
                <a:uFillTx/>
                <a:latin typeface="Segoe UI" charset="0"/>
                <a:ea typeface="Segoe UI" charset="0"/>
                <a:cs typeface="Segoe UI" charset="0"/>
              </a:rPr>
              <a:t>scripting</a:t>
            </a:r>
          </a:p>
        </p:txBody>
      </p:sp>
      <p:grpSp>
        <p:nvGrpSpPr>
          <p:cNvPr id="141" name="Group 140">
            <a:extLst>
              <a:ext uri="{FF2B5EF4-FFF2-40B4-BE49-F238E27FC236}">
                <a16:creationId xmlns:a16="http://schemas.microsoft.com/office/drawing/2014/main" id="{60048E1E-9557-4436-A157-928311F6D4FD}"/>
              </a:ext>
            </a:extLst>
          </p:cNvPr>
          <p:cNvGrpSpPr/>
          <p:nvPr/>
        </p:nvGrpSpPr>
        <p:grpSpPr>
          <a:xfrm>
            <a:off x="3518182" y="541493"/>
            <a:ext cx="640398" cy="640398"/>
            <a:chOff x="3521877" y="511997"/>
            <a:chExt cx="640398" cy="640398"/>
          </a:xfrm>
        </p:grpSpPr>
        <p:sp>
          <p:nvSpPr>
            <p:cNvPr id="142" name="Freeform 33">
              <a:extLst>
                <a:ext uri="{FF2B5EF4-FFF2-40B4-BE49-F238E27FC236}">
                  <a16:creationId xmlns:a16="http://schemas.microsoft.com/office/drawing/2014/main" id="{4B8A6FC5-633E-4B10-AA89-BDEE7D243947}"/>
                </a:ext>
              </a:extLst>
            </p:cNvPr>
            <p:cNvSpPr>
              <a:spLocks noChangeArrowheads="1"/>
            </p:cNvSpPr>
            <p:nvPr/>
          </p:nvSpPr>
          <p:spPr bwMode="auto">
            <a:xfrm>
              <a:off x="3612111" y="576198"/>
              <a:ext cx="460544" cy="448320"/>
            </a:xfrm>
            <a:custGeom>
              <a:avLst/>
              <a:gdLst>
                <a:gd name="T0" fmla="*/ 8978 w 9802"/>
                <a:gd name="T1" fmla="*/ 4962 h 9544"/>
                <a:gd name="T2" fmla="*/ 8923 w 9802"/>
                <a:gd name="T3" fmla="*/ 4315 h 9544"/>
                <a:gd name="T4" fmla="*/ 7398 w 9802"/>
                <a:gd name="T5" fmla="*/ 1654 h 9544"/>
                <a:gd name="T6" fmla="*/ 6378 w 9802"/>
                <a:gd name="T7" fmla="*/ 1021 h 9544"/>
                <a:gd name="T8" fmla="*/ 3145 w 9802"/>
                <a:gd name="T9" fmla="*/ 1156 h 9544"/>
                <a:gd name="T10" fmla="*/ 1430 w 9802"/>
                <a:gd name="T11" fmla="*/ 1245 h 9544"/>
                <a:gd name="T12" fmla="*/ 2157 w 9802"/>
                <a:gd name="T13" fmla="*/ 7984 h 9544"/>
                <a:gd name="T14" fmla="*/ 3879 w 9802"/>
                <a:gd name="T15" fmla="*/ 5513 h 9544"/>
                <a:gd name="T16" fmla="*/ 3703 w 9802"/>
                <a:gd name="T17" fmla="*/ 4989 h 9544"/>
                <a:gd name="T18" fmla="*/ 3723 w 9802"/>
                <a:gd name="T19" fmla="*/ 4390 h 9544"/>
                <a:gd name="T20" fmla="*/ 4023 w 9802"/>
                <a:gd name="T21" fmla="*/ 3893 h 9544"/>
                <a:gd name="T22" fmla="*/ 4642 w 9802"/>
                <a:gd name="T23" fmla="*/ 3492 h 9544"/>
                <a:gd name="T24" fmla="*/ 4839 w 9802"/>
                <a:gd name="T25" fmla="*/ 3505 h 9544"/>
                <a:gd name="T26" fmla="*/ 4397 w 9802"/>
                <a:gd name="T27" fmla="*/ 4342 h 9544"/>
                <a:gd name="T28" fmla="*/ 4492 w 9802"/>
                <a:gd name="T29" fmla="*/ 4833 h 9544"/>
                <a:gd name="T30" fmla="*/ 4832 w 9802"/>
                <a:gd name="T31" fmla="*/ 5132 h 9544"/>
                <a:gd name="T32" fmla="*/ 5329 w 9802"/>
                <a:gd name="T33" fmla="*/ 5159 h 9544"/>
                <a:gd name="T34" fmla="*/ 5785 w 9802"/>
                <a:gd name="T35" fmla="*/ 4894 h 9544"/>
                <a:gd name="T36" fmla="*/ 6235 w 9802"/>
                <a:gd name="T37" fmla="*/ 4499 h 9544"/>
                <a:gd name="T38" fmla="*/ 6235 w 9802"/>
                <a:gd name="T39" fmla="*/ 4996 h 9544"/>
                <a:gd name="T40" fmla="*/ 6051 w 9802"/>
                <a:gd name="T41" fmla="*/ 5439 h 9544"/>
                <a:gd name="T42" fmla="*/ 5656 w 9802"/>
                <a:gd name="T43" fmla="*/ 5847 h 9544"/>
                <a:gd name="T44" fmla="*/ 5112 w 9802"/>
                <a:gd name="T45" fmla="*/ 6037 h 9544"/>
                <a:gd name="T46" fmla="*/ 3567 w 9802"/>
                <a:gd name="T47" fmla="*/ 8032 h 9544"/>
                <a:gd name="T48" fmla="*/ 6398 w 9802"/>
                <a:gd name="T49" fmla="*/ 8515 h 9544"/>
                <a:gd name="T50" fmla="*/ 7297 w 9802"/>
                <a:gd name="T51" fmla="*/ 8066 h 9544"/>
                <a:gd name="T52" fmla="*/ 9012 w 9802"/>
                <a:gd name="T53" fmla="*/ 6235 h 9544"/>
                <a:gd name="T54" fmla="*/ 6807 w 9802"/>
                <a:gd name="T55" fmla="*/ 7719 h 9544"/>
                <a:gd name="T56" fmla="*/ 5751 w 9802"/>
                <a:gd name="T57" fmla="*/ 8978 h 9544"/>
                <a:gd name="T58" fmla="*/ 5377 w 9802"/>
                <a:gd name="T59" fmla="*/ 6459 h 9544"/>
                <a:gd name="T60" fmla="*/ 5895 w 9802"/>
                <a:gd name="T61" fmla="*/ 6249 h 9544"/>
                <a:gd name="T62" fmla="*/ 6358 w 9802"/>
                <a:gd name="T63" fmla="*/ 5861 h 9544"/>
                <a:gd name="T64" fmla="*/ 6670 w 9802"/>
                <a:gd name="T65" fmla="*/ 5282 h 9544"/>
                <a:gd name="T66" fmla="*/ 6691 w 9802"/>
                <a:gd name="T67" fmla="*/ 4349 h 9544"/>
                <a:gd name="T68" fmla="*/ 6126 w 9802"/>
                <a:gd name="T69" fmla="*/ 3314 h 9544"/>
                <a:gd name="T70" fmla="*/ 5207 w 9802"/>
                <a:gd name="T71" fmla="*/ 4696 h 9544"/>
                <a:gd name="T72" fmla="*/ 4942 w 9802"/>
                <a:gd name="T73" fmla="*/ 4595 h 9544"/>
                <a:gd name="T74" fmla="*/ 4914 w 9802"/>
                <a:gd name="T75" fmla="*/ 4342 h 9544"/>
                <a:gd name="T76" fmla="*/ 5003 w 9802"/>
                <a:gd name="T77" fmla="*/ 2954 h 9544"/>
                <a:gd name="T78" fmla="*/ 4431 w 9802"/>
                <a:gd name="T79" fmla="*/ 3015 h 9544"/>
                <a:gd name="T80" fmla="*/ 3900 w 9802"/>
                <a:gd name="T81" fmla="*/ 3294 h 9544"/>
                <a:gd name="T82" fmla="*/ 3457 w 9802"/>
                <a:gd name="T83" fmla="*/ 3777 h 9544"/>
                <a:gd name="T84" fmla="*/ 3206 w 9802"/>
                <a:gd name="T85" fmla="*/ 4336 h 9544"/>
                <a:gd name="T86" fmla="*/ 3192 w 9802"/>
                <a:gd name="T87" fmla="*/ 5051 h 9544"/>
                <a:gd name="T88" fmla="*/ 1647 w 9802"/>
                <a:gd name="T89" fmla="*/ 7610 h 9544"/>
                <a:gd name="T90" fmla="*/ 1416 w 9802"/>
                <a:gd name="T91" fmla="*/ 5282 h 9544"/>
                <a:gd name="T92" fmla="*/ 1416 w 9802"/>
                <a:gd name="T93" fmla="*/ 4349 h 9544"/>
                <a:gd name="T94" fmla="*/ 2328 w 9802"/>
                <a:gd name="T95" fmla="*/ 2409 h 9544"/>
                <a:gd name="T96" fmla="*/ 2940 w 9802"/>
                <a:gd name="T97" fmla="*/ 1906 h 9544"/>
                <a:gd name="T98" fmla="*/ 5751 w 9802"/>
                <a:gd name="T99" fmla="*/ 558 h 9544"/>
                <a:gd name="T100" fmla="*/ 6657 w 9802"/>
                <a:gd name="T101" fmla="*/ 1817 h 9544"/>
                <a:gd name="T102" fmla="*/ 9012 w 9802"/>
                <a:gd name="T103" fmla="*/ 3396 h 9544"/>
                <a:gd name="T104" fmla="*/ 8358 w 9802"/>
                <a:gd name="T105" fmla="*/ 4424 h 9544"/>
                <a:gd name="T106" fmla="*/ 8392 w 9802"/>
                <a:gd name="T107" fmla="*/ 5010 h 9544"/>
                <a:gd name="T108" fmla="*/ 8236 w 9802"/>
                <a:gd name="T109" fmla="*/ 5758 h 9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802" h="9544">
                  <a:moveTo>
                    <a:pt x="8896" y="5384"/>
                  </a:moveTo>
                  <a:lnTo>
                    <a:pt x="8896" y="5384"/>
                  </a:lnTo>
                  <a:lnTo>
                    <a:pt x="8923" y="5323"/>
                  </a:lnTo>
                  <a:lnTo>
                    <a:pt x="8944" y="5255"/>
                  </a:lnTo>
                  <a:lnTo>
                    <a:pt x="8957" y="5186"/>
                  </a:lnTo>
                  <a:lnTo>
                    <a:pt x="8971" y="5118"/>
                  </a:lnTo>
                  <a:lnTo>
                    <a:pt x="8978" y="4962"/>
                  </a:lnTo>
                  <a:lnTo>
                    <a:pt x="8978" y="4771"/>
                  </a:lnTo>
                  <a:lnTo>
                    <a:pt x="8978" y="4771"/>
                  </a:lnTo>
                  <a:lnTo>
                    <a:pt x="8978" y="4635"/>
                  </a:lnTo>
                  <a:lnTo>
                    <a:pt x="8971" y="4506"/>
                  </a:lnTo>
                  <a:lnTo>
                    <a:pt x="8957" y="4438"/>
                  </a:lnTo>
                  <a:lnTo>
                    <a:pt x="8944" y="4376"/>
                  </a:lnTo>
                  <a:lnTo>
                    <a:pt x="8923" y="4315"/>
                  </a:lnTo>
                  <a:lnTo>
                    <a:pt x="8896" y="4254"/>
                  </a:lnTo>
                  <a:lnTo>
                    <a:pt x="8855" y="4172"/>
                  </a:lnTo>
                  <a:lnTo>
                    <a:pt x="9801" y="3614"/>
                  </a:lnTo>
                  <a:lnTo>
                    <a:pt x="8372" y="1245"/>
                  </a:lnTo>
                  <a:lnTo>
                    <a:pt x="7446" y="1701"/>
                  </a:lnTo>
                  <a:lnTo>
                    <a:pt x="7398" y="1654"/>
                  </a:lnTo>
                  <a:lnTo>
                    <a:pt x="7398" y="1654"/>
                  </a:lnTo>
                  <a:lnTo>
                    <a:pt x="7290" y="1558"/>
                  </a:lnTo>
                  <a:lnTo>
                    <a:pt x="7174" y="1470"/>
                  </a:lnTo>
                  <a:lnTo>
                    <a:pt x="7051" y="1382"/>
                  </a:lnTo>
                  <a:lnTo>
                    <a:pt x="6922" y="1307"/>
                  </a:lnTo>
                  <a:lnTo>
                    <a:pt x="6786" y="1232"/>
                  </a:lnTo>
                  <a:lnTo>
                    <a:pt x="6650" y="1156"/>
                  </a:lnTo>
                  <a:lnTo>
                    <a:pt x="6378" y="1021"/>
                  </a:lnTo>
                  <a:lnTo>
                    <a:pt x="6323" y="994"/>
                  </a:lnTo>
                  <a:lnTo>
                    <a:pt x="6323" y="0"/>
                  </a:lnTo>
                  <a:lnTo>
                    <a:pt x="3478" y="0"/>
                  </a:lnTo>
                  <a:lnTo>
                    <a:pt x="3478" y="994"/>
                  </a:lnTo>
                  <a:lnTo>
                    <a:pt x="3423" y="1021"/>
                  </a:lnTo>
                  <a:lnTo>
                    <a:pt x="3423" y="1021"/>
                  </a:lnTo>
                  <a:lnTo>
                    <a:pt x="3145" y="1156"/>
                  </a:lnTo>
                  <a:lnTo>
                    <a:pt x="2866" y="1307"/>
                  </a:lnTo>
                  <a:lnTo>
                    <a:pt x="2723" y="1388"/>
                  </a:lnTo>
                  <a:lnTo>
                    <a:pt x="2579" y="1470"/>
                  </a:lnTo>
                  <a:lnTo>
                    <a:pt x="2444" y="1565"/>
                  </a:lnTo>
                  <a:lnTo>
                    <a:pt x="2301" y="1667"/>
                  </a:lnTo>
                  <a:lnTo>
                    <a:pt x="2253" y="1701"/>
                  </a:lnTo>
                  <a:lnTo>
                    <a:pt x="1430" y="1245"/>
                  </a:lnTo>
                  <a:lnTo>
                    <a:pt x="0" y="3621"/>
                  </a:lnTo>
                  <a:lnTo>
                    <a:pt x="823" y="4159"/>
                  </a:lnTo>
                  <a:lnTo>
                    <a:pt x="823" y="5473"/>
                  </a:lnTo>
                  <a:lnTo>
                    <a:pt x="0" y="6017"/>
                  </a:lnTo>
                  <a:lnTo>
                    <a:pt x="1430" y="8386"/>
                  </a:lnTo>
                  <a:lnTo>
                    <a:pt x="1606" y="8283"/>
                  </a:lnTo>
                  <a:lnTo>
                    <a:pt x="2157" y="7984"/>
                  </a:lnTo>
                  <a:lnTo>
                    <a:pt x="2157" y="7984"/>
                  </a:lnTo>
                  <a:lnTo>
                    <a:pt x="2484" y="7807"/>
                  </a:lnTo>
                  <a:lnTo>
                    <a:pt x="2484" y="7807"/>
                  </a:lnTo>
                  <a:lnTo>
                    <a:pt x="2654" y="7528"/>
                  </a:lnTo>
                  <a:lnTo>
                    <a:pt x="2654" y="7528"/>
                  </a:lnTo>
                  <a:lnTo>
                    <a:pt x="3879" y="5513"/>
                  </a:lnTo>
                  <a:lnTo>
                    <a:pt x="3879" y="5513"/>
                  </a:lnTo>
                  <a:lnTo>
                    <a:pt x="3852" y="5391"/>
                  </a:lnTo>
                  <a:lnTo>
                    <a:pt x="3852" y="5391"/>
                  </a:lnTo>
                  <a:lnTo>
                    <a:pt x="3811" y="5316"/>
                  </a:lnTo>
                  <a:lnTo>
                    <a:pt x="3771" y="5234"/>
                  </a:lnTo>
                  <a:lnTo>
                    <a:pt x="3744" y="5152"/>
                  </a:lnTo>
                  <a:lnTo>
                    <a:pt x="3723" y="5071"/>
                  </a:lnTo>
                  <a:lnTo>
                    <a:pt x="3703" y="4989"/>
                  </a:lnTo>
                  <a:lnTo>
                    <a:pt x="3689" y="4901"/>
                  </a:lnTo>
                  <a:lnTo>
                    <a:pt x="3683" y="4819"/>
                  </a:lnTo>
                  <a:lnTo>
                    <a:pt x="3676" y="4730"/>
                  </a:lnTo>
                  <a:lnTo>
                    <a:pt x="3683" y="4642"/>
                  </a:lnTo>
                  <a:lnTo>
                    <a:pt x="3689" y="4561"/>
                  </a:lnTo>
                  <a:lnTo>
                    <a:pt x="3703" y="4472"/>
                  </a:lnTo>
                  <a:lnTo>
                    <a:pt x="3723" y="4390"/>
                  </a:lnTo>
                  <a:lnTo>
                    <a:pt x="3751" y="4308"/>
                  </a:lnTo>
                  <a:lnTo>
                    <a:pt x="3778" y="4226"/>
                  </a:lnTo>
                  <a:lnTo>
                    <a:pt x="3811" y="4152"/>
                  </a:lnTo>
                  <a:lnTo>
                    <a:pt x="3852" y="4077"/>
                  </a:lnTo>
                  <a:lnTo>
                    <a:pt x="3852" y="4077"/>
                  </a:lnTo>
                  <a:lnTo>
                    <a:pt x="3934" y="3989"/>
                  </a:lnTo>
                  <a:lnTo>
                    <a:pt x="4023" y="3893"/>
                  </a:lnTo>
                  <a:lnTo>
                    <a:pt x="4111" y="3804"/>
                  </a:lnTo>
                  <a:lnTo>
                    <a:pt x="4207" y="3723"/>
                  </a:lnTo>
                  <a:lnTo>
                    <a:pt x="4308" y="3648"/>
                  </a:lnTo>
                  <a:lnTo>
                    <a:pt x="4410" y="3580"/>
                  </a:lnTo>
                  <a:lnTo>
                    <a:pt x="4526" y="3526"/>
                  </a:lnTo>
                  <a:lnTo>
                    <a:pt x="4581" y="3505"/>
                  </a:lnTo>
                  <a:lnTo>
                    <a:pt x="4642" y="3492"/>
                  </a:lnTo>
                  <a:lnTo>
                    <a:pt x="4642" y="3492"/>
                  </a:lnTo>
                  <a:lnTo>
                    <a:pt x="4663" y="3485"/>
                  </a:lnTo>
                  <a:lnTo>
                    <a:pt x="4690" y="3485"/>
                  </a:lnTo>
                  <a:lnTo>
                    <a:pt x="4737" y="3498"/>
                  </a:lnTo>
                  <a:lnTo>
                    <a:pt x="4792" y="3505"/>
                  </a:lnTo>
                  <a:lnTo>
                    <a:pt x="4819" y="3505"/>
                  </a:lnTo>
                  <a:lnTo>
                    <a:pt x="4839" y="3505"/>
                  </a:lnTo>
                  <a:lnTo>
                    <a:pt x="4839" y="3505"/>
                  </a:lnTo>
                  <a:lnTo>
                    <a:pt x="4513" y="4050"/>
                  </a:lnTo>
                  <a:lnTo>
                    <a:pt x="4513" y="4050"/>
                  </a:lnTo>
                  <a:lnTo>
                    <a:pt x="4472" y="4118"/>
                  </a:lnTo>
                  <a:lnTo>
                    <a:pt x="4438" y="4193"/>
                  </a:lnTo>
                  <a:lnTo>
                    <a:pt x="4417" y="4267"/>
                  </a:lnTo>
                  <a:lnTo>
                    <a:pt x="4397" y="4342"/>
                  </a:lnTo>
                  <a:lnTo>
                    <a:pt x="4390" y="4417"/>
                  </a:lnTo>
                  <a:lnTo>
                    <a:pt x="4390" y="4486"/>
                  </a:lnTo>
                  <a:lnTo>
                    <a:pt x="4397" y="4561"/>
                  </a:lnTo>
                  <a:lnTo>
                    <a:pt x="4410" y="4628"/>
                  </a:lnTo>
                  <a:lnTo>
                    <a:pt x="4431" y="4696"/>
                  </a:lnTo>
                  <a:lnTo>
                    <a:pt x="4458" y="4764"/>
                  </a:lnTo>
                  <a:lnTo>
                    <a:pt x="4492" y="4833"/>
                  </a:lnTo>
                  <a:lnTo>
                    <a:pt x="4533" y="4887"/>
                  </a:lnTo>
                  <a:lnTo>
                    <a:pt x="4581" y="4949"/>
                  </a:lnTo>
                  <a:lnTo>
                    <a:pt x="4642" y="5003"/>
                  </a:lnTo>
                  <a:lnTo>
                    <a:pt x="4703" y="5051"/>
                  </a:lnTo>
                  <a:lnTo>
                    <a:pt x="4771" y="5098"/>
                  </a:lnTo>
                  <a:lnTo>
                    <a:pt x="4771" y="5098"/>
                  </a:lnTo>
                  <a:lnTo>
                    <a:pt x="4832" y="5132"/>
                  </a:lnTo>
                  <a:lnTo>
                    <a:pt x="4901" y="5152"/>
                  </a:lnTo>
                  <a:lnTo>
                    <a:pt x="4969" y="5173"/>
                  </a:lnTo>
                  <a:lnTo>
                    <a:pt x="5037" y="5179"/>
                  </a:lnTo>
                  <a:lnTo>
                    <a:pt x="5105" y="5186"/>
                  </a:lnTo>
                  <a:lnTo>
                    <a:pt x="5179" y="5179"/>
                  </a:lnTo>
                  <a:lnTo>
                    <a:pt x="5254" y="5173"/>
                  </a:lnTo>
                  <a:lnTo>
                    <a:pt x="5329" y="5159"/>
                  </a:lnTo>
                  <a:lnTo>
                    <a:pt x="5398" y="5132"/>
                  </a:lnTo>
                  <a:lnTo>
                    <a:pt x="5473" y="5111"/>
                  </a:lnTo>
                  <a:lnTo>
                    <a:pt x="5541" y="5078"/>
                  </a:lnTo>
                  <a:lnTo>
                    <a:pt x="5608" y="5037"/>
                  </a:lnTo>
                  <a:lnTo>
                    <a:pt x="5670" y="4996"/>
                  </a:lnTo>
                  <a:lnTo>
                    <a:pt x="5731" y="4949"/>
                  </a:lnTo>
                  <a:lnTo>
                    <a:pt x="5785" y="4894"/>
                  </a:lnTo>
                  <a:lnTo>
                    <a:pt x="5833" y="4833"/>
                  </a:lnTo>
                  <a:lnTo>
                    <a:pt x="5833" y="4833"/>
                  </a:lnTo>
                  <a:lnTo>
                    <a:pt x="6167" y="4295"/>
                  </a:lnTo>
                  <a:lnTo>
                    <a:pt x="6167" y="4295"/>
                  </a:lnTo>
                  <a:lnTo>
                    <a:pt x="6194" y="4356"/>
                  </a:lnTo>
                  <a:lnTo>
                    <a:pt x="6214" y="4424"/>
                  </a:lnTo>
                  <a:lnTo>
                    <a:pt x="6235" y="4499"/>
                  </a:lnTo>
                  <a:lnTo>
                    <a:pt x="6248" y="4567"/>
                  </a:lnTo>
                  <a:lnTo>
                    <a:pt x="6255" y="4635"/>
                  </a:lnTo>
                  <a:lnTo>
                    <a:pt x="6262" y="4710"/>
                  </a:lnTo>
                  <a:lnTo>
                    <a:pt x="6262" y="4778"/>
                  </a:lnTo>
                  <a:lnTo>
                    <a:pt x="6255" y="4853"/>
                  </a:lnTo>
                  <a:lnTo>
                    <a:pt x="6248" y="4921"/>
                  </a:lnTo>
                  <a:lnTo>
                    <a:pt x="6235" y="4996"/>
                  </a:lnTo>
                  <a:lnTo>
                    <a:pt x="6214" y="5071"/>
                  </a:lnTo>
                  <a:lnTo>
                    <a:pt x="6194" y="5145"/>
                  </a:lnTo>
                  <a:lnTo>
                    <a:pt x="6167" y="5214"/>
                  </a:lnTo>
                  <a:lnTo>
                    <a:pt x="6132" y="5289"/>
                  </a:lnTo>
                  <a:lnTo>
                    <a:pt x="6091" y="5364"/>
                  </a:lnTo>
                  <a:lnTo>
                    <a:pt x="6051" y="5439"/>
                  </a:lnTo>
                  <a:lnTo>
                    <a:pt x="6051" y="5439"/>
                  </a:lnTo>
                  <a:lnTo>
                    <a:pt x="6003" y="5507"/>
                  </a:lnTo>
                  <a:lnTo>
                    <a:pt x="5956" y="5574"/>
                  </a:lnTo>
                  <a:lnTo>
                    <a:pt x="5901" y="5636"/>
                  </a:lnTo>
                  <a:lnTo>
                    <a:pt x="5847" y="5697"/>
                  </a:lnTo>
                  <a:lnTo>
                    <a:pt x="5785" y="5752"/>
                  </a:lnTo>
                  <a:lnTo>
                    <a:pt x="5717" y="5799"/>
                  </a:lnTo>
                  <a:lnTo>
                    <a:pt x="5656" y="5847"/>
                  </a:lnTo>
                  <a:lnTo>
                    <a:pt x="5581" y="5888"/>
                  </a:lnTo>
                  <a:lnTo>
                    <a:pt x="5514" y="5929"/>
                  </a:lnTo>
                  <a:lnTo>
                    <a:pt x="5439" y="5956"/>
                  </a:lnTo>
                  <a:lnTo>
                    <a:pt x="5357" y="5983"/>
                  </a:lnTo>
                  <a:lnTo>
                    <a:pt x="5282" y="6003"/>
                  </a:lnTo>
                  <a:lnTo>
                    <a:pt x="5200" y="6023"/>
                  </a:lnTo>
                  <a:lnTo>
                    <a:pt x="5112" y="6037"/>
                  </a:lnTo>
                  <a:lnTo>
                    <a:pt x="5030" y="6037"/>
                  </a:lnTo>
                  <a:lnTo>
                    <a:pt x="4942" y="6037"/>
                  </a:lnTo>
                  <a:lnTo>
                    <a:pt x="4942" y="6037"/>
                  </a:lnTo>
                  <a:lnTo>
                    <a:pt x="4798" y="6010"/>
                  </a:lnTo>
                  <a:lnTo>
                    <a:pt x="4798" y="6010"/>
                  </a:lnTo>
                  <a:lnTo>
                    <a:pt x="3567" y="8032"/>
                  </a:lnTo>
                  <a:lnTo>
                    <a:pt x="3567" y="8032"/>
                  </a:lnTo>
                  <a:lnTo>
                    <a:pt x="3492" y="8162"/>
                  </a:lnTo>
                  <a:lnTo>
                    <a:pt x="3492" y="9114"/>
                  </a:lnTo>
                  <a:lnTo>
                    <a:pt x="3492" y="9543"/>
                  </a:lnTo>
                  <a:lnTo>
                    <a:pt x="6323" y="9543"/>
                  </a:lnTo>
                  <a:lnTo>
                    <a:pt x="6323" y="8529"/>
                  </a:lnTo>
                  <a:lnTo>
                    <a:pt x="6398" y="8515"/>
                  </a:lnTo>
                  <a:lnTo>
                    <a:pt x="6398" y="8515"/>
                  </a:lnTo>
                  <a:lnTo>
                    <a:pt x="6541" y="8475"/>
                  </a:lnTo>
                  <a:lnTo>
                    <a:pt x="6684" y="8427"/>
                  </a:lnTo>
                  <a:lnTo>
                    <a:pt x="6820" y="8365"/>
                  </a:lnTo>
                  <a:lnTo>
                    <a:pt x="6949" y="8304"/>
                  </a:lnTo>
                  <a:lnTo>
                    <a:pt x="7072" y="8229"/>
                  </a:lnTo>
                  <a:lnTo>
                    <a:pt x="7188" y="8155"/>
                  </a:lnTo>
                  <a:lnTo>
                    <a:pt x="7297" y="8066"/>
                  </a:lnTo>
                  <a:lnTo>
                    <a:pt x="7398" y="7977"/>
                  </a:lnTo>
                  <a:lnTo>
                    <a:pt x="7446" y="7930"/>
                  </a:lnTo>
                  <a:lnTo>
                    <a:pt x="8372" y="8393"/>
                  </a:lnTo>
                  <a:lnTo>
                    <a:pt x="9801" y="6017"/>
                  </a:lnTo>
                  <a:lnTo>
                    <a:pt x="8855" y="5459"/>
                  </a:lnTo>
                  <a:lnTo>
                    <a:pt x="8896" y="5384"/>
                  </a:lnTo>
                  <a:close/>
                  <a:moveTo>
                    <a:pt x="9012" y="6235"/>
                  </a:moveTo>
                  <a:lnTo>
                    <a:pt x="8161" y="7603"/>
                  </a:lnTo>
                  <a:lnTo>
                    <a:pt x="7385" y="7222"/>
                  </a:lnTo>
                  <a:lnTo>
                    <a:pt x="7242" y="7364"/>
                  </a:lnTo>
                  <a:lnTo>
                    <a:pt x="7242" y="7364"/>
                  </a:lnTo>
                  <a:lnTo>
                    <a:pt x="7099" y="7494"/>
                  </a:lnTo>
                  <a:lnTo>
                    <a:pt x="6956" y="7610"/>
                  </a:lnTo>
                  <a:lnTo>
                    <a:pt x="6807" y="7719"/>
                  </a:lnTo>
                  <a:lnTo>
                    <a:pt x="6657" y="7814"/>
                  </a:lnTo>
                  <a:lnTo>
                    <a:pt x="6493" y="7902"/>
                  </a:lnTo>
                  <a:lnTo>
                    <a:pt x="6330" y="7984"/>
                  </a:lnTo>
                  <a:lnTo>
                    <a:pt x="6160" y="8059"/>
                  </a:lnTo>
                  <a:lnTo>
                    <a:pt x="5976" y="8134"/>
                  </a:lnTo>
                  <a:lnTo>
                    <a:pt x="5751" y="8202"/>
                  </a:lnTo>
                  <a:lnTo>
                    <a:pt x="5751" y="8978"/>
                  </a:lnTo>
                  <a:lnTo>
                    <a:pt x="4050" y="8978"/>
                  </a:lnTo>
                  <a:lnTo>
                    <a:pt x="4050" y="8202"/>
                  </a:lnTo>
                  <a:lnTo>
                    <a:pt x="4043" y="8202"/>
                  </a:lnTo>
                  <a:lnTo>
                    <a:pt x="4043" y="8202"/>
                  </a:lnTo>
                  <a:lnTo>
                    <a:pt x="5064" y="6534"/>
                  </a:lnTo>
                  <a:lnTo>
                    <a:pt x="5064" y="6534"/>
                  </a:lnTo>
                  <a:lnTo>
                    <a:pt x="5377" y="6459"/>
                  </a:lnTo>
                  <a:lnTo>
                    <a:pt x="5377" y="6459"/>
                  </a:lnTo>
                  <a:lnTo>
                    <a:pt x="5473" y="6432"/>
                  </a:lnTo>
                  <a:lnTo>
                    <a:pt x="5561" y="6405"/>
                  </a:lnTo>
                  <a:lnTo>
                    <a:pt x="5649" y="6371"/>
                  </a:lnTo>
                  <a:lnTo>
                    <a:pt x="5731" y="6330"/>
                  </a:lnTo>
                  <a:lnTo>
                    <a:pt x="5813" y="6296"/>
                  </a:lnTo>
                  <a:lnTo>
                    <a:pt x="5895" y="6249"/>
                  </a:lnTo>
                  <a:lnTo>
                    <a:pt x="5970" y="6201"/>
                  </a:lnTo>
                  <a:lnTo>
                    <a:pt x="6037" y="6153"/>
                  </a:lnTo>
                  <a:lnTo>
                    <a:pt x="6112" y="6099"/>
                  </a:lnTo>
                  <a:lnTo>
                    <a:pt x="6173" y="6044"/>
                  </a:lnTo>
                  <a:lnTo>
                    <a:pt x="6242" y="5983"/>
                  </a:lnTo>
                  <a:lnTo>
                    <a:pt x="6296" y="5922"/>
                  </a:lnTo>
                  <a:lnTo>
                    <a:pt x="6358" y="5861"/>
                  </a:lnTo>
                  <a:lnTo>
                    <a:pt x="6412" y="5793"/>
                  </a:lnTo>
                  <a:lnTo>
                    <a:pt x="6459" y="5724"/>
                  </a:lnTo>
                  <a:lnTo>
                    <a:pt x="6507" y="5649"/>
                  </a:lnTo>
                  <a:lnTo>
                    <a:pt x="6507" y="5649"/>
                  </a:lnTo>
                  <a:lnTo>
                    <a:pt x="6568" y="5534"/>
                  </a:lnTo>
                  <a:lnTo>
                    <a:pt x="6623" y="5411"/>
                  </a:lnTo>
                  <a:lnTo>
                    <a:pt x="6670" y="5282"/>
                  </a:lnTo>
                  <a:lnTo>
                    <a:pt x="6704" y="5152"/>
                  </a:lnTo>
                  <a:lnTo>
                    <a:pt x="6725" y="5024"/>
                  </a:lnTo>
                  <a:lnTo>
                    <a:pt x="6739" y="4887"/>
                  </a:lnTo>
                  <a:lnTo>
                    <a:pt x="6745" y="4751"/>
                  </a:lnTo>
                  <a:lnTo>
                    <a:pt x="6739" y="4615"/>
                  </a:lnTo>
                  <a:lnTo>
                    <a:pt x="6718" y="4479"/>
                  </a:lnTo>
                  <a:lnTo>
                    <a:pt x="6691" y="4349"/>
                  </a:lnTo>
                  <a:lnTo>
                    <a:pt x="6657" y="4213"/>
                  </a:lnTo>
                  <a:lnTo>
                    <a:pt x="6609" y="4084"/>
                  </a:lnTo>
                  <a:lnTo>
                    <a:pt x="6554" y="3954"/>
                  </a:lnTo>
                  <a:lnTo>
                    <a:pt x="6486" y="3832"/>
                  </a:lnTo>
                  <a:lnTo>
                    <a:pt x="6412" y="3710"/>
                  </a:lnTo>
                  <a:lnTo>
                    <a:pt x="6323" y="3594"/>
                  </a:lnTo>
                  <a:lnTo>
                    <a:pt x="6126" y="3314"/>
                  </a:lnTo>
                  <a:lnTo>
                    <a:pt x="6126" y="3314"/>
                  </a:lnTo>
                  <a:lnTo>
                    <a:pt x="5370" y="4554"/>
                  </a:lnTo>
                  <a:lnTo>
                    <a:pt x="5370" y="4554"/>
                  </a:lnTo>
                  <a:lnTo>
                    <a:pt x="5329" y="4608"/>
                  </a:lnTo>
                  <a:lnTo>
                    <a:pt x="5295" y="4649"/>
                  </a:lnTo>
                  <a:lnTo>
                    <a:pt x="5248" y="4676"/>
                  </a:lnTo>
                  <a:lnTo>
                    <a:pt x="5207" y="4696"/>
                  </a:lnTo>
                  <a:lnTo>
                    <a:pt x="5159" y="4703"/>
                  </a:lnTo>
                  <a:lnTo>
                    <a:pt x="5105" y="4696"/>
                  </a:lnTo>
                  <a:lnTo>
                    <a:pt x="5051" y="4676"/>
                  </a:lnTo>
                  <a:lnTo>
                    <a:pt x="4996" y="4649"/>
                  </a:lnTo>
                  <a:lnTo>
                    <a:pt x="4996" y="4649"/>
                  </a:lnTo>
                  <a:lnTo>
                    <a:pt x="4969" y="4628"/>
                  </a:lnTo>
                  <a:lnTo>
                    <a:pt x="4942" y="4595"/>
                  </a:lnTo>
                  <a:lnTo>
                    <a:pt x="4921" y="4554"/>
                  </a:lnTo>
                  <a:lnTo>
                    <a:pt x="4907" y="4506"/>
                  </a:lnTo>
                  <a:lnTo>
                    <a:pt x="4901" y="4458"/>
                  </a:lnTo>
                  <a:lnTo>
                    <a:pt x="4901" y="4417"/>
                  </a:lnTo>
                  <a:lnTo>
                    <a:pt x="4901" y="4376"/>
                  </a:lnTo>
                  <a:lnTo>
                    <a:pt x="4914" y="4342"/>
                  </a:lnTo>
                  <a:lnTo>
                    <a:pt x="4914" y="4342"/>
                  </a:lnTo>
                  <a:lnTo>
                    <a:pt x="5670" y="3104"/>
                  </a:lnTo>
                  <a:lnTo>
                    <a:pt x="5670" y="3104"/>
                  </a:lnTo>
                  <a:lnTo>
                    <a:pt x="5316" y="2995"/>
                  </a:lnTo>
                  <a:lnTo>
                    <a:pt x="5316" y="2995"/>
                  </a:lnTo>
                  <a:lnTo>
                    <a:pt x="5207" y="2974"/>
                  </a:lnTo>
                  <a:lnTo>
                    <a:pt x="5105" y="2960"/>
                  </a:lnTo>
                  <a:lnTo>
                    <a:pt x="5003" y="2954"/>
                  </a:lnTo>
                  <a:lnTo>
                    <a:pt x="4901" y="2947"/>
                  </a:lnTo>
                  <a:lnTo>
                    <a:pt x="4805" y="2954"/>
                  </a:lnTo>
                  <a:lnTo>
                    <a:pt x="4703" y="2960"/>
                  </a:lnTo>
                  <a:lnTo>
                    <a:pt x="4608" y="2974"/>
                  </a:lnTo>
                  <a:lnTo>
                    <a:pt x="4513" y="2995"/>
                  </a:lnTo>
                  <a:lnTo>
                    <a:pt x="4513" y="2995"/>
                  </a:lnTo>
                  <a:lnTo>
                    <a:pt x="4431" y="3015"/>
                  </a:lnTo>
                  <a:lnTo>
                    <a:pt x="4356" y="3042"/>
                  </a:lnTo>
                  <a:lnTo>
                    <a:pt x="4274" y="3076"/>
                  </a:lnTo>
                  <a:lnTo>
                    <a:pt x="4200" y="3110"/>
                  </a:lnTo>
                  <a:lnTo>
                    <a:pt x="4118" y="3151"/>
                  </a:lnTo>
                  <a:lnTo>
                    <a:pt x="4043" y="3199"/>
                  </a:lnTo>
                  <a:lnTo>
                    <a:pt x="3975" y="3247"/>
                  </a:lnTo>
                  <a:lnTo>
                    <a:pt x="3900" y="3294"/>
                  </a:lnTo>
                  <a:lnTo>
                    <a:pt x="3832" y="3355"/>
                  </a:lnTo>
                  <a:lnTo>
                    <a:pt x="3764" y="3417"/>
                  </a:lnTo>
                  <a:lnTo>
                    <a:pt x="3696" y="3478"/>
                  </a:lnTo>
                  <a:lnTo>
                    <a:pt x="3635" y="3546"/>
                  </a:lnTo>
                  <a:lnTo>
                    <a:pt x="3573" y="3621"/>
                  </a:lnTo>
                  <a:lnTo>
                    <a:pt x="3512" y="3696"/>
                  </a:lnTo>
                  <a:lnTo>
                    <a:pt x="3457" y="3777"/>
                  </a:lnTo>
                  <a:lnTo>
                    <a:pt x="3403" y="3866"/>
                  </a:lnTo>
                  <a:lnTo>
                    <a:pt x="3403" y="3866"/>
                  </a:lnTo>
                  <a:lnTo>
                    <a:pt x="3355" y="3954"/>
                  </a:lnTo>
                  <a:lnTo>
                    <a:pt x="3308" y="4043"/>
                  </a:lnTo>
                  <a:lnTo>
                    <a:pt x="3267" y="4139"/>
                  </a:lnTo>
                  <a:lnTo>
                    <a:pt x="3233" y="4233"/>
                  </a:lnTo>
                  <a:lnTo>
                    <a:pt x="3206" y="4336"/>
                  </a:lnTo>
                  <a:lnTo>
                    <a:pt x="3186" y="4431"/>
                  </a:lnTo>
                  <a:lnTo>
                    <a:pt x="3172" y="4533"/>
                  </a:lnTo>
                  <a:lnTo>
                    <a:pt x="3165" y="4635"/>
                  </a:lnTo>
                  <a:lnTo>
                    <a:pt x="3165" y="4737"/>
                  </a:lnTo>
                  <a:lnTo>
                    <a:pt x="3165" y="4846"/>
                  </a:lnTo>
                  <a:lnTo>
                    <a:pt x="3179" y="4949"/>
                  </a:lnTo>
                  <a:lnTo>
                    <a:pt x="3192" y="5051"/>
                  </a:lnTo>
                  <a:lnTo>
                    <a:pt x="3220" y="5152"/>
                  </a:lnTo>
                  <a:lnTo>
                    <a:pt x="3254" y="5255"/>
                  </a:lnTo>
                  <a:lnTo>
                    <a:pt x="3288" y="5357"/>
                  </a:lnTo>
                  <a:lnTo>
                    <a:pt x="3335" y="5459"/>
                  </a:lnTo>
                  <a:lnTo>
                    <a:pt x="3335" y="5459"/>
                  </a:lnTo>
                  <a:lnTo>
                    <a:pt x="2219" y="7283"/>
                  </a:lnTo>
                  <a:lnTo>
                    <a:pt x="1647" y="7610"/>
                  </a:lnTo>
                  <a:lnTo>
                    <a:pt x="789" y="6242"/>
                  </a:lnTo>
                  <a:lnTo>
                    <a:pt x="1491" y="5752"/>
                  </a:lnTo>
                  <a:lnTo>
                    <a:pt x="1491" y="5540"/>
                  </a:lnTo>
                  <a:lnTo>
                    <a:pt x="1491" y="5540"/>
                  </a:lnTo>
                  <a:lnTo>
                    <a:pt x="1457" y="5459"/>
                  </a:lnTo>
                  <a:lnTo>
                    <a:pt x="1436" y="5371"/>
                  </a:lnTo>
                  <a:lnTo>
                    <a:pt x="1416" y="5282"/>
                  </a:lnTo>
                  <a:lnTo>
                    <a:pt x="1402" y="5179"/>
                  </a:lnTo>
                  <a:lnTo>
                    <a:pt x="1395" y="4976"/>
                  </a:lnTo>
                  <a:lnTo>
                    <a:pt x="1395" y="4771"/>
                  </a:lnTo>
                  <a:lnTo>
                    <a:pt x="1395" y="4771"/>
                  </a:lnTo>
                  <a:lnTo>
                    <a:pt x="1395" y="4615"/>
                  </a:lnTo>
                  <a:lnTo>
                    <a:pt x="1402" y="4438"/>
                  </a:lnTo>
                  <a:lnTo>
                    <a:pt x="1416" y="4349"/>
                  </a:lnTo>
                  <a:lnTo>
                    <a:pt x="1436" y="4260"/>
                  </a:lnTo>
                  <a:lnTo>
                    <a:pt x="1457" y="4172"/>
                  </a:lnTo>
                  <a:lnTo>
                    <a:pt x="1491" y="4091"/>
                  </a:lnTo>
                  <a:lnTo>
                    <a:pt x="1491" y="3886"/>
                  </a:lnTo>
                  <a:lnTo>
                    <a:pt x="789" y="3389"/>
                  </a:lnTo>
                  <a:lnTo>
                    <a:pt x="1647" y="2028"/>
                  </a:lnTo>
                  <a:lnTo>
                    <a:pt x="2328" y="2409"/>
                  </a:lnTo>
                  <a:lnTo>
                    <a:pt x="2464" y="2273"/>
                  </a:lnTo>
                  <a:lnTo>
                    <a:pt x="2464" y="2273"/>
                  </a:lnTo>
                  <a:lnTo>
                    <a:pt x="2539" y="2198"/>
                  </a:lnTo>
                  <a:lnTo>
                    <a:pt x="2614" y="2137"/>
                  </a:lnTo>
                  <a:lnTo>
                    <a:pt x="2695" y="2069"/>
                  </a:lnTo>
                  <a:lnTo>
                    <a:pt x="2777" y="2014"/>
                  </a:lnTo>
                  <a:lnTo>
                    <a:pt x="2940" y="1906"/>
                  </a:lnTo>
                  <a:lnTo>
                    <a:pt x="3117" y="1810"/>
                  </a:lnTo>
                  <a:lnTo>
                    <a:pt x="3288" y="1722"/>
                  </a:lnTo>
                  <a:lnTo>
                    <a:pt x="3471" y="1647"/>
                  </a:lnTo>
                  <a:lnTo>
                    <a:pt x="3825" y="1497"/>
                  </a:lnTo>
                  <a:lnTo>
                    <a:pt x="4050" y="1429"/>
                  </a:lnTo>
                  <a:lnTo>
                    <a:pt x="4050" y="558"/>
                  </a:lnTo>
                  <a:lnTo>
                    <a:pt x="5751" y="558"/>
                  </a:lnTo>
                  <a:lnTo>
                    <a:pt x="5751" y="1429"/>
                  </a:lnTo>
                  <a:lnTo>
                    <a:pt x="5976" y="1504"/>
                  </a:lnTo>
                  <a:lnTo>
                    <a:pt x="5976" y="1504"/>
                  </a:lnTo>
                  <a:lnTo>
                    <a:pt x="6160" y="1578"/>
                  </a:lnTo>
                  <a:lnTo>
                    <a:pt x="6330" y="1654"/>
                  </a:lnTo>
                  <a:lnTo>
                    <a:pt x="6500" y="1735"/>
                  </a:lnTo>
                  <a:lnTo>
                    <a:pt x="6657" y="1817"/>
                  </a:lnTo>
                  <a:lnTo>
                    <a:pt x="6807" y="1913"/>
                  </a:lnTo>
                  <a:lnTo>
                    <a:pt x="6956" y="2021"/>
                  </a:lnTo>
                  <a:lnTo>
                    <a:pt x="7099" y="2137"/>
                  </a:lnTo>
                  <a:lnTo>
                    <a:pt x="7242" y="2273"/>
                  </a:lnTo>
                  <a:lnTo>
                    <a:pt x="7385" y="2409"/>
                  </a:lnTo>
                  <a:lnTo>
                    <a:pt x="8161" y="2028"/>
                  </a:lnTo>
                  <a:lnTo>
                    <a:pt x="9012" y="3396"/>
                  </a:lnTo>
                  <a:lnTo>
                    <a:pt x="8236" y="3873"/>
                  </a:lnTo>
                  <a:lnTo>
                    <a:pt x="8310" y="4098"/>
                  </a:lnTo>
                  <a:lnTo>
                    <a:pt x="8310" y="4118"/>
                  </a:lnTo>
                  <a:lnTo>
                    <a:pt x="8310" y="4118"/>
                  </a:lnTo>
                  <a:lnTo>
                    <a:pt x="8317" y="4186"/>
                  </a:lnTo>
                  <a:lnTo>
                    <a:pt x="8331" y="4260"/>
                  </a:lnTo>
                  <a:lnTo>
                    <a:pt x="8358" y="4424"/>
                  </a:lnTo>
                  <a:lnTo>
                    <a:pt x="8358" y="4424"/>
                  </a:lnTo>
                  <a:lnTo>
                    <a:pt x="8392" y="4601"/>
                  </a:lnTo>
                  <a:lnTo>
                    <a:pt x="8406" y="4689"/>
                  </a:lnTo>
                  <a:lnTo>
                    <a:pt x="8406" y="4771"/>
                  </a:lnTo>
                  <a:lnTo>
                    <a:pt x="8406" y="4771"/>
                  </a:lnTo>
                  <a:lnTo>
                    <a:pt x="8406" y="4894"/>
                  </a:lnTo>
                  <a:lnTo>
                    <a:pt x="8392" y="5010"/>
                  </a:lnTo>
                  <a:lnTo>
                    <a:pt x="8351" y="5234"/>
                  </a:lnTo>
                  <a:lnTo>
                    <a:pt x="8351" y="5234"/>
                  </a:lnTo>
                  <a:lnTo>
                    <a:pt x="8324" y="5391"/>
                  </a:lnTo>
                  <a:lnTo>
                    <a:pt x="8317" y="5459"/>
                  </a:lnTo>
                  <a:lnTo>
                    <a:pt x="8310" y="5520"/>
                  </a:lnTo>
                  <a:lnTo>
                    <a:pt x="8310" y="5534"/>
                  </a:lnTo>
                  <a:lnTo>
                    <a:pt x="8236" y="5758"/>
                  </a:lnTo>
                  <a:lnTo>
                    <a:pt x="9012" y="6235"/>
                  </a:lnTo>
                  <a:close/>
                </a:path>
              </a:pathLst>
            </a:custGeom>
            <a:solidFill>
              <a:schemeClr val="bg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3" name="Oval 142">
              <a:extLst>
                <a:ext uri="{FF2B5EF4-FFF2-40B4-BE49-F238E27FC236}">
                  <a16:creationId xmlns:a16="http://schemas.microsoft.com/office/drawing/2014/main" id="{2A31C7ED-CEF9-425A-8623-EA5F5D4832A3}"/>
                </a:ext>
              </a:extLst>
            </p:cNvPr>
            <p:cNvSpPr/>
            <p:nvPr/>
          </p:nvSpPr>
          <p:spPr bwMode="auto">
            <a:xfrm>
              <a:off x="3521877" y="511997"/>
              <a:ext cx="640398" cy="640398"/>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44" name="Group 143">
            <a:extLst>
              <a:ext uri="{FF2B5EF4-FFF2-40B4-BE49-F238E27FC236}">
                <a16:creationId xmlns:a16="http://schemas.microsoft.com/office/drawing/2014/main" id="{F8478917-8C53-43AA-B81A-578F38F53D2B}"/>
              </a:ext>
            </a:extLst>
          </p:cNvPr>
          <p:cNvGrpSpPr/>
          <p:nvPr/>
        </p:nvGrpSpPr>
        <p:grpSpPr>
          <a:xfrm>
            <a:off x="3500293" y="3151895"/>
            <a:ext cx="681070" cy="681070"/>
            <a:chOff x="3500293" y="3151895"/>
            <a:chExt cx="681070" cy="681070"/>
          </a:xfrm>
        </p:grpSpPr>
        <p:grpSp>
          <p:nvGrpSpPr>
            <p:cNvPr id="145" name="Group 144">
              <a:extLst>
                <a:ext uri="{FF2B5EF4-FFF2-40B4-BE49-F238E27FC236}">
                  <a16:creationId xmlns:a16="http://schemas.microsoft.com/office/drawing/2014/main" id="{D993D634-E877-4B63-AF25-23A32478C61D}"/>
                </a:ext>
              </a:extLst>
            </p:cNvPr>
            <p:cNvGrpSpPr/>
            <p:nvPr/>
          </p:nvGrpSpPr>
          <p:grpSpPr>
            <a:xfrm>
              <a:off x="3607832" y="3353215"/>
              <a:ext cx="469102" cy="355120"/>
              <a:chOff x="3268663" y="4287838"/>
              <a:chExt cx="4351337" cy="3294062"/>
            </a:xfrm>
            <a:solidFill>
              <a:schemeClr val="bg1"/>
            </a:solidFill>
          </p:grpSpPr>
          <p:sp>
            <p:nvSpPr>
              <p:cNvPr id="147" name="Freeform 6">
                <a:extLst>
                  <a:ext uri="{FF2B5EF4-FFF2-40B4-BE49-F238E27FC236}">
                    <a16:creationId xmlns:a16="http://schemas.microsoft.com/office/drawing/2014/main" id="{FCBAFE0B-40F1-44FE-8CC4-2BE757D408CF}"/>
                  </a:ext>
                </a:extLst>
              </p:cNvPr>
              <p:cNvSpPr>
                <a:spLocks noChangeArrowheads="1"/>
              </p:cNvSpPr>
              <p:nvPr/>
            </p:nvSpPr>
            <p:spPr bwMode="auto">
              <a:xfrm>
                <a:off x="3268663" y="4287838"/>
                <a:ext cx="4351337" cy="3294062"/>
              </a:xfrm>
              <a:custGeom>
                <a:avLst/>
                <a:gdLst>
                  <a:gd name="T0" fmla="*/ 12087 w 12088"/>
                  <a:gd name="T1" fmla="*/ 7617 h 9150"/>
                  <a:gd name="T2" fmla="*/ 12087 w 12088"/>
                  <a:gd name="T3" fmla="*/ 0 h 9150"/>
                  <a:gd name="T4" fmla="*/ 0 w 12088"/>
                  <a:gd name="T5" fmla="*/ 0 h 9150"/>
                  <a:gd name="T6" fmla="*/ 0 w 12088"/>
                  <a:gd name="T7" fmla="*/ 7617 h 9150"/>
                  <a:gd name="T8" fmla="*/ 5682 w 12088"/>
                  <a:gd name="T9" fmla="*/ 7617 h 9150"/>
                  <a:gd name="T10" fmla="*/ 5682 w 12088"/>
                  <a:gd name="T11" fmla="*/ 8387 h 9150"/>
                  <a:gd name="T12" fmla="*/ 3764 w 12088"/>
                  <a:gd name="T13" fmla="*/ 8387 h 9150"/>
                  <a:gd name="T14" fmla="*/ 3764 w 12088"/>
                  <a:gd name="T15" fmla="*/ 9149 h 9150"/>
                  <a:gd name="T16" fmla="*/ 8323 w 12088"/>
                  <a:gd name="T17" fmla="*/ 9149 h 9150"/>
                  <a:gd name="T18" fmla="*/ 8323 w 12088"/>
                  <a:gd name="T19" fmla="*/ 8387 h 9150"/>
                  <a:gd name="T20" fmla="*/ 6445 w 12088"/>
                  <a:gd name="T21" fmla="*/ 8387 h 9150"/>
                  <a:gd name="T22" fmla="*/ 6445 w 12088"/>
                  <a:gd name="T23" fmla="*/ 7617 h 9150"/>
                  <a:gd name="T24" fmla="*/ 12087 w 12088"/>
                  <a:gd name="T25" fmla="*/ 7617 h 9150"/>
                  <a:gd name="T26" fmla="*/ 762 w 12088"/>
                  <a:gd name="T27" fmla="*/ 6855 h 9150"/>
                  <a:gd name="T28" fmla="*/ 762 w 12088"/>
                  <a:gd name="T29" fmla="*/ 770 h 9150"/>
                  <a:gd name="T30" fmla="*/ 11325 w 12088"/>
                  <a:gd name="T31" fmla="*/ 770 h 9150"/>
                  <a:gd name="T32" fmla="*/ 11325 w 12088"/>
                  <a:gd name="T33" fmla="*/ 6855 h 9150"/>
                  <a:gd name="T34" fmla="*/ 762 w 12088"/>
                  <a:gd name="T35" fmla="*/ 6855 h 9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88" h="9150">
                    <a:moveTo>
                      <a:pt x="12087" y="7617"/>
                    </a:moveTo>
                    <a:lnTo>
                      <a:pt x="12087" y="0"/>
                    </a:lnTo>
                    <a:lnTo>
                      <a:pt x="0" y="0"/>
                    </a:lnTo>
                    <a:lnTo>
                      <a:pt x="0" y="7617"/>
                    </a:lnTo>
                    <a:lnTo>
                      <a:pt x="5682" y="7617"/>
                    </a:lnTo>
                    <a:lnTo>
                      <a:pt x="5682" y="8387"/>
                    </a:lnTo>
                    <a:lnTo>
                      <a:pt x="3764" y="8387"/>
                    </a:lnTo>
                    <a:lnTo>
                      <a:pt x="3764" y="9149"/>
                    </a:lnTo>
                    <a:lnTo>
                      <a:pt x="8323" y="9149"/>
                    </a:lnTo>
                    <a:lnTo>
                      <a:pt x="8323" y="8387"/>
                    </a:lnTo>
                    <a:lnTo>
                      <a:pt x="6445" y="8387"/>
                    </a:lnTo>
                    <a:lnTo>
                      <a:pt x="6445" y="7617"/>
                    </a:lnTo>
                    <a:lnTo>
                      <a:pt x="12087" y="7617"/>
                    </a:lnTo>
                    <a:close/>
                    <a:moveTo>
                      <a:pt x="762" y="6855"/>
                    </a:moveTo>
                    <a:lnTo>
                      <a:pt x="762" y="770"/>
                    </a:lnTo>
                    <a:lnTo>
                      <a:pt x="11325" y="770"/>
                    </a:lnTo>
                    <a:lnTo>
                      <a:pt x="11325" y="6855"/>
                    </a:lnTo>
                    <a:lnTo>
                      <a:pt x="762" y="685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8" name="Freeform 7">
                <a:extLst>
                  <a:ext uri="{FF2B5EF4-FFF2-40B4-BE49-F238E27FC236}">
                    <a16:creationId xmlns:a16="http://schemas.microsoft.com/office/drawing/2014/main" id="{1E579833-1C5B-4BBC-800A-46AF847658A9}"/>
                  </a:ext>
                </a:extLst>
              </p:cNvPr>
              <p:cNvSpPr>
                <a:spLocks noChangeArrowheads="1"/>
              </p:cNvSpPr>
              <p:nvPr/>
            </p:nvSpPr>
            <p:spPr bwMode="auto">
              <a:xfrm>
                <a:off x="4695825" y="4762500"/>
                <a:ext cx="1495425" cy="1765300"/>
              </a:xfrm>
              <a:custGeom>
                <a:avLst/>
                <a:gdLst>
                  <a:gd name="T0" fmla="*/ 4096 w 4152"/>
                  <a:gd name="T1" fmla="*/ 1157 h 4902"/>
                  <a:gd name="T2" fmla="*/ 4096 w 4152"/>
                  <a:gd name="T3" fmla="*/ 1157 h 4902"/>
                  <a:gd name="T4" fmla="*/ 4076 w 4152"/>
                  <a:gd name="T5" fmla="*/ 1143 h 4902"/>
                  <a:gd name="T6" fmla="*/ 2123 w 4152"/>
                  <a:gd name="T7" fmla="*/ 13 h 4902"/>
                  <a:gd name="T8" fmla="*/ 2123 w 4152"/>
                  <a:gd name="T9" fmla="*/ 13 h 4902"/>
                  <a:gd name="T10" fmla="*/ 2103 w 4152"/>
                  <a:gd name="T11" fmla="*/ 7 h 4902"/>
                  <a:gd name="T12" fmla="*/ 2075 w 4152"/>
                  <a:gd name="T13" fmla="*/ 0 h 4902"/>
                  <a:gd name="T14" fmla="*/ 2048 w 4152"/>
                  <a:gd name="T15" fmla="*/ 7 h 4902"/>
                  <a:gd name="T16" fmla="*/ 2021 w 4152"/>
                  <a:gd name="T17" fmla="*/ 13 h 4902"/>
                  <a:gd name="T18" fmla="*/ 68 w 4152"/>
                  <a:gd name="T19" fmla="*/ 1150 h 4902"/>
                  <a:gd name="T20" fmla="*/ 68 w 4152"/>
                  <a:gd name="T21" fmla="*/ 1150 h 4902"/>
                  <a:gd name="T22" fmla="*/ 48 w 4152"/>
                  <a:gd name="T23" fmla="*/ 1157 h 4902"/>
                  <a:gd name="T24" fmla="*/ 48 w 4152"/>
                  <a:gd name="T25" fmla="*/ 1157 h 4902"/>
                  <a:gd name="T26" fmla="*/ 27 w 4152"/>
                  <a:gd name="T27" fmla="*/ 1171 h 4902"/>
                  <a:gd name="T28" fmla="*/ 13 w 4152"/>
                  <a:gd name="T29" fmla="*/ 1191 h 4902"/>
                  <a:gd name="T30" fmla="*/ 7 w 4152"/>
                  <a:gd name="T31" fmla="*/ 1218 h 4902"/>
                  <a:gd name="T32" fmla="*/ 0 w 4152"/>
                  <a:gd name="T33" fmla="*/ 1246 h 4902"/>
                  <a:gd name="T34" fmla="*/ 0 w 4152"/>
                  <a:gd name="T35" fmla="*/ 3655 h 4902"/>
                  <a:gd name="T36" fmla="*/ 0 w 4152"/>
                  <a:gd name="T37" fmla="*/ 3655 h 4902"/>
                  <a:gd name="T38" fmla="*/ 7 w 4152"/>
                  <a:gd name="T39" fmla="*/ 3682 h 4902"/>
                  <a:gd name="T40" fmla="*/ 13 w 4152"/>
                  <a:gd name="T41" fmla="*/ 3709 h 4902"/>
                  <a:gd name="T42" fmla="*/ 27 w 4152"/>
                  <a:gd name="T43" fmla="*/ 3730 h 4902"/>
                  <a:gd name="T44" fmla="*/ 48 w 4152"/>
                  <a:gd name="T45" fmla="*/ 3744 h 4902"/>
                  <a:gd name="T46" fmla="*/ 2021 w 4152"/>
                  <a:gd name="T47" fmla="*/ 4888 h 4902"/>
                  <a:gd name="T48" fmla="*/ 2021 w 4152"/>
                  <a:gd name="T49" fmla="*/ 4888 h 4902"/>
                  <a:gd name="T50" fmla="*/ 2048 w 4152"/>
                  <a:gd name="T51" fmla="*/ 4894 h 4902"/>
                  <a:gd name="T52" fmla="*/ 2075 w 4152"/>
                  <a:gd name="T53" fmla="*/ 4901 h 4902"/>
                  <a:gd name="T54" fmla="*/ 2075 w 4152"/>
                  <a:gd name="T55" fmla="*/ 4901 h 4902"/>
                  <a:gd name="T56" fmla="*/ 2103 w 4152"/>
                  <a:gd name="T57" fmla="*/ 4894 h 4902"/>
                  <a:gd name="T58" fmla="*/ 2123 w 4152"/>
                  <a:gd name="T59" fmla="*/ 4888 h 4902"/>
                  <a:gd name="T60" fmla="*/ 4096 w 4152"/>
                  <a:gd name="T61" fmla="*/ 3744 h 4902"/>
                  <a:gd name="T62" fmla="*/ 4096 w 4152"/>
                  <a:gd name="T63" fmla="*/ 3744 h 4902"/>
                  <a:gd name="T64" fmla="*/ 4117 w 4152"/>
                  <a:gd name="T65" fmla="*/ 3730 h 4902"/>
                  <a:gd name="T66" fmla="*/ 4137 w 4152"/>
                  <a:gd name="T67" fmla="*/ 3709 h 4902"/>
                  <a:gd name="T68" fmla="*/ 4144 w 4152"/>
                  <a:gd name="T69" fmla="*/ 3682 h 4902"/>
                  <a:gd name="T70" fmla="*/ 4151 w 4152"/>
                  <a:gd name="T71" fmla="*/ 3655 h 4902"/>
                  <a:gd name="T72" fmla="*/ 4151 w 4152"/>
                  <a:gd name="T73" fmla="*/ 1239 h 4902"/>
                  <a:gd name="T74" fmla="*/ 4151 w 4152"/>
                  <a:gd name="T75" fmla="*/ 1239 h 4902"/>
                  <a:gd name="T76" fmla="*/ 4144 w 4152"/>
                  <a:gd name="T77" fmla="*/ 1212 h 4902"/>
                  <a:gd name="T78" fmla="*/ 4137 w 4152"/>
                  <a:gd name="T79" fmla="*/ 1191 h 4902"/>
                  <a:gd name="T80" fmla="*/ 4117 w 4152"/>
                  <a:gd name="T81" fmla="*/ 1171 h 4902"/>
                  <a:gd name="T82" fmla="*/ 4096 w 4152"/>
                  <a:gd name="T83" fmla="*/ 1157 h 4902"/>
                  <a:gd name="T84" fmla="*/ 3559 w 4152"/>
                  <a:gd name="T85" fmla="*/ 1409 h 4902"/>
                  <a:gd name="T86" fmla="*/ 2075 w 4152"/>
                  <a:gd name="T87" fmla="*/ 2266 h 4902"/>
                  <a:gd name="T88" fmla="*/ 592 w 4152"/>
                  <a:gd name="T89" fmla="*/ 1409 h 4902"/>
                  <a:gd name="T90" fmla="*/ 2075 w 4152"/>
                  <a:gd name="T91" fmla="*/ 551 h 4902"/>
                  <a:gd name="T92" fmla="*/ 3559 w 4152"/>
                  <a:gd name="T93" fmla="*/ 1409 h 4902"/>
                  <a:gd name="T94" fmla="*/ 1830 w 4152"/>
                  <a:gd name="T95" fmla="*/ 2689 h 4902"/>
                  <a:gd name="T96" fmla="*/ 1830 w 4152"/>
                  <a:gd name="T97" fmla="*/ 4213 h 4902"/>
                  <a:gd name="T98" fmla="*/ 490 w 4152"/>
                  <a:gd name="T99" fmla="*/ 3438 h 4902"/>
                  <a:gd name="T100" fmla="*/ 490 w 4152"/>
                  <a:gd name="T101" fmla="*/ 1912 h 4902"/>
                  <a:gd name="T102" fmla="*/ 1830 w 4152"/>
                  <a:gd name="T103" fmla="*/ 2689 h 4902"/>
                  <a:gd name="T104" fmla="*/ 3661 w 4152"/>
                  <a:gd name="T105" fmla="*/ 1912 h 4902"/>
                  <a:gd name="T106" fmla="*/ 3661 w 4152"/>
                  <a:gd name="T107" fmla="*/ 3438 h 4902"/>
                  <a:gd name="T108" fmla="*/ 2320 w 4152"/>
                  <a:gd name="T109" fmla="*/ 4213 h 4902"/>
                  <a:gd name="T110" fmla="*/ 2320 w 4152"/>
                  <a:gd name="T111" fmla="*/ 2689 h 4902"/>
                  <a:gd name="T112" fmla="*/ 3661 w 4152"/>
                  <a:gd name="T113" fmla="*/ 1912 h 4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52" h="4902">
                    <a:moveTo>
                      <a:pt x="4096" y="1157"/>
                    </a:moveTo>
                    <a:lnTo>
                      <a:pt x="4096" y="1157"/>
                    </a:lnTo>
                    <a:lnTo>
                      <a:pt x="4076" y="1143"/>
                    </a:lnTo>
                    <a:lnTo>
                      <a:pt x="2123" y="13"/>
                    </a:lnTo>
                    <a:lnTo>
                      <a:pt x="2123" y="13"/>
                    </a:lnTo>
                    <a:lnTo>
                      <a:pt x="2103" y="7"/>
                    </a:lnTo>
                    <a:lnTo>
                      <a:pt x="2075" y="0"/>
                    </a:lnTo>
                    <a:lnTo>
                      <a:pt x="2048" y="7"/>
                    </a:lnTo>
                    <a:lnTo>
                      <a:pt x="2021" y="13"/>
                    </a:lnTo>
                    <a:lnTo>
                      <a:pt x="68" y="1150"/>
                    </a:lnTo>
                    <a:lnTo>
                      <a:pt x="68" y="1150"/>
                    </a:lnTo>
                    <a:lnTo>
                      <a:pt x="48" y="1157"/>
                    </a:lnTo>
                    <a:lnTo>
                      <a:pt x="48" y="1157"/>
                    </a:lnTo>
                    <a:lnTo>
                      <a:pt x="27" y="1171"/>
                    </a:lnTo>
                    <a:lnTo>
                      <a:pt x="13" y="1191"/>
                    </a:lnTo>
                    <a:lnTo>
                      <a:pt x="7" y="1218"/>
                    </a:lnTo>
                    <a:lnTo>
                      <a:pt x="0" y="1246"/>
                    </a:lnTo>
                    <a:lnTo>
                      <a:pt x="0" y="3655"/>
                    </a:lnTo>
                    <a:lnTo>
                      <a:pt x="0" y="3655"/>
                    </a:lnTo>
                    <a:lnTo>
                      <a:pt x="7" y="3682"/>
                    </a:lnTo>
                    <a:lnTo>
                      <a:pt x="13" y="3709"/>
                    </a:lnTo>
                    <a:lnTo>
                      <a:pt x="27" y="3730"/>
                    </a:lnTo>
                    <a:lnTo>
                      <a:pt x="48" y="3744"/>
                    </a:lnTo>
                    <a:lnTo>
                      <a:pt x="2021" y="4888"/>
                    </a:lnTo>
                    <a:lnTo>
                      <a:pt x="2021" y="4888"/>
                    </a:lnTo>
                    <a:lnTo>
                      <a:pt x="2048" y="4894"/>
                    </a:lnTo>
                    <a:lnTo>
                      <a:pt x="2075" y="4901"/>
                    </a:lnTo>
                    <a:lnTo>
                      <a:pt x="2075" y="4901"/>
                    </a:lnTo>
                    <a:lnTo>
                      <a:pt x="2103" y="4894"/>
                    </a:lnTo>
                    <a:lnTo>
                      <a:pt x="2123" y="4888"/>
                    </a:lnTo>
                    <a:lnTo>
                      <a:pt x="4096" y="3744"/>
                    </a:lnTo>
                    <a:lnTo>
                      <a:pt x="4096" y="3744"/>
                    </a:lnTo>
                    <a:lnTo>
                      <a:pt x="4117" y="3730"/>
                    </a:lnTo>
                    <a:lnTo>
                      <a:pt x="4137" y="3709"/>
                    </a:lnTo>
                    <a:lnTo>
                      <a:pt x="4144" y="3682"/>
                    </a:lnTo>
                    <a:lnTo>
                      <a:pt x="4151" y="3655"/>
                    </a:lnTo>
                    <a:lnTo>
                      <a:pt x="4151" y="1239"/>
                    </a:lnTo>
                    <a:lnTo>
                      <a:pt x="4151" y="1239"/>
                    </a:lnTo>
                    <a:lnTo>
                      <a:pt x="4144" y="1212"/>
                    </a:lnTo>
                    <a:lnTo>
                      <a:pt x="4137" y="1191"/>
                    </a:lnTo>
                    <a:lnTo>
                      <a:pt x="4117" y="1171"/>
                    </a:lnTo>
                    <a:lnTo>
                      <a:pt x="4096" y="1157"/>
                    </a:lnTo>
                    <a:close/>
                    <a:moveTo>
                      <a:pt x="3559" y="1409"/>
                    </a:moveTo>
                    <a:lnTo>
                      <a:pt x="2075" y="2266"/>
                    </a:lnTo>
                    <a:lnTo>
                      <a:pt x="592" y="1409"/>
                    </a:lnTo>
                    <a:lnTo>
                      <a:pt x="2075" y="551"/>
                    </a:lnTo>
                    <a:lnTo>
                      <a:pt x="3559" y="1409"/>
                    </a:lnTo>
                    <a:close/>
                    <a:moveTo>
                      <a:pt x="1830" y="2689"/>
                    </a:moveTo>
                    <a:lnTo>
                      <a:pt x="1830" y="4213"/>
                    </a:lnTo>
                    <a:lnTo>
                      <a:pt x="490" y="3438"/>
                    </a:lnTo>
                    <a:lnTo>
                      <a:pt x="490" y="1912"/>
                    </a:lnTo>
                    <a:lnTo>
                      <a:pt x="1830" y="2689"/>
                    </a:lnTo>
                    <a:close/>
                    <a:moveTo>
                      <a:pt x="3661" y="1912"/>
                    </a:moveTo>
                    <a:lnTo>
                      <a:pt x="3661" y="3438"/>
                    </a:lnTo>
                    <a:lnTo>
                      <a:pt x="2320" y="4213"/>
                    </a:lnTo>
                    <a:lnTo>
                      <a:pt x="2320" y="2689"/>
                    </a:lnTo>
                    <a:lnTo>
                      <a:pt x="3661" y="191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46" name="Oval 145">
              <a:extLst>
                <a:ext uri="{FF2B5EF4-FFF2-40B4-BE49-F238E27FC236}">
                  <a16:creationId xmlns:a16="http://schemas.microsoft.com/office/drawing/2014/main" id="{0D4A18B9-9002-4260-94B0-B8E229FA0759}"/>
                </a:ext>
              </a:extLst>
            </p:cNvPr>
            <p:cNvSpPr/>
            <p:nvPr/>
          </p:nvSpPr>
          <p:spPr bwMode="auto">
            <a:xfrm>
              <a:off x="3500293" y="3151895"/>
              <a:ext cx="681070" cy="681070"/>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49" name="Group 148">
            <a:extLst>
              <a:ext uri="{FF2B5EF4-FFF2-40B4-BE49-F238E27FC236}">
                <a16:creationId xmlns:a16="http://schemas.microsoft.com/office/drawing/2014/main" id="{651F3984-902A-4139-97BC-1AEBF8C2D36A}"/>
              </a:ext>
            </a:extLst>
          </p:cNvPr>
          <p:cNvGrpSpPr/>
          <p:nvPr/>
        </p:nvGrpSpPr>
        <p:grpSpPr>
          <a:xfrm>
            <a:off x="3584946" y="5796117"/>
            <a:ext cx="521066" cy="391062"/>
            <a:chOff x="2724150" y="20638"/>
            <a:chExt cx="4695825" cy="3524250"/>
          </a:xfrm>
          <a:solidFill>
            <a:schemeClr val="bg1"/>
          </a:solidFill>
        </p:grpSpPr>
        <p:sp>
          <p:nvSpPr>
            <p:cNvPr id="150" name="Freeform 1">
              <a:extLst>
                <a:ext uri="{FF2B5EF4-FFF2-40B4-BE49-F238E27FC236}">
                  <a16:creationId xmlns:a16="http://schemas.microsoft.com/office/drawing/2014/main" id="{982F321E-3C03-459C-B759-3B13D791A5CC}"/>
                </a:ext>
              </a:extLst>
            </p:cNvPr>
            <p:cNvSpPr>
              <a:spLocks noChangeArrowheads="1"/>
            </p:cNvSpPr>
            <p:nvPr/>
          </p:nvSpPr>
          <p:spPr bwMode="auto">
            <a:xfrm>
              <a:off x="4924425" y="1876425"/>
              <a:ext cx="295275" cy="511175"/>
            </a:xfrm>
            <a:custGeom>
              <a:avLst/>
              <a:gdLst>
                <a:gd name="T0" fmla="*/ 204 w 819"/>
                <a:gd name="T1" fmla="*/ 760 h 1419"/>
                <a:gd name="T2" fmla="*/ 204 w 819"/>
                <a:gd name="T3" fmla="*/ 760 h 1419"/>
                <a:gd name="T4" fmla="*/ 204 w 819"/>
                <a:gd name="T5" fmla="*/ 1418 h 1419"/>
                <a:gd name="T6" fmla="*/ 204 w 819"/>
                <a:gd name="T7" fmla="*/ 1418 h 1419"/>
                <a:gd name="T8" fmla="*/ 614 w 819"/>
                <a:gd name="T9" fmla="*/ 1418 h 1419"/>
                <a:gd name="T10" fmla="*/ 614 w 819"/>
                <a:gd name="T11" fmla="*/ 1418 h 1419"/>
                <a:gd name="T12" fmla="*/ 614 w 819"/>
                <a:gd name="T13" fmla="*/ 760 h 1419"/>
                <a:gd name="T14" fmla="*/ 614 w 819"/>
                <a:gd name="T15" fmla="*/ 760 h 1419"/>
                <a:gd name="T16" fmla="*/ 686 w 819"/>
                <a:gd name="T17" fmla="*/ 687 h 1419"/>
                <a:gd name="T18" fmla="*/ 752 w 819"/>
                <a:gd name="T19" fmla="*/ 599 h 1419"/>
                <a:gd name="T20" fmla="*/ 782 w 819"/>
                <a:gd name="T21" fmla="*/ 555 h 1419"/>
                <a:gd name="T22" fmla="*/ 803 w 819"/>
                <a:gd name="T23" fmla="*/ 511 h 1419"/>
                <a:gd name="T24" fmla="*/ 818 w 819"/>
                <a:gd name="T25" fmla="*/ 461 h 1419"/>
                <a:gd name="T26" fmla="*/ 818 w 819"/>
                <a:gd name="T27" fmla="*/ 410 h 1419"/>
                <a:gd name="T28" fmla="*/ 818 w 819"/>
                <a:gd name="T29" fmla="*/ 410 h 1419"/>
                <a:gd name="T30" fmla="*/ 811 w 819"/>
                <a:gd name="T31" fmla="*/ 314 h 1419"/>
                <a:gd name="T32" fmla="*/ 788 w 819"/>
                <a:gd name="T33" fmla="*/ 234 h 1419"/>
                <a:gd name="T34" fmla="*/ 759 w 819"/>
                <a:gd name="T35" fmla="*/ 168 h 1419"/>
                <a:gd name="T36" fmla="*/ 708 w 819"/>
                <a:gd name="T37" fmla="*/ 110 h 1419"/>
                <a:gd name="T38" fmla="*/ 650 w 819"/>
                <a:gd name="T39" fmla="*/ 66 h 1419"/>
                <a:gd name="T40" fmla="*/ 584 w 819"/>
                <a:gd name="T41" fmla="*/ 29 h 1419"/>
                <a:gd name="T42" fmla="*/ 503 w 819"/>
                <a:gd name="T43" fmla="*/ 8 h 1419"/>
                <a:gd name="T44" fmla="*/ 409 w 819"/>
                <a:gd name="T45" fmla="*/ 0 h 1419"/>
                <a:gd name="T46" fmla="*/ 409 w 819"/>
                <a:gd name="T47" fmla="*/ 0 h 1419"/>
                <a:gd name="T48" fmla="*/ 329 w 819"/>
                <a:gd name="T49" fmla="*/ 8 h 1419"/>
                <a:gd name="T50" fmla="*/ 256 w 819"/>
                <a:gd name="T51" fmla="*/ 29 h 1419"/>
                <a:gd name="T52" fmla="*/ 190 w 819"/>
                <a:gd name="T53" fmla="*/ 66 h 1419"/>
                <a:gd name="T54" fmla="*/ 124 w 819"/>
                <a:gd name="T55" fmla="*/ 110 h 1419"/>
                <a:gd name="T56" fmla="*/ 74 w 819"/>
                <a:gd name="T57" fmla="*/ 168 h 1419"/>
                <a:gd name="T58" fmla="*/ 36 w 819"/>
                <a:gd name="T59" fmla="*/ 234 h 1419"/>
                <a:gd name="T60" fmla="*/ 15 w 819"/>
                <a:gd name="T61" fmla="*/ 278 h 1419"/>
                <a:gd name="T62" fmla="*/ 7 w 819"/>
                <a:gd name="T63" fmla="*/ 314 h 1419"/>
                <a:gd name="T64" fmla="*/ 0 w 819"/>
                <a:gd name="T65" fmla="*/ 358 h 1419"/>
                <a:gd name="T66" fmla="*/ 0 w 819"/>
                <a:gd name="T67" fmla="*/ 410 h 1419"/>
                <a:gd name="T68" fmla="*/ 0 w 819"/>
                <a:gd name="T69" fmla="*/ 410 h 1419"/>
                <a:gd name="T70" fmla="*/ 0 w 819"/>
                <a:gd name="T71" fmla="*/ 461 h 1419"/>
                <a:gd name="T72" fmla="*/ 15 w 819"/>
                <a:gd name="T73" fmla="*/ 511 h 1419"/>
                <a:gd name="T74" fmla="*/ 36 w 819"/>
                <a:gd name="T75" fmla="*/ 555 h 1419"/>
                <a:gd name="T76" fmla="*/ 59 w 819"/>
                <a:gd name="T77" fmla="*/ 599 h 1419"/>
                <a:gd name="T78" fmla="*/ 124 w 819"/>
                <a:gd name="T79" fmla="*/ 687 h 1419"/>
                <a:gd name="T80" fmla="*/ 204 w 819"/>
                <a:gd name="T81" fmla="*/ 760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9" h="1419">
                  <a:moveTo>
                    <a:pt x="204" y="760"/>
                  </a:moveTo>
                  <a:lnTo>
                    <a:pt x="204" y="760"/>
                  </a:lnTo>
                  <a:lnTo>
                    <a:pt x="204" y="1418"/>
                  </a:lnTo>
                  <a:lnTo>
                    <a:pt x="204" y="1418"/>
                  </a:lnTo>
                  <a:lnTo>
                    <a:pt x="614" y="1418"/>
                  </a:lnTo>
                  <a:lnTo>
                    <a:pt x="614" y="1418"/>
                  </a:lnTo>
                  <a:lnTo>
                    <a:pt x="614" y="760"/>
                  </a:lnTo>
                  <a:lnTo>
                    <a:pt x="614" y="760"/>
                  </a:lnTo>
                  <a:lnTo>
                    <a:pt x="686" y="687"/>
                  </a:lnTo>
                  <a:lnTo>
                    <a:pt x="752" y="599"/>
                  </a:lnTo>
                  <a:lnTo>
                    <a:pt x="782" y="555"/>
                  </a:lnTo>
                  <a:lnTo>
                    <a:pt x="803" y="511"/>
                  </a:lnTo>
                  <a:lnTo>
                    <a:pt x="818" y="461"/>
                  </a:lnTo>
                  <a:lnTo>
                    <a:pt x="818" y="410"/>
                  </a:lnTo>
                  <a:lnTo>
                    <a:pt x="818" y="410"/>
                  </a:lnTo>
                  <a:lnTo>
                    <a:pt x="811" y="314"/>
                  </a:lnTo>
                  <a:lnTo>
                    <a:pt x="788" y="234"/>
                  </a:lnTo>
                  <a:lnTo>
                    <a:pt x="759" y="168"/>
                  </a:lnTo>
                  <a:lnTo>
                    <a:pt x="708" y="110"/>
                  </a:lnTo>
                  <a:lnTo>
                    <a:pt x="650" y="66"/>
                  </a:lnTo>
                  <a:lnTo>
                    <a:pt x="584" y="29"/>
                  </a:lnTo>
                  <a:lnTo>
                    <a:pt x="503" y="8"/>
                  </a:lnTo>
                  <a:lnTo>
                    <a:pt x="409" y="0"/>
                  </a:lnTo>
                  <a:lnTo>
                    <a:pt x="409" y="0"/>
                  </a:lnTo>
                  <a:lnTo>
                    <a:pt x="329" y="8"/>
                  </a:lnTo>
                  <a:lnTo>
                    <a:pt x="256" y="29"/>
                  </a:lnTo>
                  <a:lnTo>
                    <a:pt x="190" y="66"/>
                  </a:lnTo>
                  <a:lnTo>
                    <a:pt x="124" y="110"/>
                  </a:lnTo>
                  <a:lnTo>
                    <a:pt x="74" y="168"/>
                  </a:lnTo>
                  <a:lnTo>
                    <a:pt x="36" y="234"/>
                  </a:lnTo>
                  <a:lnTo>
                    <a:pt x="15" y="278"/>
                  </a:lnTo>
                  <a:lnTo>
                    <a:pt x="7" y="314"/>
                  </a:lnTo>
                  <a:lnTo>
                    <a:pt x="0" y="358"/>
                  </a:lnTo>
                  <a:lnTo>
                    <a:pt x="0" y="410"/>
                  </a:lnTo>
                  <a:lnTo>
                    <a:pt x="0" y="410"/>
                  </a:lnTo>
                  <a:lnTo>
                    <a:pt x="0" y="461"/>
                  </a:lnTo>
                  <a:lnTo>
                    <a:pt x="15" y="511"/>
                  </a:lnTo>
                  <a:lnTo>
                    <a:pt x="36" y="555"/>
                  </a:lnTo>
                  <a:lnTo>
                    <a:pt x="59" y="599"/>
                  </a:lnTo>
                  <a:lnTo>
                    <a:pt x="124" y="687"/>
                  </a:lnTo>
                  <a:lnTo>
                    <a:pt x="204" y="76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1" name="Freeform 2">
              <a:extLst>
                <a:ext uri="{FF2B5EF4-FFF2-40B4-BE49-F238E27FC236}">
                  <a16:creationId xmlns:a16="http://schemas.microsoft.com/office/drawing/2014/main" id="{4B268968-9CD3-4712-8065-53C64B6A1927}"/>
                </a:ext>
              </a:extLst>
            </p:cNvPr>
            <p:cNvSpPr>
              <a:spLocks noChangeArrowheads="1"/>
            </p:cNvSpPr>
            <p:nvPr/>
          </p:nvSpPr>
          <p:spPr bwMode="auto">
            <a:xfrm>
              <a:off x="5937250" y="2868613"/>
              <a:ext cx="263525" cy="263525"/>
            </a:xfrm>
            <a:custGeom>
              <a:avLst/>
              <a:gdLst>
                <a:gd name="T0" fmla="*/ 365 w 732"/>
                <a:gd name="T1" fmla="*/ 0 h 732"/>
                <a:gd name="T2" fmla="*/ 365 w 732"/>
                <a:gd name="T3" fmla="*/ 0 h 732"/>
                <a:gd name="T4" fmla="*/ 292 w 732"/>
                <a:gd name="T5" fmla="*/ 7 h 732"/>
                <a:gd name="T6" fmla="*/ 226 w 732"/>
                <a:gd name="T7" fmla="*/ 29 h 732"/>
                <a:gd name="T8" fmla="*/ 161 w 732"/>
                <a:gd name="T9" fmla="*/ 65 h 732"/>
                <a:gd name="T10" fmla="*/ 109 w 732"/>
                <a:gd name="T11" fmla="*/ 109 h 732"/>
                <a:gd name="T12" fmla="*/ 65 w 732"/>
                <a:gd name="T13" fmla="*/ 161 h 732"/>
                <a:gd name="T14" fmla="*/ 29 w 732"/>
                <a:gd name="T15" fmla="*/ 226 h 732"/>
                <a:gd name="T16" fmla="*/ 7 w 732"/>
                <a:gd name="T17" fmla="*/ 292 h 732"/>
                <a:gd name="T18" fmla="*/ 0 w 732"/>
                <a:gd name="T19" fmla="*/ 365 h 732"/>
                <a:gd name="T20" fmla="*/ 0 w 732"/>
                <a:gd name="T21" fmla="*/ 365 h 732"/>
                <a:gd name="T22" fmla="*/ 7 w 732"/>
                <a:gd name="T23" fmla="*/ 438 h 732"/>
                <a:gd name="T24" fmla="*/ 29 w 732"/>
                <a:gd name="T25" fmla="*/ 512 h 732"/>
                <a:gd name="T26" fmla="*/ 65 w 732"/>
                <a:gd name="T27" fmla="*/ 570 h 732"/>
                <a:gd name="T28" fmla="*/ 109 w 732"/>
                <a:gd name="T29" fmla="*/ 629 h 732"/>
                <a:gd name="T30" fmla="*/ 161 w 732"/>
                <a:gd name="T31" fmla="*/ 673 h 732"/>
                <a:gd name="T32" fmla="*/ 226 w 732"/>
                <a:gd name="T33" fmla="*/ 709 h 732"/>
                <a:gd name="T34" fmla="*/ 292 w 732"/>
                <a:gd name="T35" fmla="*/ 723 h 732"/>
                <a:gd name="T36" fmla="*/ 365 w 732"/>
                <a:gd name="T37" fmla="*/ 731 h 732"/>
                <a:gd name="T38" fmla="*/ 365 w 732"/>
                <a:gd name="T39" fmla="*/ 731 h 732"/>
                <a:gd name="T40" fmla="*/ 438 w 732"/>
                <a:gd name="T41" fmla="*/ 723 h 732"/>
                <a:gd name="T42" fmla="*/ 511 w 732"/>
                <a:gd name="T43" fmla="*/ 709 h 732"/>
                <a:gd name="T44" fmla="*/ 570 w 732"/>
                <a:gd name="T45" fmla="*/ 673 h 732"/>
                <a:gd name="T46" fmla="*/ 629 w 732"/>
                <a:gd name="T47" fmla="*/ 629 h 732"/>
                <a:gd name="T48" fmla="*/ 673 w 732"/>
                <a:gd name="T49" fmla="*/ 570 h 732"/>
                <a:gd name="T50" fmla="*/ 702 w 732"/>
                <a:gd name="T51" fmla="*/ 512 h 732"/>
                <a:gd name="T52" fmla="*/ 723 w 732"/>
                <a:gd name="T53" fmla="*/ 438 h 732"/>
                <a:gd name="T54" fmla="*/ 731 w 732"/>
                <a:gd name="T55" fmla="*/ 365 h 732"/>
                <a:gd name="T56" fmla="*/ 731 w 732"/>
                <a:gd name="T57" fmla="*/ 365 h 732"/>
                <a:gd name="T58" fmla="*/ 723 w 732"/>
                <a:gd name="T59" fmla="*/ 292 h 732"/>
                <a:gd name="T60" fmla="*/ 702 w 732"/>
                <a:gd name="T61" fmla="*/ 226 h 732"/>
                <a:gd name="T62" fmla="*/ 673 w 732"/>
                <a:gd name="T63" fmla="*/ 161 h 732"/>
                <a:gd name="T64" fmla="*/ 629 w 732"/>
                <a:gd name="T65" fmla="*/ 109 h 732"/>
                <a:gd name="T66" fmla="*/ 570 w 732"/>
                <a:gd name="T67" fmla="*/ 65 h 732"/>
                <a:gd name="T68" fmla="*/ 511 w 732"/>
                <a:gd name="T69" fmla="*/ 29 h 732"/>
                <a:gd name="T70" fmla="*/ 438 w 732"/>
                <a:gd name="T71" fmla="*/ 7 h 732"/>
                <a:gd name="T72" fmla="*/ 365 w 732"/>
                <a:gd name="T73"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2" h="732">
                  <a:moveTo>
                    <a:pt x="365" y="0"/>
                  </a:moveTo>
                  <a:lnTo>
                    <a:pt x="365" y="0"/>
                  </a:lnTo>
                  <a:lnTo>
                    <a:pt x="292" y="7"/>
                  </a:lnTo>
                  <a:lnTo>
                    <a:pt x="226" y="29"/>
                  </a:lnTo>
                  <a:lnTo>
                    <a:pt x="161" y="65"/>
                  </a:lnTo>
                  <a:lnTo>
                    <a:pt x="109" y="109"/>
                  </a:lnTo>
                  <a:lnTo>
                    <a:pt x="65" y="161"/>
                  </a:lnTo>
                  <a:lnTo>
                    <a:pt x="29" y="226"/>
                  </a:lnTo>
                  <a:lnTo>
                    <a:pt x="7" y="292"/>
                  </a:lnTo>
                  <a:lnTo>
                    <a:pt x="0" y="365"/>
                  </a:lnTo>
                  <a:lnTo>
                    <a:pt x="0" y="365"/>
                  </a:lnTo>
                  <a:lnTo>
                    <a:pt x="7" y="438"/>
                  </a:lnTo>
                  <a:lnTo>
                    <a:pt x="29" y="512"/>
                  </a:lnTo>
                  <a:lnTo>
                    <a:pt x="65" y="570"/>
                  </a:lnTo>
                  <a:lnTo>
                    <a:pt x="109" y="629"/>
                  </a:lnTo>
                  <a:lnTo>
                    <a:pt x="161" y="673"/>
                  </a:lnTo>
                  <a:lnTo>
                    <a:pt x="226" y="709"/>
                  </a:lnTo>
                  <a:lnTo>
                    <a:pt x="292" y="723"/>
                  </a:lnTo>
                  <a:lnTo>
                    <a:pt x="365" y="731"/>
                  </a:lnTo>
                  <a:lnTo>
                    <a:pt x="365" y="731"/>
                  </a:lnTo>
                  <a:lnTo>
                    <a:pt x="438" y="723"/>
                  </a:lnTo>
                  <a:lnTo>
                    <a:pt x="511" y="709"/>
                  </a:lnTo>
                  <a:lnTo>
                    <a:pt x="570" y="673"/>
                  </a:lnTo>
                  <a:lnTo>
                    <a:pt x="629" y="629"/>
                  </a:lnTo>
                  <a:lnTo>
                    <a:pt x="673" y="570"/>
                  </a:lnTo>
                  <a:lnTo>
                    <a:pt x="702" y="512"/>
                  </a:lnTo>
                  <a:lnTo>
                    <a:pt x="723" y="438"/>
                  </a:lnTo>
                  <a:lnTo>
                    <a:pt x="731" y="365"/>
                  </a:lnTo>
                  <a:lnTo>
                    <a:pt x="731" y="365"/>
                  </a:lnTo>
                  <a:lnTo>
                    <a:pt x="723" y="292"/>
                  </a:lnTo>
                  <a:lnTo>
                    <a:pt x="702" y="226"/>
                  </a:lnTo>
                  <a:lnTo>
                    <a:pt x="673" y="161"/>
                  </a:lnTo>
                  <a:lnTo>
                    <a:pt x="629" y="109"/>
                  </a:lnTo>
                  <a:lnTo>
                    <a:pt x="570" y="65"/>
                  </a:lnTo>
                  <a:lnTo>
                    <a:pt x="511" y="29"/>
                  </a:lnTo>
                  <a:lnTo>
                    <a:pt x="438" y="7"/>
                  </a:lnTo>
                  <a:lnTo>
                    <a:pt x="36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2" name="Freeform 3">
              <a:extLst>
                <a:ext uri="{FF2B5EF4-FFF2-40B4-BE49-F238E27FC236}">
                  <a16:creationId xmlns:a16="http://schemas.microsoft.com/office/drawing/2014/main" id="{A194F5A6-86DD-4A04-95E7-2097693D565D}"/>
                </a:ext>
              </a:extLst>
            </p:cNvPr>
            <p:cNvSpPr>
              <a:spLocks noChangeArrowheads="1"/>
            </p:cNvSpPr>
            <p:nvPr/>
          </p:nvSpPr>
          <p:spPr bwMode="auto">
            <a:xfrm>
              <a:off x="3994150" y="2913063"/>
              <a:ext cx="1450975" cy="176212"/>
            </a:xfrm>
            <a:custGeom>
              <a:avLst/>
              <a:gdLst>
                <a:gd name="T0" fmla="*/ 0 w 4029"/>
                <a:gd name="T1" fmla="*/ 73 h 491"/>
                <a:gd name="T2" fmla="*/ 0 w 4029"/>
                <a:gd name="T3" fmla="*/ 490 h 491"/>
                <a:gd name="T4" fmla="*/ 4028 w 4029"/>
                <a:gd name="T5" fmla="*/ 490 h 491"/>
                <a:gd name="T6" fmla="*/ 4028 w 4029"/>
                <a:gd name="T7" fmla="*/ 73 h 491"/>
                <a:gd name="T8" fmla="*/ 4028 w 4029"/>
                <a:gd name="T9" fmla="*/ 0 h 491"/>
                <a:gd name="T10" fmla="*/ 0 w 4029"/>
                <a:gd name="T11" fmla="*/ 0 h 491"/>
                <a:gd name="T12" fmla="*/ 0 w 4029"/>
                <a:gd name="T13" fmla="*/ 73 h 491"/>
              </a:gdLst>
              <a:ahLst/>
              <a:cxnLst>
                <a:cxn ang="0">
                  <a:pos x="T0" y="T1"/>
                </a:cxn>
                <a:cxn ang="0">
                  <a:pos x="T2" y="T3"/>
                </a:cxn>
                <a:cxn ang="0">
                  <a:pos x="T4" y="T5"/>
                </a:cxn>
                <a:cxn ang="0">
                  <a:pos x="T6" y="T7"/>
                </a:cxn>
                <a:cxn ang="0">
                  <a:pos x="T8" y="T9"/>
                </a:cxn>
                <a:cxn ang="0">
                  <a:pos x="T10" y="T11"/>
                </a:cxn>
                <a:cxn ang="0">
                  <a:pos x="T12" y="T13"/>
                </a:cxn>
              </a:cxnLst>
              <a:rect l="0" t="0" r="r" b="b"/>
              <a:pathLst>
                <a:path w="4029" h="491">
                  <a:moveTo>
                    <a:pt x="0" y="73"/>
                  </a:moveTo>
                  <a:lnTo>
                    <a:pt x="0" y="490"/>
                  </a:lnTo>
                  <a:lnTo>
                    <a:pt x="4028" y="490"/>
                  </a:lnTo>
                  <a:lnTo>
                    <a:pt x="4028" y="73"/>
                  </a:lnTo>
                  <a:lnTo>
                    <a:pt x="4028" y="0"/>
                  </a:lnTo>
                  <a:lnTo>
                    <a:pt x="0" y="0"/>
                  </a:lnTo>
                  <a:lnTo>
                    <a:pt x="0" y="7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3" name="Freeform 4">
              <a:extLst>
                <a:ext uri="{FF2B5EF4-FFF2-40B4-BE49-F238E27FC236}">
                  <a16:creationId xmlns:a16="http://schemas.microsoft.com/office/drawing/2014/main" id="{60B92CE9-DBBF-45C8-B82A-63F8BE488805}"/>
                </a:ext>
              </a:extLst>
            </p:cNvPr>
            <p:cNvSpPr>
              <a:spLocks noChangeArrowheads="1"/>
            </p:cNvSpPr>
            <p:nvPr/>
          </p:nvSpPr>
          <p:spPr bwMode="auto">
            <a:xfrm>
              <a:off x="2724150" y="20638"/>
              <a:ext cx="4695825" cy="3524250"/>
            </a:xfrm>
            <a:custGeom>
              <a:avLst/>
              <a:gdLst>
                <a:gd name="T0" fmla="*/ 8831 w 13043"/>
                <a:gd name="T1" fmla="*/ 848 h 9788"/>
                <a:gd name="T2" fmla="*/ 6769 w 13043"/>
                <a:gd name="T3" fmla="*/ 7 h 9788"/>
                <a:gd name="T4" fmla="*/ 5162 w 13043"/>
                <a:gd name="T5" fmla="*/ 249 h 9788"/>
                <a:gd name="T6" fmla="*/ 3699 w 13043"/>
                <a:gd name="T7" fmla="*/ 1287 h 9788"/>
                <a:gd name="T8" fmla="*/ 2910 w 13043"/>
                <a:gd name="T9" fmla="*/ 2909 h 9788"/>
                <a:gd name="T10" fmla="*/ 1718 w 13043"/>
                <a:gd name="T11" fmla="*/ 3472 h 9788"/>
                <a:gd name="T12" fmla="*/ 556 w 13043"/>
                <a:gd name="T13" fmla="*/ 4408 h 9788"/>
                <a:gd name="T14" fmla="*/ 15 w 13043"/>
                <a:gd name="T15" fmla="*/ 5796 h 9788"/>
                <a:gd name="T16" fmla="*/ 176 w 13043"/>
                <a:gd name="T17" fmla="*/ 7090 h 9788"/>
                <a:gd name="T18" fmla="*/ 906 w 13043"/>
                <a:gd name="T19" fmla="*/ 8194 h 9788"/>
                <a:gd name="T20" fmla="*/ 2076 w 13043"/>
                <a:gd name="T21" fmla="*/ 8823 h 9788"/>
                <a:gd name="T22" fmla="*/ 2471 w 13043"/>
                <a:gd name="T23" fmla="*/ 9553 h 9788"/>
                <a:gd name="T24" fmla="*/ 10293 w 13043"/>
                <a:gd name="T25" fmla="*/ 9787 h 9788"/>
                <a:gd name="T26" fmla="*/ 10856 w 13043"/>
                <a:gd name="T27" fmla="*/ 9451 h 9788"/>
                <a:gd name="T28" fmla="*/ 11770 w 13043"/>
                <a:gd name="T29" fmla="*/ 8121 h 9788"/>
                <a:gd name="T30" fmla="*/ 12793 w 13043"/>
                <a:gd name="T31" fmla="*/ 6732 h 9788"/>
                <a:gd name="T32" fmla="*/ 13042 w 13043"/>
                <a:gd name="T33" fmla="*/ 5475 h 9788"/>
                <a:gd name="T34" fmla="*/ 12574 w 13043"/>
                <a:gd name="T35" fmla="*/ 3771 h 9788"/>
                <a:gd name="T36" fmla="*/ 11346 w 13043"/>
                <a:gd name="T37" fmla="*/ 2551 h 9788"/>
                <a:gd name="T38" fmla="*/ 10446 w 13043"/>
                <a:gd name="T39" fmla="*/ 7968 h 9788"/>
                <a:gd name="T40" fmla="*/ 10293 w 13043"/>
                <a:gd name="T41" fmla="*/ 9297 h 9788"/>
                <a:gd name="T42" fmla="*/ 2814 w 13043"/>
                <a:gd name="T43" fmla="*/ 8917 h 9788"/>
                <a:gd name="T44" fmla="*/ 2968 w 13043"/>
                <a:gd name="T45" fmla="*/ 7258 h 9788"/>
                <a:gd name="T46" fmla="*/ 5242 w 13043"/>
                <a:gd name="T47" fmla="*/ 6769 h 9788"/>
                <a:gd name="T48" fmla="*/ 4884 w 13043"/>
                <a:gd name="T49" fmla="*/ 5592 h 9788"/>
                <a:gd name="T50" fmla="*/ 5871 w 13043"/>
                <a:gd name="T51" fmla="*/ 4268 h 9788"/>
                <a:gd name="T52" fmla="*/ 7449 w 13043"/>
                <a:gd name="T53" fmla="*/ 4415 h 9788"/>
                <a:gd name="T54" fmla="*/ 8165 w 13043"/>
                <a:gd name="T55" fmla="*/ 5760 h 9788"/>
                <a:gd name="T56" fmla="*/ 7661 w 13043"/>
                <a:gd name="T57" fmla="*/ 6922 h 9788"/>
                <a:gd name="T58" fmla="*/ 10352 w 13043"/>
                <a:gd name="T59" fmla="*/ 7266 h 9788"/>
                <a:gd name="T60" fmla="*/ 5293 w 13043"/>
                <a:gd name="T61" fmla="*/ 3611 h 9788"/>
                <a:gd name="T62" fmla="*/ 6046 w 13043"/>
                <a:gd name="T63" fmla="*/ 2616 h 9788"/>
                <a:gd name="T64" fmla="*/ 7208 w 13043"/>
                <a:gd name="T65" fmla="*/ 2727 h 9788"/>
                <a:gd name="T66" fmla="*/ 7756 w 13043"/>
                <a:gd name="T67" fmla="*/ 3742 h 9788"/>
                <a:gd name="T68" fmla="*/ 6521 w 13043"/>
                <a:gd name="T69" fmla="*/ 3742 h 9788"/>
                <a:gd name="T70" fmla="*/ 10937 w 13043"/>
                <a:gd name="T71" fmla="*/ 7412 h 9788"/>
                <a:gd name="T72" fmla="*/ 10600 w 13043"/>
                <a:gd name="T73" fmla="*/ 6849 h 9788"/>
                <a:gd name="T74" fmla="*/ 8465 w 13043"/>
                <a:gd name="T75" fmla="*/ 6418 h 9788"/>
                <a:gd name="T76" fmla="*/ 8407 w 13043"/>
                <a:gd name="T77" fmla="*/ 4949 h 9788"/>
                <a:gd name="T78" fmla="*/ 7968 w 13043"/>
                <a:gd name="T79" fmla="*/ 2960 h 9788"/>
                <a:gd name="T80" fmla="*/ 6521 w 13043"/>
                <a:gd name="T81" fmla="*/ 2127 h 9788"/>
                <a:gd name="T82" fmla="*/ 5154 w 13043"/>
                <a:gd name="T83" fmla="*/ 2829 h 9788"/>
                <a:gd name="T84" fmla="*/ 4701 w 13043"/>
                <a:gd name="T85" fmla="*/ 4802 h 9788"/>
                <a:gd name="T86" fmla="*/ 4533 w 13043"/>
                <a:gd name="T87" fmla="*/ 6293 h 9788"/>
                <a:gd name="T88" fmla="*/ 2720 w 13043"/>
                <a:gd name="T89" fmla="*/ 6819 h 9788"/>
                <a:gd name="T90" fmla="*/ 2332 w 13043"/>
                <a:gd name="T91" fmla="*/ 7346 h 9788"/>
                <a:gd name="T92" fmla="*/ 1243 w 13043"/>
                <a:gd name="T93" fmla="*/ 7324 h 9788"/>
                <a:gd name="T94" fmla="*/ 848 w 13043"/>
                <a:gd name="T95" fmla="*/ 5716 h 9788"/>
                <a:gd name="T96" fmla="*/ 1981 w 13043"/>
                <a:gd name="T97" fmla="*/ 4254 h 9788"/>
                <a:gd name="T98" fmla="*/ 3422 w 13043"/>
                <a:gd name="T99" fmla="*/ 4013 h 9788"/>
                <a:gd name="T100" fmla="*/ 3838 w 13043"/>
                <a:gd name="T101" fmla="*/ 2690 h 9788"/>
                <a:gd name="T102" fmla="*/ 4687 w 13043"/>
                <a:gd name="T103" fmla="*/ 1476 h 9788"/>
                <a:gd name="T104" fmla="*/ 6075 w 13043"/>
                <a:gd name="T105" fmla="*/ 848 h 9788"/>
                <a:gd name="T106" fmla="*/ 7895 w 13043"/>
                <a:gd name="T107" fmla="*/ 1191 h 9788"/>
                <a:gd name="T108" fmla="*/ 9270 w 13043"/>
                <a:gd name="T109" fmla="*/ 2836 h 9788"/>
                <a:gd name="T110" fmla="*/ 10593 w 13043"/>
                <a:gd name="T111" fmla="*/ 3048 h 9788"/>
                <a:gd name="T112" fmla="*/ 11689 w 13043"/>
                <a:gd name="T113" fmla="*/ 3911 h 9788"/>
                <a:gd name="T114" fmla="*/ 12209 w 13043"/>
                <a:gd name="T115" fmla="*/ 5211 h 9788"/>
                <a:gd name="T116" fmla="*/ 11865 w 13043"/>
                <a:gd name="T117" fmla="*/ 6813 h 9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43" h="9788">
                  <a:moveTo>
                    <a:pt x="9781" y="2025"/>
                  </a:moveTo>
                  <a:lnTo>
                    <a:pt x="9781" y="2025"/>
                  </a:lnTo>
                  <a:lnTo>
                    <a:pt x="9723" y="1915"/>
                  </a:lnTo>
                  <a:lnTo>
                    <a:pt x="9657" y="1805"/>
                  </a:lnTo>
                  <a:lnTo>
                    <a:pt x="9591" y="1696"/>
                  </a:lnTo>
                  <a:lnTo>
                    <a:pt x="9518" y="1593"/>
                  </a:lnTo>
                  <a:lnTo>
                    <a:pt x="9445" y="1491"/>
                  </a:lnTo>
                  <a:lnTo>
                    <a:pt x="9364" y="1389"/>
                  </a:lnTo>
                  <a:lnTo>
                    <a:pt x="9196" y="1199"/>
                  </a:lnTo>
                  <a:lnTo>
                    <a:pt x="9020" y="1016"/>
                  </a:lnTo>
                  <a:lnTo>
                    <a:pt x="8831" y="848"/>
                  </a:lnTo>
                  <a:lnTo>
                    <a:pt x="8626" y="694"/>
                  </a:lnTo>
                  <a:lnTo>
                    <a:pt x="8414" y="556"/>
                  </a:lnTo>
                  <a:lnTo>
                    <a:pt x="8202" y="432"/>
                  </a:lnTo>
                  <a:lnTo>
                    <a:pt x="7976" y="321"/>
                  </a:lnTo>
                  <a:lnTo>
                    <a:pt x="7741" y="226"/>
                  </a:lnTo>
                  <a:lnTo>
                    <a:pt x="7500" y="146"/>
                  </a:lnTo>
                  <a:lnTo>
                    <a:pt x="7259" y="80"/>
                  </a:lnTo>
                  <a:lnTo>
                    <a:pt x="7142" y="59"/>
                  </a:lnTo>
                  <a:lnTo>
                    <a:pt x="7018" y="36"/>
                  </a:lnTo>
                  <a:lnTo>
                    <a:pt x="6894" y="22"/>
                  </a:lnTo>
                  <a:lnTo>
                    <a:pt x="6769" y="7"/>
                  </a:lnTo>
                  <a:lnTo>
                    <a:pt x="6645" y="0"/>
                  </a:lnTo>
                  <a:lnTo>
                    <a:pt x="6521" y="0"/>
                  </a:lnTo>
                  <a:lnTo>
                    <a:pt x="6521" y="0"/>
                  </a:lnTo>
                  <a:lnTo>
                    <a:pt x="6339" y="7"/>
                  </a:lnTo>
                  <a:lnTo>
                    <a:pt x="6163" y="15"/>
                  </a:lnTo>
                  <a:lnTo>
                    <a:pt x="5988" y="36"/>
                  </a:lnTo>
                  <a:lnTo>
                    <a:pt x="5819" y="65"/>
                  </a:lnTo>
                  <a:lnTo>
                    <a:pt x="5645" y="103"/>
                  </a:lnTo>
                  <a:lnTo>
                    <a:pt x="5483" y="146"/>
                  </a:lnTo>
                  <a:lnTo>
                    <a:pt x="5322" y="190"/>
                  </a:lnTo>
                  <a:lnTo>
                    <a:pt x="5162" y="249"/>
                  </a:lnTo>
                  <a:lnTo>
                    <a:pt x="5008" y="314"/>
                  </a:lnTo>
                  <a:lnTo>
                    <a:pt x="4855" y="388"/>
                  </a:lnTo>
                  <a:lnTo>
                    <a:pt x="4708" y="461"/>
                  </a:lnTo>
                  <a:lnTo>
                    <a:pt x="4563" y="548"/>
                  </a:lnTo>
                  <a:lnTo>
                    <a:pt x="4423" y="636"/>
                  </a:lnTo>
                  <a:lnTo>
                    <a:pt x="4292" y="731"/>
                  </a:lnTo>
                  <a:lnTo>
                    <a:pt x="4160" y="833"/>
                  </a:lnTo>
                  <a:lnTo>
                    <a:pt x="4036" y="935"/>
                  </a:lnTo>
                  <a:lnTo>
                    <a:pt x="3919" y="1052"/>
                  </a:lnTo>
                  <a:lnTo>
                    <a:pt x="3802" y="1170"/>
                  </a:lnTo>
                  <a:lnTo>
                    <a:pt x="3699" y="1287"/>
                  </a:lnTo>
                  <a:lnTo>
                    <a:pt x="3597" y="1418"/>
                  </a:lnTo>
                  <a:lnTo>
                    <a:pt x="3495" y="1549"/>
                  </a:lnTo>
                  <a:lnTo>
                    <a:pt x="3407" y="1681"/>
                  </a:lnTo>
                  <a:lnTo>
                    <a:pt x="3319" y="1820"/>
                  </a:lnTo>
                  <a:lnTo>
                    <a:pt x="3239" y="1966"/>
                  </a:lnTo>
                  <a:lnTo>
                    <a:pt x="3166" y="2113"/>
                  </a:lnTo>
                  <a:lnTo>
                    <a:pt x="3100" y="2266"/>
                  </a:lnTo>
                  <a:lnTo>
                    <a:pt x="3041" y="2419"/>
                  </a:lnTo>
                  <a:lnTo>
                    <a:pt x="2990" y="2580"/>
                  </a:lnTo>
                  <a:lnTo>
                    <a:pt x="2946" y="2741"/>
                  </a:lnTo>
                  <a:lnTo>
                    <a:pt x="2910" y="2909"/>
                  </a:lnTo>
                  <a:lnTo>
                    <a:pt x="2881" y="3077"/>
                  </a:lnTo>
                  <a:lnTo>
                    <a:pt x="2852" y="3245"/>
                  </a:lnTo>
                  <a:lnTo>
                    <a:pt x="2852" y="3245"/>
                  </a:lnTo>
                  <a:lnTo>
                    <a:pt x="2705" y="3245"/>
                  </a:lnTo>
                  <a:lnTo>
                    <a:pt x="2552" y="3260"/>
                  </a:lnTo>
                  <a:lnTo>
                    <a:pt x="2405" y="3274"/>
                  </a:lnTo>
                  <a:lnTo>
                    <a:pt x="2267" y="3304"/>
                  </a:lnTo>
                  <a:lnTo>
                    <a:pt x="2120" y="3333"/>
                  </a:lnTo>
                  <a:lnTo>
                    <a:pt x="1988" y="3377"/>
                  </a:lnTo>
                  <a:lnTo>
                    <a:pt x="1850" y="3421"/>
                  </a:lnTo>
                  <a:lnTo>
                    <a:pt x="1718" y="3472"/>
                  </a:lnTo>
                  <a:lnTo>
                    <a:pt x="1594" y="3530"/>
                  </a:lnTo>
                  <a:lnTo>
                    <a:pt x="1470" y="3597"/>
                  </a:lnTo>
                  <a:lnTo>
                    <a:pt x="1353" y="3662"/>
                  </a:lnTo>
                  <a:lnTo>
                    <a:pt x="1235" y="3742"/>
                  </a:lnTo>
                  <a:lnTo>
                    <a:pt x="1126" y="3823"/>
                  </a:lnTo>
                  <a:lnTo>
                    <a:pt x="1017" y="3911"/>
                  </a:lnTo>
                  <a:lnTo>
                    <a:pt x="914" y="3998"/>
                  </a:lnTo>
                  <a:lnTo>
                    <a:pt x="819" y="4094"/>
                  </a:lnTo>
                  <a:lnTo>
                    <a:pt x="724" y="4196"/>
                  </a:lnTo>
                  <a:lnTo>
                    <a:pt x="636" y="4298"/>
                  </a:lnTo>
                  <a:lnTo>
                    <a:pt x="556" y="4408"/>
                  </a:lnTo>
                  <a:lnTo>
                    <a:pt x="476" y="4517"/>
                  </a:lnTo>
                  <a:lnTo>
                    <a:pt x="402" y="4634"/>
                  </a:lnTo>
                  <a:lnTo>
                    <a:pt x="336" y="4751"/>
                  </a:lnTo>
                  <a:lnTo>
                    <a:pt x="271" y="4876"/>
                  </a:lnTo>
                  <a:lnTo>
                    <a:pt x="220" y="5000"/>
                  </a:lnTo>
                  <a:lnTo>
                    <a:pt x="168" y="5124"/>
                  </a:lnTo>
                  <a:lnTo>
                    <a:pt x="124" y="5255"/>
                  </a:lnTo>
                  <a:lnTo>
                    <a:pt x="88" y="5387"/>
                  </a:lnTo>
                  <a:lnTo>
                    <a:pt x="59" y="5526"/>
                  </a:lnTo>
                  <a:lnTo>
                    <a:pt x="36" y="5658"/>
                  </a:lnTo>
                  <a:lnTo>
                    <a:pt x="15" y="5796"/>
                  </a:lnTo>
                  <a:lnTo>
                    <a:pt x="7" y="5943"/>
                  </a:lnTo>
                  <a:lnTo>
                    <a:pt x="0" y="6081"/>
                  </a:lnTo>
                  <a:lnTo>
                    <a:pt x="0" y="6081"/>
                  </a:lnTo>
                  <a:lnTo>
                    <a:pt x="7" y="6213"/>
                  </a:lnTo>
                  <a:lnTo>
                    <a:pt x="15" y="6345"/>
                  </a:lnTo>
                  <a:lnTo>
                    <a:pt x="29" y="6476"/>
                  </a:lnTo>
                  <a:lnTo>
                    <a:pt x="44" y="6608"/>
                  </a:lnTo>
                  <a:lnTo>
                    <a:pt x="73" y="6732"/>
                  </a:lnTo>
                  <a:lnTo>
                    <a:pt x="103" y="6856"/>
                  </a:lnTo>
                  <a:lnTo>
                    <a:pt x="132" y="6973"/>
                  </a:lnTo>
                  <a:lnTo>
                    <a:pt x="176" y="7090"/>
                  </a:lnTo>
                  <a:lnTo>
                    <a:pt x="220" y="7207"/>
                  </a:lnTo>
                  <a:lnTo>
                    <a:pt x="271" y="7324"/>
                  </a:lnTo>
                  <a:lnTo>
                    <a:pt x="321" y="7433"/>
                  </a:lnTo>
                  <a:lnTo>
                    <a:pt x="380" y="7536"/>
                  </a:lnTo>
                  <a:lnTo>
                    <a:pt x="438" y="7638"/>
                  </a:lnTo>
                  <a:lnTo>
                    <a:pt x="512" y="7741"/>
                  </a:lnTo>
                  <a:lnTo>
                    <a:pt x="577" y="7836"/>
                  </a:lnTo>
                  <a:lnTo>
                    <a:pt x="650" y="7930"/>
                  </a:lnTo>
                  <a:lnTo>
                    <a:pt x="731" y="8018"/>
                  </a:lnTo>
                  <a:lnTo>
                    <a:pt x="819" y="8106"/>
                  </a:lnTo>
                  <a:lnTo>
                    <a:pt x="906" y="8194"/>
                  </a:lnTo>
                  <a:lnTo>
                    <a:pt x="994" y="8267"/>
                  </a:lnTo>
                  <a:lnTo>
                    <a:pt x="1089" y="8347"/>
                  </a:lnTo>
                  <a:lnTo>
                    <a:pt x="1185" y="8413"/>
                  </a:lnTo>
                  <a:lnTo>
                    <a:pt x="1287" y="8479"/>
                  </a:lnTo>
                  <a:lnTo>
                    <a:pt x="1389" y="8544"/>
                  </a:lnTo>
                  <a:lnTo>
                    <a:pt x="1499" y="8603"/>
                  </a:lnTo>
                  <a:lnTo>
                    <a:pt x="1608" y="8655"/>
                  </a:lnTo>
                  <a:lnTo>
                    <a:pt x="1718" y="8706"/>
                  </a:lnTo>
                  <a:lnTo>
                    <a:pt x="1835" y="8750"/>
                  </a:lnTo>
                  <a:lnTo>
                    <a:pt x="1952" y="8786"/>
                  </a:lnTo>
                  <a:lnTo>
                    <a:pt x="2076" y="8823"/>
                  </a:lnTo>
                  <a:lnTo>
                    <a:pt x="2200" y="8852"/>
                  </a:lnTo>
                  <a:lnTo>
                    <a:pt x="2325" y="8873"/>
                  </a:lnTo>
                  <a:lnTo>
                    <a:pt x="2325" y="9144"/>
                  </a:lnTo>
                  <a:lnTo>
                    <a:pt x="2325" y="9144"/>
                  </a:lnTo>
                  <a:lnTo>
                    <a:pt x="2332" y="9210"/>
                  </a:lnTo>
                  <a:lnTo>
                    <a:pt x="2340" y="9276"/>
                  </a:lnTo>
                  <a:lnTo>
                    <a:pt x="2355" y="9334"/>
                  </a:lnTo>
                  <a:lnTo>
                    <a:pt x="2376" y="9393"/>
                  </a:lnTo>
                  <a:lnTo>
                    <a:pt x="2405" y="9451"/>
                  </a:lnTo>
                  <a:lnTo>
                    <a:pt x="2435" y="9502"/>
                  </a:lnTo>
                  <a:lnTo>
                    <a:pt x="2471" y="9553"/>
                  </a:lnTo>
                  <a:lnTo>
                    <a:pt x="2515" y="9597"/>
                  </a:lnTo>
                  <a:lnTo>
                    <a:pt x="2559" y="9641"/>
                  </a:lnTo>
                  <a:lnTo>
                    <a:pt x="2610" y="9678"/>
                  </a:lnTo>
                  <a:lnTo>
                    <a:pt x="2661" y="9707"/>
                  </a:lnTo>
                  <a:lnTo>
                    <a:pt x="2720" y="9737"/>
                  </a:lnTo>
                  <a:lnTo>
                    <a:pt x="2778" y="9758"/>
                  </a:lnTo>
                  <a:lnTo>
                    <a:pt x="2837" y="9773"/>
                  </a:lnTo>
                  <a:lnTo>
                    <a:pt x="2902" y="9780"/>
                  </a:lnTo>
                  <a:lnTo>
                    <a:pt x="2968" y="9787"/>
                  </a:lnTo>
                  <a:lnTo>
                    <a:pt x="10293" y="9787"/>
                  </a:lnTo>
                  <a:lnTo>
                    <a:pt x="10293" y="9787"/>
                  </a:lnTo>
                  <a:lnTo>
                    <a:pt x="10359" y="9780"/>
                  </a:lnTo>
                  <a:lnTo>
                    <a:pt x="10425" y="9773"/>
                  </a:lnTo>
                  <a:lnTo>
                    <a:pt x="10483" y="9758"/>
                  </a:lnTo>
                  <a:lnTo>
                    <a:pt x="10542" y="9737"/>
                  </a:lnTo>
                  <a:lnTo>
                    <a:pt x="10600" y="9707"/>
                  </a:lnTo>
                  <a:lnTo>
                    <a:pt x="10651" y="9678"/>
                  </a:lnTo>
                  <a:lnTo>
                    <a:pt x="10702" y="9641"/>
                  </a:lnTo>
                  <a:lnTo>
                    <a:pt x="10746" y="9597"/>
                  </a:lnTo>
                  <a:lnTo>
                    <a:pt x="10790" y="9553"/>
                  </a:lnTo>
                  <a:lnTo>
                    <a:pt x="10827" y="9502"/>
                  </a:lnTo>
                  <a:lnTo>
                    <a:pt x="10856" y="9451"/>
                  </a:lnTo>
                  <a:lnTo>
                    <a:pt x="10885" y="9393"/>
                  </a:lnTo>
                  <a:lnTo>
                    <a:pt x="10907" y="9334"/>
                  </a:lnTo>
                  <a:lnTo>
                    <a:pt x="10922" y="9276"/>
                  </a:lnTo>
                  <a:lnTo>
                    <a:pt x="10929" y="9210"/>
                  </a:lnTo>
                  <a:lnTo>
                    <a:pt x="10937" y="9144"/>
                  </a:lnTo>
                  <a:lnTo>
                    <a:pt x="10937" y="8632"/>
                  </a:lnTo>
                  <a:lnTo>
                    <a:pt x="10937" y="8632"/>
                  </a:lnTo>
                  <a:lnTo>
                    <a:pt x="11156" y="8530"/>
                  </a:lnTo>
                  <a:lnTo>
                    <a:pt x="11368" y="8406"/>
                  </a:lnTo>
                  <a:lnTo>
                    <a:pt x="11580" y="8267"/>
                  </a:lnTo>
                  <a:lnTo>
                    <a:pt x="11770" y="8121"/>
                  </a:lnTo>
                  <a:lnTo>
                    <a:pt x="11960" y="7953"/>
                  </a:lnTo>
                  <a:lnTo>
                    <a:pt x="12136" y="7777"/>
                  </a:lnTo>
                  <a:lnTo>
                    <a:pt x="12296" y="7587"/>
                  </a:lnTo>
                  <a:lnTo>
                    <a:pt x="12369" y="7492"/>
                  </a:lnTo>
                  <a:lnTo>
                    <a:pt x="12442" y="7390"/>
                  </a:lnTo>
                  <a:lnTo>
                    <a:pt x="12508" y="7287"/>
                  </a:lnTo>
                  <a:lnTo>
                    <a:pt x="12574" y="7178"/>
                  </a:lnTo>
                  <a:lnTo>
                    <a:pt x="12633" y="7075"/>
                  </a:lnTo>
                  <a:lnTo>
                    <a:pt x="12691" y="6959"/>
                  </a:lnTo>
                  <a:lnTo>
                    <a:pt x="12750" y="6849"/>
                  </a:lnTo>
                  <a:lnTo>
                    <a:pt x="12793" y="6732"/>
                  </a:lnTo>
                  <a:lnTo>
                    <a:pt x="12837" y="6615"/>
                  </a:lnTo>
                  <a:lnTo>
                    <a:pt x="12881" y="6498"/>
                  </a:lnTo>
                  <a:lnTo>
                    <a:pt x="12918" y="6374"/>
                  </a:lnTo>
                  <a:lnTo>
                    <a:pt x="12947" y="6249"/>
                  </a:lnTo>
                  <a:lnTo>
                    <a:pt x="12977" y="6125"/>
                  </a:lnTo>
                  <a:lnTo>
                    <a:pt x="12998" y="6001"/>
                  </a:lnTo>
                  <a:lnTo>
                    <a:pt x="13020" y="5869"/>
                  </a:lnTo>
                  <a:lnTo>
                    <a:pt x="13027" y="5738"/>
                  </a:lnTo>
                  <a:lnTo>
                    <a:pt x="13035" y="5606"/>
                  </a:lnTo>
                  <a:lnTo>
                    <a:pt x="13042" y="5475"/>
                  </a:lnTo>
                  <a:lnTo>
                    <a:pt x="13042" y="5475"/>
                  </a:lnTo>
                  <a:lnTo>
                    <a:pt x="13035" y="5307"/>
                  </a:lnTo>
                  <a:lnTo>
                    <a:pt x="13020" y="5138"/>
                  </a:lnTo>
                  <a:lnTo>
                    <a:pt x="13006" y="4970"/>
                  </a:lnTo>
                  <a:lnTo>
                    <a:pt x="12977" y="4809"/>
                  </a:lnTo>
                  <a:lnTo>
                    <a:pt x="12939" y="4649"/>
                  </a:lnTo>
                  <a:lnTo>
                    <a:pt x="12896" y="4495"/>
                  </a:lnTo>
                  <a:lnTo>
                    <a:pt x="12845" y="4342"/>
                  </a:lnTo>
                  <a:lnTo>
                    <a:pt x="12786" y="4196"/>
                  </a:lnTo>
                  <a:lnTo>
                    <a:pt x="12728" y="4050"/>
                  </a:lnTo>
                  <a:lnTo>
                    <a:pt x="12654" y="3903"/>
                  </a:lnTo>
                  <a:lnTo>
                    <a:pt x="12574" y="3771"/>
                  </a:lnTo>
                  <a:lnTo>
                    <a:pt x="12494" y="3633"/>
                  </a:lnTo>
                  <a:lnTo>
                    <a:pt x="12398" y="3509"/>
                  </a:lnTo>
                  <a:lnTo>
                    <a:pt x="12304" y="3377"/>
                  </a:lnTo>
                  <a:lnTo>
                    <a:pt x="12201" y="3260"/>
                  </a:lnTo>
                  <a:lnTo>
                    <a:pt x="12099" y="3143"/>
                  </a:lnTo>
                  <a:lnTo>
                    <a:pt x="11982" y="3033"/>
                  </a:lnTo>
                  <a:lnTo>
                    <a:pt x="11865" y="2924"/>
                  </a:lnTo>
                  <a:lnTo>
                    <a:pt x="11748" y="2821"/>
                  </a:lnTo>
                  <a:lnTo>
                    <a:pt x="11616" y="2727"/>
                  </a:lnTo>
                  <a:lnTo>
                    <a:pt x="11484" y="2631"/>
                  </a:lnTo>
                  <a:lnTo>
                    <a:pt x="11346" y="2551"/>
                  </a:lnTo>
                  <a:lnTo>
                    <a:pt x="11207" y="2471"/>
                  </a:lnTo>
                  <a:lnTo>
                    <a:pt x="11061" y="2398"/>
                  </a:lnTo>
                  <a:lnTo>
                    <a:pt x="10914" y="2325"/>
                  </a:lnTo>
                  <a:lnTo>
                    <a:pt x="10761" y="2266"/>
                  </a:lnTo>
                  <a:lnTo>
                    <a:pt x="10607" y="2207"/>
                  </a:lnTo>
                  <a:lnTo>
                    <a:pt x="10446" y="2157"/>
                  </a:lnTo>
                  <a:lnTo>
                    <a:pt x="10286" y="2113"/>
                  </a:lnTo>
                  <a:lnTo>
                    <a:pt x="10117" y="2076"/>
                  </a:lnTo>
                  <a:lnTo>
                    <a:pt x="9949" y="2046"/>
                  </a:lnTo>
                  <a:lnTo>
                    <a:pt x="9781" y="2025"/>
                  </a:lnTo>
                  <a:close/>
                  <a:moveTo>
                    <a:pt x="10446" y="7968"/>
                  </a:moveTo>
                  <a:lnTo>
                    <a:pt x="10446" y="8800"/>
                  </a:lnTo>
                  <a:lnTo>
                    <a:pt x="10446" y="9144"/>
                  </a:lnTo>
                  <a:lnTo>
                    <a:pt x="10446" y="9144"/>
                  </a:lnTo>
                  <a:lnTo>
                    <a:pt x="10446" y="9173"/>
                  </a:lnTo>
                  <a:lnTo>
                    <a:pt x="10432" y="9203"/>
                  </a:lnTo>
                  <a:lnTo>
                    <a:pt x="10417" y="9232"/>
                  </a:lnTo>
                  <a:lnTo>
                    <a:pt x="10402" y="9254"/>
                  </a:lnTo>
                  <a:lnTo>
                    <a:pt x="10381" y="9276"/>
                  </a:lnTo>
                  <a:lnTo>
                    <a:pt x="10352" y="9283"/>
                  </a:lnTo>
                  <a:lnTo>
                    <a:pt x="10322" y="9297"/>
                  </a:lnTo>
                  <a:lnTo>
                    <a:pt x="10293" y="9297"/>
                  </a:lnTo>
                  <a:lnTo>
                    <a:pt x="2968" y="9297"/>
                  </a:lnTo>
                  <a:lnTo>
                    <a:pt x="2968" y="9297"/>
                  </a:lnTo>
                  <a:lnTo>
                    <a:pt x="2932" y="9297"/>
                  </a:lnTo>
                  <a:lnTo>
                    <a:pt x="2910" y="9283"/>
                  </a:lnTo>
                  <a:lnTo>
                    <a:pt x="2881" y="9276"/>
                  </a:lnTo>
                  <a:lnTo>
                    <a:pt x="2858" y="9254"/>
                  </a:lnTo>
                  <a:lnTo>
                    <a:pt x="2837" y="9232"/>
                  </a:lnTo>
                  <a:lnTo>
                    <a:pt x="2822" y="9203"/>
                  </a:lnTo>
                  <a:lnTo>
                    <a:pt x="2814" y="9173"/>
                  </a:lnTo>
                  <a:lnTo>
                    <a:pt x="2814" y="9144"/>
                  </a:lnTo>
                  <a:lnTo>
                    <a:pt x="2814" y="8917"/>
                  </a:lnTo>
                  <a:lnTo>
                    <a:pt x="2814" y="8106"/>
                  </a:lnTo>
                  <a:lnTo>
                    <a:pt x="2814" y="7412"/>
                  </a:lnTo>
                  <a:lnTo>
                    <a:pt x="2814" y="7412"/>
                  </a:lnTo>
                  <a:lnTo>
                    <a:pt x="2814" y="7375"/>
                  </a:lnTo>
                  <a:lnTo>
                    <a:pt x="2822" y="7353"/>
                  </a:lnTo>
                  <a:lnTo>
                    <a:pt x="2837" y="7324"/>
                  </a:lnTo>
                  <a:lnTo>
                    <a:pt x="2858" y="7302"/>
                  </a:lnTo>
                  <a:lnTo>
                    <a:pt x="2881" y="7280"/>
                  </a:lnTo>
                  <a:lnTo>
                    <a:pt x="2910" y="7266"/>
                  </a:lnTo>
                  <a:lnTo>
                    <a:pt x="2932" y="7258"/>
                  </a:lnTo>
                  <a:lnTo>
                    <a:pt x="2968" y="7258"/>
                  </a:lnTo>
                  <a:lnTo>
                    <a:pt x="5140" y="7258"/>
                  </a:lnTo>
                  <a:lnTo>
                    <a:pt x="5900" y="7258"/>
                  </a:lnTo>
                  <a:lnTo>
                    <a:pt x="5900" y="7258"/>
                  </a:lnTo>
                  <a:lnTo>
                    <a:pt x="5805" y="7215"/>
                  </a:lnTo>
                  <a:lnTo>
                    <a:pt x="5710" y="7163"/>
                  </a:lnTo>
                  <a:lnTo>
                    <a:pt x="5622" y="7112"/>
                  </a:lnTo>
                  <a:lnTo>
                    <a:pt x="5534" y="7054"/>
                  </a:lnTo>
                  <a:lnTo>
                    <a:pt x="5454" y="6988"/>
                  </a:lnTo>
                  <a:lnTo>
                    <a:pt x="5381" y="6922"/>
                  </a:lnTo>
                  <a:lnTo>
                    <a:pt x="5308" y="6849"/>
                  </a:lnTo>
                  <a:lnTo>
                    <a:pt x="5242" y="6769"/>
                  </a:lnTo>
                  <a:lnTo>
                    <a:pt x="5242" y="6769"/>
                  </a:lnTo>
                  <a:lnTo>
                    <a:pt x="5162" y="6659"/>
                  </a:lnTo>
                  <a:lnTo>
                    <a:pt x="5089" y="6549"/>
                  </a:lnTo>
                  <a:lnTo>
                    <a:pt x="5022" y="6425"/>
                  </a:lnTo>
                  <a:lnTo>
                    <a:pt x="4972" y="6301"/>
                  </a:lnTo>
                  <a:lnTo>
                    <a:pt x="4928" y="6169"/>
                  </a:lnTo>
                  <a:lnTo>
                    <a:pt x="4898" y="6037"/>
                  </a:lnTo>
                  <a:lnTo>
                    <a:pt x="4884" y="5899"/>
                  </a:lnTo>
                  <a:lnTo>
                    <a:pt x="4877" y="5760"/>
                  </a:lnTo>
                  <a:lnTo>
                    <a:pt x="4877" y="5760"/>
                  </a:lnTo>
                  <a:lnTo>
                    <a:pt x="4884" y="5592"/>
                  </a:lnTo>
                  <a:lnTo>
                    <a:pt x="4906" y="5431"/>
                  </a:lnTo>
                  <a:lnTo>
                    <a:pt x="4949" y="5278"/>
                  </a:lnTo>
                  <a:lnTo>
                    <a:pt x="5001" y="5124"/>
                  </a:lnTo>
                  <a:lnTo>
                    <a:pt x="5066" y="4985"/>
                  </a:lnTo>
                  <a:lnTo>
                    <a:pt x="5154" y="4853"/>
                  </a:lnTo>
                  <a:lnTo>
                    <a:pt x="5242" y="4729"/>
                  </a:lnTo>
                  <a:lnTo>
                    <a:pt x="5352" y="4612"/>
                  </a:lnTo>
                  <a:lnTo>
                    <a:pt x="5469" y="4510"/>
                  </a:lnTo>
                  <a:lnTo>
                    <a:pt x="5593" y="4415"/>
                  </a:lnTo>
                  <a:lnTo>
                    <a:pt x="5732" y="4335"/>
                  </a:lnTo>
                  <a:lnTo>
                    <a:pt x="5871" y="4268"/>
                  </a:lnTo>
                  <a:lnTo>
                    <a:pt x="6024" y="4218"/>
                  </a:lnTo>
                  <a:lnTo>
                    <a:pt x="6186" y="4174"/>
                  </a:lnTo>
                  <a:lnTo>
                    <a:pt x="6354" y="4152"/>
                  </a:lnTo>
                  <a:lnTo>
                    <a:pt x="6521" y="4144"/>
                  </a:lnTo>
                  <a:lnTo>
                    <a:pt x="6521" y="4144"/>
                  </a:lnTo>
                  <a:lnTo>
                    <a:pt x="6688" y="4152"/>
                  </a:lnTo>
                  <a:lnTo>
                    <a:pt x="6856" y="4174"/>
                  </a:lnTo>
                  <a:lnTo>
                    <a:pt x="7018" y="4218"/>
                  </a:lnTo>
                  <a:lnTo>
                    <a:pt x="7171" y="4268"/>
                  </a:lnTo>
                  <a:lnTo>
                    <a:pt x="7310" y="4335"/>
                  </a:lnTo>
                  <a:lnTo>
                    <a:pt x="7449" y="4415"/>
                  </a:lnTo>
                  <a:lnTo>
                    <a:pt x="7573" y="4510"/>
                  </a:lnTo>
                  <a:lnTo>
                    <a:pt x="7690" y="4612"/>
                  </a:lnTo>
                  <a:lnTo>
                    <a:pt x="7800" y="4729"/>
                  </a:lnTo>
                  <a:lnTo>
                    <a:pt x="7888" y="4853"/>
                  </a:lnTo>
                  <a:lnTo>
                    <a:pt x="7968" y="4985"/>
                  </a:lnTo>
                  <a:lnTo>
                    <a:pt x="8041" y="5124"/>
                  </a:lnTo>
                  <a:lnTo>
                    <a:pt x="8093" y="5278"/>
                  </a:lnTo>
                  <a:lnTo>
                    <a:pt x="8136" y="5431"/>
                  </a:lnTo>
                  <a:lnTo>
                    <a:pt x="8158" y="5592"/>
                  </a:lnTo>
                  <a:lnTo>
                    <a:pt x="8165" y="5760"/>
                  </a:lnTo>
                  <a:lnTo>
                    <a:pt x="8165" y="5760"/>
                  </a:lnTo>
                  <a:lnTo>
                    <a:pt x="8158" y="5899"/>
                  </a:lnTo>
                  <a:lnTo>
                    <a:pt x="8144" y="6037"/>
                  </a:lnTo>
                  <a:lnTo>
                    <a:pt x="8114" y="6169"/>
                  </a:lnTo>
                  <a:lnTo>
                    <a:pt x="8070" y="6301"/>
                  </a:lnTo>
                  <a:lnTo>
                    <a:pt x="8020" y="6425"/>
                  </a:lnTo>
                  <a:lnTo>
                    <a:pt x="7953" y="6549"/>
                  </a:lnTo>
                  <a:lnTo>
                    <a:pt x="7880" y="6659"/>
                  </a:lnTo>
                  <a:lnTo>
                    <a:pt x="7800" y="6769"/>
                  </a:lnTo>
                  <a:lnTo>
                    <a:pt x="7800" y="6769"/>
                  </a:lnTo>
                  <a:lnTo>
                    <a:pt x="7734" y="6849"/>
                  </a:lnTo>
                  <a:lnTo>
                    <a:pt x="7661" y="6922"/>
                  </a:lnTo>
                  <a:lnTo>
                    <a:pt x="7588" y="6988"/>
                  </a:lnTo>
                  <a:lnTo>
                    <a:pt x="7508" y="7054"/>
                  </a:lnTo>
                  <a:lnTo>
                    <a:pt x="7420" y="7112"/>
                  </a:lnTo>
                  <a:lnTo>
                    <a:pt x="7332" y="7163"/>
                  </a:lnTo>
                  <a:lnTo>
                    <a:pt x="7237" y="7215"/>
                  </a:lnTo>
                  <a:lnTo>
                    <a:pt x="7142" y="7258"/>
                  </a:lnTo>
                  <a:lnTo>
                    <a:pt x="7902" y="7258"/>
                  </a:lnTo>
                  <a:lnTo>
                    <a:pt x="10293" y="7258"/>
                  </a:lnTo>
                  <a:lnTo>
                    <a:pt x="10293" y="7258"/>
                  </a:lnTo>
                  <a:lnTo>
                    <a:pt x="10322" y="7258"/>
                  </a:lnTo>
                  <a:lnTo>
                    <a:pt x="10352" y="7266"/>
                  </a:lnTo>
                  <a:lnTo>
                    <a:pt x="10381" y="7280"/>
                  </a:lnTo>
                  <a:lnTo>
                    <a:pt x="10402" y="7302"/>
                  </a:lnTo>
                  <a:lnTo>
                    <a:pt x="10417" y="7324"/>
                  </a:lnTo>
                  <a:lnTo>
                    <a:pt x="10432" y="7353"/>
                  </a:lnTo>
                  <a:lnTo>
                    <a:pt x="10446" y="7375"/>
                  </a:lnTo>
                  <a:lnTo>
                    <a:pt x="10446" y="7412"/>
                  </a:lnTo>
                  <a:lnTo>
                    <a:pt x="10446" y="7968"/>
                  </a:lnTo>
                  <a:close/>
                  <a:moveTo>
                    <a:pt x="5286" y="4144"/>
                  </a:moveTo>
                  <a:lnTo>
                    <a:pt x="5286" y="3742"/>
                  </a:lnTo>
                  <a:lnTo>
                    <a:pt x="5286" y="3742"/>
                  </a:lnTo>
                  <a:lnTo>
                    <a:pt x="5293" y="3611"/>
                  </a:lnTo>
                  <a:lnTo>
                    <a:pt x="5315" y="3486"/>
                  </a:lnTo>
                  <a:lnTo>
                    <a:pt x="5345" y="3370"/>
                  </a:lnTo>
                  <a:lnTo>
                    <a:pt x="5389" y="3253"/>
                  </a:lnTo>
                  <a:lnTo>
                    <a:pt x="5439" y="3143"/>
                  </a:lnTo>
                  <a:lnTo>
                    <a:pt x="5498" y="3048"/>
                  </a:lnTo>
                  <a:lnTo>
                    <a:pt x="5571" y="2953"/>
                  </a:lnTo>
                  <a:lnTo>
                    <a:pt x="5651" y="2872"/>
                  </a:lnTo>
                  <a:lnTo>
                    <a:pt x="5739" y="2792"/>
                  </a:lnTo>
                  <a:lnTo>
                    <a:pt x="5834" y="2727"/>
                  </a:lnTo>
                  <a:lnTo>
                    <a:pt x="5937" y="2668"/>
                  </a:lnTo>
                  <a:lnTo>
                    <a:pt x="6046" y="2616"/>
                  </a:lnTo>
                  <a:lnTo>
                    <a:pt x="6156" y="2580"/>
                  </a:lnTo>
                  <a:lnTo>
                    <a:pt x="6273" y="2551"/>
                  </a:lnTo>
                  <a:lnTo>
                    <a:pt x="6397" y="2536"/>
                  </a:lnTo>
                  <a:lnTo>
                    <a:pt x="6521" y="2529"/>
                  </a:lnTo>
                  <a:lnTo>
                    <a:pt x="6521" y="2529"/>
                  </a:lnTo>
                  <a:lnTo>
                    <a:pt x="6645" y="2536"/>
                  </a:lnTo>
                  <a:lnTo>
                    <a:pt x="6769" y="2551"/>
                  </a:lnTo>
                  <a:lnTo>
                    <a:pt x="6886" y="2580"/>
                  </a:lnTo>
                  <a:lnTo>
                    <a:pt x="6996" y="2616"/>
                  </a:lnTo>
                  <a:lnTo>
                    <a:pt x="7105" y="2668"/>
                  </a:lnTo>
                  <a:lnTo>
                    <a:pt x="7208" y="2727"/>
                  </a:lnTo>
                  <a:lnTo>
                    <a:pt x="7303" y="2792"/>
                  </a:lnTo>
                  <a:lnTo>
                    <a:pt x="7391" y="2872"/>
                  </a:lnTo>
                  <a:lnTo>
                    <a:pt x="7471" y="2953"/>
                  </a:lnTo>
                  <a:lnTo>
                    <a:pt x="7544" y="3048"/>
                  </a:lnTo>
                  <a:lnTo>
                    <a:pt x="7603" y="3143"/>
                  </a:lnTo>
                  <a:lnTo>
                    <a:pt x="7653" y="3253"/>
                  </a:lnTo>
                  <a:lnTo>
                    <a:pt x="7697" y="3370"/>
                  </a:lnTo>
                  <a:lnTo>
                    <a:pt x="7727" y="3486"/>
                  </a:lnTo>
                  <a:lnTo>
                    <a:pt x="7749" y="3611"/>
                  </a:lnTo>
                  <a:lnTo>
                    <a:pt x="7756" y="3742"/>
                  </a:lnTo>
                  <a:lnTo>
                    <a:pt x="7756" y="3742"/>
                  </a:lnTo>
                  <a:lnTo>
                    <a:pt x="7756" y="4144"/>
                  </a:lnTo>
                  <a:lnTo>
                    <a:pt x="7756" y="4144"/>
                  </a:lnTo>
                  <a:lnTo>
                    <a:pt x="7617" y="4056"/>
                  </a:lnTo>
                  <a:lnTo>
                    <a:pt x="7479" y="3976"/>
                  </a:lnTo>
                  <a:lnTo>
                    <a:pt x="7325" y="3903"/>
                  </a:lnTo>
                  <a:lnTo>
                    <a:pt x="7179" y="3845"/>
                  </a:lnTo>
                  <a:lnTo>
                    <a:pt x="7018" y="3801"/>
                  </a:lnTo>
                  <a:lnTo>
                    <a:pt x="6856" y="3771"/>
                  </a:lnTo>
                  <a:lnTo>
                    <a:pt x="6688" y="3750"/>
                  </a:lnTo>
                  <a:lnTo>
                    <a:pt x="6521" y="3742"/>
                  </a:lnTo>
                  <a:lnTo>
                    <a:pt x="6521" y="3742"/>
                  </a:lnTo>
                  <a:lnTo>
                    <a:pt x="6354" y="3750"/>
                  </a:lnTo>
                  <a:lnTo>
                    <a:pt x="6186" y="3771"/>
                  </a:lnTo>
                  <a:lnTo>
                    <a:pt x="6024" y="3801"/>
                  </a:lnTo>
                  <a:lnTo>
                    <a:pt x="5863" y="3845"/>
                  </a:lnTo>
                  <a:lnTo>
                    <a:pt x="5710" y="3903"/>
                  </a:lnTo>
                  <a:lnTo>
                    <a:pt x="5563" y="3976"/>
                  </a:lnTo>
                  <a:lnTo>
                    <a:pt x="5425" y="4056"/>
                  </a:lnTo>
                  <a:lnTo>
                    <a:pt x="5286" y="4144"/>
                  </a:lnTo>
                  <a:close/>
                  <a:moveTo>
                    <a:pt x="10937" y="7741"/>
                  </a:moveTo>
                  <a:lnTo>
                    <a:pt x="10937" y="7412"/>
                  </a:lnTo>
                  <a:lnTo>
                    <a:pt x="10937" y="7412"/>
                  </a:lnTo>
                  <a:lnTo>
                    <a:pt x="10929" y="7346"/>
                  </a:lnTo>
                  <a:lnTo>
                    <a:pt x="10922" y="7280"/>
                  </a:lnTo>
                  <a:lnTo>
                    <a:pt x="10907" y="7222"/>
                  </a:lnTo>
                  <a:lnTo>
                    <a:pt x="10885" y="7163"/>
                  </a:lnTo>
                  <a:lnTo>
                    <a:pt x="10856" y="7104"/>
                  </a:lnTo>
                  <a:lnTo>
                    <a:pt x="10827" y="7054"/>
                  </a:lnTo>
                  <a:lnTo>
                    <a:pt x="10790" y="7002"/>
                  </a:lnTo>
                  <a:lnTo>
                    <a:pt x="10746" y="6959"/>
                  </a:lnTo>
                  <a:lnTo>
                    <a:pt x="10702" y="6915"/>
                  </a:lnTo>
                  <a:lnTo>
                    <a:pt x="10651" y="6878"/>
                  </a:lnTo>
                  <a:lnTo>
                    <a:pt x="10600" y="6849"/>
                  </a:lnTo>
                  <a:lnTo>
                    <a:pt x="10542" y="6819"/>
                  </a:lnTo>
                  <a:lnTo>
                    <a:pt x="10483" y="6798"/>
                  </a:lnTo>
                  <a:lnTo>
                    <a:pt x="10425" y="6783"/>
                  </a:lnTo>
                  <a:lnTo>
                    <a:pt x="10359" y="6775"/>
                  </a:lnTo>
                  <a:lnTo>
                    <a:pt x="10293" y="6769"/>
                  </a:lnTo>
                  <a:lnTo>
                    <a:pt x="8326" y="6769"/>
                  </a:lnTo>
                  <a:lnTo>
                    <a:pt x="8305" y="6769"/>
                  </a:lnTo>
                  <a:lnTo>
                    <a:pt x="8305" y="6769"/>
                  </a:lnTo>
                  <a:lnTo>
                    <a:pt x="8363" y="6659"/>
                  </a:lnTo>
                  <a:lnTo>
                    <a:pt x="8421" y="6534"/>
                  </a:lnTo>
                  <a:lnTo>
                    <a:pt x="8465" y="6418"/>
                  </a:lnTo>
                  <a:lnTo>
                    <a:pt x="8509" y="6293"/>
                  </a:lnTo>
                  <a:lnTo>
                    <a:pt x="8538" y="6162"/>
                  </a:lnTo>
                  <a:lnTo>
                    <a:pt x="8561" y="6031"/>
                  </a:lnTo>
                  <a:lnTo>
                    <a:pt x="8575" y="5899"/>
                  </a:lnTo>
                  <a:lnTo>
                    <a:pt x="8575" y="5760"/>
                  </a:lnTo>
                  <a:lnTo>
                    <a:pt x="8575" y="5760"/>
                  </a:lnTo>
                  <a:lnTo>
                    <a:pt x="8575" y="5592"/>
                  </a:lnTo>
                  <a:lnTo>
                    <a:pt x="8553" y="5423"/>
                  </a:lnTo>
                  <a:lnTo>
                    <a:pt x="8517" y="5255"/>
                  </a:lnTo>
                  <a:lnTo>
                    <a:pt x="8473" y="5102"/>
                  </a:lnTo>
                  <a:lnTo>
                    <a:pt x="8407" y="4949"/>
                  </a:lnTo>
                  <a:lnTo>
                    <a:pt x="8341" y="4802"/>
                  </a:lnTo>
                  <a:lnTo>
                    <a:pt x="8261" y="4671"/>
                  </a:lnTo>
                  <a:lnTo>
                    <a:pt x="8165" y="4547"/>
                  </a:lnTo>
                  <a:lnTo>
                    <a:pt x="8165" y="4547"/>
                  </a:lnTo>
                  <a:lnTo>
                    <a:pt x="8165" y="3742"/>
                  </a:lnTo>
                  <a:lnTo>
                    <a:pt x="8165" y="3742"/>
                  </a:lnTo>
                  <a:lnTo>
                    <a:pt x="8158" y="3574"/>
                  </a:lnTo>
                  <a:lnTo>
                    <a:pt x="8136" y="3413"/>
                  </a:lnTo>
                  <a:lnTo>
                    <a:pt x="8093" y="3253"/>
                  </a:lnTo>
                  <a:lnTo>
                    <a:pt x="8041" y="3107"/>
                  </a:lnTo>
                  <a:lnTo>
                    <a:pt x="7968" y="2960"/>
                  </a:lnTo>
                  <a:lnTo>
                    <a:pt x="7888" y="2829"/>
                  </a:lnTo>
                  <a:lnTo>
                    <a:pt x="7800" y="2704"/>
                  </a:lnTo>
                  <a:lnTo>
                    <a:pt x="7690" y="2595"/>
                  </a:lnTo>
                  <a:lnTo>
                    <a:pt x="7573" y="2486"/>
                  </a:lnTo>
                  <a:lnTo>
                    <a:pt x="7449" y="2398"/>
                  </a:lnTo>
                  <a:lnTo>
                    <a:pt x="7310" y="2317"/>
                  </a:lnTo>
                  <a:lnTo>
                    <a:pt x="7171" y="2251"/>
                  </a:lnTo>
                  <a:lnTo>
                    <a:pt x="7018" y="2193"/>
                  </a:lnTo>
                  <a:lnTo>
                    <a:pt x="6856" y="2157"/>
                  </a:lnTo>
                  <a:lnTo>
                    <a:pt x="6688" y="2134"/>
                  </a:lnTo>
                  <a:lnTo>
                    <a:pt x="6521" y="2127"/>
                  </a:lnTo>
                  <a:lnTo>
                    <a:pt x="6521" y="2127"/>
                  </a:lnTo>
                  <a:lnTo>
                    <a:pt x="6354" y="2134"/>
                  </a:lnTo>
                  <a:lnTo>
                    <a:pt x="6186" y="2157"/>
                  </a:lnTo>
                  <a:lnTo>
                    <a:pt x="6024" y="2193"/>
                  </a:lnTo>
                  <a:lnTo>
                    <a:pt x="5871" y="2251"/>
                  </a:lnTo>
                  <a:lnTo>
                    <a:pt x="5732" y="2317"/>
                  </a:lnTo>
                  <a:lnTo>
                    <a:pt x="5593" y="2398"/>
                  </a:lnTo>
                  <a:lnTo>
                    <a:pt x="5469" y="2486"/>
                  </a:lnTo>
                  <a:lnTo>
                    <a:pt x="5352" y="2595"/>
                  </a:lnTo>
                  <a:lnTo>
                    <a:pt x="5242" y="2704"/>
                  </a:lnTo>
                  <a:lnTo>
                    <a:pt x="5154" y="2829"/>
                  </a:lnTo>
                  <a:lnTo>
                    <a:pt x="5066" y="2960"/>
                  </a:lnTo>
                  <a:lnTo>
                    <a:pt x="5001" y="3107"/>
                  </a:lnTo>
                  <a:lnTo>
                    <a:pt x="4949" y="3253"/>
                  </a:lnTo>
                  <a:lnTo>
                    <a:pt x="4906" y="3413"/>
                  </a:lnTo>
                  <a:lnTo>
                    <a:pt x="4884" y="3574"/>
                  </a:lnTo>
                  <a:lnTo>
                    <a:pt x="4877" y="3742"/>
                  </a:lnTo>
                  <a:lnTo>
                    <a:pt x="4877" y="3742"/>
                  </a:lnTo>
                  <a:lnTo>
                    <a:pt x="4877" y="4547"/>
                  </a:lnTo>
                  <a:lnTo>
                    <a:pt x="4877" y="4547"/>
                  </a:lnTo>
                  <a:lnTo>
                    <a:pt x="4781" y="4671"/>
                  </a:lnTo>
                  <a:lnTo>
                    <a:pt x="4701" y="4802"/>
                  </a:lnTo>
                  <a:lnTo>
                    <a:pt x="4628" y="4949"/>
                  </a:lnTo>
                  <a:lnTo>
                    <a:pt x="4569" y="5102"/>
                  </a:lnTo>
                  <a:lnTo>
                    <a:pt x="4525" y="5255"/>
                  </a:lnTo>
                  <a:lnTo>
                    <a:pt x="4489" y="5423"/>
                  </a:lnTo>
                  <a:lnTo>
                    <a:pt x="4467" y="5592"/>
                  </a:lnTo>
                  <a:lnTo>
                    <a:pt x="4460" y="5760"/>
                  </a:lnTo>
                  <a:lnTo>
                    <a:pt x="4460" y="5760"/>
                  </a:lnTo>
                  <a:lnTo>
                    <a:pt x="4467" y="5899"/>
                  </a:lnTo>
                  <a:lnTo>
                    <a:pt x="4481" y="6031"/>
                  </a:lnTo>
                  <a:lnTo>
                    <a:pt x="4504" y="6162"/>
                  </a:lnTo>
                  <a:lnTo>
                    <a:pt x="4533" y="6293"/>
                  </a:lnTo>
                  <a:lnTo>
                    <a:pt x="4577" y="6418"/>
                  </a:lnTo>
                  <a:lnTo>
                    <a:pt x="4621" y="6534"/>
                  </a:lnTo>
                  <a:lnTo>
                    <a:pt x="4679" y="6659"/>
                  </a:lnTo>
                  <a:lnTo>
                    <a:pt x="4737" y="6769"/>
                  </a:lnTo>
                  <a:lnTo>
                    <a:pt x="4708" y="6769"/>
                  </a:lnTo>
                  <a:lnTo>
                    <a:pt x="2968" y="6769"/>
                  </a:lnTo>
                  <a:lnTo>
                    <a:pt x="2968" y="6769"/>
                  </a:lnTo>
                  <a:lnTo>
                    <a:pt x="2902" y="6775"/>
                  </a:lnTo>
                  <a:lnTo>
                    <a:pt x="2837" y="6783"/>
                  </a:lnTo>
                  <a:lnTo>
                    <a:pt x="2778" y="6798"/>
                  </a:lnTo>
                  <a:lnTo>
                    <a:pt x="2720" y="6819"/>
                  </a:lnTo>
                  <a:lnTo>
                    <a:pt x="2661" y="6849"/>
                  </a:lnTo>
                  <a:lnTo>
                    <a:pt x="2610" y="6878"/>
                  </a:lnTo>
                  <a:lnTo>
                    <a:pt x="2559" y="6915"/>
                  </a:lnTo>
                  <a:lnTo>
                    <a:pt x="2515" y="6959"/>
                  </a:lnTo>
                  <a:lnTo>
                    <a:pt x="2471" y="7002"/>
                  </a:lnTo>
                  <a:lnTo>
                    <a:pt x="2435" y="7054"/>
                  </a:lnTo>
                  <a:lnTo>
                    <a:pt x="2405" y="7104"/>
                  </a:lnTo>
                  <a:lnTo>
                    <a:pt x="2376" y="7163"/>
                  </a:lnTo>
                  <a:lnTo>
                    <a:pt x="2355" y="7222"/>
                  </a:lnTo>
                  <a:lnTo>
                    <a:pt x="2340" y="7280"/>
                  </a:lnTo>
                  <a:lnTo>
                    <a:pt x="2332" y="7346"/>
                  </a:lnTo>
                  <a:lnTo>
                    <a:pt x="2325" y="7412"/>
                  </a:lnTo>
                  <a:lnTo>
                    <a:pt x="2325" y="8041"/>
                  </a:lnTo>
                  <a:lnTo>
                    <a:pt x="2325" y="8041"/>
                  </a:lnTo>
                  <a:lnTo>
                    <a:pt x="2164" y="7989"/>
                  </a:lnTo>
                  <a:lnTo>
                    <a:pt x="2011" y="7924"/>
                  </a:lnTo>
                  <a:lnTo>
                    <a:pt x="1864" y="7850"/>
                  </a:lnTo>
                  <a:lnTo>
                    <a:pt x="1726" y="7762"/>
                  </a:lnTo>
                  <a:lnTo>
                    <a:pt x="1594" y="7668"/>
                  </a:lnTo>
                  <a:lnTo>
                    <a:pt x="1470" y="7565"/>
                  </a:lnTo>
                  <a:lnTo>
                    <a:pt x="1353" y="7448"/>
                  </a:lnTo>
                  <a:lnTo>
                    <a:pt x="1243" y="7324"/>
                  </a:lnTo>
                  <a:lnTo>
                    <a:pt x="1147" y="7192"/>
                  </a:lnTo>
                  <a:lnTo>
                    <a:pt x="1067" y="7046"/>
                  </a:lnTo>
                  <a:lnTo>
                    <a:pt x="994" y="6900"/>
                  </a:lnTo>
                  <a:lnTo>
                    <a:pt x="929" y="6746"/>
                  </a:lnTo>
                  <a:lnTo>
                    <a:pt x="885" y="6586"/>
                  </a:lnTo>
                  <a:lnTo>
                    <a:pt x="848" y="6425"/>
                  </a:lnTo>
                  <a:lnTo>
                    <a:pt x="826" y="6257"/>
                  </a:lnTo>
                  <a:lnTo>
                    <a:pt x="819" y="6081"/>
                  </a:lnTo>
                  <a:lnTo>
                    <a:pt x="819" y="6081"/>
                  </a:lnTo>
                  <a:lnTo>
                    <a:pt x="826" y="5899"/>
                  </a:lnTo>
                  <a:lnTo>
                    <a:pt x="848" y="5716"/>
                  </a:lnTo>
                  <a:lnTo>
                    <a:pt x="892" y="5548"/>
                  </a:lnTo>
                  <a:lnTo>
                    <a:pt x="943" y="5379"/>
                  </a:lnTo>
                  <a:lnTo>
                    <a:pt x="1017" y="5211"/>
                  </a:lnTo>
                  <a:lnTo>
                    <a:pt x="1097" y="5058"/>
                  </a:lnTo>
                  <a:lnTo>
                    <a:pt x="1191" y="4912"/>
                  </a:lnTo>
                  <a:lnTo>
                    <a:pt x="1302" y="4780"/>
                  </a:lnTo>
                  <a:lnTo>
                    <a:pt x="1418" y="4649"/>
                  </a:lnTo>
                  <a:lnTo>
                    <a:pt x="1543" y="4532"/>
                  </a:lnTo>
                  <a:lnTo>
                    <a:pt x="1682" y="4429"/>
                  </a:lnTo>
                  <a:lnTo>
                    <a:pt x="1828" y="4335"/>
                  </a:lnTo>
                  <a:lnTo>
                    <a:pt x="1981" y="4254"/>
                  </a:lnTo>
                  <a:lnTo>
                    <a:pt x="2149" y="4181"/>
                  </a:lnTo>
                  <a:lnTo>
                    <a:pt x="2317" y="4130"/>
                  </a:lnTo>
                  <a:lnTo>
                    <a:pt x="2493" y="4086"/>
                  </a:lnTo>
                  <a:lnTo>
                    <a:pt x="2493" y="4086"/>
                  </a:lnTo>
                  <a:lnTo>
                    <a:pt x="2500" y="4086"/>
                  </a:lnTo>
                  <a:lnTo>
                    <a:pt x="2500" y="4086"/>
                  </a:lnTo>
                  <a:lnTo>
                    <a:pt x="2764" y="4056"/>
                  </a:lnTo>
                  <a:lnTo>
                    <a:pt x="2764" y="4056"/>
                  </a:lnTo>
                  <a:lnTo>
                    <a:pt x="2961" y="4042"/>
                  </a:lnTo>
                  <a:lnTo>
                    <a:pt x="3181" y="4027"/>
                  </a:lnTo>
                  <a:lnTo>
                    <a:pt x="3422" y="4013"/>
                  </a:lnTo>
                  <a:lnTo>
                    <a:pt x="3670" y="4013"/>
                  </a:lnTo>
                  <a:lnTo>
                    <a:pt x="3670" y="4013"/>
                  </a:lnTo>
                  <a:lnTo>
                    <a:pt x="3670" y="3647"/>
                  </a:lnTo>
                  <a:lnTo>
                    <a:pt x="3670" y="3647"/>
                  </a:lnTo>
                  <a:lnTo>
                    <a:pt x="3670" y="3509"/>
                  </a:lnTo>
                  <a:lnTo>
                    <a:pt x="3685" y="3370"/>
                  </a:lnTo>
                  <a:lnTo>
                    <a:pt x="3699" y="3231"/>
                  </a:lnTo>
                  <a:lnTo>
                    <a:pt x="3722" y="3092"/>
                  </a:lnTo>
                  <a:lnTo>
                    <a:pt x="3758" y="2953"/>
                  </a:lnTo>
                  <a:lnTo>
                    <a:pt x="3795" y="2821"/>
                  </a:lnTo>
                  <a:lnTo>
                    <a:pt x="3838" y="2690"/>
                  </a:lnTo>
                  <a:lnTo>
                    <a:pt x="3882" y="2566"/>
                  </a:lnTo>
                  <a:lnTo>
                    <a:pt x="3940" y="2442"/>
                  </a:lnTo>
                  <a:lnTo>
                    <a:pt x="3999" y="2317"/>
                  </a:lnTo>
                  <a:lnTo>
                    <a:pt x="4072" y="2200"/>
                  </a:lnTo>
                  <a:lnTo>
                    <a:pt x="4138" y="2083"/>
                  </a:lnTo>
                  <a:lnTo>
                    <a:pt x="4219" y="1973"/>
                  </a:lnTo>
                  <a:lnTo>
                    <a:pt x="4307" y="1864"/>
                  </a:lnTo>
                  <a:lnTo>
                    <a:pt x="4394" y="1761"/>
                  </a:lnTo>
                  <a:lnTo>
                    <a:pt x="4481" y="1659"/>
                  </a:lnTo>
                  <a:lnTo>
                    <a:pt x="4584" y="1564"/>
                  </a:lnTo>
                  <a:lnTo>
                    <a:pt x="4687" y="1476"/>
                  </a:lnTo>
                  <a:lnTo>
                    <a:pt x="4789" y="1389"/>
                  </a:lnTo>
                  <a:lnTo>
                    <a:pt x="4906" y="1308"/>
                  </a:lnTo>
                  <a:lnTo>
                    <a:pt x="5016" y="1235"/>
                  </a:lnTo>
                  <a:lnTo>
                    <a:pt x="5140" y="1162"/>
                  </a:lnTo>
                  <a:lnTo>
                    <a:pt x="5264" y="1096"/>
                  </a:lnTo>
                  <a:lnTo>
                    <a:pt x="5389" y="1038"/>
                  </a:lnTo>
                  <a:lnTo>
                    <a:pt x="5520" y="987"/>
                  </a:lnTo>
                  <a:lnTo>
                    <a:pt x="5651" y="943"/>
                  </a:lnTo>
                  <a:lnTo>
                    <a:pt x="5790" y="906"/>
                  </a:lnTo>
                  <a:lnTo>
                    <a:pt x="5930" y="870"/>
                  </a:lnTo>
                  <a:lnTo>
                    <a:pt x="6075" y="848"/>
                  </a:lnTo>
                  <a:lnTo>
                    <a:pt x="6222" y="826"/>
                  </a:lnTo>
                  <a:lnTo>
                    <a:pt x="6368" y="811"/>
                  </a:lnTo>
                  <a:lnTo>
                    <a:pt x="6521" y="811"/>
                  </a:lnTo>
                  <a:lnTo>
                    <a:pt x="6521" y="811"/>
                  </a:lnTo>
                  <a:lnTo>
                    <a:pt x="6732" y="819"/>
                  </a:lnTo>
                  <a:lnTo>
                    <a:pt x="6937" y="841"/>
                  </a:lnTo>
                  <a:lnTo>
                    <a:pt x="7135" y="885"/>
                  </a:lnTo>
                  <a:lnTo>
                    <a:pt x="7332" y="943"/>
                  </a:lnTo>
                  <a:lnTo>
                    <a:pt x="7529" y="1009"/>
                  </a:lnTo>
                  <a:lnTo>
                    <a:pt x="7720" y="1096"/>
                  </a:lnTo>
                  <a:lnTo>
                    <a:pt x="7895" y="1191"/>
                  </a:lnTo>
                  <a:lnTo>
                    <a:pt x="8070" y="1308"/>
                  </a:lnTo>
                  <a:lnTo>
                    <a:pt x="8238" y="1432"/>
                  </a:lnTo>
                  <a:lnTo>
                    <a:pt x="8399" y="1572"/>
                  </a:lnTo>
                  <a:lnTo>
                    <a:pt x="8553" y="1717"/>
                  </a:lnTo>
                  <a:lnTo>
                    <a:pt x="8699" y="1878"/>
                  </a:lnTo>
                  <a:lnTo>
                    <a:pt x="8831" y="2054"/>
                  </a:lnTo>
                  <a:lnTo>
                    <a:pt x="8955" y="2237"/>
                  </a:lnTo>
                  <a:lnTo>
                    <a:pt x="9064" y="2434"/>
                  </a:lnTo>
                  <a:lnTo>
                    <a:pt x="9167" y="2639"/>
                  </a:lnTo>
                  <a:lnTo>
                    <a:pt x="9167" y="2639"/>
                  </a:lnTo>
                  <a:lnTo>
                    <a:pt x="9270" y="2836"/>
                  </a:lnTo>
                  <a:lnTo>
                    <a:pt x="9270" y="2836"/>
                  </a:lnTo>
                  <a:lnTo>
                    <a:pt x="9576" y="2836"/>
                  </a:lnTo>
                  <a:lnTo>
                    <a:pt x="9576" y="2836"/>
                  </a:lnTo>
                  <a:lnTo>
                    <a:pt x="9708" y="2843"/>
                  </a:lnTo>
                  <a:lnTo>
                    <a:pt x="9840" y="2851"/>
                  </a:lnTo>
                  <a:lnTo>
                    <a:pt x="9972" y="2872"/>
                  </a:lnTo>
                  <a:lnTo>
                    <a:pt x="10103" y="2895"/>
                  </a:lnTo>
                  <a:lnTo>
                    <a:pt x="10228" y="2924"/>
                  </a:lnTo>
                  <a:lnTo>
                    <a:pt x="10352" y="2960"/>
                  </a:lnTo>
                  <a:lnTo>
                    <a:pt x="10476" y="3004"/>
                  </a:lnTo>
                  <a:lnTo>
                    <a:pt x="10593" y="3048"/>
                  </a:lnTo>
                  <a:lnTo>
                    <a:pt x="10710" y="3107"/>
                  </a:lnTo>
                  <a:lnTo>
                    <a:pt x="10819" y="3165"/>
                  </a:lnTo>
                  <a:lnTo>
                    <a:pt x="10937" y="3231"/>
                  </a:lnTo>
                  <a:lnTo>
                    <a:pt x="11039" y="3297"/>
                  </a:lnTo>
                  <a:lnTo>
                    <a:pt x="11148" y="3370"/>
                  </a:lnTo>
                  <a:lnTo>
                    <a:pt x="11243" y="3450"/>
                  </a:lnTo>
                  <a:lnTo>
                    <a:pt x="11346" y="3538"/>
                  </a:lnTo>
                  <a:lnTo>
                    <a:pt x="11434" y="3626"/>
                  </a:lnTo>
                  <a:lnTo>
                    <a:pt x="11521" y="3713"/>
                  </a:lnTo>
                  <a:lnTo>
                    <a:pt x="11609" y="3815"/>
                  </a:lnTo>
                  <a:lnTo>
                    <a:pt x="11689" y="3911"/>
                  </a:lnTo>
                  <a:lnTo>
                    <a:pt x="11763" y="4013"/>
                  </a:lnTo>
                  <a:lnTo>
                    <a:pt x="11836" y="4123"/>
                  </a:lnTo>
                  <a:lnTo>
                    <a:pt x="11901" y="4232"/>
                  </a:lnTo>
                  <a:lnTo>
                    <a:pt x="11960" y="4349"/>
                  </a:lnTo>
                  <a:lnTo>
                    <a:pt x="12011" y="4466"/>
                  </a:lnTo>
                  <a:lnTo>
                    <a:pt x="12063" y="4583"/>
                  </a:lnTo>
                  <a:lnTo>
                    <a:pt x="12106" y="4700"/>
                  </a:lnTo>
                  <a:lnTo>
                    <a:pt x="12143" y="4824"/>
                  </a:lnTo>
                  <a:lnTo>
                    <a:pt x="12172" y="4956"/>
                  </a:lnTo>
                  <a:lnTo>
                    <a:pt x="12194" y="5080"/>
                  </a:lnTo>
                  <a:lnTo>
                    <a:pt x="12209" y="5211"/>
                  </a:lnTo>
                  <a:lnTo>
                    <a:pt x="12223" y="5343"/>
                  </a:lnTo>
                  <a:lnTo>
                    <a:pt x="12223" y="5475"/>
                  </a:lnTo>
                  <a:lnTo>
                    <a:pt x="12223" y="5475"/>
                  </a:lnTo>
                  <a:lnTo>
                    <a:pt x="12216" y="5658"/>
                  </a:lnTo>
                  <a:lnTo>
                    <a:pt x="12201" y="5840"/>
                  </a:lnTo>
                  <a:lnTo>
                    <a:pt x="12172" y="6016"/>
                  </a:lnTo>
                  <a:lnTo>
                    <a:pt x="12128" y="6184"/>
                  </a:lnTo>
                  <a:lnTo>
                    <a:pt x="12077" y="6352"/>
                  </a:lnTo>
                  <a:lnTo>
                    <a:pt x="12019" y="6513"/>
                  </a:lnTo>
                  <a:lnTo>
                    <a:pt x="11945" y="6666"/>
                  </a:lnTo>
                  <a:lnTo>
                    <a:pt x="11865" y="6813"/>
                  </a:lnTo>
                  <a:lnTo>
                    <a:pt x="11777" y="6959"/>
                  </a:lnTo>
                  <a:lnTo>
                    <a:pt x="11675" y="7090"/>
                  </a:lnTo>
                  <a:lnTo>
                    <a:pt x="11572" y="7222"/>
                  </a:lnTo>
                  <a:lnTo>
                    <a:pt x="11455" y="7339"/>
                  </a:lnTo>
                  <a:lnTo>
                    <a:pt x="11339" y="7456"/>
                  </a:lnTo>
                  <a:lnTo>
                    <a:pt x="11207" y="7558"/>
                  </a:lnTo>
                  <a:lnTo>
                    <a:pt x="11075" y="7653"/>
                  </a:lnTo>
                  <a:lnTo>
                    <a:pt x="10937" y="774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54" name="Group 153">
            <a:extLst>
              <a:ext uri="{FF2B5EF4-FFF2-40B4-BE49-F238E27FC236}">
                <a16:creationId xmlns:a16="http://schemas.microsoft.com/office/drawing/2014/main" id="{4A7D9A20-780A-4421-A926-664CF7D6D281}"/>
              </a:ext>
            </a:extLst>
          </p:cNvPr>
          <p:cNvGrpSpPr>
            <a:grpSpLocks noChangeAspect="1"/>
          </p:cNvGrpSpPr>
          <p:nvPr/>
        </p:nvGrpSpPr>
        <p:grpSpPr>
          <a:xfrm>
            <a:off x="11507907" y="1376405"/>
            <a:ext cx="431632" cy="548640"/>
            <a:chOff x="2173288" y="115909"/>
            <a:chExt cx="5797550" cy="7369175"/>
          </a:xfrm>
          <a:solidFill>
            <a:srgbClr val="FFFFFF"/>
          </a:solidFill>
        </p:grpSpPr>
        <p:sp>
          <p:nvSpPr>
            <p:cNvPr id="155" name="Freeform 21">
              <a:extLst>
                <a:ext uri="{FF2B5EF4-FFF2-40B4-BE49-F238E27FC236}">
                  <a16:creationId xmlns:a16="http://schemas.microsoft.com/office/drawing/2014/main" id="{7C1FE0A5-B134-46AB-A460-1743FFDB9F4F}"/>
                </a:ext>
              </a:extLst>
            </p:cNvPr>
            <p:cNvSpPr>
              <a:spLocks noChangeArrowheads="1"/>
            </p:cNvSpPr>
            <p:nvPr/>
          </p:nvSpPr>
          <p:spPr bwMode="auto">
            <a:xfrm>
              <a:off x="2173288" y="115909"/>
              <a:ext cx="5797550" cy="7369175"/>
            </a:xfrm>
            <a:custGeom>
              <a:avLst/>
              <a:gdLst>
                <a:gd name="T0" fmla="*/ 8885 w 16104"/>
                <a:gd name="T1" fmla="*/ 10922 h 20470"/>
                <a:gd name="T2" fmla="*/ 13006 w 16104"/>
                <a:gd name="T3" fmla="*/ 10675 h 20470"/>
                <a:gd name="T4" fmla="*/ 14471 w 16104"/>
                <a:gd name="T5" fmla="*/ 9706 h 20470"/>
                <a:gd name="T6" fmla="*/ 15397 w 16104"/>
                <a:gd name="T7" fmla="*/ 8170 h 20470"/>
                <a:gd name="T8" fmla="*/ 15635 w 16104"/>
                <a:gd name="T9" fmla="*/ 6494 h 20470"/>
                <a:gd name="T10" fmla="*/ 15185 w 16104"/>
                <a:gd name="T11" fmla="*/ 4765 h 20470"/>
                <a:gd name="T12" fmla="*/ 14135 w 16104"/>
                <a:gd name="T13" fmla="*/ 3406 h 20470"/>
                <a:gd name="T14" fmla="*/ 12617 w 16104"/>
                <a:gd name="T15" fmla="*/ 2612 h 20470"/>
                <a:gd name="T16" fmla="*/ 11179 w 16104"/>
                <a:gd name="T17" fmla="*/ 1465 h 20470"/>
                <a:gd name="T18" fmla="*/ 9379 w 16104"/>
                <a:gd name="T19" fmla="*/ 221 h 20470"/>
                <a:gd name="T20" fmla="*/ 8048 w 16104"/>
                <a:gd name="T21" fmla="*/ 0 h 20470"/>
                <a:gd name="T22" fmla="*/ 6512 w 16104"/>
                <a:gd name="T23" fmla="*/ 309 h 20470"/>
                <a:gd name="T24" fmla="*/ 5056 w 16104"/>
                <a:gd name="T25" fmla="*/ 1288 h 20470"/>
                <a:gd name="T26" fmla="*/ 4077 w 16104"/>
                <a:gd name="T27" fmla="*/ 2779 h 20470"/>
                <a:gd name="T28" fmla="*/ 3450 w 16104"/>
                <a:gd name="T29" fmla="*/ 3988 h 20470"/>
                <a:gd name="T30" fmla="*/ 2082 w 16104"/>
                <a:gd name="T31" fmla="*/ 4491 h 20470"/>
                <a:gd name="T32" fmla="*/ 1041 w 16104"/>
                <a:gd name="T33" fmla="*/ 5532 h 20470"/>
                <a:gd name="T34" fmla="*/ 494 w 16104"/>
                <a:gd name="T35" fmla="*/ 6935 h 20470"/>
                <a:gd name="T36" fmla="*/ 565 w 16104"/>
                <a:gd name="T37" fmla="*/ 8338 h 20470"/>
                <a:gd name="T38" fmla="*/ 1235 w 16104"/>
                <a:gd name="T39" fmla="*/ 9688 h 20470"/>
                <a:gd name="T40" fmla="*/ 2365 w 16104"/>
                <a:gd name="T41" fmla="*/ 10596 h 20470"/>
                <a:gd name="T42" fmla="*/ 3777 w 16104"/>
                <a:gd name="T43" fmla="*/ 10922 h 20470"/>
                <a:gd name="T44" fmla="*/ 1191 w 16104"/>
                <a:gd name="T45" fmla="*/ 14831 h 20470"/>
                <a:gd name="T46" fmla="*/ 344 w 16104"/>
                <a:gd name="T47" fmla="*/ 15175 h 20470"/>
                <a:gd name="T48" fmla="*/ 0 w 16104"/>
                <a:gd name="T49" fmla="*/ 19269 h 20470"/>
                <a:gd name="T50" fmla="*/ 344 w 16104"/>
                <a:gd name="T51" fmla="*/ 20116 h 20470"/>
                <a:gd name="T52" fmla="*/ 14903 w 16104"/>
                <a:gd name="T53" fmla="*/ 20469 h 20470"/>
                <a:gd name="T54" fmla="*/ 15750 w 16104"/>
                <a:gd name="T55" fmla="*/ 20116 h 20470"/>
                <a:gd name="T56" fmla="*/ 16103 w 16104"/>
                <a:gd name="T57" fmla="*/ 16022 h 20470"/>
                <a:gd name="T58" fmla="*/ 15750 w 16104"/>
                <a:gd name="T59" fmla="*/ 15175 h 20470"/>
                <a:gd name="T60" fmla="*/ 1403 w 16104"/>
                <a:gd name="T61" fmla="*/ 7447 h 20470"/>
                <a:gd name="T62" fmla="*/ 1588 w 16104"/>
                <a:gd name="T63" fmla="*/ 6503 h 20470"/>
                <a:gd name="T64" fmla="*/ 2162 w 16104"/>
                <a:gd name="T65" fmla="*/ 5638 h 20470"/>
                <a:gd name="T66" fmla="*/ 3027 w 16104"/>
                <a:gd name="T67" fmla="*/ 5100 h 20470"/>
                <a:gd name="T68" fmla="*/ 4730 w 16104"/>
                <a:gd name="T69" fmla="*/ 4968 h 20470"/>
                <a:gd name="T70" fmla="*/ 4933 w 16104"/>
                <a:gd name="T71" fmla="*/ 3300 h 20470"/>
                <a:gd name="T72" fmla="*/ 5718 w 16104"/>
                <a:gd name="T73" fmla="*/ 2029 h 20470"/>
                <a:gd name="T74" fmla="*/ 6927 w 16104"/>
                <a:gd name="T75" fmla="*/ 1209 h 20470"/>
                <a:gd name="T76" fmla="*/ 8311 w 16104"/>
                <a:gd name="T77" fmla="*/ 1006 h 20470"/>
                <a:gd name="T78" fmla="*/ 10323 w 16104"/>
                <a:gd name="T79" fmla="*/ 1923 h 20470"/>
                <a:gd name="T80" fmla="*/ 11250 w 16104"/>
                <a:gd name="T81" fmla="*/ 3476 h 20470"/>
                <a:gd name="T82" fmla="*/ 12653 w 16104"/>
                <a:gd name="T83" fmla="*/ 3679 h 20470"/>
                <a:gd name="T84" fmla="*/ 13773 w 16104"/>
                <a:gd name="T85" fmla="*/ 4438 h 20470"/>
                <a:gd name="T86" fmla="*/ 14497 w 16104"/>
                <a:gd name="T87" fmla="*/ 5612 h 20470"/>
                <a:gd name="T88" fmla="*/ 14682 w 16104"/>
                <a:gd name="T89" fmla="*/ 6882 h 20470"/>
                <a:gd name="T90" fmla="*/ 14312 w 16104"/>
                <a:gd name="T91" fmla="*/ 8276 h 20470"/>
                <a:gd name="T92" fmla="*/ 13429 w 16104"/>
                <a:gd name="T93" fmla="*/ 9317 h 20470"/>
                <a:gd name="T94" fmla="*/ 12212 w 16104"/>
                <a:gd name="T95" fmla="*/ 9873 h 20470"/>
                <a:gd name="T96" fmla="*/ 3538 w 16104"/>
                <a:gd name="T97" fmla="*/ 9917 h 20470"/>
                <a:gd name="T98" fmla="*/ 2550 w 16104"/>
                <a:gd name="T99" fmla="*/ 9573 h 20470"/>
                <a:gd name="T100" fmla="*/ 1809 w 16104"/>
                <a:gd name="T101" fmla="*/ 8841 h 20470"/>
                <a:gd name="T102" fmla="*/ 1430 w 16104"/>
                <a:gd name="T103" fmla="*/ 7826 h 20470"/>
                <a:gd name="T104" fmla="*/ 15106 w 16104"/>
                <a:gd name="T105" fmla="*/ 19472 h 20470"/>
                <a:gd name="T106" fmla="*/ 1032 w 16104"/>
                <a:gd name="T107" fmla="*/ 19507 h 20470"/>
                <a:gd name="T108" fmla="*/ 927 w 16104"/>
                <a:gd name="T109" fmla="*/ 15916 h 20470"/>
                <a:gd name="T110" fmla="*/ 14903 w 16104"/>
                <a:gd name="T111" fmla="*/ 15740 h 20470"/>
                <a:gd name="T112" fmla="*/ 15185 w 16104"/>
                <a:gd name="T113" fmla="*/ 16022 h 20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104" h="20470">
                  <a:moveTo>
                    <a:pt x="14903" y="14831"/>
                  </a:moveTo>
                  <a:lnTo>
                    <a:pt x="6759" y="14831"/>
                  </a:lnTo>
                  <a:lnTo>
                    <a:pt x="6759" y="12484"/>
                  </a:lnTo>
                  <a:lnTo>
                    <a:pt x="8664" y="14381"/>
                  </a:lnTo>
                  <a:lnTo>
                    <a:pt x="10959" y="12131"/>
                  </a:lnTo>
                  <a:lnTo>
                    <a:pt x="10659" y="11778"/>
                  </a:lnTo>
                  <a:lnTo>
                    <a:pt x="8885" y="13481"/>
                  </a:lnTo>
                  <a:lnTo>
                    <a:pt x="8885" y="10922"/>
                  </a:lnTo>
                  <a:lnTo>
                    <a:pt x="8885" y="10922"/>
                  </a:lnTo>
                  <a:lnTo>
                    <a:pt x="11603" y="10922"/>
                  </a:lnTo>
                  <a:lnTo>
                    <a:pt x="11603" y="10922"/>
                  </a:lnTo>
                  <a:lnTo>
                    <a:pt x="11814" y="10922"/>
                  </a:lnTo>
                  <a:lnTo>
                    <a:pt x="12026" y="10905"/>
                  </a:lnTo>
                  <a:lnTo>
                    <a:pt x="12229" y="10878"/>
                  </a:lnTo>
                  <a:lnTo>
                    <a:pt x="12423" y="10843"/>
                  </a:lnTo>
                  <a:lnTo>
                    <a:pt x="12626" y="10799"/>
                  </a:lnTo>
                  <a:lnTo>
                    <a:pt x="12812" y="10737"/>
                  </a:lnTo>
                  <a:lnTo>
                    <a:pt x="13006" y="10675"/>
                  </a:lnTo>
                  <a:lnTo>
                    <a:pt x="13191" y="10596"/>
                  </a:lnTo>
                  <a:lnTo>
                    <a:pt x="13368" y="10516"/>
                  </a:lnTo>
                  <a:lnTo>
                    <a:pt x="13544" y="10419"/>
                  </a:lnTo>
                  <a:lnTo>
                    <a:pt x="13712" y="10322"/>
                  </a:lnTo>
                  <a:lnTo>
                    <a:pt x="13871" y="10217"/>
                  </a:lnTo>
                  <a:lnTo>
                    <a:pt x="14029" y="10094"/>
                  </a:lnTo>
                  <a:lnTo>
                    <a:pt x="14179" y="9970"/>
                  </a:lnTo>
                  <a:lnTo>
                    <a:pt x="14329" y="9838"/>
                  </a:lnTo>
                  <a:lnTo>
                    <a:pt x="14471" y="9706"/>
                  </a:lnTo>
                  <a:lnTo>
                    <a:pt x="14603" y="9556"/>
                  </a:lnTo>
                  <a:lnTo>
                    <a:pt x="14726" y="9406"/>
                  </a:lnTo>
                  <a:lnTo>
                    <a:pt x="14841" y="9247"/>
                  </a:lnTo>
                  <a:lnTo>
                    <a:pt x="14956" y="9079"/>
                  </a:lnTo>
                  <a:lnTo>
                    <a:pt x="15062" y="8903"/>
                  </a:lnTo>
                  <a:lnTo>
                    <a:pt x="15159" y="8726"/>
                  </a:lnTo>
                  <a:lnTo>
                    <a:pt x="15247" y="8550"/>
                  </a:lnTo>
                  <a:lnTo>
                    <a:pt x="15326" y="8364"/>
                  </a:lnTo>
                  <a:lnTo>
                    <a:pt x="15397" y="8170"/>
                  </a:lnTo>
                  <a:lnTo>
                    <a:pt x="15459" y="7967"/>
                  </a:lnTo>
                  <a:lnTo>
                    <a:pt x="15512" y="7773"/>
                  </a:lnTo>
                  <a:lnTo>
                    <a:pt x="15556" y="7562"/>
                  </a:lnTo>
                  <a:lnTo>
                    <a:pt x="15591" y="7359"/>
                  </a:lnTo>
                  <a:lnTo>
                    <a:pt x="15618" y="7138"/>
                  </a:lnTo>
                  <a:lnTo>
                    <a:pt x="15635" y="6926"/>
                  </a:lnTo>
                  <a:lnTo>
                    <a:pt x="15635" y="6706"/>
                  </a:lnTo>
                  <a:lnTo>
                    <a:pt x="15635" y="6706"/>
                  </a:lnTo>
                  <a:lnTo>
                    <a:pt x="15635" y="6494"/>
                  </a:lnTo>
                  <a:lnTo>
                    <a:pt x="15618" y="6291"/>
                  </a:lnTo>
                  <a:lnTo>
                    <a:pt x="15600" y="6088"/>
                  </a:lnTo>
                  <a:lnTo>
                    <a:pt x="15565" y="5885"/>
                  </a:lnTo>
                  <a:lnTo>
                    <a:pt x="15521" y="5691"/>
                  </a:lnTo>
                  <a:lnTo>
                    <a:pt x="15468" y="5497"/>
                  </a:lnTo>
                  <a:lnTo>
                    <a:pt x="15415" y="5303"/>
                  </a:lnTo>
                  <a:lnTo>
                    <a:pt x="15344" y="5118"/>
                  </a:lnTo>
                  <a:lnTo>
                    <a:pt x="15274" y="4941"/>
                  </a:lnTo>
                  <a:lnTo>
                    <a:pt x="15185" y="4765"/>
                  </a:lnTo>
                  <a:lnTo>
                    <a:pt x="15097" y="4588"/>
                  </a:lnTo>
                  <a:lnTo>
                    <a:pt x="15000" y="4420"/>
                  </a:lnTo>
                  <a:lnTo>
                    <a:pt x="14894" y="4262"/>
                  </a:lnTo>
                  <a:lnTo>
                    <a:pt x="14788" y="4103"/>
                  </a:lnTo>
                  <a:lnTo>
                    <a:pt x="14665" y="3953"/>
                  </a:lnTo>
                  <a:lnTo>
                    <a:pt x="14541" y="3803"/>
                  </a:lnTo>
                  <a:lnTo>
                    <a:pt x="14409" y="3662"/>
                  </a:lnTo>
                  <a:lnTo>
                    <a:pt x="14276" y="3529"/>
                  </a:lnTo>
                  <a:lnTo>
                    <a:pt x="14135" y="3406"/>
                  </a:lnTo>
                  <a:lnTo>
                    <a:pt x="13985" y="3282"/>
                  </a:lnTo>
                  <a:lnTo>
                    <a:pt x="13826" y="3176"/>
                  </a:lnTo>
                  <a:lnTo>
                    <a:pt x="13668" y="3071"/>
                  </a:lnTo>
                  <a:lnTo>
                    <a:pt x="13509" y="2973"/>
                  </a:lnTo>
                  <a:lnTo>
                    <a:pt x="13341" y="2885"/>
                  </a:lnTo>
                  <a:lnTo>
                    <a:pt x="13165" y="2797"/>
                  </a:lnTo>
                  <a:lnTo>
                    <a:pt x="12988" y="2726"/>
                  </a:lnTo>
                  <a:lnTo>
                    <a:pt x="12803" y="2665"/>
                  </a:lnTo>
                  <a:lnTo>
                    <a:pt x="12617" y="2612"/>
                  </a:lnTo>
                  <a:lnTo>
                    <a:pt x="12432" y="2568"/>
                  </a:lnTo>
                  <a:lnTo>
                    <a:pt x="12238" y="2523"/>
                  </a:lnTo>
                  <a:lnTo>
                    <a:pt x="12044" y="2497"/>
                  </a:lnTo>
                  <a:lnTo>
                    <a:pt x="11841" y="2479"/>
                  </a:lnTo>
                  <a:lnTo>
                    <a:pt x="11841" y="2479"/>
                  </a:lnTo>
                  <a:lnTo>
                    <a:pt x="11700" y="2206"/>
                  </a:lnTo>
                  <a:lnTo>
                    <a:pt x="11541" y="1950"/>
                  </a:lnTo>
                  <a:lnTo>
                    <a:pt x="11373" y="1703"/>
                  </a:lnTo>
                  <a:lnTo>
                    <a:pt x="11179" y="1465"/>
                  </a:lnTo>
                  <a:lnTo>
                    <a:pt x="10985" y="1244"/>
                  </a:lnTo>
                  <a:lnTo>
                    <a:pt x="10764" y="1041"/>
                  </a:lnTo>
                  <a:lnTo>
                    <a:pt x="10544" y="856"/>
                  </a:lnTo>
                  <a:lnTo>
                    <a:pt x="10306" y="679"/>
                  </a:lnTo>
                  <a:lnTo>
                    <a:pt x="10050" y="529"/>
                  </a:lnTo>
                  <a:lnTo>
                    <a:pt x="9794" y="397"/>
                  </a:lnTo>
                  <a:lnTo>
                    <a:pt x="9653" y="335"/>
                  </a:lnTo>
                  <a:lnTo>
                    <a:pt x="9520" y="274"/>
                  </a:lnTo>
                  <a:lnTo>
                    <a:pt x="9379" y="221"/>
                  </a:lnTo>
                  <a:lnTo>
                    <a:pt x="9238" y="176"/>
                  </a:lnTo>
                  <a:lnTo>
                    <a:pt x="9097" y="141"/>
                  </a:lnTo>
                  <a:lnTo>
                    <a:pt x="8955" y="106"/>
                  </a:lnTo>
                  <a:lnTo>
                    <a:pt x="8805" y="71"/>
                  </a:lnTo>
                  <a:lnTo>
                    <a:pt x="8655" y="44"/>
                  </a:lnTo>
                  <a:lnTo>
                    <a:pt x="8505" y="26"/>
                  </a:lnTo>
                  <a:lnTo>
                    <a:pt x="8355" y="9"/>
                  </a:lnTo>
                  <a:lnTo>
                    <a:pt x="8205" y="0"/>
                  </a:lnTo>
                  <a:lnTo>
                    <a:pt x="8048" y="0"/>
                  </a:lnTo>
                  <a:lnTo>
                    <a:pt x="8048" y="0"/>
                  </a:lnTo>
                  <a:lnTo>
                    <a:pt x="7853" y="9"/>
                  </a:lnTo>
                  <a:lnTo>
                    <a:pt x="7651" y="18"/>
                  </a:lnTo>
                  <a:lnTo>
                    <a:pt x="7456" y="44"/>
                  </a:lnTo>
                  <a:lnTo>
                    <a:pt x="7262" y="79"/>
                  </a:lnTo>
                  <a:lnTo>
                    <a:pt x="7068" y="124"/>
                  </a:lnTo>
                  <a:lnTo>
                    <a:pt x="6883" y="176"/>
                  </a:lnTo>
                  <a:lnTo>
                    <a:pt x="6697" y="238"/>
                  </a:lnTo>
                  <a:lnTo>
                    <a:pt x="6512" y="309"/>
                  </a:lnTo>
                  <a:lnTo>
                    <a:pt x="6336" y="388"/>
                  </a:lnTo>
                  <a:lnTo>
                    <a:pt x="6159" y="468"/>
                  </a:lnTo>
                  <a:lnTo>
                    <a:pt x="5992" y="565"/>
                  </a:lnTo>
                  <a:lnTo>
                    <a:pt x="5824" y="671"/>
                  </a:lnTo>
                  <a:lnTo>
                    <a:pt x="5656" y="776"/>
                  </a:lnTo>
                  <a:lnTo>
                    <a:pt x="5497" y="891"/>
                  </a:lnTo>
                  <a:lnTo>
                    <a:pt x="5347" y="1015"/>
                  </a:lnTo>
                  <a:lnTo>
                    <a:pt x="5197" y="1147"/>
                  </a:lnTo>
                  <a:lnTo>
                    <a:pt x="5056" y="1288"/>
                  </a:lnTo>
                  <a:lnTo>
                    <a:pt x="4924" y="1429"/>
                  </a:lnTo>
                  <a:lnTo>
                    <a:pt x="4791" y="1579"/>
                  </a:lnTo>
                  <a:lnTo>
                    <a:pt x="4668" y="1738"/>
                  </a:lnTo>
                  <a:lnTo>
                    <a:pt x="4553" y="1897"/>
                  </a:lnTo>
                  <a:lnTo>
                    <a:pt x="4447" y="2065"/>
                  </a:lnTo>
                  <a:lnTo>
                    <a:pt x="4341" y="2232"/>
                  </a:lnTo>
                  <a:lnTo>
                    <a:pt x="4244" y="2409"/>
                  </a:lnTo>
                  <a:lnTo>
                    <a:pt x="4156" y="2594"/>
                  </a:lnTo>
                  <a:lnTo>
                    <a:pt x="4077" y="2779"/>
                  </a:lnTo>
                  <a:lnTo>
                    <a:pt x="4006" y="2965"/>
                  </a:lnTo>
                  <a:lnTo>
                    <a:pt x="3944" y="3159"/>
                  </a:lnTo>
                  <a:lnTo>
                    <a:pt x="3891" y="3362"/>
                  </a:lnTo>
                  <a:lnTo>
                    <a:pt x="3838" y="3565"/>
                  </a:lnTo>
                  <a:lnTo>
                    <a:pt x="3803" y="3768"/>
                  </a:lnTo>
                  <a:lnTo>
                    <a:pt x="3777" y="3970"/>
                  </a:lnTo>
                  <a:lnTo>
                    <a:pt x="3777" y="3970"/>
                  </a:lnTo>
                  <a:lnTo>
                    <a:pt x="3609" y="3979"/>
                  </a:lnTo>
                  <a:lnTo>
                    <a:pt x="3450" y="3988"/>
                  </a:lnTo>
                  <a:lnTo>
                    <a:pt x="3283" y="4015"/>
                  </a:lnTo>
                  <a:lnTo>
                    <a:pt x="3124" y="4050"/>
                  </a:lnTo>
                  <a:lnTo>
                    <a:pt x="2965" y="4085"/>
                  </a:lnTo>
                  <a:lnTo>
                    <a:pt x="2815" y="4138"/>
                  </a:lnTo>
                  <a:lnTo>
                    <a:pt x="2656" y="4191"/>
                  </a:lnTo>
                  <a:lnTo>
                    <a:pt x="2506" y="4253"/>
                  </a:lnTo>
                  <a:lnTo>
                    <a:pt x="2365" y="4323"/>
                  </a:lnTo>
                  <a:lnTo>
                    <a:pt x="2224" y="4403"/>
                  </a:lnTo>
                  <a:lnTo>
                    <a:pt x="2082" y="4491"/>
                  </a:lnTo>
                  <a:lnTo>
                    <a:pt x="1941" y="4579"/>
                  </a:lnTo>
                  <a:lnTo>
                    <a:pt x="1818" y="4685"/>
                  </a:lnTo>
                  <a:lnTo>
                    <a:pt x="1685" y="4782"/>
                  </a:lnTo>
                  <a:lnTo>
                    <a:pt x="1571" y="4897"/>
                  </a:lnTo>
                  <a:lnTo>
                    <a:pt x="1447" y="5012"/>
                  </a:lnTo>
                  <a:lnTo>
                    <a:pt x="1341" y="5135"/>
                  </a:lnTo>
                  <a:lnTo>
                    <a:pt x="1235" y="5259"/>
                  </a:lnTo>
                  <a:lnTo>
                    <a:pt x="1129" y="5391"/>
                  </a:lnTo>
                  <a:lnTo>
                    <a:pt x="1041" y="5532"/>
                  </a:lnTo>
                  <a:lnTo>
                    <a:pt x="953" y="5673"/>
                  </a:lnTo>
                  <a:lnTo>
                    <a:pt x="865" y="5815"/>
                  </a:lnTo>
                  <a:lnTo>
                    <a:pt x="794" y="5965"/>
                  </a:lnTo>
                  <a:lnTo>
                    <a:pt x="724" y="6123"/>
                  </a:lnTo>
                  <a:lnTo>
                    <a:pt x="662" y="6282"/>
                  </a:lnTo>
                  <a:lnTo>
                    <a:pt x="609" y="6441"/>
                  </a:lnTo>
                  <a:lnTo>
                    <a:pt x="565" y="6600"/>
                  </a:lnTo>
                  <a:lnTo>
                    <a:pt x="529" y="6767"/>
                  </a:lnTo>
                  <a:lnTo>
                    <a:pt x="494" y="6935"/>
                  </a:lnTo>
                  <a:lnTo>
                    <a:pt x="477" y="7103"/>
                  </a:lnTo>
                  <a:lnTo>
                    <a:pt x="459" y="7279"/>
                  </a:lnTo>
                  <a:lnTo>
                    <a:pt x="459" y="7447"/>
                  </a:lnTo>
                  <a:lnTo>
                    <a:pt x="459" y="7447"/>
                  </a:lnTo>
                  <a:lnTo>
                    <a:pt x="459" y="7632"/>
                  </a:lnTo>
                  <a:lnTo>
                    <a:pt x="477" y="7817"/>
                  </a:lnTo>
                  <a:lnTo>
                    <a:pt x="494" y="7994"/>
                  </a:lnTo>
                  <a:lnTo>
                    <a:pt x="529" y="8170"/>
                  </a:lnTo>
                  <a:lnTo>
                    <a:pt x="565" y="8338"/>
                  </a:lnTo>
                  <a:lnTo>
                    <a:pt x="609" y="8506"/>
                  </a:lnTo>
                  <a:lnTo>
                    <a:pt x="662" y="8673"/>
                  </a:lnTo>
                  <a:lnTo>
                    <a:pt x="724" y="8832"/>
                  </a:lnTo>
                  <a:lnTo>
                    <a:pt x="794" y="8991"/>
                  </a:lnTo>
                  <a:lnTo>
                    <a:pt x="865" y="9141"/>
                  </a:lnTo>
                  <a:lnTo>
                    <a:pt x="953" y="9282"/>
                  </a:lnTo>
                  <a:lnTo>
                    <a:pt x="1041" y="9423"/>
                  </a:lnTo>
                  <a:lnTo>
                    <a:pt x="1129" y="9556"/>
                  </a:lnTo>
                  <a:lnTo>
                    <a:pt x="1235" y="9688"/>
                  </a:lnTo>
                  <a:lnTo>
                    <a:pt x="1341" y="9811"/>
                  </a:lnTo>
                  <a:lnTo>
                    <a:pt x="1447" y="9935"/>
                  </a:lnTo>
                  <a:lnTo>
                    <a:pt x="1571" y="10050"/>
                  </a:lnTo>
                  <a:lnTo>
                    <a:pt x="1685" y="10156"/>
                  </a:lnTo>
                  <a:lnTo>
                    <a:pt x="1818" y="10252"/>
                  </a:lnTo>
                  <a:lnTo>
                    <a:pt x="1941" y="10349"/>
                  </a:lnTo>
                  <a:lnTo>
                    <a:pt x="2082" y="10437"/>
                  </a:lnTo>
                  <a:lnTo>
                    <a:pt x="2224" y="10516"/>
                  </a:lnTo>
                  <a:lnTo>
                    <a:pt x="2365" y="10596"/>
                  </a:lnTo>
                  <a:lnTo>
                    <a:pt x="2506" y="10666"/>
                  </a:lnTo>
                  <a:lnTo>
                    <a:pt x="2656" y="10719"/>
                  </a:lnTo>
                  <a:lnTo>
                    <a:pt x="2815" y="10772"/>
                  </a:lnTo>
                  <a:lnTo>
                    <a:pt x="2965" y="10825"/>
                  </a:lnTo>
                  <a:lnTo>
                    <a:pt x="3124" y="10860"/>
                  </a:lnTo>
                  <a:lnTo>
                    <a:pt x="3283" y="10887"/>
                  </a:lnTo>
                  <a:lnTo>
                    <a:pt x="3450" y="10913"/>
                  </a:lnTo>
                  <a:lnTo>
                    <a:pt x="3609" y="10922"/>
                  </a:lnTo>
                  <a:lnTo>
                    <a:pt x="3777" y="10922"/>
                  </a:lnTo>
                  <a:lnTo>
                    <a:pt x="3777" y="10922"/>
                  </a:lnTo>
                  <a:lnTo>
                    <a:pt x="8435" y="10922"/>
                  </a:lnTo>
                  <a:lnTo>
                    <a:pt x="8435" y="13481"/>
                  </a:lnTo>
                  <a:lnTo>
                    <a:pt x="6539" y="11602"/>
                  </a:lnTo>
                  <a:lnTo>
                    <a:pt x="4289" y="13904"/>
                  </a:lnTo>
                  <a:lnTo>
                    <a:pt x="4589" y="14257"/>
                  </a:lnTo>
                  <a:lnTo>
                    <a:pt x="6292" y="12484"/>
                  </a:lnTo>
                  <a:lnTo>
                    <a:pt x="6292" y="14831"/>
                  </a:lnTo>
                  <a:lnTo>
                    <a:pt x="1191" y="14831"/>
                  </a:lnTo>
                  <a:lnTo>
                    <a:pt x="1191" y="14831"/>
                  </a:lnTo>
                  <a:lnTo>
                    <a:pt x="1068" y="14831"/>
                  </a:lnTo>
                  <a:lnTo>
                    <a:pt x="953" y="14849"/>
                  </a:lnTo>
                  <a:lnTo>
                    <a:pt x="838" y="14884"/>
                  </a:lnTo>
                  <a:lnTo>
                    <a:pt x="732" y="14919"/>
                  </a:lnTo>
                  <a:lnTo>
                    <a:pt x="627" y="14972"/>
                  </a:lnTo>
                  <a:lnTo>
                    <a:pt x="521" y="15034"/>
                  </a:lnTo>
                  <a:lnTo>
                    <a:pt x="432" y="15104"/>
                  </a:lnTo>
                  <a:lnTo>
                    <a:pt x="344" y="15175"/>
                  </a:lnTo>
                  <a:lnTo>
                    <a:pt x="274" y="15263"/>
                  </a:lnTo>
                  <a:lnTo>
                    <a:pt x="203" y="15352"/>
                  </a:lnTo>
                  <a:lnTo>
                    <a:pt x="141" y="15457"/>
                  </a:lnTo>
                  <a:lnTo>
                    <a:pt x="88" y="15554"/>
                  </a:lnTo>
                  <a:lnTo>
                    <a:pt x="53" y="15669"/>
                  </a:lnTo>
                  <a:lnTo>
                    <a:pt x="18" y="15784"/>
                  </a:lnTo>
                  <a:lnTo>
                    <a:pt x="0" y="15899"/>
                  </a:lnTo>
                  <a:lnTo>
                    <a:pt x="0" y="16022"/>
                  </a:lnTo>
                  <a:lnTo>
                    <a:pt x="0" y="19269"/>
                  </a:lnTo>
                  <a:lnTo>
                    <a:pt x="0" y="19269"/>
                  </a:lnTo>
                  <a:lnTo>
                    <a:pt x="0" y="19393"/>
                  </a:lnTo>
                  <a:lnTo>
                    <a:pt x="18" y="19516"/>
                  </a:lnTo>
                  <a:lnTo>
                    <a:pt x="53" y="19631"/>
                  </a:lnTo>
                  <a:lnTo>
                    <a:pt x="88" y="19737"/>
                  </a:lnTo>
                  <a:lnTo>
                    <a:pt x="141" y="19843"/>
                  </a:lnTo>
                  <a:lnTo>
                    <a:pt x="203" y="19940"/>
                  </a:lnTo>
                  <a:lnTo>
                    <a:pt x="274" y="20037"/>
                  </a:lnTo>
                  <a:lnTo>
                    <a:pt x="344" y="20116"/>
                  </a:lnTo>
                  <a:lnTo>
                    <a:pt x="432" y="20195"/>
                  </a:lnTo>
                  <a:lnTo>
                    <a:pt x="521" y="20266"/>
                  </a:lnTo>
                  <a:lnTo>
                    <a:pt x="627" y="20328"/>
                  </a:lnTo>
                  <a:lnTo>
                    <a:pt x="732" y="20372"/>
                  </a:lnTo>
                  <a:lnTo>
                    <a:pt x="838" y="20416"/>
                  </a:lnTo>
                  <a:lnTo>
                    <a:pt x="953" y="20443"/>
                  </a:lnTo>
                  <a:lnTo>
                    <a:pt x="1068" y="20460"/>
                  </a:lnTo>
                  <a:lnTo>
                    <a:pt x="1191" y="20469"/>
                  </a:lnTo>
                  <a:lnTo>
                    <a:pt x="14903" y="20469"/>
                  </a:lnTo>
                  <a:lnTo>
                    <a:pt x="14903" y="20469"/>
                  </a:lnTo>
                  <a:lnTo>
                    <a:pt x="15026" y="20460"/>
                  </a:lnTo>
                  <a:lnTo>
                    <a:pt x="15141" y="20443"/>
                  </a:lnTo>
                  <a:lnTo>
                    <a:pt x="15256" y="20416"/>
                  </a:lnTo>
                  <a:lnTo>
                    <a:pt x="15371" y="20372"/>
                  </a:lnTo>
                  <a:lnTo>
                    <a:pt x="15476" y="20328"/>
                  </a:lnTo>
                  <a:lnTo>
                    <a:pt x="15574" y="20266"/>
                  </a:lnTo>
                  <a:lnTo>
                    <a:pt x="15662" y="20195"/>
                  </a:lnTo>
                  <a:lnTo>
                    <a:pt x="15750" y="20116"/>
                  </a:lnTo>
                  <a:lnTo>
                    <a:pt x="15829" y="20037"/>
                  </a:lnTo>
                  <a:lnTo>
                    <a:pt x="15891" y="19940"/>
                  </a:lnTo>
                  <a:lnTo>
                    <a:pt x="15953" y="19843"/>
                  </a:lnTo>
                  <a:lnTo>
                    <a:pt x="16006" y="19737"/>
                  </a:lnTo>
                  <a:lnTo>
                    <a:pt x="16041" y="19631"/>
                  </a:lnTo>
                  <a:lnTo>
                    <a:pt x="16077" y="19516"/>
                  </a:lnTo>
                  <a:lnTo>
                    <a:pt x="16094" y="19393"/>
                  </a:lnTo>
                  <a:lnTo>
                    <a:pt x="16103" y="19269"/>
                  </a:lnTo>
                  <a:lnTo>
                    <a:pt x="16103" y="16022"/>
                  </a:lnTo>
                  <a:lnTo>
                    <a:pt x="16103" y="16022"/>
                  </a:lnTo>
                  <a:lnTo>
                    <a:pt x="16094" y="15899"/>
                  </a:lnTo>
                  <a:lnTo>
                    <a:pt x="16077" y="15784"/>
                  </a:lnTo>
                  <a:lnTo>
                    <a:pt x="16041" y="15669"/>
                  </a:lnTo>
                  <a:lnTo>
                    <a:pt x="16006" y="15554"/>
                  </a:lnTo>
                  <a:lnTo>
                    <a:pt x="15953" y="15457"/>
                  </a:lnTo>
                  <a:lnTo>
                    <a:pt x="15891" y="15352"/>
                  </a:lnTo>
                  <a:lnTo>
                    <a:pt x="15829" y="15263"/>
                  </a:lnTo>
                  <a:lnTo>
                    <a:pt x="15750" y="15175"/>
                  </a:lnTo>
                  <a:lnTo>
                    <a:pt x="15662" y="15104"/>
                  </a:lnTo>
                  <a:lnTo>
                    <a:pt x="15574" y="15034"/>
                  </a:lnTo>
                  <a:lnTo>
                    <a:pt x="15476" y="14972"/>
                  </a:lnTo>
                  <a:lnTo>
                    <a:pt x="15371" y="14919"/>
                  </a:lnTo>
                  <a:lnTo>
                    <a:pt x="15256" y="14884"/>
                  </a:lnTo>
                  <a:lnTo>
                    <a:pt x="15141" y="14849"/>
                  </a:lnTo>
                  <a:lnTo>
                    <a:pt x="15026" y="14831"/>
                  </a:lnTo>
                  <a:lnTo>
                    <a:pt x="14903" y="14831"/>
                  </a:lnTo>
                  <a:close/>
                  <a:moveTo>
                    <a:pt x="1403" y="7447"/>
                  </a:moveTo>
                  <a:lnTo>
                    <a:pt x="1403" y="7447"/>
                  </a:lnTo>
                  <a:lnTo>
                    <a:pt x="1412" y="7323"/>
                  </a:lnTo>
                  <a:lnTo>
                    <a:pt x="1421" y="7200"/>
                  </a:lnTo>
                  <a:lnTo>
                    <a:pt x="1430" y="7076"/>
                  </a:lnTo>
                  <a:lnTo>
                    <a:pt x="1456" y="6962"/>
                  </a:lnTo>
                  <a:lnTo>
                    <a:pt x="1482" y="6838"/>
                  </a:lnTo>
                  <a:lnTo>
                    <a:pt x="1509" y="6723"/>
                  </a:lnTo>
                  <a:lnTo>
                    <a:pt x="1544" y="6609"/>
                  </a:lnTo>
                  <a:lnTo>
                    <a:pt x="1588" y="6503"/>
                  </a:lnTo>
                  <a:lnTo>
                    <a:pt x="1632" y="6388"/>
                  </a:lnTo>
                  <a:lnTo>
                    <a:pt x="1685" y="6282"/>
                  </a:lnTo>
                  <a:lnTo>
                    <a:pt x="1738" y="6185"/>
                  </a:lnTo>
                  <a:lnTo>
                    <a:pt x="1800" y="6088"/>
                  </a:lnTo>
                  <a:lnTo>
                    <a:pt x="1862" y="5991"/>
                  </a:lnTo>
                  <a:lnTo>
                    <a:pt x="1932" y="5894"/>
                  </a:lnTo>
                  <a:lnTo>
                    <a:pt x="2003" y="5806"/>
                  </a:lnTo>
                  <a:lnTo>
                    <a:pt x="2082" y="5717"/>
                  </a:lnTo>
                  <a:lnTo>
                    <a:pt x="2162" y="5638"/>
                  </a:lnTo>
                  <a:lnTo>
                    <a:pt x="2250" y="5559"/>
                  </a:lnTo>
                  <a:lnTo>
                    <a:pt x="2338" y="5488"/>
                  </a:lnTo>
                  <a:lnTo>
                    <a:pt x="2427" y="5417"/>
                  </a:lnTo>
                  <a:lnTo>
                    <a:pt x="2524" y="5347"/>
                  </a:lnTo>
                  <a:lnTo>
                    <a:pt x="2612" y="5294"/>
                  </a:lnTo>
                  <a:lnTo>
                    <a:pt x="2718" y="5232"/>
                  </a:lnTo>
                  <a:lnTo>
                    <a:pt x="2815" y="5179"/>
                  </a:lnTo>
                  <a:lnTo>
                    <a:pt x="2921" y="5135"/>
                  </a:lnTo>
                  <a:lnTo>
                    <a:pt x="3027" y="5100"/>
                  </a:lnTo>
                  <a:lnTo>
                    <a:pt x="3141" y="5065"/>
                  </a:lnTo>
                  <a:lnTo>
                    <a:pt x="3256" y="5029"/>
                  </a:lnTo>
                  <a:lnTo>
                    <a:pt x="3362" y="5003"/>
                  </a:lnTo>
                  <a:lnTo>
                    <a:pt x="3486" y="4985"/>
                  </a:lnTo>
                  <a:lnTo>
                    <a:pt x="3600" y="4976"/>
                  </a:lnTo>
                  <a:lnTo>
                    <a:pt x="3715" y="4968"/>
                  </a:lnTo>
                  <a:lnTo>
                    <a:pt x="3715" y="4968"/>
                  </a:lnTo>
                  <a:lnTo>
                    <a:pt x="4730" y="4968"/>
                  </a:lnTo>
                  <a:lnTo>
                    <a:pt x="4730" y="4968"/>
                  </a:lnTo>
                  <a:lnTo>
                    <a:pt x="4730" y="4473"/>
                  </a:lnTo>
                  <a:lnTo>
                    <a:pt x="4730" y="4473"/>
                  </a:lnTo>
                  <a:lnTo>
                    <a:pt x="4730" y="4297"/>
                  </a:lnTo>
                  <a:lnTo>
                    <a:pt x="4747" y="4120"/>
                  </a:lnTo>
                  <a:lnTo>
                    <a:pt x="4765" y="3953"/>
                  </a:lnTo>
                  <a:lnTo>
                    <a:pt x="4800" y="3785"/>
                  </a:lnTo>
                  <a:lnTo>
                    <a:pt x="4836" y="3618"/>
                  </a:lnTo>
                  <a:lnTo>
                    <a:pt x="4880" y="3459"/>
                  </a:lnTo>
                  <a:lnTo>
                    <a:pt x="4933" y="3300"/>
                  </a:lnTo>
                  <a:lnTo>
                    <a:pt x="4994" y="3141"/>
                  </a:lnTo>
                  <a:lnTo>
                    <a:pt x="5065" y="2991"/>
                  </a:lnTo>
                  <a:lnTo>
                    <a:pt x="5136" y="2841"/>
                  </a:lnTo>
                  <a:lnTo>
                    <a:pt x="5224" y="2691"/>
                  </a:lnTo>
                  <a:lnTo>
                    <a:pt x="5312" y="2550"/>
                  </a:lnTo>
                  <a:lnTo>
                    <a:pt x="5400" y="2418"/>
                  </a:lnTo>
                  <a:lnTo>
                    <a:pt x="5506" y="2285"/>
                  </a:lnTo>
                  <a:lnTo>
                    <a:pt x="5612" y="2153"/>
                  </a:lnTo>
                  <a:lnTo>
                    <a:pt x="5718" y="2029"/>
                  </a:lnTo>
                  <a:lnTo>
                    <a:pt x="5842" y="1915"/>
                  </a:lnTo>
                  <a:lnTo>
                    <a:pt x="5956" y="1809"/>
                  </a:lnTo>
                  <a:lnTo>
                    <a:pt x="6089" y="1703"/>
                  </a:lnTo>
                  <a:lnTo>
                    <a:pt x="6212" y="1606"/>
                  </a:lnTo>
                  <a:lnTo>
                    <a:pt x="6353" y="1509"/>
                  </a:lnTo>
                  <a:lnTo>
                    <a:pt x="6486" y="1421"/>
                  </a:lnTo>
                  <a:lnTo>
                    <a:pt x="6636" y="1350"/>
                  </a:lnTo>
                  <a:lnTo>
                    <a:pt x="6777" y="1271"/>
                  </a:lnTo>
                  <a:lnTo>
                    <a:pt x="6927" y="1209"/>
                  </a:lnTo>
                  <a:lnTo>
                    <a:pt x="7077" y="1156"/>
                  </a:lnTo>
                  <a:lnTo>
                    <a:pt x="7236" y="1103"/>
                  </a:lnTo>
                  <a:lnTo>
                    <a:pt x="7395" y="1068"/>
                  </a:lnTo>
                  <a:lnTo>
                    <a:pt x="7553" y="1032"/>
                  </a:lnTo>
                  <a:lnTo>
                    <a:pt x="7721" y="1015"/>
                  </a:lnTo>
                  <a:lnTo>
                    <a:pt x="7880" y="997"/>
                  </a:lnTo>
                  <a:lnTo>
                    <a:pt x="8048" y="997"/>
                  </a:lnTo>
                  <a:lnTo>
                    <a:pt x="8048" y="997"/>
                  </a:lnTo>
                  <a:lnTo>
                    <a:pt x="8311" y="1006"/>
                  </a:lnTo>
                  <a:lnTo>
                    <a:pt x="8567" y="1032"/>
                  </a:lnTo>
                  <a:lnTo>
                    <a:pt x="8823" y="1085"/>
                  </a:lnTo>
                  <a:lnTo>
                    <a:pt x="9061" y="1147"/>
                  </a:lnTo>
                  <a:lnTo>
                    <a:pt x="9300" y="1235"/>
                  </a:lnTo>
                  <a:lnTo>
                    <a:pt x="9520" y="1341"/>
                  </a:lnTo>
                  <a:lnTo>
                    <a:pt x="9741" y="1465"/>
                  </a:lnTo>
                  <a:lnTo>
                    <a:pt x="9944" y="1597"/>
                  </a:lnTo>
                  <a:lnTo>
                    <a:pt x="10138" y="1756"/>
                  </a:lnTo>
                  <a:lnTo>
                    <a:pt x="10323" y="1923"/>
                  </a:lnTo>
                  <a:lnTo>
                    <a:pt x="10491" y="2109"/>
                  </a:lnTo>
                  <a:lnTo>
                    <a:pt x="10650" y="2303"/>
                  </a:lnTo>
                  <a:lnTo>
                    <a:pt x="10791" y="2515"/>
                  </a:lnTo>
                  <a:lnTo>
                    <a:pt x="10923" y="2744"/>
                  </a:lnTo>
                  <a:lnTo>
                    <a:pt x="11038" y="2982"/>
                  </a:lnTo>
                  <a:lnTo>
                    <a:pt x="11135" y="3229"/>
                  </a:lnTo>
                  <a:lnTo>
                    <a:pt x="11135" y="3229"/>
                  </a:lnTo>
                  <a:lnTo>
                    <a:pt x="11250" y="3476"/>
                  </a:lnTo>
                  <a:lnTo>
                    <a:pt x="11250" y="3476"/>
                  </a:lnTo>
                  <a:lnTo>
                    <a:pt x="11603" y="3476"/>
                  </a:lnTo>
                  <a:lnTo>
                    <a:pt x="11603" y="3476"/>
                  </a:lnTo>
                  <a:lnTo>
                    <a:pt x="11762" y="3485"/>
                  </a:lnTo>
                  <a:lnTo>
                    <a:pt x="11912" y="3494"/>
                  </a:lnTo>
                  <a:lnTo>
                    <a:pt x="12062" y="3512"/>
                  </a:lnTo>
                  <a:lnTo>
                    <a:pt x="12212" y="3547"/>
                  </a:lnTo>
                  <a:lnTo>
                    <a:pt x="12362" y="3582"/>
                  </a:lnTo>
                  <a:lnTo>
                    <a:pt x="12512" y="3626"/>
                  </a:lnTo>
                  <a:lnTo>
                    <a:pt x="12653" y="3679"/>
                  </a:lnTo>
                  <a:lnTo>
                    <a:pt x="12785" y="3741"/>
                  </a:lnTo>
                  <a:lnTo>
                    <a:pt x="12926" y="3803"/>
                  </a:lnTo>
                  <a:lnTo>
                    <a:pt x="13059" y="3873"/>
                  </a:lnTo>
                  <a:lnTo>
                    <a:pt x="13182" y="3953"/>
                  </a:lnTo>
                  <a:lnTo>
                    <a:pt x="13315" y="4041"/>
                  </a:lnTo>
                  <a:lnTo>
                    <a:pt x="13429" y="4129"/>
                  </a:lnTo>
                  <a:lnTo>
                    <a:pt x="13553" y="4226"/>
                  </a:lnTo>
                  <a:lnTo>
                    <a:pt x="13659" y="4332"/>
                  </a:lnTo>
                  <a:lnTo>
                    <a:pt x="13773" y="4438"/>
                  </a:lnTo>
                  <a:lnTo>
                    <a:pt x="13871" y="4553"/>
                  </a:lnTo>
                  <a:lnTo>
                    <a:pt x="13976" y="4668"/>
                  </a:lnTo>
                  <a:lnTo>
                    <a:pt x="14065" y="4791"/>
                  </a:lnTo>
                  <a:lnTo>
                    <a:pt x="14153" y="4923"/>
                  </a:lnTo>
                  <a:lnTo>
                    <a:pt x="14232" y="5047"/>
                  </a:lnTo>
                  <a:lnTo>
                    <a:pt x="14312" y="5188"/>
                  </a:lnTo>
                  <a:lnTo>
                    <a:pt x="14382" y="5329"/>
                  </a:lnTo>
                  <a:lnTo>
                    <a:pt x="14444" y="5470"/>
                  </a:lnTo>
                  <a:lnTo>
                    <a:pt x="14497" y="5612"/>
                  </a:lnTo>
                  <a:lnTo>
                    <a:pt x="14550" y="5762"/>
                  </a:lnTo>
                  <a:lnTo>
                    <a:pt x="14594" y="5912"/>
                  </a:lnTo>
                  <a:lnTo>
                    <a:pt x="14629" y="6070"/>
                  </a:lnTo>
                  <a:lnTo>
                    <a:pt x="14656" y="6220"/>
                  </a:lnTo>
                  <a:lnTo>
                    <a:pt x="14673" y="6379"/>
                  </a:lnTo>
                  <a:lnTo>
                    <a:pt x="14682" y="6547"/>
                  </a:lnTo>
                  <a:lnTo>
                    <a:pt x="14691" y="6706"/>
                  </a:lnTo>
                  <a:lnTo>
                    <a:pt x="14691" y="6706"/>
                  </a:lnTo>
                  <a:lnTo>
                    <a:pt x="14682" y="6882"/>
                  </a:lnTo>
                  <a:lnTo>
                    <a:pt x="14673" y="7050"/>
                  </a:lnTo>
                  <a:lnTo>
                    <a:pt x="14656" y="7217"/>
                  </a:lnTo>
                  <a:lnTo>
                    <a:pt x="14629" y="7376"/>
                  </a:lnTo>
                  <a:lnTo>
                    <a:pt x="14594" y="7535"/>
                  </a:lnTo>
                  <a:lnTo>
                    <a:pt x="14550" y="7694"/>
                  </a:lnTo>
                  <a:lnTo>
                    <a:pt x="14497" y="7844"/>
                  </a:lnTo>
                  <a:lnTo>
                    <a:pt x="14444" y="7994"/>
                  </a:lnTo>
                  <a:lnTo>
                    <a:pt x="14382" y="8144"/>
                  </a:lnTo>
                  <a:lnTo>
                    <a:pt x="14312" y="8276"/>
                  </a:lnTo>
                  <a:lnTo>
                    <a:pt x="14232" y="8417"/>
                  </a:lnTo>
                  <a:lnTo>
                    <a:pt x="14153" y="8550"/>
                  </a:lnTo>
                  <a:lnTo>
                    <a:pt x="14065" y="8673"/>
                  </a:lnTo>
                  <a:lnTo>
                    <a:pt x="13976" y="8788"/>
                  </a:lnTo>
                  <a:lnTo>
                    <a:pt x="13871" y="8912"/>
                  </a:lnTo>
                  <a:lnTo>
                    <a:pt x="13773" y="9017"/>
                  </a:lnTo>
                  <a:lnTo>
                    <a:pt x="13659" y="9123"/>
                  </a:lnTo>
                  <a:lnTo>
                    <a:pt x="13553" y="9220"/>
                  </a:lnTo>
                  <a:lnTo>
                    <a:pt x="13429" y="9317"/>
                  </a:lnTo>
                  <a:lnTo>
                    <a:pt x="13315" y="9406"/>
                  </a:lnTo>
                  <a:lnTo>
                    <a:pt x="13182" y="9485"/>
                  </a:lnTo>
                  <a:lnTo>
                    <a:pt x="13059" y="9564"/>
                  </a:lnTo>
                  <a:lnTo>
                    <a:pt x="12926" y="9626"/>
                  </a:lnTo>
                  <a:lnTo>
                    <a:pt x="12785" y="9688"/>
                  </a:lnTo>
                  <a:lnTo>
                    <a:pt x="12653" y="9750"/>
                  </a:lnTo>
                  <a:lnTo>
                    <a:pt x="12512" y="9794"/>
                  </a:lnTo>
                  <a:lnTo>
                    <a:pt x="12362" y="9838"/>
                  </a:lnTo>
                  <a:lnTo>
                    <a:pt x="12212" y="9873"/>
                  </a:lnTo>
                  <a:lnTo>
                    <a:pt x="12062" y="9900"/>
                  </a:lnTo>
                  <a:lnTo>
                    <a:pt x="11912" y="9917"/>
                  </a:lnTo>
                  <a:lnTo>
                    <a:pt x="11762" y="9926"/>
                  </a:lnTo>
                  <a:lnTo>
                    <a:pt x="11603" y="9935"/>
                  </a:lnTo>
                  <a:lnTo>
                    <a:pt x="11603" y="9935"/>
                  </a:lnTo>
                  <a:lnTo>
                    <a:pt x="3777" y="9935"/>
                  </a:lnTo>
                  <a:lnTo>
                    <a:pt x="3777" y="9935"/>
                  </a:lnTo>
                  <a:lnTo>
                    <a:pt x="3653" y="9935"/>
                  </a:lnTo>
                  <a:lnTo>
                    <a:pt x="3538" y="9917"/>
                  </a:lnTo>
                  <a:lnTo>
                    <a:pt x="3415" y="9909"/>
                  </a:lnTo>
                  <a:lnTo>
                    <a:pt x="3300" y="9882"/>
                  </a:lnTo>
                  <a:lnTo>
                    <a:pt x="3186" y="9856"/>
                  </a:lnTo>
                  <a:lnTo>
                    <a:pt x="3071" y="9820"/>
                  </a:lnTo>
                  <a:lnTo>
                    <a:pt x="2965" y="9785"/>
                  </a:lnTo>
                  <a:lnTo>
                    <a:pt x="2859" y="9741"/>
                  </a:lnTo>
                  <a:lnTo>
                    <a:pt x="2753" y="9688"/>
                  </a:lnTo>
                  <a:lnTo>
                    <a:pt x="2647" y="9635"/>
                  </a:lnTo>
                  <a:lnTo>
                    <a:pt x="2550" y="9573"/>
                  </a:lnTo>
                  <a:lnTo>
                    <a:pt x="2453" y="9511"/>
                  </a:lnTo>
                  <a:lnTo>
                    <a:pt x="2365" y="9441"/>
                  </a:lnTo>
                  <a:lnTo>
                    <a:pt x="2268" y="9361"/>
                  </a:lnTo>
                  <a:lnTo>
                    <a:pt x="2188" y="9291"/>
                  </a:lnTo>
                  <a:lnTo>
                    <a:pt x="2100" y="9203"/>
                  </a:lnTo>
                  <a:lnTo>
                    <a:pt x="2021" y="9114"/>
                  </a:lnTo>
                  <a:lnTo>
                    <a:pt x="1950" y="9026"/>
                  </a:lnTo>
                  <a:lnTo>
                    <a:pt x="1880" y="8938"/>
                  </a:lnTo>
                  <a:lnTo>
                    <a:pt x="1809" y="8841"/>
                  </a:lnTo>
                  <a:lnTo>
                    <a:pt x="1747" y="8735"/>
                  </a:lnTo>
                  <a:lnTo>
                    <a:pt x="1694" y="8629"/>
                  </a:lnTo>
                  <a:lnTo>
                    <a:pt x="1641" y="8523"/>
                  </a:lnTo>
                  <a:lnTo>
                    <a:pt x="1597" y="8417"/>
                  </a:lnTo>
                  <a:lnTo>
                    <a:pt x="1553" y="8303"/>
                  </a:lnTo>
                  <a:lnTo>
                    <a:pt x="1509" y="8188"/>
                  </a:lnTo>
                  <a:lnTo>
                    <a:pt x="1482" y="8073"/>
                  </a:lnTo>
                  <a:lnTo>
                    <a:pt x="1456" y="7950"/>
                  </a:lnTo>
                  <a:lnTo>
                    <a:pt x="1430" y="7826"/>
                  </a:lnTo>
                  <a:lnTo>
                    <a:pt x="1421" y="7703"/>
                  </a:lnTo>
                  <a:lnTo>
                    <a:pt x="1412" y="7579"/>
                  </a:lnTo>
                  <a:lnTo>
                    <a:pt x="1403" y="7447"/>
                  </a:lnTo>
                  <a:close/>
                  <a:moveTo>
                    <a:pt x="15185" y="19269"/>
                  </a:moveTo>
                  <a:lnTo>
                    <a:pt x="15185" y="19269"/>
                  </a:lnTo>
                  <a:lnTo>
                    <a:pt x="15185" y="19331"/>
                  </a:lnTo>
                  <a:lnTo>
                    <a:pt x="15168" y="19384"/>
                  </a:lnTo>
                  <a:lnTo>
                    <a:pt x="15141" y="19428"/>
                  </a:lnTo>
                  <a:lnTo>
                    <a:pt x="15106" y="19472"/>
                  </a:lnTo>
                  <a:lnTo>
                    <a:pt x="15062" y="19507"/>
                  </a:lnTo>
                  <a:lnTo>
                    <a:pt x="15018" y="19534"/>
                  </a:lnTo>
                  <a:lnTo>
                    <a:pt x="14956" y="19551"/>
                  </a:lnTo>
                  <a:lnTo>
                    <a:pt x="14903" y="19560"/>
                  </a:lnTo>
                  <a:lnTo>
                    <a:pt x="1191" y="19560"/>
                  </a:lnTo>
                  <a:lnTo>
                    <a:pt x="1191" y="19560"/>
                  </a:lnTo>
                  <a:lnTo>
                    <a:pt x="1138" y="19551"/>
                  </a:lnTo>
                  <a:lnTo>
                    <a:pt x="1085" y="19534"/>
                  </a:lnTo>
                  <a:lnTo>
                    <a:pt x="1032" y="19507"/>
                  </a:lnTo>
                  <a:lnTo>
                    <a:pt x="988" y="19472"/>
                  </a:lnTo>
                  <a:lnTo>
                    <a:pt x="953" y="19428"/>
                  </a:lnTo>
                  <a:lnTo>
                    <a:pt x="927" y="19384"/>
                  </a:lnTo>
                  <a:lnTo>
                    <a:pt x="909" y="19331"/>
                  </a:lnTo>
                  <a:lnTo>
                    <a:pt x="909" y="19269"/>
                  </a:lnTo>
                  <a:lnTo>
                    <a:pt x="909" y="16022"/>
                  </a:lnTo>
                  <a:lnTo>
                    <a:pt x="909" y="16022"/>
                  </a:lnTo>
                  <a:lnTo>
                    <a:pt x="909" y="15969"/>
                  </a:lnTo>
                  <a:lnTo>
                    <a:pt x="927" y="15916"/>
                  </a:lnTo>
                  <a:lnTo>
                    <a:pt x="953" y="15863"/>
                  </a:lnTo>
                  <a:lnTo>
                    <a:pt x="988" y="15819"/>
                  </a:lnTo>
                  <a:lnTo>
                    <a:pt x="1032" y="15784"/>
                  </a:lnTo>
                  <a:lnTo>
                    <a:pt x="1085" y="15757"/>
                  </a:lnTo>
                  <a:lnTo>
                    <a:pt x="1138" y="15740"/>
                  </a:lnTo>
                  <a:lnTo>
                    <a:pt x="1191" y="15740"/>
                  </a:lnTo>
                  <a:lnTo>
                    <a:pt x="6292" y="15740"/>
                  </a:lnTo>
                  <a:lnTo>
                    <a:pt x="6759" y="15740"/>
                  </a:lnTo>
                  <a:lnTo>
                    <a:pt x="14903" y="15740"/>
                  </a:lnTo>
                  <a:lnTo>
                    <a:pt x="14903" y="15740"/>
                  </a:lnTo>
                  <a:lnTo>
                    <a:pt x="14956" y="15740"/>
                  </a:lnTo>
                  <a:lnTo>
                    <a:pt x="15018" y="15757"/>
                  </a:lnTo>
                  <a:lnTo>
                    <a:pt x="15062" y="15784"/>
                  </a:lnTo>
                  <a:lnTo>
                    <a:pt x="15106" y="15819"/>
                  </a:lnTo>
                  <a:lnTo>
                    <a:pt x="15141" y="15863"/>
                  </a:lnTo>
                  <a:lnTo>
                    <a:pt x="15168" y="15916"/>
                  </a:lnTo>
                  <a:lnTo>
                    <a:pt x="15185" y="15969"/>
                  </a:lnTo>
                  <a:lnTo>
                    <a:pt x="15185" y="16022"/>
                  </a:lnTo>
                  <a:lnTo>
                    <a:pt x="15185" y="1926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156" name="Freeform 22">
              <a:extLst>
                <a:ext uri="{FF2B5EF4-FFF2-40B4-BE49-F238E27FC236}">
                  <a16:creationId xmlns:a16="http://schemas.microsoft.com/office/drawing/2014/main" id="{8BEC5A9F-C61C-4526-ABCF-A97D7D826E19}"/>
                </a:ext>
              </a:extLst>
            </p:cNvPr>
            <p:cNvSpPr>
              <a:spLocks noChangeArrowheads="1"/>
            </p:cNvSpPr>
            <p:nvPr/>
          </p:nvSpPr>
          <p:spPr bwMode="auto">
            <a:xfrm>
              <a:off x="6616700" y="6224588"/>
              <a:ext cx="492125" cy="492125"/>
            </a:xfrm>
            <a:custGeom>
              <a:avLst/>
              <a:gdLst>
                <a:gd name="T0" fmla="*/ 688 w 1369"/>
                <a:gd name="T1" fmla="*/ 0 h 1369"/>
                <a:gd name="T2" fmla="*/ 547 w 1369"/>
                <a:gd name="T3" fmla="*/ 9 h 1369"/>
                <a:gd name="T4" fmla="*/ 415 w 1369"/>
                <a:gd name="T5" fmla="*/ 53 h 1369"/>
                <a:gd name="T6" fmla="*/ 300 w 1369"/>
                <a:gd name="T7" fmla="*/ 115 h 1369"/>
                <a:gd name="T8" fmla="*/ 203 w 1369"/>
                <a:gd name="T9" fmla="*/ 194 h 1369"/>
                <a:gd name="T10" fmla="*/ 115 w 1369"/>
                <a:gd name="T11" fmla="*/ 300 h 1369"/>
                <a:gd name="T12" fmla="*/ 53 w 1369"/>
                <a:gd name="T13" fmla="*/ 415 h 1369"/>
                <a:gd name="T14" fmla="*/ 18 w 1369"/>
                <a:gd name="T15" fmla="*/ 547 h 1369"/>
                <a:gd name="T16" fmla="*/ 0 w 1369"/>
                <a:gd name="T17" fmla="*/ 680 h 1369"/>
                <a:gd name="T18" fmla="*/ 0 w 1369"/>
                <a:gd name="T19" fmla="*/ 750 h 1369"/>
                <a:gd name="T20" fmla="*/ 35 w 1369"/>
                <a:gd name="T21" fmla="*/ 882 h 1369"/>
                <a:gd name="T22" fmla="*/ 79 w 1369"/>
                <a:gd name="T23" fmla="*/ 1006 h 1369"/>
                <a:gd name="T24" fmla="*/ 159 w 1369"/>
                <a:gd name="T25" fmla="*/ 1121 h 1369"/>
                <a:gd name="T26" fmla="*/ 247 w 1369"/>
                <a:gd name="T27" fmla="*/ 1209 h 1369"/>
                <a:gd name="T28" fmla="*/ 362 w 1369"/>
                <a:gd name="T29" fmla="*/ 1288 h 1369"/>
                <a:gd name="T30" fmla="*/ 485 w 1369"/>
                <a:gd name="T31" fmla="*/ 1332 h 1369"/>
                <a:gd name="T32" fmla="*/ 618 w 1369"/>
                <a:gd name="T33" fmla="*/ 1368 h 1369"/>
                <a:gd name="T34" fmla="*/ 688 w 1369"/>
                <a:gd name="T35" fmla="*/ 1368 h 1369"/>
                <a:gd name="T36" fmla="*/ 821 w 1369"/>
                <a:gd name="T37" fmla="*/ 1350 h 1369"/>
                <a:gd name="T38" fmla="*/ 953 w 1369"/>
                <a:gd name="T39" fmla="*/ 1315 h 1369"/>
                <a:gd name="T40" fmla="*/ 1068 w 1369"/>
                <a:gd name="T41" fmla="*/ 1253 h 1369"/>
                <a:gd name="T42" fmla="*/ 1174 w 1369"/>
                <a:gd name="T43" fmla="*/ 1165 h 1369"/>
                <a:gd name="T44" fmla="*/ 1253 w 1369"/>
                <a:gd name="T45" fmla="*/ 1068 h 1369"/>
                <a:gd name="T46" fmla="*/ 1315 w 1369"/>
                <a:gd name="T47" fmla="*/ 953 h 1369"/>
                <a:gd name="T48" fmla="*/ 1359 w 1369"/>
                <a:gd name="T49" fmla="*/ 821 h 1369"/>
                <a:gd name="T50" fmla="*/ 1368 w 1369"/>
                <a:gd name="T51" fmla="*/ 680 h 1369"/>
                <a:gd name="T52" fmla="*/ 1368 w 1369"/>
                <a:gd name="T53" fmla="*/ 609 h 1369"/>
                <a:gd name="T54" fmla="*/ 1341 w 1369"/>
                <a:gd name="T55" fmla="*/ 477 h 1369"/>
                <a:gd name="T56" fmla="*/ 1288 w 1369"/>
                <a:gd name="T57" fmla="*/ 353 h 1369"/>
                <a:gd name="T58" fmla="*/ 1218 w 1369"/>
                <a:gd name="T59" fmla="*/ 247 h 1369"/>
                <a:gd name="T60" fmla="*/ 1121 w 1369"/>
                <a:gd name="T61" fmla="*/ 150 h 1369"/>
                <a:gd name="T62" fmla="*/ 1015 w 1369"/>
                <a:gd name="T63" fmla="*/ 80 h 1369"/>
                <a:gd name="T64" fmla="*/ 891 w 1369"/>
                <a:gd name="T65" fmla="*/ 27 h 1369"/>
                <a:gd name="T66" fmla="*/ 759 w 1369"/>
                <a:gd name="T67" fmla="*/ 0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9" h="1369">
                  <a:moveTo>
                    <a:pt x="688" y="0"/>
                  </a:moveTo>
                  <a:lnTo>
                    <a:pt x="688" y="0"/>
                  </a:lnTo>
                  <a:lnTo>
                    <a:pt x="618" y="0"/>
                  </a:lnTo>
                  <a:lnTo>
                    <a:pt x="547" y="9"/>
                  </a:lnTo>
                  <a:lnTo>
                    <a:pt x="485" y="27"/>
                  </a:lnTo>
                  <a:lnTo>
                    <a:pt x="415" y="53"/>
                  </a:lnTo>
                  <a:lnTo>
                    <a:pt x="362" y="80"/>
                  </a:lnTo>
                  <a:lnTo>
                    <a:pt x="300" y="115"/>
                  </a:lnTo>
                  <a:lnTo>
                    <a:pt x="247" y="150"/>
                  </a:lnTo>
                  <a:lnTo>
                    <a:pt x="203" y="194"/>
                  </a:lnTo>
                  <a:lnTo>
                    <a:pt x="159" y="247"/>
                  </a:lnTo>
                  <a:lnTo>
                    <a:pt x="115" y="300"/>
                  </a:lnTo>
                  <a:lnTo>
                    <a:pt x="79" y="353"/>
                  </a:lnTo>
                  <a:lnTo>
                    <a:pt x="53" y="415"/>
                  </a:lnTo>
                  <a:lnTo>
                    <a:pt x="35" y="477"/>
                  </a:lnTo>
                  <a:lnTo>
                    <a:pt x="18" y="547"/>
                  </a:lnTo>
                  <a:lnTo>
                    <a:pt x="0" y="609"/>
                  </a:lnTo>
                  <a:lnTo>
                    <a:pt x="0" y="680"/>
                  </a:lnTo>
                  <a:lnTo>
                    <a:pt x="0" y="680"/>
                  </a:lnTo>
                  <a:lnTo>
                    <a:pt x="0" y="750"/>
                  </a:lnTo>
                  <a:lnTo>
                    <a:pt x="18" y="821"/>
                  </a:lnTo>
                  <a:lnTo>
                    <a:pt x="35" y="882"/>
                  </a:lnTo>
                  <a:lnTo>
                    <a:pt x="53" y="953"/>
                  </a:lnTo>
                  <a:lnTo>
                    <a:pt x="79" y="1006"/>
                  </a:lnTo>
                  <a:lnTo>
                    <a:pt x="115" y="1068"/>
                  </a:lnTo>
                  <a:lnTo>
                    <a:pt x="159" y="1121"/>
                  </a:lnTo>
                  <a:lnTo>
                    <a:pt x="203" y="1165"/>
                  </a:lnTo>
                  <a:lnTo>
                    <a:pt x="247" y="1209"/>
                  </a:lnTo>
                  <a:lnTo>
                    <a:pt x="300" y="1253"/>
                  </a:lnTo>
                  <a:lnTo>
                    <a:pt x="362" y="1288"/>
                  </a:lnTo>
                  <a:lnTo>
                    <a:pt x="415" y="1315"/>
                  </a:lnTo>
                  <a:lnTo>
                    <a:pt x="485" y="1332"/>
                  </a:lnTo>
                  <a:lnTo>
                    <a:pt x="547" y="1350"/>
                  </a:lnTo>
                  <a:lnTo>
                    <a:pt x="618" y="1368"/>
                  </a:lnTo>
                  <a:lnTo>
                    <a:pt x="688" y="1368"/>
                  </a:lnTo>
                  <a:lnTo>
                    <a:pt x="688" y="1368"/>
                  </a:lnTo>
                  <a:lnTo>
                    <a:pt x="759" y="1368"/>
                  </a:lnTo>
                  <a:lnTo>
                    <a:pt x="821" y="1350"/>
                  </a:lnTo>
                  <a:lnTo>
                    <a:pt x="891" y="1332"/>
                  </a:lnTo>
                  <a:lnTo>
                    <a:pt x="953" y="1315"/>
                  </a:lnTo>
                  <a:lnTo>
                    <a:pt x="1015" y="1288"/>
                  </a:lnTo>
                  <a:lnTo>
                    <a:pt x="1068" y="1253"/>
                  </a:lnTo>
                  <a:lnTo>
                    <a:pt x="1121" y="1209"/>
                  </a:lnTo>
                  <a:lnTo>
                    <a:pt x="1174" y="1165"/>
                  </a:lnTo>
                  <a:lnTo>
                    <a:pt x="1218" y="1121"/>
                  </a:lnTo>
                  <a:lnTo>
                    <a:pt x="1253" y="1068"/>
                  </a:lnTo>
                  <a:lnTo>
                    <a:pt x="1288" y="1006"/>
                  </a:lnTo>
                  <a:lnTo>
                    <a:pt x="1315" y="953"/>
                  </a:lnTo>
                  <a:lnTo>
                    <a:pt x="1341" y="882"/>
                  </a:lnTo>
                  <a:lnTo>
                    <a:pt x="1359" y="821"/>
                  </a:lnTo>
                  <a:lnTo>
                    <a:pt x="1368" y="750"/>
                  </a:lnTo>
                  <a:lnTo>
                    <a:pt x="1368" y="680"/>
                  </a:lnTo>
                  <a:lnTo>
                    <a:pt x="1368" y="680"/>
                  </a:lnTo>
                  <a:lnTo>
                    <a:pt x="1368" y="609"/>
                  </a:lnTo>
                  <a:lnTo>
                    <a:pt x="1359" y="547"/>
                  </a:lnTo>
                  <a:lnTo>
                    <a:pt x="1341" y="477"/>
                  </a:lnTo>
                  <a:lnTo>
                    <a:pt x="1315" y="415"/>
                  </a:lnTo>
                  <a:lnTo>
                    <a:pt x="1288" y="353"/>
                  </a:lnTo>
                  <a:lnTo>
                    <a:pt x="1253" y="300"/>
                  </a:lnTo>
                  <a:lnTo>
                    <a:pt x="1218" y="247"/>
                  </a:lnTo>
                  <a:lnTo>
                    <a:pt x="1174" y="194"/>
                  </a:lnTo>
                  <a:lnTo>
                    <a:pt x="1121" y="150"/>
                  </a:lnTo>
                  <a:lnTo>
                    <a:pt x="1068" y="115"/>
                  </a:lnTo>
                  <a:lnTo>
                    <a:pt x="1015" y="80"/>
                  </a:lnTo>
                  <a:lnTo>
                    <a:pt x="953" y="53"/>
                  </a:lnTo>
                  <a:lnTo>
                    <a:pt x="891" y="27"/>
                  </a:lnTo>
                  <a:lnTo>
                    <a:pt x="821" y="9"/>
                  </a:lnTo>
                  <a:lnTo>
                    <a:pt x="759" y="0"/>
                  </a:lnTo>
                  <a:lnTo>
                    <a:pt x="688"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57" name="Freeform 23">
              <a:extLst>
                <a:ext uri="{FF2B5EF4-FFF2-40B4-BE49-F238E27FC236}">
                  <a16:creationId xmlns:a16="http://schemas.microsoft.com/office/drawing/2014/main" id="{040FB19E-6816-4B76-9B62-84CA0B7056A8}"/>
                </a:ext>
              </a:extLst>
            </p:cNvPr>
            <p:cNvSpPr>
              <a:spLocks noChangeArrowheads="1"/>
            </p:cNvSpPr>
            <p:nvPr/>
          </p:nvSpPr>
          <p:spPr bwMode="auto">
            <a:xfrm>
              <a:off x="2982913" y="6307138"/>
              <a:ext cx="2716212" cy="327025"/>
            </a:xfrm>
            <a:custGeom>
              <a:avLst/>
              <a:gdLst>
                <a:gd name="T0" fmla="*/ 0 w 7545"/>
                <a:gd name="T1" fmla="*/ 908 h 909"/>
                <a:gd name="T2" fmla="*/ 7544 w 7545"/>
                <a:gd name="T3" fmla="*/ 908 h 909"/>
                <a:gd name="T4" fmla="*/ 7544 w 7545"/>
                <a:gd name="T5" fmla="*/ 0 h 909"/>
                <a:gd name="T6" fmla="*/ 0 w 7545"/>
                <a:gd name="T7" fmla="*/ 0 h 909"/>
                <a:gd name="T8" fmla="*/ 0 w 7545"/>
                <a:gd name="T9" fmla="*/ 908 h 909"/>
              </a:gdLst>
              <a:ahLst/>
              <a:cxnLst>
                <a:cxn ang="0">
                  <a:pos x="T0" y="T1"/>
                </a:cxn>
                <a:cxn ang="0">
                  <a:pos x="T2" y="T3"/>
                </a:cxn>
                <a:cxn ang="0">
                  <a:pos x="T4" y="T5"/>
                </a:cxn>
                <a:cxn ang="0">
                  <a:pos x="T6" y="T7"/>
                </a:cxn>
                <a:cxn ang="0">
                  <a:pos x="T8" y="T9"/>
                </a:cxn>
              </a:cxnLst>
              <a:rect l="0" t="0" r="r" b="b"/>
              <a:pathLst>
                <a:path w="7545" h="909">
                  <a:moveTo>
                    <a:pt x="0" y="908"/>
                  </a:moveTo>
                  <a:lnTo>
                    <a:pt x="7544" y="908"/>
                  </a:lnTo>
                  <a:lnTo>
                    <a:pt x="7544" y="0"/>
                  </a:lnTo>
                  <a:lnTo>
                    <a:pt x="0" y="0"/>
                  </a:lnTo>
                  <a:lnTo>
                    <a:pt x="0" y="90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sp>
        <p:nvSpPr>
          <p:cNvPr id="52" name="Rectangle 51">
            <a:extLst>
              <a:ext uri="{FF2B5EF4-FFF2-40B4-BE49-F238E27FC236}">
                <a16:creationId xmlns:a16="http://schemas.microsoft.com/office/drawing/2014/main" id="{58C2B34F-19EA-4139-92F8-9203AC93DC3A}"/>
              </a:ext>
            </a:extLst>
          </p:cNvPr>
          <p:cNvSpPr/>
          <p:nvPr/>
        </p:nvSpPr>
        <p:spPr bwMode="auto">
          <a:xfrm rot="16200000">
            <a:off x="10307958" y="3158430"/>
            <a:ext cx="2852473" cy="5380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Azure Stack + Hybrid</a:t>
            </a:r>
            <a:endPar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cxnSp>
        <p:nvCxnSpPr>
          <p:cNvPr id="137" name="Straight Connector 136">
            <a:extLst>
              <a:ext uri="{FF2B5EF4-FFF2-40B4-BE49-F238E27FC236}">
                <a16:creationId xmlns:a16="http://schemas.microsoft.com/office/drawing/2014/main" id="{0580C8AB-7D36-41A3-B132-15C823C4B71C}"/>
              </a:ext>
            </a:extLst>
          </p:cNvPr>
          <p:cNvCxnSpPr>
            <a:cxnSpLocks/>
          </p:cNvCxnSpPr>
          <p:nvPr/>
        </p:nvCxnSpPr>
        <p:spPr>
          <a:xfrm>
            <a:off x="3407242" y="487"/>
            <a:ext cx="0" cy="6888317"/>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39" name="Straight Connector 138">
            <a:extLst>
              <a:ext uri="{FF2B5EF4-FFF2-40B4-BE49-F238E27FC236}">
                <a16:creationId xmlns:a16="http://schemas.microsoft.com/office/drawing/2014/main" id="{0315E839-2350-469B-8F1B-DC8D7F999DCD}"/>
              </a:ext>
            </a:extLst>
          </p:cNvPr>
          <p:cNvCxnSpPr>
            <a:cxnSpLocks/>
          </p:cNvCxnSpPr>
          <p:nvPr/>
        </p:nvCxnSpPr>
        <p:spPr>
          <a:xfrm>
            <a:off x="3407244" y="1670654"/>
            <a:ext cx="7842641"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0" name="Straight Connector 139">
            <a:extLst>
              <a:ext uri="{FF2B5EF4-FFF2-40B4-BE49-F238E27FC236}">
                <a16:creationId xmlns:a16="http://schemas.microsoft.com/office/drawing/2014/main" id="{39484075-D733-4152-ABC0-8238A5BA8683}"/>
              </a:ext>
            </a:extLst>
          </p:cNvPr>
          <p:cNvCxnSpPr>
            <a:cxnSpLocks/>
          </p:cNvCxnSpPr>
          <p:nvPr/>
        </p:nvCxnSpPr>
        <p:spPr>
          <a:xfrm>
            <a:off x="3407244" y="5177941"/>
            <a:ext cx="7842641"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1" name="Straight Connector 50">
            <a:extLst>
              <a:ext uri="{FF2B5EF4-FFF2-40B4-BE49-F238E27FC236}">
                <a16:creationId xmlns:a16="http://schemas.microsoft.com/office/drawing/2014/main" id="{DA7EDE83-37C9-47C4-A1A0-BA6CD9835859}"/>
              </a:ext>
            </a:extLst>
          </p:cNvPr>
          <p:cNvCxnSpPr>
            <a:cxnSpLocks/>
          </p:cNvCxnSpPr>
          <p:nvPr/>
        </p:nvCxnSpPr>
        <p:spPr>
          <a:xfrm>
            <a:off x="11249885" y="487"/>
            <a:ext cx="0" cy="6888317"/>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3" name="Straight Connector 52">
            <a:extLst>
              <a:ext uri="{FF2B5EF4-FFF2-40B4-BE49-F238E27FC236}">
                <a16:creationId xmlns:a16="http://schemas.microsoft.com/office/drawing/2014/main" id="{E1C882FF-B730-4E1C-8271-48AC1E357F5F}"/>
              </a:ext>
            </a:extLst>
          </p:cNvPr>
          <p:cNvCxnSpPr>
            <a:cxnSpLocks/>
          </p:cNvCxnSpPr>
          <p:nvPr/>
        </p:nvCxnSpPr>
        <p:spPr>
          <a:xfrm>
            <a:off x="4271374" y="487"/>
            <a:ext cx="0" cy="6888317"/>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31449953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p:cNvGrpSpPr/>
          <p:nvPr/>
        </p:nvGrpSpPr>
        <p:grpSpPr>
          <a:xfrm>
            <a:off x="300732" y="2001492"/>
            <a:ext cx="2042498" cy="2072346"/>
            <a:chOff x="505178" y="2384421"/>
            <a:chExt cx="2225297" cy="2225297"/>
          </a:xfrm>
          <a:solidFill>
            <a:schemeClr val="tx1"/>
          </a:solidFill>
        </p:grpSpPr>
        <p:sp>
          <p:nvSpPr>
            <p:cNvPr id="13" name="Teardrop 15"/>
            <p:cNvSpPr/>
            <p:nvPr/>
          </p:nvSpPr>
          <p:spPr>
            <a:xfrm rot="2700000">
              <a:off x="505178" y="2384421"/>
              <a:ext cx="2225297" cy="2225297"/>
            </a:xfrm>
            <a:prstGeom prst="ellipse">
              <a:avLst/>
            </a:prstGeom>
            <a:grpFill/>
            <a:ln w="10795" cap="flat" cmpd="sng" algn="ctr">
              <a:noFill/>
              <a:prstDash val="solid"/>
            </a:ln>
            <a:effectLst/>
          </p:spPr>
        </p:sp>
        <p:sp>
          <p:nvSpPr>
            <p:cNvPr id="14" name="Freeform 16"/>
            <p:cNvSpPr/>
            <p:nvPr/>
          </p:nvSpPr>
          <p:spPr>
            <a:xfrm>
              <a:off x="611986" y="2491228"/>
              <a:ext cx="2011680" cy="2011680"/>
            </a:xfrm>
            <a:prstGeom prst="ellipse">
              <a:avLst/>
            </a:prstGeom>
            <a:grpFill/>
            <a:ln w="101600" cap="flat" cmpd="sng" algn="ctr">
              <a:solidFill>
                <a:schemeClr val="bg2"/>
              </a:solidFill>
              <a:prstDash val="solid"/>
            </a:ln>
            <a:effectLst/>
          </p:spPr>
          <p:txBody>
            <a:bodyPr spcFirstLastPara="0" vert="horz" wrap="square" lIns="0" tIns="0" rIns="0" bIns="0" numCol="1" spcCol="1270" anchor="ctr" anchorCtr="0">
              <a:noAutofit/>
            </a:bodyPr>
            <a:lstStyle/>
            <a:p>
              <a:pPr algn="ctr" defTabSz="914367">
                <a:lnSpc>
                  <a:spcPct val="90000"/>
                </a:lnSpc>
                <a:defRPr/>
              </a:pPr>
              <a:r>
                <a:rPr lang="en-US" sz="1600" kern="0" dirty="0">
                  <a:solidFill>
                    <a:srgbClr val="505050"/>
                  </a:solidFill>
                  <a:latin typeface="Segoe UI" panose="020B0502040204020203" pitchFamily="34" charset="0"/>
                  <a:ea typeface="MS PGothic" panose="020B0600070205080204" pitchFamily="34" charset="-128"/>
                  <a:cs typeface="Segoe UI" panose="020B0502040204020203" pitchFamily="34" charset="0"/>
                </a:rPr>
                <a:t>Initial Meeting</a:t>
              </a:r>
            </a:p>
          </p:txBody>
        </p:sp>
      </p:grpSp>
      <p:grpSp>
        <p:nvGrpSpPr>
          <p:cNvPr id="23" name="Group 22"/>
          <p:cNvGrpSpPr/>
          <p:nvPr/>
        </p:nvGrpSpPr>
        <p:grpSpPr>
          <a:xfrm>
            <a:off x="2513268" y="1986252"/>
            <a:ext cx="2042498" cy="2072346"/>
            <a:chOff x="505175" y="2384419"/>
            <a:chExt cx="2225297" cy="2225297"/>
          </a:xfrm>
          <a:solidFill>
            <a:schemeClr val="tx1"/>
          </a:solidFill>
        </p:grpSpPr>
        <p:sp>
          <p:nvSpPr>
            <p:cNvPr id="24" name="Teardrop 15"/>
            <p:cNvSpPr/>
            <p:nvPr/>
          </p:nvSpPr>
          <p:spPr>
            <a:xfrm rot="2700000">
              <a:off x="505175" y="2384419"/>
              <a:ext cx="2225297" cy="2225297"/>
            </a:xfrm>
            <a:prstGeom prst="ellipse">
              <a:avLst/>
            </a:prstGeom>
            <a:grpFill/>
            <a:ln w="10795" cap="flat" cmpd="sng" algn="ctr">
              <a:noFill/>
              <a:prstDash val="solid"/>
            </a:ln>
            <a:effectLst/>
          </p:spPr>
        </p:sp>
        <p:sp>
          <p:nvSpPr>
            <p:cNvPr id="25" name="Freeform 16"/>
            <p:cNvSpPr/>
            <p:nvPr/>
          </p:nvSpPr>
          <p:spPr>
            <a:xfrm>
              <a:off x="611983" y="2491227"/>
              <a:ext cx="2011680" cy="2011680"/>
            </a:xfrm>
            <a:prstGeom prst="ellipse">
              <a:avLst/>
            </a:prstGeom>
            <a:grpFill/>
            <a:ln w="101600" cap="flat" cmpd="sng" algn="ctr">
              <a:solidFill>
                <a:schemeClr val="bg2"/>
              </a:solidFill>
              <a:prstDash val="solid"/>
            </a:ln>
            <a:effectLst/>
          </p:spPr>
          <p:txBody>
            <a:bodyPr spcFirstLastPara="0" vert="horz" wrap="square" lIns="0" tIns="0" rIns="0" bIns="0" numCol="1" spcCol="1270" anchor="ctr" anchorCtr="0">
              <a:noAutofit/>
            </a:bodyPr>
            <a:lstStyle/>
            <a:p>
              <a:pPr algn="ctr" defTabSz="914367">
                <a:lnSpc>
                  <a:spcPct val="90000"/>
                </a:lnSpc>
              </a:pPr>
              <a:r>
                <a:rPr lang="en-US" sz="1600" kern="0" dirty="0">
                  <a:solidFill>
                    <a:srgbClr val="505050"/>
                  </a:solidFill>
                  <a:latin typeface="Segoe UI" panose="020B0502040204020203" pitchFamily="34" charset="0"/>
                  <a:ea typeface="MS PGothic" panose="020B0600070205080204" pitchFamily="34" charset="-128"/>
                  <a:cs typeface="Segoe UI" panose="020B0502040204020203" pitchFamily="34" charset="0"/>
                </a:rPr>
                <a:t>Configuration &amp; Setup</a:t>
              </a:r>
            </a:p>
          </p:txBody>
        </p:sp>
      </p:grpSp>
      <p:grpSp>
        <p:nvGrpSpPr>
          <p:cNvPr id="26" name="Group 25"/>
          <p:cNvGrpSpPr/>
          <p:nvPr/>
        </p:nvGrpSpPr>
        <p:grpSpPr>
          <a:xfrm>
            <a:off x="4798943" y="2001489"/>
            <a:ext cx="2042498" cy="2072346"/>
            <a:chOff x="505175" y="2384419"/>
            <a:chExt cx="2225297" cy="2225297"/>
          </a:xfrm>
          <a:solidFill>
            <a:schemeClr val="tx1"/>
          </a:solidFill>
        </p:grpSpPr>
        <p:sp>
          <p:nvSpPr>
            <p:cNvPr id="36" name="Teardrop 15"/>
            <p:cNvSpPr/>
            <p:nvPr/>
          </p:nvSpPr>
          <p:spPr>
            <a:xfrm rot="2700000">
              <a:off x="505175" y="2384419"/>
              <a:ext cx="2225297" cy="2225297"/>
            </a:xfrm>
            <a:prstGeom prst="ellipse">
              <a:avLst/>
            </a:prstGeom>
            <a:grpFill/>
            <a:ln w="10795" cap="flat" cmpd="sng" algn="ctr">
              <a:noFill/>
              <a:prstDash val="solid"/>
            </a:ln>
            <a:effectLst/>
          </p:spPr>
        </p:sp>
        <p:sp>
          <p:nvSpPr>
            <p:cNvPr id="37" name="Freeform 16"/>
            <p:cNvSpPr/>
            <p:nvPr/>
          </p:nvSpPr>
          <p:spPr>
            <a:xfrm>
              <a:off x="611983" y="2491227"/>
              <a:ext cx="2011680" cy="2011680"/>
            </a:xfrm>
            <a:prstGeom prst="ellipse">
              <a:avLst/>
            </a:prstGeom>
            <a:grpFill/>
            <a:ln w="101600" cap="flat" cmpd="sng" algn="ctr">
              <a:solidFill>
                <a:schemeClr val="bg2"/>
              </a:solidFill>
              <a:prstDash val="solid"/>
            </a:ln>
            <a:effectLst/>
          </p:spPr>
          <p:txBody>
            <a:bodyPr spcFirstLastPara="0" vert="horz" wrap="square" lIns="0" tIns="0" rIns="0" bIns="0" numCol="1" spcCol="1270" anchor="ctr" anchorCtr="0">
              <a:noAutofit/>
            </a:bodyPr>
            <a:lstStyle/>
            <a:p>
              <a:pPr algn="ctr" defTabSz="914367">
                <a:lnSpc>
                  <a:spcPct val="90000"/>
                </a:lnSpc>
              </a:pPr>
              <a:r>
                <a:rPr lang="en-US" sz="1600" kern="0" dirty="0">
                  <a:solidFill>
                    <a:srgbClr val="505050"/>
                  </a:solidFill>
                  <a:latin typeface="Segoe UI" panose="020B0502040204020203" pitchFamily="34" charset="0"/>
                  <a:ea typeface="MS PGothic" panose="020B0600070205080204" pitchFamily="34" charset="-128"/>
                  <a:cs typeface="Segoe UI" panose="020B0502040204020203" pitchFamily="34" charset="0"/>
                </a:rPr>
                <a:t>Assessment</a:t>
              </a:r>
              <a:r>
                <a:rPr lang="en-US" sz="1765" kern="0" dirty="0">
                  <a:solidFill>
                    <a:srgbClr val="505050"/>
                  </a:solidFill>
                  <a:latin typeface="Segoe UI" panose="020B0502040204020203" pitchFamily="34" charset="0"/>
                  <a:ea typeface="MS PGothic" panose="020B0600070205080204" pitchFamily="34" charset="-128"/>
                  <a:cs typeface="Segoe UI" panose="020B0502040204020203" pitchFamily="34" charset="0"/>
                </a:rPr>
                <a:t> </a:t>
              </a:r>
            </a:p>
          </p:txBody>
        </p:sp>
      </p:grpSp>
      <p:grpSp>
        <p:nvGrpSpPr>
          <p:cNvPr id="38" name="Group 37"/>
          <p:cNvGrpSpPr/>
          <p:nvPr/>
        </p:nvGrpSpPr>
        <p:grpSpPr>
          <a:xfrm>
            <a:off x="7038905" y="1986251"/>
            <a:ext cx="2042498" cy="2072346"/>
            <a:chOff x="505175" y="2384419"/>
            <a:chExt cx="2225297" cy="2225297"/>
          </a:xfrm>
          <a:solidFill>
            <a:schemeClr val="tx1"/>
          </a:solidFill>
        </p:grpSpPr>
        <p:sp>
          <p:nvSpPr>
            <p:cNvPr id="39" name="Teardrop 15"/>
            <p:cNvSpPr/>
            <p:nvPr/>
          </p:nvSpPr>
          <p:spPr>
            <a:xfrm rot="2700000">
              <a:off x="505175" y="2384419"/>
              <a:ext cx="2225297" cy="2225297"/>
            </a:xfrm>
            <a:prstGeom prst="ellipse">
              <a:avLst/>
            </a:prstGeom>
            <a:grpFill/>
            <a:ln w="10795" cap="flat" cmpd="sng" algn="ctr">
              <a:noFill/>
              <a:prstDash val="solid"/>
            </a:ln>
            <a:effectLst/>
          </p:spPr>
        </p:sp>
        <p:sp>
          <p:nvSpPr>
            <p:cNvPr id="40" name="Freeform 16"/>
            <p:cNvSpPr/>
            <p:nvPr/>
          </p:nvSpPr>
          <p:spPr>
            <a:xfrm>
              <a:off x="611983" y="2491227"/>
              <a:ext cx="2011680" cy="2011680"/>
            </a:xfrm>
            <a:prstGeom prst="ellipse">
              <a:avLst/>
            </a:prstGeom>
            <a:grpFill/>
            <a:ln w="101600" cap="flat" cmpd="sng" algn="ctr">
              <a:solidFill>
                <a:schemeClr val="bg2"/>
              </a:solidFill>
              <a:prstDash val="solid"/>
            </a:ln>
            <a:effectLst/>
          </p:spPr>
          <p:txBody>
            <a:bodyPr spcFirstLastPara="0" vert="horz" wrap="square" lIns="0" tIns="0" rIns="0" bIns="0" numCol="1" spcCol="1270" anchor="ctr" anchorCtr="0">
              <a:noAutofit/>
            </a:bodyPr>
            <a:lstStyle/>
            <a:p>
              <a:pPr algn="ctr" defTabSz="914367">
                <a:lnSpc>
                  <a:spcPct val="90000"/>
                </a:lnSpc>
              </a:pPr>
              <a:r>
                <a:rPr lang="en-US" sz="1600" kern="0" dirty="0">
                  <a:solidFill>
                    <a:srgbClr val="505050"/>
                  </a:solidFill>
                  <a:latin typeface="Segoe UI" panose="020B0502040204020203" pitchFamily="34" charset="0"/>
                  <a:ea typeface="MS PGothic" panose="020B0600070205080204" pitchFamily="34" charset="-128"/>
                  <a:cs typeface="Segoe UI" panose="020B0502040204020203" pitchFamily="34" charset="0"/>
                </a:rPr>
                <a:t>Consultation</a:t>
              </a:r>
            </a:p>
          </p:txBody>
        </p:sp>
      </p:grpSp>
      <p:cxnSp>
        <p:nvCxnSpPr>
          <p:cNvPr id="52" name="Straight Connector 51"/>
          <p:cNvCxnSpPr/>
          <p:nvPr/>
        </p:nvCxnSpPr>
        <p:spPr>
          <a:xfrm>
            <a:off x="6962158" y="4155128"/>
            <a:ext cx="0" cy="1924570"/>
          </a:xfrm>
          <a:prstGeom prst="line">
            <a:avLst/>
          </a:prstGeom>
          <a:ln w="12700">
            <a:solidFill>
              <a:schemeClr val="bg1">
                <a:lumMod val="20000"/>
                <a:lumOff val="8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4689676" y="4152533"/>
            <a:ext cx="0" cy="1924570"/>
          </a:xfrm>
          <a:prstGeom prst="line">
            <a:avLst/>
          </a:prstGeom>
          <a:ln w="12700">
            <a:solidFill>
              <a:schemeClr val="bg1">
                <a:lumMod val="20000"/>
                <a:lumOff val="8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2430675" y="4156418"/>
            <a:ext cx="0" cy="1924570"/>
          </a:xfrm>
          <a:prstGeom prst="line">
            <a:avLst/>
          </a:prstGeom>
          <a:ln w="12700">
            <a:solidFill>
              <a:schemeClr val="bg1">
                <a:lumMod val="20000"/>
                <a:lumOff val="80000"/>
              </a:schemeClr>
            </a:solidFill>
            <a:prstDash val="solid"/>
          </a:ln>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D86062C7-93B4-4C22-A746-5CC73AF27B74}"/>
              </a:ext>
            </a:extLst>
          </p:cNvPr>
          <p:cNvSpPr>
            <a:spLocks noGrp="1"/>
          </p:cNvSpPr>
          <p:nvPr>
            <p:ph type="title"/>
          </p:nvPr>
        </p:nvSpPr>
        <p:spPr/>
        <p:txBody>
          <a:bodyPr/>
          <a:lstStyle/>
          <a:p>
            <a:r>
              <a:rPr lang="en-US" dirty="0"/>
              <a:t>Assessment Process</a:t>
            </a:r>
          </a:p>
        </p:txBody>
      </p:sp>
      <p:cxnSp>
        <p:nvCxnSpPr>
          <p:cNvPr id="44" name="Straight Connector 43"/>
          <p:cNvCxnSpPr/>
          <p:nvPr/>
        </p:nvCxnSpPr>
        <p:spPr>
          <a:xfrm>
            <a:off x="866855" y="4151046"/>
            <a:ext cx="10308885" cy="0"/>
          </a:xfrm>
          <a:prstGeom prst="line">
            <a:avLst/>
          </a:prstGeom>
          <a:ln>
            <a:solidFill>
              <a:schemeClr val="bg1">
                <a:lumMod val="20000"/>
                <a:lumOff val="80000"/>
              </a:schemeClr>
            </a:solidFill>
            <a:prstDash val="solid"/>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BAEBF1FA-692B-417F-99E0-54625C0D4066}"/>
              </a:ext>
            </a:extLst>
          </p:cNvPr>
          <p:cNvSpPr txBox="1"/>
          <p:nvPr/>
        </p:nvSpPr>
        <p:spPr>
          <a:xfrm>
            <a:off x="520615" y="4477242"/>
            <a:ext cx="1548730" cy="1643527"/>
          </a:xfrm>
          <a:prstGeom prst="rect">
            <a:avLst/>
          </a:prstGeom>
          <a:noFill/>
        </p:spPr>
        <p:txBody>
          <a:bodyPr wrap="square" rtlCol="0">
            <a:spAutoFit/>
          </a:bodyPr>
          <a:lstStyle/>
          <a:p>
            <a:pPr algn="ctr" defTabSz="976147">
              <a:lnSpc>
                <a:spcPct val="90000"/>
              </a:lnSpc>
              <a:spcAft>
                <a:spcPts val="600"/>
              </a:spcAft>
            </a:pPr>
            <a:r>
              <a:rPr lang="de-DE" sz="1600" dirty="0">
                <a:gradFill>
                  <a:gsLst>
                    <a:gs pos="0">
                      <a:srgbClr val="505050"/>
                    </a:gs>
                    <a:gs pos="100000">
                      <a:srgbClr val="505050"/>
                    </a:gs>
                  </a:gsLst>
                  <a:lin ang="5400000" scaled="0"/>
                </a:gradFill>
                <a:latin typeface="Segoe UI"/>
                <a:cs typeface="Segoe UI Semibold" panose="020B0702040204020203" pitchFamily="34" charset="0"/>
              </a:rPr>
              <a:t>Inital meeting to discuss the Datacenter Cloud Assessment</a:t>
            </a:r>
            <a:br>
              <a:rPr lang="de-DE" sz="1600" dirty="0">
                <a:gradFill>
                  <a:gsLst>
                    <a:gs pos="0">
                      <a:srgbClr val="505050"/>
                    </a:gs>
                    <a:gs pos="100000">
                      <a:srgbClr val="505050"/>
                    </a:gs>
                  </a:gsLst>
                  <a:lin ang="5400000" scaled="0"/>
                </a:gradFill>
                <a:latin typeface="Segoe UI"/>
                <a:cs typeface="Segoe UI Semibold" panose="020B0702040204020203" pitchFamily="34" charset="0"/>
              </a:rPr>
            </a:br>
            <a:br>
              <a:rPr lang="de-DE" sz="1600" dirty="0">
                <a:gradFill>
                  <a:gsLst>
                    <a:gs pos="0">
                      <a:srgbClr val="505050"/>
                    </a:gs>
                    <a:gs pos="100000">
                      <a:srgbClr val="505050"/>
                    </a:gs>
                  </a:gsLst>
                  <a:lin ang="5400000" scaled="0"/>
                </a:gradFill>
                <a:latin typeface="Segoe UI"/>
                <a:cs typeface="Segoe UI Semibold" panose="020B0702040204020203" pitchFamily="34" charset="0"/>
              </a:rPr>
            </a:br>
            <a:r>
              <a:rPr lang="de-DE" sz="1600" dirty="0">
                <a:gradFill>
                  <a:gsLst>
                    <a:gs pos="0">
                      <a:srgbClr val="505050"/>
                    </a:gs>
                    <a:gs pos="100000">
                      <a:srgbClr val="505050"/>
                    </a:gs>
                  </a:gsLst>
                  <a:lin ang="5400000" scaled="0"/>
                </a:gradFill>
                <a:latin typeface="Segoe UI"/>
                <a:cs typeface="Segoe UI Semibold" panose="020B0702040204020203" pitchFamily="34" charset="0"/>
              </a:rPr>
              <a:t> 15-30 minutes</a:t>
            </a:r>
          </a:p>
        </p:txBody>
      </p:sp>
      <p:sp>
        <p:nvSpPr>
          <p:cNvPr id="33" name="TextBox 32">
            <a:extLst>
              <a:ext uri="{FF2B5EF4-FFF2-40B4-BE49-F238E27FC236}">
                <a16:creationId xmlns:a16="http://schemas.microsoft.com/office/drawing/2014/main" id="{93789BAE-C690-4FB7-A0E7-3E990E68FF35}"/>
              </a:ext>
            </a:extLst>
          </p:cNvPr>
          <p:cNvSpPr txBox="1"/>
          <p:nvPr/>
        </p:nvSpPr>
        <p:spPr>
          <a:xfrm>
            <a:off x="2776932" y="4492480"/>
            <a:ext cx="1518581" cy="1865126"/>
          </a:xfrm>
          <a:prstGeom prst="rect">
            <a:avLst/>
          </a:prstGeom>
          <a:noFill/>
        </p:spPr>
        <p:txBody>
          <a:bodyPr wrap="square" rtlCol="0">
            <a:spAutoFit/>
          </a:bodyPr>
          <a:lstStyle/>
          <a:p>
            <a:pPr algn="ctr" defTabSz="976147">
              <a:lnSpc>
                <a:spcPct val="90000"/>
              </a:lnSpc>
              <a:spcAft>
                <a:spcPts val="600"/>
              </a:spcAft>
            </a:pPr>
            <a:r>
              <a:rPr lang="de-DE" sz="1600" dirty="0">
                <a:gradFill>
                  <a:gsLst>
                    <a:gs pos="0">
                      <a:srgbClr val="505050"/>
                    </a:gs>
                    <a:gs pos="100000">
                      <a:srgbClr val="505050"/>
                    </a:gs>
                  </a:gsLst>
                  <a:lin ang="5400000" scaled="0"/>
                </a:gradFill>
                <a:latin typeface="Segoe UI"/>
                <a:cs typeface="Segoe UI Semibold" panose="020B0702040204020203" pitchFamily="34" charset="0"/>
              </a:rPr>
              <a:t>Configuration of required tools to connect to your environment</a:t>
            </a:r>
            <a:br>
              <a:rPr lang="de-DE" sz="1600" dirty="0">
                <a:gradFill>
                  <a:gsLst>
                    <a:gs pos="0">
                      <a:srgbClr val="505050"/>
                    </a:gs>
                    <a:gs pos="100000">
                      <a:srgbClr val="505050"/>
                    </a:gs>
                  </a:gsLst>
                  <a:lin ang="5400000" scaled="0"/>
                </a:gradFill>
                <a:latin typeface="Segoe UI"/>
                <a:cs typeface="Segoe UI Semibold" panose="020B0702040204020203" pitchFamily="34" charset="0"/>
              </a:rPr>
            </a:br>
            <a:br>
              <a:rPr lang="de-DE" sz="1600" dirty="0">
                <a:gradFill>
                  <a:gsLst>
                    <a:gs pos="0">
                      <a:srgbClr val="505050"/>
                    </a:gs>
                    <a:gs pos="100000">
                      <a:srgbClr val="505050"/>
                    </a:gs>
                  </a:gsLst>
                  <a:lin ang="5400000" scaled="0"/>
                </a:gradFill>
                <a:latin typeface="Segoe UI"/>
                <a:cs typeface="Segoe UI Semibold" panose="020B0702040204020203" pitchFamily="34" charset="0"/>
              </a:rPr>
            </a:br>
            <a:r>
              <a:rPr lang="de-DE" sz="1600" dirty="0">
                <a:gradFill>
                  <a:gsLst>
                    <a:gs pos="0">
                      <a:srgbClr val="505050"/>
                    </a:gs>
                    <a:gs pos="100000">
                      <a:srgbClr val="505050"/>
                    </a:gs>
                  </a:gsLst>
                  <a:lin ang="5400000" scaled="0"/>
                </a:gradFill>
                <a:latin typeface="Segoe UI"/>
                <a:cs typeface="Segoe UI Semibold" panose="020B0702040204020203" pitchFamily="34" charset="0"/>
              </a:rPr>
              <a:t> 2-5 days </a:t>
            </a:r>
          </a:p>
        </p:txBody>
      </p:sp>
      <p:sp>
        <p:nvSpPr>
          <p:cNvPr id="34" name="TextBox 33">
            <a:extLst>
              <a:ext uri="{FF2B5EF4-FFF2-40B4-BE49-F238E27FC236}">
                <a16:creationId xmlns:a16="http://schemas.microsoft.com/office/drawing/2014/main" id="{81055B0F-9264-401F-B100-7A3C2979C96B}"/>
              </a:ext>
            </a:extLst>
          </p:cNvPr>
          <p:cNvSpPr txBox="1"/>
          <p:nvPr/>
        </p:nvSpPr>
        <p:spPr>
          <a:xfrm>
            <a:off x="4749622" y="4477242"/>
            <a:ext cx="2120015" cy="2428357"/>
          </a:xfrm>
          <a:prstGeom prst="rect">
            <a:avLst/>
          </a:prstGeom>
          <a:noFill/>
        </p:spPr>
        <p:txBody>
          <a:bodyPr wrap="square" rtlCol="0">
            <a:spAutoFit/>
          </a:bodyPr>
          <a:lstStyle/>
          <a:p>
            <a:pPr algn="ctr" defTabSz="976147">
              <a:lnSpc>
                <a:spcPct val="90000"/>
              </a:lnSpc>
              <a:spcAft>
                <a:spcPts val="600"/>
              </a:spcAft>
            </a:pPr>
            <a:r>
              <a:rPr lang="de-DE" sz="1600" dirty="0">
                <a:gradFill>
                  <a:gsLst>
                    <a:gs pos="0">
                      <a:srgbClr val="505050"/>
                    </a:gs>
                    <a:gs pos="100000">
                      <a:srgbClr val="505050"/>
                    </a:gs>
                  </a:gsLst>
                  <a:lin ang="5400000" scaled="0"/>
                </a:gradFill>
                <a:latin typeface="Segoe UI"/>
                <a:cs typeface="Segoe UI Semibold" panose="020B0702040204020203" pitchFamily="34" charset="0"/>
              </a:rPr>
              <a:t>Assessment report and concusion </a:t>
            </a:r>
            <a:br>
              <a:rPr lang="de-DE" sz="1600" dirty="0">
                <a:gradFill>
                  <a:gsLst>
                    <a:gs pos="0">
                      <a:srgbClr val="505050"/>
                    </a:gs>
                    <a:gs pos="100000">
                      <a:srgbClr val="505050"/>
                    </a:gs>
                  </a:gsLst>
                  <a:lin ang="5400000" scaled="0"/>
                </a:gradFill>
                <a:latin typeface="Segoe UI"/>
                <a:cs typeface="Segoe UI Semibold" panose="020B0702040204020203" pitchFamily="34" charset="0"/>
              </a:rPr>
            </a:br>
            <a:br>
              <a:rPr lang="de-DE" sz="1600" dirty="0">
                <a:gradFill>
                  <a:gsLst>
                    <a:gs pos="0">
                      <a:srgbClr val="505050"/>
                    </a:gs>
                    <a:gs pos="100000">
                      <a:srgbClr val="505050"/>
                    </a:gs>
                  </a:gsLst>
                  <a:lin ang="5400000" scaled="0"/>
                </a:gradFill>
                <a:latin typeface="Segoe UI"/>
                <a:cs typeface="Segoe UI Semibold" panose="020B0702040204020203" pitchFamily="34" charset="0"/>
              </a:rPr>
            </a:br>
            <a:r>
              <a:rPr lang="de-DE" sz="1600" dirty="0">
                <a:gradFill>
                  <a:gsLst>
                    <a:gs pos="0">
                      <a:srgbClr val="505050"/>
                    </a:gs>
                    <a:gs pos="100000">
                      <a:srgbClr val="505050"/>
                    </a:gs>
                  </a:gsLst>
                  <a:lin ang="5400000" scaled="0"/>
                </a:gradFill>
                <a:latin typeface="Segoe UI"/>
                <a:cs typeface="Segoe UI Semibold" panose="020B0702040204020203" pitchFamily="34" charset="0"/>
              </a:rPr>
              <a:t>3-4 days Preliminary </a:t>
            </a:r>
            <a:r>
              <a:rPr lang="de-DE" sz="1200" dirty="0">
                <a:gradFill>
                  <a:gsLst>
                    <a:gs pos="0">
                      <a:srgbClr val="505050"/>
                    </a:gs>
                    <a:gs pos="100000">
                      <a:srgbClr val="505050"/>
                    </a:gs>
                  </a:gsLst>
                  <a:lin ang="5400000" scaled="0"/>
                </a:gradFill>
                <a:latin typeface="Segoe UI"/>
                <a:cs typeface="Segoe UI Semibold" panose="020B0702040204020203" pitchFamily="34" charset="0"/>
              </a:rPr>
              <a:t>(as is no usage based optimization)</a:t>
            </a:r>
          </a:p>
          <a:p>
            <a:pPr algn="ctr" defTabSz="976147">
              <a:lnSpc>
                <a:spcPct val="90000"/>
              </a:lnSpc>
              <a:spcAft>
                <a:spcPts val="600"/>
              </a:spcAft>
            </a:pPr>
            <a:br>
              <a:rPr lang="de-DE" sz="1600" dirty="0">
                <a:gradFill>
                  <a:gsLst>
                    <a:gs pos="0">
                      <a:srgbClr val="505050"/>
                    </a:gs>
                    <a:gs pos="100000">
                      <a:srgbClr val="505050"/>
                    </a:gs>
                  </a:gsLst>
                  <a:lin ang="5400000" scaled="0"/>
                </a:gradFill>
                <a:latin typeface="Segoe UI"/>
                <a:cs typeface="Segoe UI Semibold" panose="020B0702040204020203" pitchFamily="34" charset="0"/>
              </a:rPr>
            </a:br>
            <a:r>
              <a:rPr lang="de-DE" sz="1600" dirty="0">
                <a:gradFill>
                  <a:gsLst>
                    <a:gs pos="0">
                      <a:srgbClr val="505050"/>
                    </a:gs>
                    <a:gs pos="100000">
                      <a:srgbClr val="505050"/>
                    </a:gs>
                  </a:gsLst>
                  <a:lin ang="5400000" scaled="0"/>
                </a:gradFill>
                <a:latin typeface="Segoe UI"/>
                <a:cs typeface="Segoe UI Semibold" panose="020B0702040204020203" pitchFamily="34" charset="0"/>
              </a:rPr>
              <a:t>14-30 days Final</a:t>
            </a:r>
          </a:p>
          <a:p>
            <a:pPr algn="ctr" defTabSz="976147">
              <a:lnSpc>
                <a:spcPct val="90000"/>
              </a:lnSpc>
              <a:spcAft>
                <a:spcPts val="600"/>
              </a:spcAft>
            </a:pPr>
            <a:endParaRPr lang="de-DE" sz="1600" dirty="0">
              <a:gradFill>
                <a:gsLst>
                  <a:gs pos="0">
                    <a:srgbClr val="505050"/>
                  </a:gs>
                  <a:gs pos="100000">
                    <a:srgbClr val="505050"/>
                  </a:gs>
                </a:gsLst>
                <a:lin ang="5400000" scaled="0"/>
              </a:gradFill>
              <a:latin typeface="Segoe UI"/>
              <a:cs typeface="Segoe UI Semibold" panose="020B0702040204020203" pitchFamily="34" charset="0"/>
            </a:endParaRPr>
          </a:p>
          <a:p>
            <a:pPr algn="ctr" defTabSz="976147">
              <a:lnSpc>
                <a:spcPct val="90000"/>
              </a:lnSpc>
              <a:spcAft>
                <a:spcPts val="600"/>
              </a:spcAft>
            </a:pPr>
            <a:r>
              <a:rPr lang="de-DE" sz="1600" dirty="0">
                <a:gradFill>
                  <a:gsLst>
                    <a:gs pos="0">
                      <a:srgbClr val="505050"/>
                    </a:gs>
                    <a:gs pos="100000">
                      <a:srgbClr val="505050"/>
                    </a:gs>
                  </a:gsLst>
                  <a:lin ang="5400000" scaled="0"/>
                </a:gradFill>
                <a:latin typeface="Segoe UI"/>
                <a:cs typeface="Segoe UI Semibold" panose="020B0702040204020203" pitchFamily="34" charset="0"/>
              </a:rPr>
              <a:t>Post deployment </a:t>
            </a:r>
          </a:p>
        </p:txBody>
      </p:sp>
      <p:sp>
        <p:nvSpPr>
          <p:cNvPr id="35" name="TextBox 34">
            <a:extLst>
              <a:ext uri="{FF2B5EF4-FFF2-40B4-BE49-F238E27FC236}">
                <a16:creationId xmlns:a16="http://schemas.microsoft.com/office/drawing/2014/main" id="{7F255735-FF2F-42AF-8D4C-4739963710E1}"/>
              </a:ext>
            </a:extLst>
          </p:cNvPr>
          <p:cNvSpPr txBox="1"/>
          <p:nvPr/>
        </p:nvSpPr>
        <p:spPr>
          <a:xfrm>
            <a:off x="7264191" y="4462004"/>
            <a:ext cx="1518581" cy="2529923"/>
          </a:xfrm>
          <a:prstGeom prst="rect">
            <a:avLst/>
          </a:prstGeom>
          <a:noFill/>
        </p:spPr>
        <p:txBody>
          <a:bodyPr wrap="square" rtlCol="0">
            <a:spAutoFit/>
          </a:bodyPr>
          <a:lstStyle/>
          <a:p>
            <a:pPr algn="ctr" defTabSz="976147">
              <a:lnSpc>
                <a:spcPct val="90000"/>
              </a:lnSpc>
              <a:spcAft>
                <a:spcPts val="600"/>
              </a:spcAft>
            </a:pPr>
            <a:r>
              <a:rPr lang="de-DE" sz="1600" dirty="0">
                <a:gradFill>
                  <a:gsLst>
                    <a:gs pos="0">
                      <a:srgbClr val="505050"/>
                    </a:gs>
                    <a:gs pos="100000">
                      <a:srgbClr val="505050"/>
                    </a:gs>
                  </a:gsLst>
                  <a:lin ang="5400000" scaled="0"/>
                </a:gradFill>
                <a:latin typeface="Segoe UI"/>
                <a:cs typeface="Segoe UI Semibold" panose="020B0702040204020203" pitchFamily="34" charset="0"/>
              </a:rPr>
              <a:t>Consultation meeting to discuss the report and conclusion of your cloud assessment</a:t>
            </a:r>
            <a:br>
              <a:rPr lang="de-DE" sz="1600" dirty="0">
                <a:gradFill>
                  <a:gsLst>
                    <a:gs pos="0">
                      <a:srgbClr val="505050"/>
                    </a:gs>
                    <a:gs pos="100000">
                      <a:srgbClr val="505050"/>
                    </a:gs>
                  </a:gsLst>
                  <a:lin ang="5400000" scaled="0"/>
                </a:gradFill>
                <a:latin typeface="Segoe UI"/>
                <a:cs typeface="Segoe UI Semibold" panose="020B0702040204020203" pitchFamily="34" charset="0"/>
              </a:rPr>
            </a:br>
            <a:br>
              <a:rPr lang="de-DE" sz="1600" dirty="0">
                <a:gradFill>
                  <a:gsLst>
                    <a:gs pos="0">
                      <a:srgbClr val="505050"/>
                    </a:gs>
                    <a:gs pos="100000">
                      <a:srgbClr val="505050"/>
                    </a:gs>
                  </a:gsLst>
                  <a:lin ang="5400000" scaled="0"/>
                </a:gradFill>
                <a:latin typeface="Segoe UI"/>
                <a:cs typeface="Segoe UI Semibold" panose="020B0702040204020203" pitchFamily="34" charset="0"/>
              </a:rPr>
            </a:br>
            <a:r>
              <a:rPr lang="de-DE" sz="1600" dirty="0">
                <a:gradFill>
                  <a:gsLst>
                    <a:gs pos="0">
                      <a:srgbClr val="505050"/>
                    </a:gs>
                    <a:gs pos="100000">
                      <a:srgbClr val="505050"/>
                    </a:gs>
                  </a:gsLst>
                  <a:lin ang="5400000" scaled="0"/>
                </a:gradFill>
                <a:latin typeface="Segoe UI"/>
                <a:cs typeface="Segoe UI Semibold" panose="020B0702040204020203" pitchFamily="34" charset="0"/>
              </a:rPr>
              <a:t>30-60 minutes</a:t>
            </a:r>
            <a:br>
              <a:rPr lang="de-DE" sz="1600" dirty="0">
                <a:gradFill>
                  <a:gsLst>
                    <a:gs pos="0">
                      <a:srgbClr val="505050"/>
                    </a:gs>
                    <a:gs pos="100000">
                      <a:srgbClr val="505050"/>
                    </a:gs>
                  </a:gsLst>
                  <a:lin ang="5400000" scaled="0"/>
                </a:gradFill>
                <a:latin typeface="Segoe UI"/>
                <a:cs typeface="Segoe UI Semibold" panose="020B0702040204020203" pitchFamily="34" charset="0"/>
              </a:rPr>
            </a:br>
            <a:br>
              <a:rPr lang="de-DE" sz="1600" dirty="0">
                <a:gradFill>
                  <a:gsLst>
                    <a:gs pos="0">
                      <a:srgbClr val="505050"/>
                    </a:gs>
                    <a:gs pos="100000">
                      <a:srgbClr val="505050"/>
                    </a:gs>
                  </a:gsLst>
                  <a:lin ang="5400000" scaled="0"/>
                </a:gradFill>
                <a:latin typeface="Segoe UI"/>
                <a:cs typeface="Segoe UI Semibold" panose="020B0702040204020203" pitchFamily="34" charset="0"/>
              </a:rPr>
            </a:br>
            <a:r>
              <a:rPr lang="de-DE" sz="1600" dirty="0">
                <a:gradFill>
                  <a:gsLst>
                    <a:gs pos="0">
                      <a:srgbClr val="505050"/>
                    </a:gs>
                    <a:gs pos="100000">
                      <a:srgbClr val="505050"/>
                    </a:gs>
                  </a:gsLst>
                  <a:lin ang="5400000" scaled="0"/>
                </a:gradFill>
                <a:latin typeface="Segoe UI"/>
                <a:cs typeface="Segoe UI Semibold" panose="020B0702040204020203" pitchFamily="34" charset="0"/>
              </a:rPr>
              <a:t> </a:t>
            </a:r>
          </a:p>
        </p:txBody>
      </p:sp>
      <p:grpSp>
        <p:nvGrpSpPr>
          <p:cNvPr id="10" name="Group 9">
            <a:extLst>
              <a:ext uri="{FF2B5EF4-FFF2-40B4-BE49-F238E27FC236}">
                <a16:creationId xmlns:a16="http://schemas.microsoft.com/office/drawing/2014/main" id="{4D8E64A9-9938-43AB-B2E7-D2598CB27650}"/>
              </a:ext>
            </a:extLst>
          </p:cNvPr>
          <p:cNvGrpSpPr/>
          <p:nvPr/>
        </p:nvGrpSpPr>
        <p:grpSpPr>
          <a:xfrm>
            <a:off x="8436884" y="1006255"/>
            <a:ext cx="3494173" cy="5572950"/>
            <a:chOff x="8436884" y="1006255"/>
            <a:chExt cx="3494173" cy="5572950"/>
          </a:xfrm>
        </p:grpSpPr>
        <p:grpSp>
          <p:nvGrpSpPr>
            <p:cNvPr id="41" name="Group 40"/>
            <p:cNvGrpSpPr/>
            <p:nvPr/>
          </p:nvGrpSpPr>
          <p:grpSpPr>
            <a:xfrm>
              <a:off x="9888559" y="2001489"/>
              <a:ext cx="2042498" cy="2072346"/>
              <a:chOff x="505175" y="2384419"/>
              <a:chExt cx="2225297" cy="2225297"/>
            </a:xfrm>
            <a:solidFill>
              <a:schemeClr val="tx1"/>
            </a:solidFill>
          </p:grpSpPr>
          <p:sp>
            <p:nvSpPr>
              <p:cNvPr id="42" name="Teardrop 15"/>
              <p:cNvSpPr/>
              <p:nvPr/>
            </p:nvSpPr>
            <p:spPr>
              <a:xfrm rot="2700000">
                <a:off x="505175" y="2384419"/>
                <a:ext cx="2225297" cy="2225297"/>
              </a:xfrm>
              <a:prstGeom prst="ellipse">
                <a:avLst/>
              </a:prstGeom>
              <a:grpFill/>
              <a:ln w="10795" cap="flat" cmpd="sng" algn="ctr">
                <a:noFill/>
                <a:prstDash val="solid"/>
              </a:ln>
              <a:effectLst/>
            </p:spPr>
          </p:sp>
          <p:sp>
            <p:nvSpPr>
              <p:cNvPr id="43" name="Freeform 16"/>
              <p:cNvSpPr/>
              <p:nvPr/>
            </p:nvSpPr>
            <p:spPr>
              <a:xfrm>
                <a:off x="611983" y="2491227"/>
                <a:ext cx="2011680" cy="2011680"/>
              </a:xfrm>
              <a:prstGeom prst="ellipse">
                <a:avLst/>
              </a:prstGeom>
              <a:grpFill/>
              <a:ln w="101600" cap="flat" cmpd="sng" algn="ctr">
                <a:solidFill>
                  <a:srgbClr val="92D050"/>
                </a:solidFill>
                <a:prstDash val="solid"/>
              </a:ln>
              <a:effectLst/>
            </p:spPr>
            <p:txBody>
              <a:bodyPr spcFirstLastPara="0" vert="horz" wrap="square" lIns="0" tIns="0" rIns="0" bIns="0" numCol="1" spcCol="1270" anchor="ctr" anchorCtr="0">
                <a:noAutofit/>
              </a:bodyPr>
              <a:lstStyle/>
              <a:p>
                <a:pPr algn="ctr" defTabSz="914367">
                  <a:lnSpc>
                    <a:spcPct val="90000"/>
                  </a:lnSpc>
                </a:pPr>
                <a:r>
                  <a:rPr lang="en-US" sz="1600" kern="0" dirty="0">
                    <a:solidFill>
                      <a:srgbClr val="505050"/>
                    </a:solidFill>
                    <a:latin typeface="Segoe UI" panose="020B0502040204020203" pitchFamily="34" charset="0"/>
                    <a:ea typeface="MS PGothic" panose="020B0600070205080204" pitchFamily="34" charset="-128"/>
                    <a:cs typeface="Segoe UI" panose="020B0502040204020203" pitchFamily="34" charset="0"/>
                  </a:rPr>
                  <a:t>Roadmap to Migration</a:t>
                </a:r>
              </a:p>
            </p:txBody>
          </p:sp>
        </p:grpSp>
        <p:sp>
          <p:nvSpPr>
            <p:cNvPr id="51" name="TextBox 50">
              <a:extLst>
                <a:ext uri="{FF2B5EF4-FFF2-40B4-BE49-F238E27FC236}">
                  <a16:creationId xmlns:a16="http://schemas.microsoft.com/office/drawing/2014/main" id="{5F25793F-716E-40E0-A8DE-5887E666B6FF}"/>
                </a:ext>
              </a:extLst>
            </p:cNvPr>
            <p:cNvSpPr txBox="1"/>
            <p:nvPr/>
          </p:nvSpPr>
          <p:spPr>
            <a:xfrm>
              <a:off x="10187964" y="4492480"/>
              <a:ext cx="1518581" cy="2086725"/>
            </a:xfrm>
            <a:prstGeom prst="rect">
              <a:avLst/>
            </a:prstGeom>
            <a:noFill/>
          </p:spPr>
          <p:txBody>
            <a:bodyPr wrap="square" rtlCol="0">
              <a:spAutoFit/>
            </a:bodyPr>
            <a:lstStyle/>
            <a:p>
              <a:pPr algn="ctr" defTabSz="976147">
                <a:lnSpc>
                  <a:spcPct val="90000"/>
                </a:lnSpc>
                <a:spcAft>
                  <a:spcPts val="600"/>
                </a:spcAft>
              </a:pPr>
              <a:r>
                <a:rPr lang="de-DE" sz="1600" dirty="0">
                  <a:gradFill>
                    <a:gsLst>
                      <a:gs pos="0">
                        <a:srgbClr val="505050"/>
                      </a:gs>
                      <a:gs pos="100000">
                        <a:srgbClr val="505050"/>
                      </a:gs>
                    </a:gsLst>
                    <a:lin ang="5400000" scaled="0"/>
                  </a:gradFill>
                  <a:latin typeface="Segoe UI"/>
                  <a:cs typeface="Segoe UI Semibold" panose="020B0702040204020203" pitchFamily="34" charset="0"/>
                </a:rPr>
                <a:t>Meeting to outline plans for your migration to the cloud</a:t>
              </a:r>
              <a:br>
                <a:rPr lang="de-DE" sz="1600" dirty="0">
                  <a:gradFill>
                    <a:gsLst>
                      <a:gs pos="0">
                        <a:srgbClr val="505050"/>
                      </a:gs>
                      <a:gs pos="100000">
                        <a:srgbClr val="505050"/>
                      </a:gs>
                    </a:gsLst>
                    <a:lin ang="5400000" scaled="0"/>
                  </a:gradFill>
                  <a:latin typeface="Segoe UI"/>
                  <a:cs typeface="Segoe UI Semibold" panose="020B0702040204020203" pitchFamily="34" charset="0"/>
                </a:rPr>
              </a:br>
              <a:br>
                <a:rPr lang="de-DE" sz="1600" dirty="0">
                  <a:gradFill>
                    <a:gsLst>
                      <a:gs pos="0">
                        <a:srgbClr val="505050"/>
                      </a:gs>
                      <a:gs pos="100000">
                        <a:srgbClr val="505050"/>
                      </a:gs>
                    </a:gsLst>
                    <a:lin ang="5400000" scaled="0"/>
                  </a:gradFill>
                  <a:latin typeface="Segoe UI"/>
                  <a:cs typeface="Segoe UI Semibold" panose="020B0702040204020203" pitchFamily="34" charset="0"/>
                </a:rPr>
              </a:br>
              <a:r>
                <a:rPr lang="de-DE" sz="1600" dirty="0">
                  <a:gradFill>
                    <a:gsLst>
                      <a:gs pos="0">
                        <a:srgbClr val="505050"/>
                      </a:gs>
                      <a:gs pos="100000">
                        <a:srgbClr val="505050"/>
                      </a:gs>
                    </a:gsLst>
                    <a:lin ang="5400000" scaled="0"/>
                  </a:gradFill>
                  <a:latin typeface="Segoe UI"/>
                  <a:cs typeface="Segoe UI Semibold" panose="020B0702040204020203" pitchFamily="34" charset="0"/>
                </a:rPr>
                <a:t>30-60 minutes</a:t>
              </a:r>
              <a:br>
                <a:rPr lang="de-DE" sz="1600" dirty="0">
                  <a:gradFill>
                    <a:gsLst>
                      <a:gs pos="0">
                        <a:srgbClr val="505050"/>
                      </a:gs>
                      <a:gs pos="100000">
                        <a:srgbClr val="505050"/>
                      </a:gs>
                    </a:gsLst>
                    <a:lin ang="5400000" scaled="0"/>
                  </a:gradFill>
                  <a:latin typeface="Segoe UI"/>
                  <a:cs typeface="Segoe UI Semibold" panose="020B0702040204020203" pitchFamily="34" charset="0"/>
                </a:rPr>
              </a:br>
              <a:br>
                <a:rPr lang="de-DE" sz="1600" dirty="0">
                  <a:gradFill>
                    <a:gsLst>
                      <a:gs pos="0">
                        <a:srgbClr val="505050"/>
                      </a:gs>
                      <a:gs pos="100000">
                        <a:srgbClr val="505050"/>
                      </a:gs>
                    </a:gsLst>
                    <a:lin ang="5400000" scaled="0"/>
                  </a:gradFill>
                  <a:latin typeface="Segoe UI"/>
                  <a:cs typeface="Segoe UI Semibold" panose="020B0702040204020203" pitchFamily="34" charset="0"/>
                </a:rPr>
              </a:br>
              <a:r>
                <a:rPr lang="de-DE" sz="1600" dirty="0">
                  <a:gradFill>
                    <a:gsLst>
                      <a:gs pos="0">
                        <a:srgbClr val="505050"/>
                      </a:gs>
                      <a:gs pos="100000">
                        <a:srgbClr val="505050"/>
                      </a:gs>
                    </a:gsLst>
                    <a:lin ang="5400000" scaled="0"/>
                  </a:gradFill>
                  <a:latin typeface="Segoe UI"/>
                  <a:cs typeface="Segoe UI Semibold" panose="020B0702040204020203" pitchFamily="34" charset="0"/>
                </a:rPr>
                <a:t> </a:t>
              </a:r>
            </a:p>
          </p:txBody>
        </p:sp>
        <p:grpSp>
          <p:nvGrpSpPr>
            <p:cNvPr id="7" name="Group 6">
              <a:extLst>
                <a:ext uri="{FF2B5EF4-FFF2-40B4-BE49-F238E27FC236}">
                  <a16:creationId xmlns:a16="http://schemas.microsoft.com/office/drawing/2014/main" id="{90A43CFA-EA55-41A9-96D1-1276E16A77E5}"/>
                </a:ext>
              </a:extLst>
            </p:cNvPr>
            <p:cNvGrpSpPr/>
            <p:nvPr/>
          </p:nvGrpSpPr>
          <p:grpSpPr>
            <a:xfrm>
              <a:off x="8436884" y="1006255"/>
              <a:ext cx="2427111" cy="1039659"/>
              <a:chOff x="8436884" y="1006255"/>
              <a:chExt cx="2427111" cy="1039659"/>
            </a:xfrm>
          </p:grpSpPr>
          <p:sp>
            <p:nvSpPr>
              <p:cNvPr id="6" name="Arrow: Curved Down 5">
                <a:extLst>
                  <a:ext uri="{FF2B5EF4-FFF2-40B4-BE49-F238E27FC236}">
                    <a16:creationId xmlns:a16="http://schemas.microsoft.com/office/drawing/2014/main" id="{8F670011-6237-4E8C-AD68-78EACC95794F}"/>
                  </a:ext>
                </a:extLst>
              </p:cNvPr>
              <p:cNvSpPr/>
              <p:nvPr/>
            </p:nvSpPr>
            <p:spPr bwMode="auto">
              <a:xfrm>
                <a:off x="8436884" y="1006255"/>
                <a:ext cx="2427111" cy="977382"/>
              </a:xfrm>
              <a:prstGeom prst="curved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TextBox 54">
                <a:extLst>
                  <a:ext uri="{FF2B5EF4-FFF2-40B4-BE49-F238E27FC236}">
                    <a16:creationId xmlns:a16="http://schemas.microsoft.com/office/drawing/2014/main" id="{3C7A1685-B506-4AC4-8979-20B818183C3F}"/>
                  </a:ext>
                </a:extLst>
              </p:cNvPr>
              <p:cNvSpPr txBox="1"/>
              <p:nvPr/>
            </p:nvSpPr>
            <p:spPr>
              <a:xfrm>
                <a:off x="8812683" y="1510383"/>
                <a:ext cx="1518581" cy="535531"/>
              </a:xfrm>
              <a:prstGeom prst="rect">
                <a:avLst/>
              </a:prstGeom>
              <a:noFill/>
            </p:spPr>
            <p:txBody>
              <a:bodyPr wrap="square" rtlCol="0">
                <a:spAutoFit/>
              </a:bodyPr>
              <a:lstStyle/>
              <a:p>
                <a:pPr algn="ctr" defTabSz="976147">
                  <a:lnSpc>
                    <a:spcPct val="90000"/>
                  </a:lnSpc>
                  <a:spcAft>
                    <a:spcPts val="600"/>
                  </a:spcAft>
                </a:pPr>
                <a:r>
                  <a:rPr lang="de-DE" sz="1600" dirty="0">
                    <a:gradFill>
                      <a:gsLst>
                        <a:gs pos="0">
                          <a:srgbClr val="505050"/>
                        </a:gs>
                        <a:gs pos="100000">
                          <a:srgbClr val="505050"/>
                        </a:gs>
                      </a:gsLst>
                      <a:lin ang="5400000" scaled="0"/>
                    </a:gradFill>
                    <a:latin typeface="Segoe UI"/>
                    <a:cs typeface="Segoe UI Semibold" panose="020B0702040204020203" pitchFamily="34" charset="0"/>
                  </a:rPr>
                  <a:t>Agreement to proceed</a:t>
                </a:r>
              </a:p>
            </p:txBody>
          </p:sp>
        </p:grpSp>
      </p:grpSp>
    </p:spTree>
    <p:extLst>
      <p:ext uri="{BB962C8B-B14F-4D97-AF65-F5344CB8AC3E}">
        <p14:creationId xmlns:p14="http://schemas.microsoft.com/office/powerpoint/2010/main" val="12881336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400"/>
                                  </p:stCondLst>
                                  <p:childTnLst>
                                    <p:set>
                                      <p:cBhvr>
                                        <p:cTn id="6" dur="1" fill="hold">
                                          <p:stCondLst>
                                            <p:cond delay="0"/>
                                          </p:stCondLst>
                                        </p:cTn>
                                        <p:tgtEl>
                                          <p:spTgt spid="12"/>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400" fill="hold"/>
                                        <p:tgtEl>
                                          <p:spTgt spid="12"/>
                                        </p:tgtEl>
                                      </p:cBhvr>
                                      <p:by x="1000" y="1000"/>
                                    </p:animScale>
                                  </p:childTnLst>
                                </p:cTn>
                              </p:par>
                              <p:par>
                                <p:cTn id="9" presetID="1" presetClass="entr" presetSubtype="0" fill="hold" nodeType="withEffect">
                                  <p:stCondLst>
                                    <p:cond delay="500"/>
                                  </p:stCondLst>
                                  <p:childTnLst>
                                    <p:set>
                                      <p:cBhvr>
                                        <p:cTn id="10" dur="1" fill="hold">
                                          <p:stCondLst>
                                            <p:cond delay="0"/>
                                          </p:stCondLst>
                                        </p:cTn>
                                        <p:tgtEl>
                                          <p:spTgt spid="23"/>
                                        </p:tgtEl>
                                        <p:attrNameLst>
                                          <p:attrName>style.visibility</p:attrName>
                                        </p:attrNameLst>
                                      </p:cBhvr>
                                      <p:to>
                                        <p:strVal val="visible"/>
                                      </p:to>
                                    </p:set>
                                  </p:childTnLst>
                                </p:cTn>
                              </p:par>
                              <p:par>
                                <p:cTn id="11" presetID="6" presetClass="emph" presetSubtype="0" accel="100000" autoRev="1" fill="hold" nodeType="withEffect">
                                  <p:stCondLst>
                                    <p:cond delay="100"/>
                                  </p:stCondLst>
                                  <p:childTnLst>
                                    <p:animScale>
                                      <p:cBhvr>
                                        <p:cTn id="12" dur="400" fill="hold"/>
                                        <p:tgtEl>
                                          <p:spTgt spid="23"/>
                                        </p:tgtEl>
                                      </p:cBhvr>
                                      <p:by x="1000" y="1000"/>
                                    </p:animScale>
                                  </p:childTnLst>
                                </p:cTn>
                              </p:par>
                              <p:par>
                                <p:cTn id="13" presetID="1" presetClass="entr" presetSubtype="0" fill="hold" nodeType="withEffect">
                                  <p:stCondLst>
                                    <p:cond delay="600"/>
                                  </p:stCondLst>
                                  <p:childTnLst>
                                    <p:set>
                                      <p:cBhvr>
                                        <p:cTn id="14" dur="1" fill="hold">
                                          <p:stCondLst>
                                            <p:cond delay="0"/>
                                          </p:stCondLst>
                                        </p:cTn>
                                        <p:tgtEl>
                                          <p:spTgt spid="26"/>
                                        </p:tgtEl>
                                        <p:attrNameLst>
                                          <p:attrName>style.visibility</p:attrName>
                                        </p:attrNameLst>
                                      </p:cBhvr>
                                      <p:to>
                                        <p:strVal val="visible"/>
                                      </p:to>
                                    </p:set>
                                  </p:childTnLst>
                                </p:cTn>
                              </p:par>
                              <p:par>
                                <p:cTn id="15" presetID="6" presetClass="emph" presetSubtype="0" accel="100000" autoRev="1" fill="hold" nodeType="withEffect">
                                  <p:stCondLst>
                                    <p:cond delay="200"/>
                                  </p:stCondLst>
                                  <p:childTnLst>
                                    <p:animScale>
                                      <p:cBhvr>
                                        <p:cTn id="16" dur="400" fill="hold"/>
                                        <p:tgtEl>
                                          <p:spTgt spid="26"/>
                                        </p:tgtEl>
                                      </p:cBhvr>
                                      <p:by x="1000" y="1000"/>
                                    </p:animScale>
                                  </p:childTnLst>
                                </p:cTn>
                              </p:par>
                              <p:par>
                                <p:cTn id="17" presetID="1" presetClass="entr" presetSubtype="0" fill="hold" nodeType="withEffect">
                                  <p:stCondLst>
                                    <p:cond delay="700"/>
                                  </p:stCondLst>
                                  <p:childTnLst>
                                    <p:set>
                                      <p:cBhvr>
                                        <p:cTn id="18" dur="1" fill="hold">
                                          <p:stCondLst>
                                            <p:cond delay="0"/>
                                          </p:stCondLst>
                                        </p:cTn>
                                        <p:tgtEl>
                                          <p:spTgt spid="38"/>
                                        </p:tgtEl>
                                        <p:attrNameLst>
                                          <p:attrName>style.visibility</p:attrName>
                                        </p:attrNameLst>
                                      </p:cBhvr>
                                      <p:to>
                                        <p:strVal val="visible"/>
                                      </p:to>
                                    </p:set>
                                  </p:childTnLst>
                                </p:cTn>
                              </p:par>
                              <p:par>
                                <p:cTn id="19" presetID="6" presetClass="emph" presetSubtype="0" accel="100000" autoRev="1" fill="hold" nodeType="withEffect">
                                  <p:stCondLst>
                                    <p:cond delay="300"/>
                                  </p:stCondLst>
                                  <p:childTnLst>
                                    <p:animScale>
                                      <p:cBhvr>
                                        <p:cTn id="20" dur="400" fill="hold"/>
                                        <p:tgtEl>
                                          <p:spTgt spid="38"/>
                                        </p:tgtEl>
                                      </p:cBhvr>
                                      <p:by x="1000" y="1000"/>
                                    </p:animScale>
                                  </p:childTnLst>
                                </p:cTn>
                              </p:par>
                            </p:childTnLst>
                          </p:cTn>
                        </p:par>
                        <p:par>
                          <p:cTn id="21" fill="hold">
                            <p:stCondLst>
                              <p:cond delay="1100"/>
                            </p:stCondLst>
                            <p:childTnLst>
                              <p:par>
                                <p:cTn id="22" presetID="22" presetClass="entr" presetSubtype="8" fill="hold" nodeType="afterEffect">
                                  <p:stCondLst>
                                    <p:cond delay="0"/>
                                  </p:stCondLst>
                                  <p:childTnLst>
                                    <p:set>
                                      <p:cBhvr>
                                        <p:cTn id="23" dur="1" fill="hold">
                                          <p:stCondLst>
                                            <p:cond delay="0"/>
                                          </p:stCondLst>
                                        </p:cTn>
                                        <p:tgtEl>
                                          <p:spTgt spid="44"/>
                                        </p:tgtEl>
                                        <p:attrNameLst>
                                          <p:attrName>style.visibility</p:attrName>
                                        </p:attrNameLst>
                                      </p:cBhvr>
                                      <p:to>
                                        <p:strVal val="visible"/>
                                      </p:to>
                                    </p:set>
                                    <p:animEffect transition="in" filter="wipe(left)">
                                      <p:cBhvr>
                                        <p:cTn id="24" dur="1000"/>
                                        <p:tgtEl>
                                          <p:spTgt spid="44"/>
                                        </p:tgtEl>
                                      </p:cBhvr>
                                    </p:animEffect>
                                  </p:childTnLst>
                                </p:cTn>
                              </p:par>
                              <p:par>
                                <p:cTn id="25" presetID="22" presetClass="entr" presetSubtype="1" fill="hold" nodeType="withEffect">
                                  <p:stCondLst>
                                    <p:cond delay="250"/>
                                  </p:stCondLst>
                                  <p:childTnLst>
                                    <p:set>
                                      <p:cBhvr>
                                        <p:cTn id="26" dur="1" fill="hold">
                                          <p:stCondLst>
                                            <p:cond delay="0"/>
                                          </p:stCondLst>
                                        </p:cTn>
                                        <p:tgtEl>
                                          <p:spTgt spid="54"/>
                                        </p:tgtEl>
                                        <p:attrNameLst>
                                          <p:attrName>style.visibility</p:attrName>
                                        </p:attrNameLst>
                                      </p:cBhvr>
                                      <p:to>
                                        <p:strVal val="visible"/>
                                      </p:to>
                                    </p:set>
                                    <p:animEffect transition="in" filter="wipe(up)">
                                      <p:cBhvr>
                                        <p:cTn id="27" dur="500"/>
                                        <p:tgtEl>
                                          <p:spTgt spid="54"/>
                                        </p:tgtEl>
                                      </p:cBhvr>
                                    </p:animEffect>
                                  </p:childTnLst>
                                </p:cTn>
                              </p:par>
                              <p:par>
                                <p:cTn id="28" presetID="22" presetClass="entr" presetSubtype="1" fill="hold" nodeType="withEffect">
                                  <p:stCondLst>
                                    <p:cond delay="500"/>
                                  </p:stCondLst>
                                  <p:childTnLst>
                                    <p:set>
                                      <p:cBhvr>
                                        <p:cTn id="29" dur="1" fill="hold">
                                          <p:stCondLst>
                                            <p:cond delay="0"/>
                                          </p:stCondLst>
                                        </p:cTn>
                                        <p:tgtEl>
                                          <p:spTgt spid="53"/>
                                        </p:tgtEl>
                                        <p:attrNameLst>
                                          <p:attrName>style.visibility</p:attrName>
                                        </p:attrNameLst>
                                      </p:cBhvr>
                                      <p:to>
                                        <p:strVal val="visible"/>
                                      </p:to>
                                    </p:set>
                                    <p:animEffect transition="in" filter="wipe(up)">
                                      <p:cBhvr>
                                        <p:cTn id="30" dur="500"/>
                                        <p:tgtEl>
                                          <p:spTgt spid="53"/>
                                        </p:tgtEl>
                                      </p:cBhvr>
                                    </p:animEffect>
                                  </p:childTnLst>
                                </p:cTn>
                              </p:par>
                              <p:par>
                                <p:cTn id="31" presetID="22" presetClass="entr" presetSubtype="1" fill="hold" nodeType="withEffect">
                                  <p:stCondLst>
                                    <p:cond delay="750"/>
                                  </p:stCondLst>
                                  <p:childTnLst>
                                    <p:set>
                                      <p:cBhvr>
                                        <p:cTn id="32" dur="1" fill="hold">
                                          <p:stCondLst>
                                            <p:cond delay="0"/>
                                          </p:stCondLst>
                                        </p:cTn>
                                        <p:tgtEl>
                                          <p:spTgt spid="52"/>
                                        </p:tgtEl>
                                        <p:attrNameLst>
                                          <p:attrName>style.visibility</p:attrName>
                                        </p:attrNameLst>
                                      </p:cBhvr>
                                      <p:to>
                                        <p:strVal val="visible"/>
                                      </p:to>
                                    </p:set>
                                    <p:animEffect transition="in" filter="wipe(up)">
                                      <p:cBhvr>
                                        <p:cTn id="33" dur="500"/>
                                        <p:tgtEl>
                                          <p:spTgt spid="52"/>
                                        </p:tgtEl>
                                      </p:cBhvr>
                                    </p:animEffect>
                                  </p:childTnLst>
                                </p:cTn>
                              </p:par>
                              <p:par>
                                <p:cTn id="34" presetID="10" presetClass="entr" presetSubtype="0" fill="hold" grpId="0" nodeType="withEffect">
                                  <p:stCondLst>
                                    <p:cond delay="250"/>
                                  </p:stCondLst>
                                  <p:childTnLst>
                                    <p:set>
                                      <p:cBhvr>
                                        <p:cTn id="35" dur="1" fill="hold">
                                          <p:stCondLst>
                                            <p:cond delay="0"/>
                                          </p:stCondLst>
                                        </p:cTn>
                                        <p:tgtEl>
                                          <p:spTgt spid="32"/>
                                        </p:tgtEl>
                                        <p:attrNameLst>
                                          <p:attrName>style.visibility</p:attrName>
                                        </p:attrNameLst>
                                      </p:cBhvr>
                                      <p:to>
                                        <p:strVal val="visible"/>
                                      </p:to>
                                    </p:set>
                                    <p:animEffect transition="in" filter="fade">
                                      <p:cBhvr>
                                        <p:cTn id="36" dur="500"/>
                                        <p:tgtEl>
                                          <p:spTgt spid="32"/>
                                        </p:tgtEl>
                                      </p:cBhvr>
                                    </p:animEffect>
                                  </p:childTnLst>
                                </p:cTn>
                              </p:par>
                              <p:par>
                                <p:cTn id="37" presetID="42" presetClass="path" presetSubtype="0" decel="100000" fill="hold" grpId="1" nodeType="withEffect">
                                  <p:stCondLst>
                                    <p:cond delay="250"/>
                                  </p:stCondLst>
                                  <p:childTnLst>
                                    <p:animMotion origin="layout" path="M 1.38778E-17 4.81481E-6 L 1.38778E-17 0.08935 " pathEditMode="relative" rAng="0" ptsTypes="AA">
                                      <p:cBhvr>
                                        <p:cTn id="38" dur="500" spd="-100000" fill="hold"/>
                                        <p:tgtEl>
                                          <p:spTgt spid="32"/>
                                        </p:tgtEl>
                                        <p:attrNameLst>
                                          <p:attrName>ppt_x</p:attrName>
                                          <p:attrName>ppt_y</p:attrName>
                                        </p:attrNameLst>
                                      </p:cBhvr>
                                      <p:rCtr x="0" y="4468"/>
                                    </p:animMotion>
                                  </p:childTnLst>
                                </p:cTn>
                              </p:par>
                              <p:par>
                                <p:cTn id="39" presetID="10" presetClass="entr" presetSubtype="0" fill="hold" grpId="0" nodeType="withEffect">
                                  <p:stCondLst>
                                    <p:cond delay="250"/>
                                  </p:stCondLst>
                                  <p:childTnLst>
                                    <p:set>
                                      <p:cBhvr>
                                        <p:cTn id="40" dur="1" fill="hold">
                                          <p:stCondLst>
                                            <p:cond delay="0"/>
                                          </p:stCondLst>
                                        </p:cTn>
                                        <p:tgtEl>
                                          <p:spTgt spid="33"/>
                                        </p:tgtEl>
                                        <p:attrNameLst>
                                          <p:attrName>style.visibility</p:attrName>
                                        </p:attrNameLst>
                                      </p:cBhvr>
                                      <p:to>
                                        <p:strVal val="visible"/>
                                      </p:to>
                                    </p:set>
                                    <p:animEffect transition="in" filter="fade">
                                      <p:cBhvr>
                                        <p:cTn id="41" dur="500"/>
                                        <p:tgtEl>
                                          <p:spTgt spid="33"/>
                                        </p:tgtEl>
                                      </p:cBhvr>
                                    </p:animEffect>
                                  </p:childTnLst>
                                </p:cTn>
                              </p:par>
                              <p:par>
                                <p:cTn id="42" presetID="42" presetClass="path" presetSubtype="0" decel="100000" fill="hold" grpId="1" nodeType="withEffect">
                                  <p:stCondLst>
                                    <p:cond delay="250"/>
                                  </p:stCondLst>
                                  <p:childTnLst>
                                    <p:animMotion origin="layout" path="M -3.95833E-6 -2.22222E-6 L -3.95833E-6 0.08935 " pathEditMode="relative" rAng="0" ptsTypes="AA">
                                      <p:cBhvr>
                                        <p:cTn id="43" dur="500" spd="-100000" fill="hold"/>
                                        <p:tgtEl>
                                          <p:spTgt spid="33"/>
                                        </p:tgtEl>
                                        <p:attrNameLst>
                                          <p:attrName>ppt_x</p:attrName>
                                          <p:attrName>ppt_y</p:attrName>
                                        </p:attrNameLst>
                                      </p:cBhvr>
                                      <p:rCtr x="0" y="4468"/>
                                    </p:animMotion>
                                  </p:childTnLst>
                                </p:cTn>
                              </p:par>
                              <p:par>
                                <p:cTn id="44" presetID="10" presetClass="entr" presetSubtype="0" fill="hold" grpId="0" nodeType="withEffect">
                                  <p:stCondLst>
                                    <p:cond delay="250"/>
                                  </p:stCondLst>
                                  <p:childTnLst>
                                    <p:set>
                                      <p:cBhvr>
                                        <p:cTn id="45" dur="1" fill="hold">
                                          <p:stCondLst>
                                            <p:cond delay="0"/>
                                          </p:stCondLst>
                                        </p:cTn>
                                        <p:tgtEl>
                                          <p:spTgt spid="34"/>
                                        </p:tgtEl>
                                        <p:attrNameLst>
                                          <p:attrName>style.visibility</p:attrName>
                                        </p:attrNameLst>
                                      </p:cBhvr>
                                      <p:to>
                                        <p:strVal val="visible"/>
                                      </p:to>
                                    </p:set>
                                    <p:animEffect transition="in" filter="fade">
                                      <p:cBhvr>
                                        <p:cTn id="46" dur="500"/>
                                        <p:tgtEl>
                                          <p:spTgt spid="34"/>
                                        </p:tgtEl>
                                      </p:cBhvr>
                                    </p:animEffect>
                                  </p:childTnLst>
                                </p:cTn>
                              </p:par>
                              <p:par>
                                <p:cTn id="47" presetID="42" presetClass="path" presetSubtype="0" decel="100000" fill="hold" grpId="1" nodeType="withEffect">
                                  <p:stCondLst>
                                    <p:cond delay="250"/>
                                  </p:stCondLst>
                                  <p:childTnLst>
                                    <p:animMotion origin="layout" path="M -2.29167E-6 -1.11111E-6 L -2.29167E-6 0.08935 " pathEditMode="relative" rAng="0" ptsTypes="AA">
                                      <p:cBhvr>
                                        <p:cTn id="48" dur="500" spd="-100000" fill="hold"/>
                                        <p:tgtEl>
                                          <p:spTgt spid="34"/>
                                        </p:tgtEl>
                                        <p:attrNameLst>
                                          <p:attrName>ppt_x</p:attrName>
                                          <p:attrName>ppt_y</p:attrName>
                                        </p:attrNameLst>
                                      </p:cBhvr>
                                      <p:rCtr x="0" y="4468"/>
                                    </p:animMotion>
                                  </p:childTnLst>
                                </p:cTn>
                              </p:par>
                              <p:par>
                                <p:cTn id="49" presetID="10" presetClass="entr" presetSubtype="0" fill="hold" grpId="0" nodeType="withEffect">
                                  <p:stCondLst>
                                    <p:cond delay="250"/>
                                  </p:stCondLst>
                                  <p:childTnLst>
                                    <p:set>
                                      <p:cBhvr>
                                        <p:cTn id="50" dur="1" fill="hold">
                                          <p:stCondLst>
                                            <p:cond delay="0"/>
                                          </p:stCondLst>
                                        </p:cTn>
                                        <p:tgtEl>
                                          <p:spTgt spid="35"/>
                                        </p:tgtEl>
                                        <p:attrNameLst>
                                          <p:attrName>style.visibility</p:attrName>
                                        </p:attrNameLst>
                                      </p:cBhvr>
                                      <p:to>
                                        <p:strVal val="visible"/>
                                      </p:to>
                                    </p:set>
                                    <p:animEffect transition="in" filter="fade">
                                      <p:cBhvr>
                                        <p:cTn id="51" dur="500"/>
                                        <p:tgtEl>
                                          <p:spTgt spid="35"/>
                                        </p:tgtEl>
                                      </p:cBhvr>
                                    </p:animEffect>
                                  </p:childTnLst>
                                </p:cTn>
                              </p:par>
                              <p:par>
                                <p:cTn id="52" presetID="42" presetClass="path" presetSubtype="0" decel="100000" fill="hold" grpId="1" nodeType="withEffect">
                                  <p:stCondLst>
                                    <p:cond delay="250"/>
                                  </p:stCondLst>
                                  <p:childTnLst>
                                    <p:animMotion origin="layout" path="M -2.91667E-6 -3.7037E-6 L -2.91667E-6 0.08936 " pathEditMode="relative" rAng="0" ptsTypes="AA">
                                      <p:cBhvr>
                                        <p:cTn id="53" dur="500" spd="-100000" fill="hold"/>
                                        <p:tgtEl>
                                          <p:spTgt spid="35"/>
                                        </p:tgtEl>
                                        <p:attrNameLst>
                                          <p:attrName>ppt_x</p:attrName>
                                          <p:attrName>ppt_y</p:attrName>
                                        </p:attrNameLst>
                                      </p:cBhvr>
                                      <p:rCtr x="0" y="4468"/>
                                    </p:animMotion>
                                  </p:childTnLst>
                                </p:cTn>
                              </p:par>
                            </p:childTnLst>
                          </p:cTn>
                        </p:par>
                      </p:childTnLst>
                    </p:cTn>
                  </p:par>
                  <p:par>
                    <p:cTn id="54" fill="hold">
                      <p:stCondLst>
                        <p:cond delay="indefinite"/>
                      </p:stCondLst>
                      <p:childTnLst>
                        <p:par>
                          <p:cTn id="55" fill="hold">
                            <p:stCondLst>
                              <p:cond delay="0"/>
                            </p:stCondLst>
                            <p:childTnLst>
                              <p:par>
                                <p:cTn id="56" presetID="21" presetClass="entr" presetSubtype="1" fill="hold" nodeType="clickEffect">
                                  <p:stCondLst>
                                    <p:cond delay="0"/>
                                  </p:stCondLst>
                                  <p:childTnLst>
                                    <p:set>
                                      <p:cBhvr>
                                        <p:cTn id="57" dur="1" fill="hold">
                                          <p:stCondLst>
                                            <p:cond delay="0"/>
                                          </p:stCondLst>
                                        </p:cTn>
                                        <p:tgtEl>
                                          <p:spTgt spid="10"/>
                                        </p:tgtEl>
                                        <p:attrNameLst>
                                          <p:attrName>style.visibility</p:attrName>
                                        </p:attrNameLst>
                                      </p:cBhvr>
                                      <p:to>
                                        <p:strVal val="visible"/>
                                      </p:to>
                                    </p:set>
                                    <p:animEffect transition="in" filter="wheel(1)">
                                      <p:cBhvr>
                                        <p:cTn id="58" dur="2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32" grpId="1"/>
      <p:bldP spid="33" grpId="0"/>
      <p:bldP spid="33" grpId="1"/>
      <p:bldP spid="34" grpId="0"/>
      <p:bldP spid="34" grpId="1"/>
      <p:bldP spid="35" grpId="0"/>
      <p:bldP spid="35" grpId="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286A46-4E07-453F-8FD0-7A9538967F35}"/>
              </a:ext>
            </a:extLst>
          </p:cNvPr>
          <p:cNvSpPr>
            <a:spLocks noGrp="1"/>
          </p:cNvSpPr>
          <p:nvPr>
            <p:ph type="title"/>
          </p:nvPr>
        </p:nvSpPr>
        <p:spPr/>
        <p:txBody>
          <a:bodyPr/>
          <a:lstStyle/>
          <a:p>
            <a:r>
              <a:rPr lang="en-US" dirty="0"/>
              <a:t>Assessment Outcome</a:t>
            </a:r>
          </a:p>
        </p:txBody>
      </p:sp>
      <p:graphicFrame>
        <p:nvGraphicFramePr>
          <p:cNvPr id="5" name="Diagram 4">
            <a:extLst>
              <a:ext uri="{FF2B5EF4-FFF2-40B4-BE49-F238E27FC236}">
                <a16:creationId xmlns:a16="http://schemas.microsoft.com/office/drawing/2014/main" id="{21FFD801-072D-4C4C-95D7-F1E017BA7613}"/>
              </a:ext>
            </a:extLst>
          </p:cNvPr>
          <p:cNvGraphicFramePr/>
          <p:nvPr>
            <p:extLst>
              <p:ext uri="{D42A27DB-BD31-4B8C-83A1-F6EECF244321}">
                <p14:modId xmlns:p14="http://schemas.microsoft.com/office/powerpoint/2010/main" val="666214853"/>
              </p:ext>
            </p:extLst>
          </p:nvPr>
        </p:nvGraphicFramePr>
        <p:xfrm>
          <a:off x="7671716" y="924162"/>
          <a:ext cx="4340206" cy="32435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890759DE-ECB6-474E-8082-87A218EFAD89}"/>
              </a:ext>
            </a:extLst>
          </p:cNvPr>
          <p:cNvSpPr txBox="1"/>
          <p:nvPr/>
        </p:nvSpPr>
        <p:spPr>
          <a:xfrm>
            <a:off x="7744110" y="251635"/>
            <a:ext cx="3314453" cy="544765"/>
          </a:xfrm>
          <a:prstGeom prst="rect">
            <a:avLst/>
          </a:prstGeom>
          <a:noFill/>
        </p:spPr>
        <p:txBody>
          <a:bodyPr wrap="square" lIns="182880" tIns="146304" rIns="182880" bIns="146304" rtlCol="0">
            <a:spAutoFit/>
          </a:bodyPr>
          <a:lstStyle/>
          <a:p>
            <a:pPr>
              <a:lnSpc>
                <a:spcPct val="90000"/>
              </a:lnSpc>
              <a:spcAft>
                <a:spcPts val="600"/>
              </a:spcAft>
            </a:pPr>
            <a:r>
              <a:rPr lang="en-US" dirty="0">
                <a:solidFill>
                  <a:schemeClr val="bg1"/>
                </a:solidFill>
              </a:rPr>
              <a:t>Migration Roadmap Details</a:t>
            </a:r>
          </a:p>
        </p:txBody>
      </p:sp>
      <p:sp>
        <p:nvSpPr>
          <p:cNvPr id="7" name="TextBox 6">
            <a:extLst>
              <a:ext uri="{FF2B5EF4-FFF2-40B4-BE49-F238E27FC236}">
                <a16:creationId xmlns:a16="http://schemas.microsoft.com/office/drawing/2014/main" id="{C96536BA-0FE2-48CF-897E-36A4D5BABD40}"/>
              </a:ext>
            </a:extLst>
          </p:cNvPr>
          <p:cNvSpPr txBox="1"/>
          <p:nvPr/>
        </p:nvSpPr>
        <p:spPr>
          <a:xfrm>
            <a:off x="7744110" y="4250761"/>
            <a:ext cx="3369160" cy="544765"/>
          </a:xfrm>
          <a:prstGeom prst="rect">
            <a:avLst/>
          </a:prstGeom>
          <a:noFill/>
        </p:spPr>
        <p:txBody>
          <a:bodyPr wrap="square" lIns="182880" tIns="146304" rIns="182880" bIns="146304" rtlCol="0">
            <a:spAutoFit/>
          </a:bodyPr>
          <a:lstStyle/>
          <a:p>
            <a:pPr>
              <a:lnSpc>
                <a:spcPct val="90000"/>
              </a:lnSpc>
              <a:spcAft>
                <a:spcPts val="600"/>
              </a:spcAft>
            </a:pPr>
            <a:r>
              <a:rPr lang="en-US" dirty="0">
                <a:solidFill>
                  <a:schemeClr val="bg1"/>
                </a:solidFill>
              </a:rPr>
              <a:t>Workarounds and Guidance</a:t>
            </a:r>
          </a:p>
        </p:txBody>
      </p:sp>
      <p:graphicFrame>
        <p:nvGraphicFramePr>
          <p:cNvPr id="8" name="Diagram 7">
            <a:extLst>
              <a:ext uri="{FF2B5EF4-FFF2-40B4-BE49-F238E27FC236}">
                <a16:creationId xmlns:a16="http://schemas.microsoft.com/office/drawing/2014/main" id="{4F5B5FA6-AD56-4A41-9356-8540566BCED3}"/>
              </a:ext>
            </a:extLst>
          </p:cNvPr>
          <p:cNvGraphicFramePr/>
          <p:nvPr>
            <p:extLst>
              <p:ext uri="{D42A27DB-BD31-4B8C-83A1-F6EECF244321}">
                <p14:modId xmlns:p14="http://schemas.microsoft.com/office/powerpoint/2010/main" val="3340024043"/>
              </p:ext>
            </p:extLst>
          </p:nvPr>
        </p:nvGraphicFramePr>
        <p:xfrm>
          <a:off x="7744110" y="4878624"/>
          <a:ext cx="4340206" cy="156597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10" name="Picture 9" descr="A screenshot of a cell phone&#10;&#10;Description generated with very high confidence">
            <a:extLst>
              <a:ext uri="{FF2B5EF4-FFF2-40B4-BE49-F238E27FC236}">
                <a16:creationId xmlns:a16="http://schemas.microsoft.com/office/drawing/2014/main" id="{967E8A50-DF99-4BEB-A674-D29F8FB44A77}"/>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69239" y="1654071"/>
            <a:ext cx="5562606" cy="2753656"/>
          </a:xfrm>
          <a:prstGeom prst="rect">
            <a:avLst/>
          </a:prstGeom>
        </p:spPr>
      </p:pic>
      <p:pic>
        <p:nvPicPr>
          <p:cNvPr id="12" name="Picture 11" descr="A screenshot of a cell phone&#10;&#10;Description generated with very high confidence">
            <a:extLst>
              <a:ext uri="{FF2B5EF4-FFF2-40B4-BE49-F238E27FC236}">
                <a16:creationId xmlns:a16="http://schemas.microsoft.com/office/drawing/2014/main" id="{E28034FB-2796-4B97-A642-79337899EAD8}"/>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69239" y="4529998"/>
            <a:ext cx="5500382" cy="2118074"/>
          </a:xfrm>
          <a:prstGeom prst="rect">
            <a:avLst/>
          </a:prstGeom>
        </p:spPr>
      </p:pic>
      <p:sp>
        <p:nvSpPr>
          <p:cNvPr id="13" name="TextBox 12">
            <a:extLst>
              <a:ext uri="{FF2B5EF4-FFF2-40B4-BE49-F238E27FC236}">
                <a16:creationId xmlns:a16="http://schemas.microsoft.com/office/drawing/2014/main" id="{04295BB4-8FCA-474B-B6A8-6D53F10035CC}"/>
              </a:ext>
            </a:extLst>
          </p:cNvPr>
          <p:cNvSpPr txBox="1"/>
          <p:nvPr/>
        </p:nvSpPr>
        <p:spPr>
          <a:xfrm>
            <a:off x="269239" y="1070557"/>
            <a:ext cx="3314453" cy="544765"/>
          </a:xfrm>
          <a:prstGeom prst="rect">
            <a:avLst/>
          </a:prstGeom>
          <a:noFill/>
        </p:spPr>
        <p:txBody>
          <a:bodyPr wrap="square" lIns="182880" tIns="146304" rIns="182880" bIns="146304" rtlCol="0">
            <a:spAutoFit/>
          </a:bodyPr>
          <a:lstStyle/>
          <a:p>
            <a:pPr>
              <a:lnSpc>
                <a:spcPct val="90000"/>
              </a:lnSpc>
              <a:spcAft>
                <a:spcPts val="600"/>
              </a:spcAft>
            </a:pPr>
            <a:r>
              <a:rPr lang="en-US" dirty="0">
                <a:solidFill>
                  <a:schemeClr val="bg1"/>
                </a:solidFill>
              </a:rPr>
              <a:t>TCO Comparison</a:t>
            </a:r>
          </a:p>
        </p:txBody>
      </p:sp>
    </p:spTree>
    <p:extLst>
      <p:ext uri="{BB962C8B-B14F-4D97-AF65-F5344CB8AC3E}">
        <p14:creationId xmlns:p14="http://schemas.microsoft.com/office/powerpoint/2010/main" val="302266557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6B15F91-1568-4C05-BF9E-A712D663FDA1}"/>
              </a:ext>
            </a:extLst>
          </p:cNvPr>
          <p:cNvSpPr>
            <a:spLocks noGrp="1"/>
          </p:cNvSpPr>
          <p:nvPr>
            <p:ph type="title"/>
          </p:nvPr>
        </p:nvSpPr>
        <p:spPr>
          <a:xfrm>
            <a:off x="148559" y="170548"/>
            <a:ext cx="6619056" cy="4101680"/>
          </a:xfrm>
        </p:spPr>
        <p:txBody>
          <a:bodyPr/>
          <a:lstStyle/>
          <a:p>
            <a:r>
              <a:rPr lang="en-US" sz="3529" dirty="0"/>
              <a:t>	Executive Summary </a:t>
            </a:r>
            <a:br>
              <a:rPr lang="en-US" sz="3529" dirty="0"/>
            </a:br>
            <a:r>
              <a:rPr lang="en-US" sz="2745" dirty="0"/>
              <a:t>What:</a:t>
            </a:r>
            <a:br>
              <a:rPr lang="en-US" sz="3529" dirty="0"/>
            </a:br>
            <a:r>
              <a:rPr lang="en-US" sz="1961" dirty="0"/>
              <a:t>This is a free assessment to assess your I.T environment cloud readiness for migration to Azure.</a:t>
            </a:r>
            <a:br>
              <a:rPr lang="en-US" sz="1961" dirty="0"/>
            </a:br>
            <a:br>
              <a:rPr lang="en-US" sz="1961" dirty="0"/>
            </a:br>
            <a:r>
              <a:rPr lang="en-US" sz="2745" dirty="0"/>
              <a:t>How:</a:t>
            </a:r>
            <a:br>
              <a:rPr lang="en-US" sz="3529" dirty="0"/>
            </a:br>
            <a:r>
              <a:rPr lang="en-US" sz="1961" dirty="0"/>
              <a:t>Utilizing Microsoft’s </a:t>
            </a:r>
            <a:r>
              <a:rPr lang="en-US" sz="1961" dirty="0" err="1"/>
              <a:t>partnersto</a:t>
            </a:r>
            <a:r>
              <a:rPr lang="en-US" sz="1961" dirty="0"/>
              <a:t> assess your virtual and physical server environments.</a:t>
            </a:r>
            <a:br>
              <a:rPr lang="en-US" sz="1961" dirty="0"/>
            </a:br>
            <a:br>
              <a:rPr lang="en-US" sz="1961" dirty="0"/>
            </a:br>
            <a:r>
              <a:rPr lang="en-US" sz="2745" dirty="0"/>
              <a:t>Why:</a:t>
            </a:r>
            <a:br>
              <a:rPr lang="en-US" sz="3529" dirty="0"/>
            </a:br>
            <a:r>
              <a:rPr lang="en-US" sz="1961" dirty="0"/>
              <a:t>To assist you in taking your first steps on your cloud journey.</a:t>
            </a:r>
            <a:br>
              <a:rPr lang="en-US" sz="1961" dirty="0"/>
            </a:br>
            <a:br>
              <a:rPr lang="en-US" sz="1961" dirty="0"/>
            </a:br>
            <a:endParaRPr lang="en-US" sz="3529" dirty="0"/>
          </a:p>
        </p:txBody>
      </p:sp>
      <p:sp>
        <p:nvSpPr>
          <p:cNvPr id="265" name="Rectangle 264">
            <a:extLst>
              <a:ext uri="{FF2B5EF4-FFF2-40B4-BE49-F238E27FC236}">
                <a16:creationId xmlns:a16="http://schemas.microsoft.com/office/drawing/2014/main" id="{E4ECED19-C19E-4A72-8AC3-CFB0EE5B17DC}"/>
              </a:ext>
            </a:extLst>
          </p:cNvPr>
          <p:cNvSpPr/>
          <p:nvPr/>
        </p:nvSpPr>
        <p:spPr bwMode="auto">
          <a:xfrm>
            <a:off x="6888359" y="487"/>
            <a:ext cx="5303642"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6" name="Rectangle 117">
            <a:extLst>
              <a:ext uri="{FF2B5EF4-FFF2-40B4-BE49-F238E27FC236}">
                <a16:creationId xmlns:a16="http://schemas.microsoft.com/office/drawing/2014/main" id="{17E92F02-4EC7-4950-A7F8-27DAE813CA0F}"/>
              </a:ext>
            </a:extLst>
          </p:cNvPr>
          <p:cNvSpPr>
            <a:spLocks noChangeArrowheads="1"/>
          </p:cNvSpPr>
          <p:nvPr/>
        </p:nvSpPr>
        <p:spPr bwMode="auto">
          <a:xfrm>
            <a:off x="5430478" y="4708871"/>
            <a:ext cx="665524" cy="2144265"/>
          </a:xfrm>
          <a:prstGeom prst="rect">
            <a:avLst/>
          </a:prstGeom>
          <a:solidFill>
            <a:srgbClr val="045BA6"/>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67" name="Isosceles Triangle 266">
            <a:extLst>
              <a:ext uri="{FF2B5EF4-FFF2-40B4-BE49-F238E27FC236}">
                <a16:creationId xmlns:a16="http://schemas.microsoft.com/office/drawing/2014/main" id="{4008CD10-CF86-4F32-AD5D-FA58F53C599A}"/>
              </a:ext>
            </a:extLst>
          </p:cNvPr>
          <p:cNvSpPr/>
          <p:nvPr/>
        </p:nvSpPr>
        <p:spPr bwMode="auto">
          <a:xfrm rot="10800000" flipH="1">
            <a:off x="4812066" y="5275699"/>
            <a:ext cx="536355" cy="630648"/>
          </a:xfrm>
          <a:prstGeom prst="triangle">
            <a:avLst>
              <a:gd name="adj" fmla="val 0"/>
            </a:avLst>
          </a:prstGeom>
          <a:solidFill>
            <a:schemeClr val="accent2">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8" name="Rectangle 42">
            <a:extLst>
              <a:ext uri="{FF2B5EF4-FFF2-40B4-BE49-F238E27FC236}">
                <a16:creationId xmlns:a16="http://schemas.microsoft.com/office/drawing/2014/main" id="{44727367-1340-40DC-9FCD-4C853B6CA488}"/>
              </a:ext>
            </a:extLst>
          </p:cNvPr>
          <p:cNvSpPr>
            <a:spLocks noChangeArrowheads="1"/>
          </p:cNvSpPr>
          <p:nvPr/>
        </p:nvSpPr>
        <p:spPr bwMode="auto">
          <a:xfrm>
            <a:off x="4445762" y="5606724"/>
            <a:ext cx="647236" cy="1246414"/>
          </a:xfrm>
          <a:prstGeom prst="rect">
            <a:avLst/>
          </a:prstGeom>
          <a:solidFill>
            <a:schemeClr val="accent2">
              <a:alpha val="64000"/>
            </a:schemeClr>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69" name="Freeform 46">
            <a:extLst>
              <a:ext uri="{FF2B5EF4-FFF2-40B4-BE49-F238E27FC236}">
                <a16:creationId xmlns:a16="http://schemas.microsoft.com/office/drawing/2014/main" id="{8A424F6D-20B9-4E4F-977B-2F44F40C4834}"/>
              </a:ext>
            </a:extLst>
          </p:cNvPr>
          <p:cNvSpPr>
            <a:spLocks/>
          </p:cNvSpPr>
          <p:nvPr/>
        </p:nvSpPr>
        <p:spPr bwMode="auto">
          <a:xfrm>
            <a:off x="4810674" y="4960990"/>
            <a:ext cx="624709" cy="1892147"/>
          </a:xfrm>
          <a:custGeom>
            <a:avLst/>
            <a:gdLst>
              <a:gd name="T0" fmla="*/ 0 w 416"/>
              <a:gd name="T1" fmla="*/ 630 h 1260"/>
              <a:gd name="T2" fmla="*/ 0 w 416"/>
              <a:gd name="T3" fmla="*/ 1260 h 1260"/>
              <a:gd name="T4" fmla="*/ 416 w 416"/>
              <a:gd name="T5" fmla="*/ 1260 h 1260"/>
              <a:gd name="T6" fmla="*/ 416 w 416"/>
              <a:gd name="T7" fmla="*/ 0 h 1260"/>
              <a:gd name="T8" fmla="*/ 0 w 416"/>
              <a:gd name="T9" fmla="*/ 630 h 1260"/>
            </a:gdLst>
            <a:ahLst/>
            <a:cxnLst>
              <a:cxn ang="0">
                <a:pos x="T0" y="T1"/>
              </a:cxn>
              <a:cxn ang="0">
                <a:pos x="T2" y="T3"/>
              </a:cxn>
              <a:cxn ang="0">
                <a:pos x="T4" y="T5"/>
              </a:cxn>
              <a:cxn ang="0">
                <a:pos x="T6" y="T7"/>
              </a:cxn>
              <a:cxn ang="0">
                <a:pos x="T8" y="T9"/>
              </a:cxn>
            </a:cxnLst>
            <a:rect l="0" t="0" r="r" b="b"/>
            <a:pathLst>
              <a:path w="416" h="1260">
                <a:moveTo>
                  <a:pt x="0" y="630"/>
                </a:moveTo>
                <a:lnTo>
                  <a:pt x="0" y="1260"/>
                </a:lnTo>
                <a:lnTo>
                  <a:pt x="416" y="1260"/>
                </a:lnTo>
                <a:lnTo>
                  <a:pt x="416" y="0"/>
                </a:lnTo>
                <a:lnTo>
                  <a:pt x="0" y="630"/>
                </a:lnTo>
                <a:close/>
              </a:path>
            </a:pathLst>
          </a:custGeom>
          <a:solidFill>
            <a:srgbClr val="0093E2"/>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70" name="Rectangle 100">
            <a:extLst>
              <a:ext uri="{FF2B5EF4-FFF2-40B4-BE49-F238E27FC236}">
                <a16:creationId xmlns:a16="http://schemas.microsoft.com/office/drawing/2014/main" id="{57B581A8-69CE-4FF8-A510-1776087A9DF6}"/>
              </a:ext>
            </a:extLst>
          </p:cNvPr>
          <p:cNvSpPr>
            <a:spLocks noChangeArrowheads="1"/>
          </p:cNvSpPr>
          <p:nvPr/>
        </p:nvSpPr>
        <p:spPr bwMode="auto">
          <a:xfrm>
            <a:off x="5271697" y="5408499"/>
            <a:ext cx="93106" cy="193721"/>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71" name="Rectangle 102">
            <a:extLst>
              <a:ext uri="{FF2B5EF4-FFF2-40B4-BE49-F238E27FC236}">
                <a16:creationId xmlns:a16="http://schemas.microsoft.com/office/drawing/2014/main" id="{9FC7A7FD-034E-4A5A-8987-F97902D44E2F}"/>
              </a:ext>
            </a:extLst>
          </p:cNvPr>
          <p:cNvSpPr>
            <a:spLocks noChangeArrowheads="1"/>
          </p:cNvSpPr>
          <p:nvPr/>
        </p:nvSpPr>
        <p:spPr bwMode="auto">
          <a:xfrm>
            <a:off x="5074975" y="5675801"/>
            <a:ext cx="88600" cy="193721"/>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72" name="Rectangle 103">
            <a:extLst>
              <a:ext uri="{FF2B5EF4-FFF2-40B4-BE49-F238E27FC236}">
                <a16:creationId xmlns:a16="http://schemas.microsoft.com/office/drawing/2014/main" id="{A4640114-6B29-4415-BEBB-A8BC890F17F4}"/>
              </a:ext>
            </a:extLst>
          </p:cNvPr>
          <p:cNvSpPr>
            <a:spLocks noChangeArrowheads="1"/>
          </p:cNvSpPr>
          <p:nvPr/>
        </p:nvSpPr>
        <p:spPr bwMode="auto">
          <a:xfrm>
            <a:off x="5271697" y="5675801"/>
            <a:ext cx="93106" cy="193721"/>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73" name="Rectangle 104">
            <a:extLst>
              <a:ext uri="{FF2B5EF4-FFF2-40B4-BE49-F238E27FC236}">
                <a16:creationId xmlns:a16="http://schemas.microsoft.com/office/drawing/2014/main" id="{368F53E0-2FD4-42D2-8555-62B1D52AD037}"/>
              </a:ext>
            </a:extLst>
          </p:cNvPr>
          <p:cNvSpPr>
            <a:spLocks noChangeArrowheads="1"/>
          </p:cNvSpPr>
          <p:nvPr/>
        </p:nvSpPr>
        <p:spPr bwMode="auto">
          <a:xfrm>
            <a:off x="4873746" y="5944607"/>
            <a:ext cx="93106" cy="189214"/>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74" name="Rectangle 105">
            <a:extLst>
              <a:ext uri="{FF2B5EF4-FFF2-40B4-BE49-F238E27FC236}">
                <a16:creationId xmlns:a16="http://schemas.microsoft.com/office/drawing/2014/main" id="{B7630F1A-13C0-49A3-8299-05D1BB08D091}"/>
              </a:ext>
            </a:extLst>
          </p:cNvPr>
          <p:cNvSpPr>
            <a:spLocks noChangeArrowheads="1"/>
          </p:cNvSpPr>
          <p:nvPr/>
        </p:nvSpPr>
        <p:spPr bwMode="auto">
          <a:xfrm>
            <a:off x="5074975" y="5944607"/>
            <a:ext cx="88600" cy="189214"/>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75" name="Rectangle 106">
            <a:extLst>
              <a:ext uri="{FF2B5EF4-FFF2-40B4-BE49-F238E27FC236}">
                <a16:creationId xmlns:a16="http://schemas.microsoft.com/office/drawing/2014/main" id="{BF188CBB-B15D-4C5B-AF6E-289BF6BAC490}"/>
              </a:ext>
            </a:extLst>
          </p:cNvPr>
          <p:cNvSpPr>
            <a:spLocks noChangeArrowheads="1"/>
          </p:cNvSpPr>
          <p:nvPr/>
        </p:nvSpPr>
        <p:spPr bwMode="auto">
          <a:xfrm>
            <a:off x="5271697" y="5944607"/>
            <a:ext cx="93106" cy="189214"/>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76" name="Rectangle 107">
            <a:extLst>
              <a:ext uri="{FF2B5EF4-FFF2-40B4-BE49-F238E27FC236}">
                <a16:creationId xmlns:a16="http://schemas.microsoft.com/office/drawing/2014/main" id="{F5B255EC-4E7E-4522-A7B3-9F791C57E765}"/>
              </a:ext>
            </a:extLst>
          </p:cNvPr>
          <p:cNvSpPr>
            <a:spLocks noChangeArrowheads="1"/>
          </p:cNvSpPr>
          <p:nvPr/>
        </p:nvSpPr>
        <p:spPr bwMode="auto">
          <a:xfrm>
            <a:off x="4873746" y="6211911"/>
            <a:ext cx="93106" cy="189214"/>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77" name="Rectangle 108">
            <a:extLst>
              <a:ext uri="{FF2B5EF4-FFF2-40B4-BE49-F238E27FC236}">
                <a16:creationId xmlns:a16="http://schemas.microsoft.com/office/drawing/2014/main" id="{C285E3DD-B190-4AFD-BED2-4B95344504C7}"/>
              </a:ext>
            </a:extLst>
          </p:cNvPr>
          <p:cNvSpPr>
            <a:spLocks noChangeArrowheads="1"/>
          </p:cNvSpPr>
          <p:nvPr/>
        </p:nvSpPr>
        <p:spPr bwMode="auto">
          <a:xfrm>
            <a:off x="5074975" y="6211911"/>
            <a:ext cx="88600" cy="189214"/>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78" name="Rectangle 109">
            <a:extLst>
              <a:ext uri="{FF2B5EF4-FFF2-40B4-BE49-F238E27FC236}">
                <a16:creationId xmlns:a16="http://schemas.microsoft.com/office/drawing/2014/main" id="{C5AE7EE5-90A9-4D9A-90F9-CB24C6CE945F}"/>
              </a:ext>
            </a:extLst>
          </p:cNvPr>
          <p:cNvSpPr>
            <a:spLocks noChangeArrowheads="1"/>
          </p:cNvSpPr>
          <p:nvPr/>
        </p:nvSpPr>
        <p:spPr bwMode="auto">
          <a:xfrm>
            <a:off x="5271697" y="6211911"/>
            <a:ext cx="93106" cy="189214"/>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79" name="Rectangle 110">
            <a:extLst>
              <a:ext uri="{FF2B5EF4-FFF2-40B4-BE49-F238E27FC236}">
                <a16:creationId xmlns:a16="http://schemas.microsoft.com/office/drawing/2014/main" id="{E92A5D44-DC9E-467B-9B1C-79CE2A19BFD9}"/>
              </a:ext>
            </a:extLst>
          </p:cNvPr>
          <p:cNvSpPr>
            <a:spLocks noChangeArrowheads="1"/>
          </p:cNvSpPr>
          <p:nvPr/>
        </p:nvSpPr>
        <p:spPr bwMode="auto">
          <a:xfrm>
            <a:off x="4873746" y="6479213"/>
            <a:ext cx="93106" cy="189214"/>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80" name="Rectangle 111">
            <a:extLst>
              <a:ext uri="{FF2B5EF4-FFF2-40B4-BE49-F238E27FC236}">
                <a16:creationId xmlns:a16="http://schemas.microsoft.com/office/drawing/2014/main" id="{E99F5A43-CBDF-47E9-A332-3FC129C69DB6}"/>
              </a:ext>
            </a:extLst>
          </p:cNvPr>
          <p:cNvSpPr>
            <a:spLocks noChangeArrowheads="1"/>
          </p:cNvSpPr>
          <p:nvPr/>
        </p:nvSpPr>
        <p:spPr bwMode="auto">
          <a:xfrm>
            <a:off x="5074975" y="6479213"/>
            <a:ext cx="88600" cy="189214"/>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81" name="Rectangle 112">
            <a:extLst>
              <a:ext uri="{FF2B5EF4-FFF2-40B4-BE49-F238E27FC236}">
                <a16:creationId xmlns:a16="http://schemas.microsoft.com/office/drawing/2014/main" id="{412F21F0-B0BA-488A-BD32-7417496F27D0}"/>
              </a:ext>
            </a:extLst>
          </p:cNvPr>
          <p:cNvSpPr>
            <a:spLocks noChangeArrowheads="1"/>
          </p:cNvSpPr>
          <p:nvPr/>
        </p:nvSpPr>
        <p:spPr bwMode="auto">
          <a:xfrm>
            <a:off x="5271697" y="6479213"/>
            <a:ext cx="93106" cy="189214"/>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82" name="Rectangle 116">
            <a:extLst>
              <a:ext uri="{FF2B5EF4-FFF2-40B4-BE49-F238E27FC236}">
                <a16:creationId xmlns:a16="http://schemas.microsoft.com/office/drawing/2014/main" id="{DC76C98B-91A2-469C-AB38-AA2AE05617A6}"/>
              </a:ext>
            </a:extLst>
          </p:cNvPr>
          <p:cNvSpPr>
            <a:spLocks noChangeArrowheads="1"/>
          </p:cNvSpPr>
          <p:nvPr/>
        </p:nvSpPr>
        <p:spPr bwMode="auto">
          <a:xfrm>
            <a:off x="3640519" y="5606722"/>
            <a:ext cx="556873" cy="1246415"/>
          </a:xfrm>
          <a:prstGeom prst="rect">
            <a:avLst/>
          </a:prstGeom>
          <a:solidFill>
            <a:schemeClr val="accent2">
              <a:alpha val="64000"/>
            </a:schemeClr>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83" name="Rectangle 117">
            <a:extLst>
              <a:ext uri="{FF2B5EF4-FFF2-40B4-BE49-F238E27FC236}">
                <a16:creationId xmlns:a16="http://schemas.microsoft.com/office/drawing/2014/main" id="{276F6509-CC38-4BF3-83BB-840DFF10A61C}"/>
              </a:ext>
            </a:extLst>
          </p:cNvPr>
          <p:cNvSpPr>
            <a:spLocks noChangeArrowheads="1"/>
          </p:cNvSpPr>
          <p:nvPr/>
        </p:nvSpPr>
        <p:spPr bwMode="auto">
          <a:xfrm>
            <a:off x="4026137" y="5387602"/>
            <a:ext cx="665524" cy="1465536"/>
          </a:xfrm>
          <a:prstGeom prst="rect">
            <a:avLst/>
          </a:prstGeom>
          <a:solidFill>
            <a:schemeClr val="accent2">
              <a:alpha val="64000"/>
            </a:schemeClr>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grpSp>
        <p:nvGrpSpPr>
          <p:cNvPr id="284" name="Group 283">
            <a:extLst>
              <a:ext uri="{FF2B5EF4-FFF2-40B4-BE49-F238E27FC236}">
                <a16:creationId xmlns:a16="http://schemas.microsoft.com/office/drawing/2014/main" id="{8F1B9AC0-90DF-4C5A-B485-8B0EBB9C158E}"/>
              </a:ext>
            </a:extLst>
          </p:cNvPr>
          <p:cNvGrpSpPr/>
          <p:nvPr/>
        </p:nvGrpSpPr>
        <p:grpSpPr>
          <a:xfrm>
            <a:off x="5550095" y="4708870"/>
            <a:ext cx="445538" cy="2144266"/>
            <a:chOff x="8546306" y="746197"/>
            <a:chExt cx="424695" cy="2545519"/>
          </a:xfrm>
        </p:grpSpPr>
        <p:sp>
          <p:nvSpPr>
            <p:cNvPr id="285" name="Line 160">
              <a:extLst>
                <a:ext uri="{FF2B5EF4-FFF2-40B4-BE49-F238E27FC236}">
                  <a16:creationId xmlns:a16="http://schemas.microsoft.com/office/drawing/2014/main" id="{18DEF30F-F91C-4BD7-BAE3-826F4D453542}"/>
                </a:ext>
              </a:extLst>
            </p:cNvPr>
            <p:cNvSpPr>
              <a:spLocks noChangeShapeType="1"/>
            </p:cNvSpPr>
            <p:nvPr/>
          </p:nvSpPr>
          <p:spPr bwMode="auto">
            <a:xfrm>
              <a:off x="8971001" y="746197"/>
              <a:ext cx="0" cy="2545519"/>
            </a:xfrm>
            <a:prstGeom prst="line">
              <a:avLst/>
            </a:prstGeom>
            <a:noFill/>
            <a:ln w="26988" cap="flat">
              <a:solidFill>
                <a:srgbClr val="0093E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86" name="Line 161">
              <a:extLst>
                <a:ext uri="{FF2B5EF4-FFF2-40B4-BE49-F238E27FC236}">
                  <a16:creationId xmlns:a16="http://schemas.microsoft.com/office/drawing/2014/main" id="{99518154-8620-4C80-9347-466A7A3DE668}"/>
                </a:ext>
              </a:extLst>
            </p:cNvPr>
            <p:cNvSpPr>
              <a:spLocks noChangeShapeType="1"/>
            </p:cNvSpPr>
            <p:nvPr/>
          </p:nvSpPr>
          <p:spPr bwMode="auto">
            <a:xfrm>
              <a:off x="8866155" y="746197"/>
              <a:ext cx="0" cy="2545519"/>
            </a:xfrm>
            <a:prstGeom prst="line">
              <a:avLst/>
            </a:prstGeom>
            <a:noFill/>
            <a:ln w="26988" cap="flat">
              <a:solidFill>
                <a:srgbClr val="0093E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87" name="Line 162">
              <a:extLst>
                <a:ext uri="{FF2B5EF4-FFF2-40B4-BE49-F238E27FC236}">
                  <a16:creationId xmlns:a16="http://schemas.microsoft.com/office/drawing/2014/main" id="{22F69542-1CF7-4FF1-998B-06B21D9089C4}"/>
                </a:ext>
              </a:extLst>
            </p:cNvPr>
            <p:cNvSpPr>
              <a:spLocks noChangeShapeType="1"/>
            </p:cNvSpPr>
            <p:nvPr/>
          </p:nvSpPr>
          <p:spPr bwMode="auto">
            <a:xfrm>
              <a:off x="8757327" y="746197"/>
              <a:ext cx="0" cy="2545519"/>
            </a:xfrm>
            <a:prstGeom prst="line">
              <a:avLst/>
            </a:prstGeom>
            <a:noFill/>
            <a:ln w="26988" cap="flat">
              <a:solidFill>
                <a:srgbClr val="0093E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88" name="Line 163">
              <a:extLst>
                <a:ext uri="{FF2B5EF4-FFF2-40B4-BE49-F238E27FC236}">
                  <a16:creationId xmlns:a16="http://schemas.microsoft.com/office/drawing/2014/main" id="{7FFB0484-E870-40FE-9668-5B88180EC4A1}"/>
                </a:ext>
              </a:extLst>
            </p:cNvPr>
            <p:cNvSpPr>
              <a:spLocks noChangeShapeType="1"/>
            </p:cNvSpPr>
            <p:nvPr/>
          </p:nvSpPr>
          <p:spPr bwMode="auto">
            <a:xfrm>
              <a:off x="8651153" y="746197"/>
              <a:ext cx="0" cy="2545519"/>
            </a:xfrm>
            <a:prstGeom prst="line">
              <a:avLst/>
            </a:prstGeom>
            <a:noFill/>
            <a:ln w="26988" cap="flat">
              <a:solidFill>
                <a:srgbClr val="0093E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89" name="Line 164">
              <a:extLst>
                <a:ext uri="{FF2B5EF4-FFF2-40B4-BE49-F238E27FC236}">
                  <a16:creationId xmlns:a16="http://schemas.microsoft.com/office/drawing/2014/main" id="{1172FDEB-0A22-45FF-830C-21FCE5486686}"/>
                </a:ext>
              </a:extLst>
            </p:cNvPr>
            <p:cNvSpPr>
              <a:spLocks noChangeShapeType="1"/>
            </p:cNvSpPr>
            <p:nvPr/>
          </p:nvSpPr>
          <p:spPr bwMode="auto">
            <a:xfrm>
              <a:off x="8546306" y="746197"/>
              <a:ext cx="0" cy="2545519"/>
            </a:xfrm>
            <a:prstGeom prst="line">
              <a:avLst/>
            </a:prstGeom>
            <a:noFill/>
            <a:ln w="26988" cap="flat">
              <a:solidFill>
                <a:srgbClr val="0093E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grpSp>
      <p:sp>
        <p:nvSpPr>
          <p:cNvPr id="290" name="Freeform 5">
            <a:extLst>
              <a:ext uri="{FF2B5EF4-FFF2-40B4-BE49-F238E27FC236}">
                <a16:creationId xmlns:a16="http://schemas.microsoft.com/office/drawing/2014/main" id="{B51AE4B5-11F9-4506-B0D0-FF969D0A6B3C}"/>
              </a:ext>
            </a:extLst>
          </p:cNvPr>
          <p:cNvSpPr>
            <a:spLocks/>
          </p:cNvSpPr>
          <p:nvPr/>
        </p:nvSpPr>
        <p:spPr bwMode="auto">
          <a:xfrm>
            <a:off x="866" y="4246351"/>
            <a:ext cx="3639653" cy="2606786"/>
          </a:xfrm>
          <a:custGeom>
            <a:avLst/>
            <a:gdLst>
              <a:gd name="T0" fmla="*/ 2339 w 2339"/>
              <a:gd name="T1" fmla="*/ 1336 h 1946"/>
              <a:gd name="T2" fmla="*/ 2230 w 2339"/>
              <a:gd name="T3" fmla="*/ 1268 h 1946"/>
              <a:gd name="T4" fmla="*/ 2230 w 2339"/>
              <a:gd name="T5" fmla="*/ 681 h 1946"/>
              <a:gd name="T6" fmla="*/ 2166 w 2339"/>
              <a:gd name="T7" fmla="*/ 681 h 1946"/>
              <a:gd name="T8" fmla="*/ 2166 w 2339"/>
              <a:gd name="T9" fmla="*/ 1134 h 1946"/>
              <a:gd name="T10" fmla="*/ 2131 w 2339"/>
              <a:gd name="T11" fmla="*/ 1155 h 1946"/>
              <a:gd name="T12" fmla="*/ 2131 w 2339"/>
              <a:gd name="T13" fmla="*/ 603 h 1946"/>
              <a:gd name="T14" fmla="*/ 2025 w 2339"/>
              <a:gd name="T15" fmla="*/ 603 h 1946"/>
              <a:gd name="T16" fmla="*/ 2025 w 2339"/>
              <a:gd name="T17" fmla="*/ 512 h 1946"/>
              <a:gd name="T18" fmla="*/ 1965 w 2339"/>
              <a:gd name="T19" fmla="*/ 512 h 1946"/>
              <a:gd name="T20" fmla="*/ 1965 w 2339"/>
              <a:gd name="T21" fmla="*/ 371 h 1946"/>
              <a:gd name="T22" fmla="*/ 1927 w 2339"/>
              <a:gd name="T23" fmla="*/ 371 h 1946"/>
              <a:gd name="T24" fmla="*/ 1927 w 2339"/>
              <a:gd name="T25" fmla="*/ 511 h 1946"/>
              <a:gd name="T26" fmla="*/ 1858 w 2339"/>
              <a:gd name="T27" fmla="*/ 511 h 1946"/>
              <a:gd name="T28" fmla="*/ 1858 w 2339"/>
              <a:gd name="T29" fmla="*/ 601 h 1946"/>
              <a:gd name="T30" fmla="*/ 1735 w 2339"/>
              <a:gd name="T31" fmla="*/ 601 h 1946"/>
              <a:gd name="T32" fmla="*/ 1735 w 2339"/>
              <a:gd name="T33" fmla="*/ 1140 h 1946"/>
              <a:gd name="T34" fmla="*/ 1542 w 2339"/>
              <a:gd name="T35" fmla="*/ 1140 h 1946"/>
              <a:gd name="T36" fmla="*/ 1542 w 2339"/>
              <a:gd name="T37" fmla="*/ 914 h 1946"/>
              <a:gd name="T38" fmla="*/ 1383 w 2339"/>
              <a:gd name="T39" fmla="*/ 914 h 1946"/>
              <a:gd name="T40" fmla="*/ 1383 w 2339"/>
              <a:gd name="T41" fmla="*/ 1253 h 1946"/>
              <a:gd name="T42" fmla="*/ 1315 w 2339"/>
              <a:gd name="T43" fmla="*/ 1253 h 1946"/>
              <a:gd name="T44" fmla="*/ 1315 w 2339"/>
              <a:gd name="T45" fmla="*/ 1114 h 1946"/>
              <a:gd name="T46" fmla="*/ 1126 w 2339"/>
              <a:gd name="T47" fmla="*/ 1114 h 1946"/>
              <a:gd name="T48" fmla="*/ 1126 w 2339"/>
              <a:gd name="T49" fmla="*/ 725 h 1946"/>
              <a:gd name="T50" fmla="*/ 817 w 2339"/>
              <a:gd name="T51" fmla="*/ 725 h 1946"/>
              <a:gd name="T52" fmla="*/ 817 w 2339"/>
              <a:gd name="T53" fmla="*/ 1301 h 1946"/>
              <a:gd name="T54" fmla="*/ 779 w 2339"/>
              <a:gd name="T55" fmla="*/ 1277 h 1946"/>
              <a:gd name="T56" fmla="*/ 779 w 2339"/>
              <a:gd name="T57" fmla="*/ 0 h 1946"/>
              <a:gd name="T58" fmla="*/ 673 w 2339"/>
              <a:gd name="T59" fmla="*/ 0 h 1946"/>
              <a:gd name="T60" fmla="*/ 673 w 2339"/>
              <a:gd name="T61" fmla="*/ 535 h 1946"/>
              <a:gd name="T62" fmla="*/ 416 w 2339"/>
              <a:gd name="T63" fmla="*/ 535 h 1946"/>
              <a:gd name="T64" fmla="*/ 416 w 2339"/>
              <a:gd name="T65" fmla="*/ 1216 h 1946"/>
              <a:gd name="T66" fmla="*/ 370 w 2339"/>
              <a:gd name="T67" fmla="*/ 1216 h 1946"/>
              <a:gd name="T68" fmla="*/ 370 w 2339"/>
              <a:gd name="T69" fmla="*/ 211 h 1946"/>
              <a:gd name="T70" fmla="*/ 0 w 2339"/>
              <a:gd name="T71" fmla="*/ 211 h 1946"/>
              <a:gd name="T72" fmla="*/ 0 w 2339"/>
              <a:gd name="T73" fmla="*/ 1946 h 1946"/>
              <a:gd name="T74" fmla="*/ 2339 w 2339"/>
              <a:gd name="T75" fmla="*/ 1946 h 1946"/>
              <a:gd name="T76" fmla="*/ 2339 w 2339"/>
              <a:gd name="T77" fmla="*/ 1336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39" h="1946">
                <a:moveTo>
                  <a:pt x="2339" y="1336"/>
                </a:moveTo>
                <a:lnTo>
                  <a:pt x="2230" y="1268"/>
                </a:lnTo>
                <a:lnTo>
                  <a:pt x="2230" y="681"/>
                </a:lnTo>
                <a:lnTo>
                  <a:pt x="2166" y="681"/>
                </a:lnTo>
                <a:lnTo>
                  <a:pt x="2166" y="1134"/>
                </a:lnTo>
                <a:lnTo>
                  <a:pt x="2131" y="1155"/>
                </a:lnTo>
                <a:lnTo>
                  <a:pt x="2131" y="603"/>
                </a:lnTo>
                <a:lnTo>
                  <a:pt x="2025" y="603"/>
                </a:lnTo>
                <a:lnTo>
                  <a:pt x="2025" y="512"/>
                </a:lnTo>
                <a:lnTo>
                  <a:pt x="1965" y="512"/>
                </a:lnTo>
                <a:lnTo>
                  <a:pt x="1965" y="371"/>
                </a:lnTo>
                <a:lnTo>
                  <a:pt x="1927" y="371"/>
                </a:lnTo>
                <a:lnTo>
                  <a:pt x="1927" y="511"/>
                </a:lnTo>
                <a:lnTo>
                  <a:pt x="1858" y="511"/>
                </a:lnTo>
                <a:lnTo>
                  <a:pt x="1858" y="601"/>
                </a:lnTo>
                <a:lnTo>
                  <a:pt x="1735" y="601"/>
                </a:lnTo>
                <a:lnTo>
                  <a:pt x="1735" y="1140"/>
                </a:lnTo>
                <a:lnTo>
                  <a:pt x="1542" y="1140"/>
                </a:lnTo>
                <a:lnTo>
                  <a:pt x="1542" y="914"/>
                </a:lnTo>
                <a:lnTo>
                  <a:pt x="1383" y="914"/>
                </a:lnTo>
                <a:lnTo>
                  <a:pt x="1383" y="1253"/>
                </a:lnTo>
                <a:lnTo>
                  <a:pt x="1315" y="1253"/>
                </a:lnTo>
                <a:lnTo>
                  <a:pt x="1315" y="1114"/>
                </a:lnTo>
                <a:lnTo>
                  <a:pt x="1126" y="1114"/>
                </a:lnTo>
                <a:lnTo>
                  <a:pt x="1126" y="725"/>
                </a:lnTo>
                <a:lnTo>
                  <a:pt x="817" y="725"/>
                </a:lnTo>
                <a:lnTo>
                  <a:pt x="817" y="1301"/>
                </a:lnTo>
                <a:lnTo>
                  <a:pt x="779" y="1277"/>
                </a:lnTo>
                <a:lnTo>
                  <a:pt x="779" y="0"/>
                </a:lnTo>
                <a:lnTo>
                  <a:pt x="673" y="0"/>
                </a:lnTo>
                <a:lnTo>
                  <a:pt x="673" y="535"/>
                </a:lnTo>
                <a:lnTo>
                  <a:pt x="416" y="535"/>
                </a:lnTo>
                <a:lnTo>
                  <a:pt x="416" y="1216"/>
                </a:lnTo>
                <a:lnTo>
                  <a:pt x="370" y="1216"/>
                </a:lnTo>
                <a:lnTo>
                  <a:pt x="370" y="211"/>
                </a:lnTo>
                <a:lnTo>
                  <a:pt x="0" y="211"/>
                </a:lnTo>
                <a:lnTo>
                  <a:pt x="0" y="1946"/>
                </a:lnTo>
                <a:lnTo>
                  <a:pt x="2339" y="1946"/>
                </a:lnTo>
                <a:lnTo>
                  <a:pt x="2339" y="1336"/>
                </a:lnTo>
                <a:close/>
              </a:path>
            </a:pathLst>
          </a:custGeom>
          <a:solidFill>
            <a:schemeClr val="accent2">
              <a:alpha val="64000"/>
            </a:schemeClr>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291" name="Rectangle 14">
            <a:extLst>
              <a:ext uri="{FF2B5EF4-FFF2-40B4-BE49-F238E27FC236}">
                <a16:creationId xmlns:a16="http://schemas.microsoft.com/office/drawing/2014/main" id="{A2BB91A6-3604-4C23-81B6-9402996DAA49}"/>
              </a:ext>
            </a:extLst>
          </p:cNvPr>
          <p:cNvSpPr>
            <a:spLocks noChangeArrowheads="1"/>
          </p:cNvSpPr>
          <p:nvPr/>
        </p:nvSpPr>
        <p:spPr bwMode="auto">
          <a:xfrm>
            <a:off x="447460" y="4467680"/>
            <a:ext cx="79360" cy="80915"/>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292" name="Rectangle 15">
            <a:extLst>
              <a:ext uri="{FF2B5EF4-FFF2-40B4-BE49-F238E27FC236}">
                <a16:creationId xmlns:a16="http://schemas.microsoft.com/office/drawing/2014/main" id="{C2C1E0AB-16B5-45B3-A3B5-EB7BCF2F3192}"/>
              </a:ext>
            </a:extLst>
          </p:cNvPr>
          <p:cNvSpPr>
            <a:spLocks noChangeArrowheads="1"/>
          </p:cNvSpPr>
          <p:nvPr/>
        </p:nvSpPr>
        <p:spPr bwMode="auto">
          <a:xfrm>
            <a:off x="318306" y="4467680"/>
            <a:ext cx="79360" cy="80915"/>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293" name="Rectangle 16">
            <a:extLst>
              <a:ext uri="{FF2B5EF4-FFF2-40B4-BE49-F238E27FC236}">
                <a16:creationId xmlns:a16="http://schemas.microsoft.com/office/drawing/2014/main" id="{6A98C25F-A73B-48CE-B50D-B5C12E0958CE}"/>
              </a:ext>
            </a:extLst>
          </p:cNvPr>
          <p:cNvSpPr>
            <a:spLocks noChangeArrowheads="1"/>
          </p:cNvSpPr>
          <p:nvPr/>
        </p:nvSpPr>
        <p:spPr bwMode="auto">
          <a:xfrm>
            <a:off x="189152" y="4467680"/>
            <a:ext cx="79360" cy="80915"/>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294" name="Rectangle 17">
            <a:extLst>
              <a:ext uri="{FF2B5EF4-FFF2-40B4-BE49-F238E27FC236}">
                <a16:creationId xmlns:a16="http://schemas.microsoft.com/office/drawing/2014/main" id="{1E2EC8E2-FE1D-4247-8FF2-E51AAEC200C9}"/>
              </a:ext>
            </a:extLst>
          </p:cNvPr>
          <p:cNvSpPr>
            <a:spLocks noChangeArrowheads="1"/>
          </p:cNvSpPr>
          <p:nvPr/>
        </p:nvSpPr>
        <p:spPr bwMode="auto">
          <a:xfrm>
            <a:off x="58442" y="4467680"/>
            <a:ext cx="79360" cy="80915"/>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295" name="Rectangle 18">
            <a:extLst>
              <a:ext uri="{FF2B5EF4-FFF2-40B4-BE49-F238E27FC236}">
                <a16:creationId xmlns:a16="http://schemas.microsoft.com/office/drawing/2014/main" id="{D0E8B38B-E93D-4056-A5EB-BA3A731CE7B3}"/>
              </a:ext>
            </a:extLst>
          </p:cNvPr>
          <p:cNvSpPr>
            <a:spLocks noChangeArrowheads="1"/>
          </p:cNvSpPr>
          <p:nvPr/>
        </p:nvSpPr>
        <p:spPr bwMode="auto">
          <a:xfrm>
            <a:off x="447460" y="4587497"/>
            <a:ext cx="79360" cy="80915"/>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296" name="Rectangle 19">
            <a:extLst>
              <a:ext uri="{FF2B5EF4-FFF2-40B4-BE49-F238E27FC236}">
                <a16:creationId xmlns:a16="http://schemas.microsoft.com/office/drawing/2014/main" id="{1E475A38-1FE7-48DC-8C8D-6CC45D3F7920}"/>
              </a:ext>
            </a:extLst>
          </p:cNvPr>
          <p:cNvSpPr>
            <a:spLocks noChangeArrowheads="1"/>
          </p:cNvSpPr>
          <p:nvPr/>
        </p:nvSpPr>
        <p:spPr bwMode="auto">
          <a:xfrm>
            <a:off x="318306" y="4587497"/>
            <a:ext cx="79360" cy="80915"/>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297" name="Rectangle 20">
            <a:extLst>
              <a:ext uri="{FF2B5EF4-FFF2-40B4-BE49-F238E27FC236}">
                <a16:creationId xmlns:a16="http://schemas.microsoft.com/office/drawing/2014/main" id="{F74A751C-C403-4272-98CA-2B532E6FC83B}"/>
              </a:ext>
            </a:extLst>
          </p:cNvPr>
          <p:cNvSpPr>
            <a:spLocks noChangeArrowheads="1"/>
          </p:cNvSpPr>
          <p:nvPr/>
        </p:nvSpPr>
        <p:spPr bwMode="auto">
          <a:xfrm>
            <a:off x="189152" y="4587497"/>
            <a:ext cx="79360" cy="80915"/>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298" name="Rectangle 21">
            <a:extLst>
              <a:ext uri="{FF2B5EF4-FFF2-40B4-BE49-F238E27FC236}">
                <a16:creationId xmlns:a16="http://schemas.microsoft.com/office/drawing/2014/main" id="{413DDCCD-FB2D-4D33-8F10-C829ABA3899B}"/>
              </a:ext>
            </a:extLst>
          </p:cNvPr>
          <p:cNvSpPr>
            <a:spLocks noChangeArrowheads="1"/>
          </p:cNvSpPr>
          <p:nvPr/>
        </p:nvSpPr>
        <p:spPr bwMode="auto">
          <a:xfrm>
            <a:off x="58442" y="4587497"/>
            <a:ext cx="79360" cy="80915"/>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299" name="Rectangle 22">
            <a:extLst>
              <a:ext uri="{FF2B5EF4-FFF2-40B4-BE49-F238E27FC236}">
                <a16:creationId xmlns:a16="http://schemas.microsoft.com/office/drawing/2014/main" id="{B9AE7542-A02F-499D-9820-CB6C78093F22}"/>
              </a:ext>
            </a:extLst>
          </p:cNvPr>
          <p:cNvSpPr>
            <a:spLocks noChangeArrowheads="1"/>
          </p:cNvSpPr>
          <p:nvPr/>
        </p:nvSpPr>
        <p:spPr bwMode="auto">
          <a:xfrm>
            <a:off x="447460" y="4708871"/>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00" name="Rectangle 23">
            <a:extLst>
              <a:ext uri="{FF2B5EF4-FFF2-40B4-BE49-F238E27FC236}">
                <a16:creationId xmlns:a16="http://schemas.microsoft.com/office/drawing/2014/main" id="{8DBC7C93-1479-4B3E-93E0-0ADA79C309D5}"/>
              </a:ext>
            </a:extLst>
          </p:cNvPr>
          <p:cNvSpPr>
            <a:spLocks noChangeArrowheads="1"/>
          </p:cNvSpPr>
          <p:nvPr/>
        </p:nvSpPr>
        <p:spPr bwMode="auto">
          <a:xfrm>
            <a:off x="318306" y="4708871"/>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01" name="Rectangle 24">
            <a:extLst>
              <a:ext uri="{FF2B5EF4-FFF2-40B4-BE49-F238E27FC236}">
                <a16:creationId xmlns:a16="http://schemas.microsoft.com/office/drawing/2014/main" id="{64668EDB-B92D-47CB-836A-4EBF404B8098}"/>
              </a:ext>
            </a:extLst>
          </p:cNvPr>
          <p:cNvSpPr>
            <a:spLocks noChangeArrowheads="1"/>
          </p:cNvSpPr>
          <p:nvPr/>
        </p:nvSpPr>
        <p:spPr bwMode="auto">
          <a:xfrm>
            <a:off x="189152" y="4708871"/>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02" name="Rectangle 25">
            <a:extLst>
              <a:ext uri="{FF2B5EF4-FFF2-40B4-BE49-F238E27FC236}">
                <a16:creationId xmlns:a16="http://schemas.microsoft.com/office/drawing/2014/main" id="{46AFAE31-94B8-4F13-90C0-20CC6F5AB95C}"/>
              </a:ext>
            </a:extLst>
          </p:cNvPr>
          <p:cNvSpPr>
            <a:spLocks noChangeArrowheads="1"/>
          </p:cNvSpPr>
          <p:nvPr/>
        </p:nvSpPr>
        <p:spPr bwMode="auto">
          <a:xfrm>
            <a:off x="58442" y="4708871"/>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03" name="Rectangle 26">
            <a:extLst>
              <a:ext uri="{FF2B5EF4-FFF2-40B4-BE49-F238E27FC236}">
                <a16:creationId xmlns:a16="http://schemas.microsoft.com/office/drawing/2014/main" id="{A9346258-E38D-4A4E-8409-09A0F2F824BB}"/>
              </a:ext>
            </a:extLst>
          </p:cNvPr>
          <p:cNvSpPr>
            <a:spLocks noChangeArrowheads="1"/>
          </p:cNvSpPr>
          <p:nvPr/>
        </p:nvSpPr>
        <p:spPr bwMode="auto">
          <a:xfrm>
            <a:off x="447460" y="4828689"/>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04" name="Rectangle 27">
            <a:extLst>
              <a:ext uri="{FF2B5EF4-FFF2-40B4-BE49-F238E27FC236}">
                <a16:creationId xmlns:a16="http://schemas.microsoft.com/office/drawing/2014/main" id="{371E200D-98F9-429F-8AB5-079EC0754E14}"/>
              </a:ext>
            </a:extLst>
          </p:cNvPr>
          <p:cNvSpPr>
            <a:spLocks noChangeArrowheads="1"/>
          </p:cNvSpPr>
          <p:nvPr/>
        </p:nvSpPr>
        <p:spPr bwMode="auto">
          <a:xfrm>
            <a:off x="318306" y="4828689"/>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05" name="Rectangle 28">
            <a:extLst>
              <a:ext uri="{FF2B5EF4-FFF2-40B4-BE49-F238E27FC236}">
                <a16:creationId xmlns:a16="http://schemas.microsoft.com/office/drawing/2014/main" id="{65187428-761A-4CA4-8EC5-FC5D47DD9CCC}"/>
              </a:ext>
            </a:extLst>
          </p:cNvPr>
          <p:cNvSpPr>
            <a:spLocks noChangeArrowheads="1"/>
          </p:cNvSpPr>
          <p:nvPr/>
        </p:nvSpPr>
        <p:spPr bwMode="auto">
          <a:xfrm>
            <a:off x="189152" y="4828689"/>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06" name="Rectangle 29">
            <a:extLst>
              <a:ext uri="{FF2B5EF4-FFF2-40B4-BE49-F238E27FC236}">
                <a16:creationId xmlns:a16="http://schemas.microsoft.com/office/drawing/2014/main" id="{FAABB749-1CD7-4A49-BD70-6FFA3F3C10E7}"/>
              </a:ext>
            </a:extLst>
          </p:cNvPr>
          <p:cNvSpPr>
            <a:spLocks noChangeArrowheads="1"/>
          </p:cNvSpPr>
          <p:nvPr/>
        </p:nvSpPr>
        <p:spPr bwMode="auto">
          <a:xfrm>
            <a:off x="58442" y="4828689"/>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07" name="Rectangle 30">
            <a:extLst>
              <a:ext uri="{FF2B5EF4-FFF2-40B4-BE49-F238E27FC236}">
                <a16:creationId xmlns:a16="http://schemas.microsoft.com/office/drawing/2014/main" id="{FD8CC899-97F6-46B8-BB7B-9C2896CACADA}"/>
              </a:ext>
            </a:extLst>
          </p:cNvPr>
          <p:cNvSpPr>
            <a:spLocks noChangeArrowheads="1"/>
          </p:cNvSpPr>
          <p:nvPr/>
        </p:nvSpPr>
        <p:spPr bwMode="auto">
          <a:xfrm>
            <a:off x="447460" y="4948506"/>
            <a:ext cx="79360" cy="80915"/>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08" name="Rectangle 31">
            <a:extLst>
              <a:ext uri="{FF2B5EF4-FFF2-40B4-BE49-F238E27FC236}">
                <a16:creationId xmlns:a16="http://schemas.microsoft.com/office/drawing/2014/main" id="{085E6BA7-89EB-4C82-BA93-672F2F4B4733}"/>
              </a:ext>
            </a:extLst>
          </p:cNvPr>
          <p:cNvSpPr>
            <a:spLocks noChangeArrowheads="1"/>
          </p:cNvSpPr>
          <p:nvPr/>
        </p:nvSpPr>
        <p:spPr bwMode="auto">
          <a:xfrm>
            <a:off x="318306" y="4948506"/>
            <a:ext cx="79360" cy="80915"/>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09" name="Rectangle 32">
            <a:extLst>
              <a:ext uri="{FF2B5EF4-FFF2-40B4-BE49-F238E27FC236}">
                <a16:creationId xmlns:a16="http://schemas.microsoft.com/office/drawing/2014/main" id="{9B8DC736-CEC0-4174-BEFF-D5761016B3BF}"/>
              </a:ext>
            </a:extLst>
          </p:cNvPr>
          <p:cNvSpPr>
            <a:spLocks noChangeArrowheads="1"/>
          </p:cNvSpPr>
          <p:nvPr/>
        </p:nvSpPr>
        <p:spPr bwMode="auto">
          <a:xfrm>
            <a:off x="189152" y="4948506"/>
            <a:ext cx="79360" cy="80915"/>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10" name="Rectangle 33">
            <a:extLst>
              <a:ext uri="{FF2B5EF4-FFF2-40B4-BE49-F238E27FC236}">
                <a16:creationId xmlns:a16="http://schemas.microsoft.com/office/drawing/2014/main" id="{32E91993-C6F7-4ABC-8B88-2F4A3632EBFE}"/>
              </a:ext>
            </a:extLst>
          </p:cNvPr>
          <p:cNvSpPr>
            <a:spLocks noChangeArrowheads="1"/>
          </p:cNvSpPr>
          <p:nvPr/>
        </p:nvSpPr>
        <p:spPr bwMode="auto">
          <a:xfrm>
            <a:off x="58442" y="4948506"/>
            <a:ext cx="79360" cy="80915"/>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11" name="Rectangle 34">
            <a:extLst>
              <a:ext uri="{FF2B5EF4-FFF2-40B4-BE49-F238E27FC236}">
                <a16:creationId xmlns:a16="http://schemas.microsoft.com/office/drawing/2014/main" id="{119E0D7A-0432-45AF-97AA-DF2F6BBAAF7F}"/>
              </a:ext>
            </a:extLst>
          </p:cNvPr>
          <p:cNvSpPr>
            <a:spLocks noChangeArrowheads="1"/>
          </p:cNvSpPr>
          <p:nvPr/>
        </p:nvSpPr>
        <p:spPr bwMode="auto">
          <a:xfrm>
            <a:off x="447460" y="5068323"/>
            <a:ext cx="79360" cy="80915"/>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12" name="Rectangle 35">
            <a:extLst>
              <a:ext uri="{FF2B5EF4-FFF2-40B4-BE49-F238E27FC236}">
                <a16:creationId xmlns:a16="http://schemas.microsoft.com/office/drawing/2014/main" id="{83E247A4-15A9-4C19-A236-D2B238E2537A}"/>
              </a:ext>
            </a:extLst>
          </p:cNvPr>
          <p:cNvSpPr>
            <a:spLocks noChangeArrowheads="1"/>
          </p:cNvSpPr>
          <p:nvPr/>
        </p:nvSpPr>
        <p:spPr bwMode="auto">
          <a:xfrm>
            <a:off x="318306" y="5068323"/>
            <a:ext cx="79360" cy="80915"/>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13" name="Rectangle 36">
            <a:extLst>
              <a:ext uri="{FF2B5EF4-FFF2-40B4-BE49-F238E27FC236}">
                <a16:creationId xmlns:a16="http://schemas.microsoft.com/office/drawing/2014/main" id="{78EDBE77-29BD-48D8-AA2C-3D4BC203B50A}"/>
              </a:ext>
            </a:extLst>
          </p:cNvPr>
          <p:cNvSpPr>
            <a:spLocks noChangeArrowheads="1"/>
          </p:cNvSpPr>
          <p:nvPr/>
        </p:nvSpPr>
        <p:spPr bwMode="auto">
          <a:xfrm>
            <a:off x="189152" y="5068323"/>
            <a:ext cx="79360" cy="80915"/>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14" name="Rectangle 37">
            <a:extLst>
              <a:ext uri="{FF2B5EF4-FFF2-40B4-BE49-F238E27FC236}">
                <a16:creationId xmlns:a16="http://schemas.microsoft.com/office/drawing/2014/main" id="{74E48C37-15AA-46CC-8D3D-32194680A1E7}"/>
              </a:ext>
            </a:extLst>
          </p:cNvPr>
          <p:cNvSpPr>
            <a:spLocks noChangeArrowheads="1"/>
          </p:cNvSpPr>
          <p:nvPr/>
        </p:nvSpPr>
        <p:spPr bwMode="auto">
          <a:xfrm>
            <a:off x="58442" y="5068323"/>
            <a:ext cx="79360" cy="80915"/>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15" name="Rectangle 38">
            <a:extLst>
              <a:ext uri="{FF2B5EF4-FFF2-40B4-BE49-F238E27FC236}">
                <a16:creationId xmlns:a16="http://schemas.microsoft.com/office/drawing/2014/main" id="{2187FC50-70C7-466D-9B04-FBED601359F9}"/>
              </a:ext>
            </a:extLst>
          </p:cNvPr>
          <p:cNvSpPr>
            <a:spLocks noChangeArrowheads="1"/>
          </p:cNvSpPr>
          <p:nvPr/>
        </p:nvSpPr>
        <p:spPr bwMode="auto">
          <a:xfrm>
            <a:off x="447460" y="5189697"/>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16" name="Rectangle 39">
            <a:extLst>
              <a:ext uri="{FF2B5EF4-FFF2-40B4-BE49-F238E27FC236}">
                <a16:creationId xmlns:a16="http://schemas.microsoft.com/office/drawing/2014/main" id="{678A853C-AFBA-4657-8FC9-6AB3A12515C9}"/>
              </a:ext>
            </a:extLst>
          </p:cNvPr>
          <p:cNvSpPr>
            <a:spLocks noChangeArrowheads="1"/>
          </p:cNvSpPr>
          <p:nvPr/>
        </p:nvSpPr>
        <p:spPr bwMode="auto">
          <a:xfrm>
            <a:off x="318306" y="5189697"/>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17" name="Rectangle 40">
            <a:extLst>
              <a:ext uri="{FF2B5EF4-FFF2-40B4-BE49-F238E27FC236}">
                <a16:creationId xmlns:a16="http://schemas.microsoft.com/office/drawing/2014/main" id="{981E180E-0FAD-483B-9924-72A73599BF37}"/>
              </a:ext>
            </a:extLst>
          </p:cNvPr>
          <p:cNvSpPr>
            <a:spLocks noChangeArrowheads="1"/>
          </p:cNvSpPr>
          <p:nvPr/>
        </p:nvSpPr>
        <p:spPr bwMode="auto">
          <a:xfrm>
            <a:off x="189152" y="5189697"/>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18" name="Rectangle 41">
            <a:extLst>
              <a:ext uri="{FF2B5EF4-FFF2-40B4-BE49-F238E27FC236}">
                <a16:creationId xmlns:a16="http://schemas.microsoft.com/office/drawing/2014/main" id="{D8EB9FE5-3FAB-4138-9E99-C970539E74A7}"/>
              </a:ext>
            </a:extLst>
          </p:cNvPr>
          <p:cNvSpPr>
            <a:spLocks noChangeArrowheads="1"/>
          </p:cNvSpPr>
          <p:nvPr/>
        </p:nvSpPr>
        <p:spPr bwMode="auto">
          <a:xfrm>
            <a:off x="58442" y="5189697"/>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19" name="Rectangle 42">
            <a:extLst>
              <a:ext uri="{FF2B5EF4-FFF2-40B4-BE49-F238E27FC236}">
                <a16:creationId xmlns:a16="http://schemas.microsoft.com/office/drawing/2014/main" id="{B8BFD321-DE5F-46FE-B0E1-B447460E56DB}"/>
              </a:ext>
            </a:extLst>
          </p:cNvPr>
          <p:cNvSpPr>
            <a:spLocks noChangeArrowheads="1"/>
          </p:cNvSpPr>
          <p:nvPr/>
        </p:nvSpPr>
        <p:spPr bwMode="auto">
          <a:xfrm>
            <a:off x="447460" y="5309515"/>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20" name="Rectangle 43">
            <a:extLst>
              <a:ext uri="{FF2B5EF4-FFF2-40B4-BE49-F238E27FC236}">
                <a16:creationId xmlns:a16="http://schemas.microsoft.com/office/drawing/2014/main" id="{3F72498F-29A7-411F-9228-5C7E00C85987}"/>
              </a:ext>
            </a:extLst>
          </p:cNvPr>
          <p:cNvSpPr>
            <a:spLocks noChangeArrowheads="1"/>
          </p:cNvSpPr>
          <p:nvPr/>
        </p:nvSpPr>
        <p:spPr bwMode="auto">
          <a:xfrm>
            <a:off x="318306" y="5309515"/>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21" name="Rectangle 44">
            <a:extLst>
              <a:ext uri="{FF2B5EF4-FFF2-40B4-BE49-F238E27FC236}">
                <a16:creationId xmlns:a16="http://schemas.microsoft.com/office/drawing/2014/main" id="{C9B52BDD-0A18-46CC-883A-38C207F43F3B}"/>
              </a:ext>
            </a:extLst>
          </p:cNvPr>
          <p:cNvSpPr>
            <a:spLocks noChangeArrowheads="1"/>
          </p:cNvSpPr>
          <p:nvPr/>
        </p:nvSpPr>
        <p:spPr bwMode="auto">
          <a:xfrm>
            <a:off x="189152" y="5309515"/>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22" name="Rectangle 45">
            <a:extLst>
              <a:ext uri="{FF2B5EF4-FFF2-40B4-BE49-F238E27FC236}">
                <a16:creationId xmlns:a16="http://schemas.microsoft.com/office/drawing/2014/main" id="{3EC1679E-FD5C-46ED-B5A2-3F1591B7EE3B}"/>
              </a:ext>
            </a:extLst>
          </p:cNvPr>
          <p:cNvSpPr>
            <a:spLocks noChangeArrowheads="1"/>
          </p:cNvSpPr>
          <p:nvPr/>
        </p:nvSpPr>
        <p:spPr bwMode="auto">
          <a:xfrm>
            <a:off x="58442" y="5309515"/>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23" name="Rectangle 46">
            <a:extLst>
              <a:ext uri="{FF2B5EF4-FFF2-40B4-BE49-F238E27FC236}">
                <a16:creationId xmlns:a16="http://schemas.microsoft.com/office/drawing/2014/main" id="{F950F8ED-269C-45F7-950A-35C432F1DBFC}"/>
              </a:ext>
            </a:extLst>
          </p:cNvPr>
          <p:cNvSpPr>
            <a:spLocks noChangeArrowheads="1"/>
          </p:cNvSpPr>
          <p:nvPr/>
        </p:nvSpPr>
        <p:spPr bwMode="auto">
          <a:xfrm>
            <a:off x="447460" y="5430889"/>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24" name="Rectangle 47">
            <a:extLst>
              <a:ext uri="{FF2B5EF4-FFF2-40B4-BE49-F238E27FC236}">
                <a16:creationId xmlns:a16="http://schemas.microsoft.com/office/drawing/2014/main" id="{0D01D5C0-DF87-4A10-8057-B61CF5EAEC1E}"/>
              </a:ext>
            </a:extLst>
          </p:cNvPr>
          <p:cNvSpPr>
            <a:spLocks noChangeArrowheads="1"/>
          </p:cNvSpPr>
          <p:nvPr/>
        </p:nvSpPr>
        <p:spPr bwMode="auto">
          <a:xfrm>
            <a:off x="318306" y="5430889"/>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25" name="Rectangle 48">
            <a:extLst>
              <a:ext uri="{FF2B5EF4-FFF2-40B4-BE49-F238E27FC236}">
                <a16:creationId xmlns:a16="http://schemas.microsoft.com/office/drawing/2014/main" id="{0E1B3726-7647-4948-8C81-7D3B52A88DA4}"/>
              </a:ext>
            </a:extLst>
          </p:cNvPr>
          <p:cNvSpPr>
            <a:spLocks noChangeArrowheads="1"/>
          </p:cNvSpPr>
          <p:nvPr/>
        </p:nvSpPr>
        <p:spPr bwMode="auto">
          <a:xfrm>
            <a:off x="189152" y="5430889"/>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26" name="Rectangle 49">
            <a:extLst>
              <a:ext uri="{FF2B5EF4-FFF2-40B4-BE49-F238E27FC236}">
                <a16:creationId xmlns:a16="http://schemas.microsoft.com/office/drawing/2014/main" id="{4692BEEE-3054-435C-A85D-A1DBA607736C}"/>
              </a:ext>
            </a:extLst>
          </p:cNvPr>
          <p:cNvSpPr>
            <a:spLocks noChangeArrowheads="1"/>
          </p:cNvSpPr>
          <p:nvPr/>
        </p:nvSpPr>
        <p:spPr bwMode="auto">
          <a:xfrm>
            <a:off x="58442" y="5430889"/>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28" name="Rectangle 60">
            <a:extLst>
              <a:ext uri="{FF2B5EF4-FFF2-40B4-BE49-F238E27FC236}">
                <a16:creationId xmlns:a16="http://schemas.microsoft.com/office/drawing/2014/main" id="{08D43266-F41F-47BF-AB3A-06DC99BF6835}"/>
              </a:ext>
            </a:extLst>
          </p:cNvPr>
          <p:cNvSpPr>
            <a:spLocks noChangeArrowheads="1"/>
          </p:cNvSpPr>
          <p:nvPr/>
        </p:nvSpPr>
        <p:spPr bwMode="auto">
          <a:xfrm>
            <a:off x="718216" y="5130566"/>
            <a:ext cx="96476" cy="94921"/>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29" name="Rectangle 61">
            <a:extLst>
              <a:ext uri="{FF2B5EF4-FFF2-40B4-BE49-F238E27FC236}">
                <a16:creationId xmlns:a16="http://schemas.microsoft.com/office/drawing/2014/main" id="{48C39FCC-FE13-4D53-ABE2-54658C25B613}"/>
              </a:ext>
            </a:extLst>
          </p:cNvPr>
          <p:cNvSpPr>
            <a:spLocks noChangeArrowheads="1"/>
          </p:cNvSpPr>
          <p:nvPr/>
        </p:nvSpPr>
        <p:spPr bwMode="auto">
          <a:xfrm>
            <a:off x="876935" y="5130566"/>
            <a:ext cx="96476" cy="94921"/>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30" name="Rectangle 62">
            <a:extLst>
              <a:ext uri="{FF2B5EF4-FFF2-40B4-BE49-F238E27FC236}">
                <a16:creationId xmlns:a16="http://schemas.microsoft.com/office/drawing/2014/main" id="{6A611E6E-113C-452C-9999-52B62C0AD89B}"/>
              </a:ext>
            </a:extLst>
          </p:cNvPr>
          <p:cNvSpPr>
            <a:spLocks noChangeArrowheads="1"/>
          </p:cNvSpPr>
          <p:nvPr/>
        </p:nvSpPr>
        <p:spPr bwMode="auto">
          <a:xfrm>
            <a:off x="1259731" y="5130566"/>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31" name="Rectangle 63">
            <a:extLst>
              <a:ext uri="{FF2B5EF4-FFF2-40B4-BE49-F238E27FC236}">
                <a16:creationId xmlns:a16="http://schemas.microsoft.com/office/drawing/2014/main" id="{E3382414-37E6-4BA6-89B0-4A4F2CDDBF36}"/>
              </a:ext>
            </a:extLst>
          </p:cNvPr>
          <p:cNvSpPr>
            <a:spLocks noChangeArrowheads="1"/>
          </p:cNvSpPr>
          <p:nvPr/>
        </p:nvSpPr>
        <p:spPr bwMode="auto">
          <a:xfrm>
            <a:off x="1420005" y="5130566"/>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32" name="Rectangle 64">
            <a:extLst>
              <a:ext uri="{FF2B5EF4-FFF2-40B4-BE49-F238E27FC236}">
                <a16:creationId xmlns:a16="http://schemas.microsoft.com/office/drawing/2014/main" id="{43F66F2E-4531-44AC-B9CD-9481B43D692C}"/>
              </a:ext>
            </a:extLst>
          </p:cNvPr>
          <p:cNvSpPr>
            <a:spLocks noChangeArrowheads="1"/>
          </p:cNvSpPr>
          <p:nvPr/>
        </p:nvSpPr>
        <p:spPr bwMode="auto">
          <a:xfrm>
            <a:off x="1580281" y="5130566"/>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33" name="Rectangle 65">
            <a:extLst>
              <a:ext uri="{FF2B5EF4-FFF2-40B4-BE49-F238E27FC236}">
                <a16:creationId xmlns:a16="http://schemas.microsoft.com/office/drawing/2014/main" id="{3C5271D7-90ED-40D9-870D-F1E039C81178}"/>
              </a:ext>
            </a:extLst>
          </p:cNvPr>
          <p:cNvSpPr>
            <a:spLocks noChangeArrowheads="1"/>
          </p:cNvSpPr>
          <p:nvPr/>
        </p:nvSpPr>
        <p:spPr bwMode="auto">
          <a:xfrm>
            <a:off x="718216" y="5314182"/>
            <a:ext cx="96476" cy="94921"/>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34" name="Rectangle 66">
            <a:extLst>
              <a:ext uri="{FF2B5EF4-FFF2-40B4-BE49-F238E27FC236}">
                <a16:creationId xmlns:a16="http://schemas.microsoft.com/office/drawing/2014/main" id="{983A4C34-E5B9-426F-AECC-13F87215C4A0}"/>
              </a:ext>
            </a:extLst>
          </p:cNvPr>
          <p:cNvSpPr>
            <a:spLocks noChangeArrowheads="1"/>
          </p:cNvSpPr>
          <p:nvPr/>
        </p:nvSpPr>
        <p:spPr bwMode="auto">
          <a:xfrm>
            <a:off x="876935" y="5314182"/>
            <a:ext cx="96476" cy="94921"/>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35" name="Rectangle 67">
            <a:extLst>
              <a:ext uri="{FF2B5EF4-FFF2-40B4-BE49-F238E27FC236}">
                <a16:creationId xmlns:a16="http://schemas.microsoft.com/office/drawing/2014/main" id="{12572027-1FFF-43F5-B52D-A133BCE631E6}"/>
              </a:ext>
            </a:extLst>
          </p:cNvPr>
          <p:cNvSpPr>
            <a:spLocks noChangeArrowheads="1"/>
          </p:cNvSpPr>
          <p:nvPr/>
        </p:nvSpPr>
        <p:spPr bwMode="auto">
          <a:xfrm>
            <a:off x="1241055" y="5314182"/>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36" name="Rectangle 68">
            <a:extLst>
              <a:ext uri="{FF2B5EF4-FFF2-40B4-BE49-F238E27FC236}">
                <a16:creationId xmlns:a16="http://schemas.microsoft.com/office/drawing/2014/main" id="{31821C3D-8D07-4328-B28A-95ECB0B912A0}"/>
              </a:ext>
            </a:extLst>
          </p:cNvPr>
          <p:cNvSpPr>
            <a:spLocks noChangeArrowheads="1"/>
          </p:cNvSpPr>
          <p:nvPr/>
        </p:nvSpPr>
        <p:spPr bwMode="auto">
          <a:xfrm>
            <a:off x="1401331" y="5314182"/>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37" name="Rectangle 69">
            <a:extLst>
              <a:ext uri="{FF2B5EF4-FFF2-40B4-BE49-F238E27FC236}">
                <a16:creationId xmlns:a16="http://schemas.microsoft.com/office/drawing/2014/main" id="{68B9C334-BFEC-45C8-AB32-06C884FF2883}"/>
              </a:ext>
            </a:extLst>
          </p:cNvPr>
          <p:cNvSpPr>
            <a:spLocks noChangeArrowheads="1"/>
          </p:cNvSpPr>
          <p:nvPr/>
        </p:nvSpPr>
        <p:spPr bwMode="auto">
          <a:xfrm>
            <a:off x="1561607" y="5314182"/>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38" name="Rectangle 70">
            <a:extLst>
              <a:ext uri="{FF2B5EF4-FFF2-40B4-BE49-F238E27FC236}">
                <a16:creationId xmlns:a16="http://schemas.microsoft.com/office/drawing/2014/main" id="{39B5B156-3041-4E8E-97E0-B576E6457D63}"/>
              </a:ext>
            </a:extLst>
          </p:cNvPr>
          <p:cNvSpPr>
            <a:spLocks noChangeArrowheads="1"/>
          </p:cNvSpPr>
          <p:nvPr/>
        </p:nvSpPr>
        <p:spPr bwMode="auto">
          <a:xfrm>
            <a:off x="718216" y="5497799"/>
            <a:ext cx="96476" cy="94921"/>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39" name="Rectangle 71">
            <a:extLst>
              <a:ext uri="{FF2B5EF4-FFF2-40B4-BE49-F238E27FC236}">
                <a16:creationId xmlns:a16="http://schemas.microsoft.com/office/drawing/2014/main" id="{926C56E5-EE8C-4E9D-8BA3-7F40501C018B}"/>
              </a:ext>
            </a:extLst>
          </p:cNvPr>
          <p:cNvSpPr>
            <a:spLocks noChangeArrowheads="1"/>
          </p:cNvSpPr>
          <p:nvPr/>
        </p:nvSpPr>
        <p:spPr bwMode="auto">
          <a:xfrm>
            <a:off x="876935" y="5497799"/>
            <a:ext cx="96476" cy="94921"/>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40" name="Rectangle 72">
            <a:extLst>
              <a:ext uri="{FF2B5EF4-FFF2-40B4-BE49-F238E27FC236}">
                <a16:creationId xmlns:a16="http://schemas.microsoft.com/office/drawing/2014/main" id="{41EE08AE-D006-4C98-BBAC-A34EA3A55F9C}"/>
              </a:ext>
            </a:extLst>
          </p:cNvPr>
          <p:cNvSpPr>
            <a:spLocks noChangeArrowheads="1"/>
          </p:cNvSpPr>
          <p:nvPr/>
        </p:nvSpPr>
        <p:spPr bwMode="auto">
          <a:xfrm>
            <a:off x="1241055" y="5497799"/>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41" name="Rectangle 73">
            <a:extLst>
              <a:ext uri="{FF2B5EF4-FFF2-40B4-BE49-F238E27FC236}">
                <a16:creationId xmlns:a16="http://schemas.microsoft.com/office/drawing/2014/main" id="{C039C938-DF75-4A75-8D2A-F61EEE90A7E4}"/>
              </a:ext>
            </a:extLst>
          </p:cNvPr>
          <p:cNvSpPr>
            <a:spLocks noChangeArrowheads="1"/>
          </p:cNvSpPr>
          <p:nvPr/>
        </p:nvSpPr>
        <p:spPr bwMode="auto">
          <a:xfrm>
            <a:off x="1401331" y="5497799"/>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42" name="Rectangle 74">
            <a:extLst>
              <a:ext uri="{FF2B5EF4-FFF2-40B4-BE49-F238E27FC236}">
                <a16:creationId xmlns:a16="http://schemas.microsoft.com/office/drawing/2014/main" id="{AB953EE6-FD0D-46D5-AD88-4674E0B75FEA}"/>
              </a:ext>
            </a:extLst>
          </p:cNvPr>
          <p:cNvSpPr>
            <a:spLocks noChangeArrowheads="1"/>
          </p:cNvSpPr>
          <p:nvPr/>
        </p:nvSpPr>
        <p:spPr bwMode="auto">
          <a:xfrm>
            <a:off x="1561607" y="5497799"/>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43" name="Rectangle 75">
            <a:extLst>
              <a:ext uri="{FF2B5EF4-FFF2-40B4-BE49-F238E27FC236}">
                <a16:creationId xmlns:a16="http://schemas.microsoft.com/office/drawing/2014/main" id="{36E3AEA7-3C0E-4D72-BEE1-758A5AFFD4CC}"/>
              </a:ext>
            </a:extLst>
          </p:cNvPr>
          <p:cNvSpPr>
            <a:spLocks noChangeArrowheads="1"/>
          </p:cNvSpPr>
          <p:nvPr/>
        </p:nvSpPr>
        <p:spPr bwMode="auto">
          <a:xfrm>
            <a:off x="718216" y="5681415"/>
            <a:ext cx="96476" cy="94921"/>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44" name="Rectangle 76">
            <a:extLst>
              <a:ext uri="{FF2B5EF4-FFF2-40B4-BE49-F238E27FC236}">
                <a16:creationId xmlns:a16="http://schemas.microsoft.com/office/drawing/2014/main" id="{8DF831DF-01B5-46C1-83B1-FC13989F4E0D}"/>
              </a:ext>
            </a:extLst>
          </p:cNvPr>
          <p:cNvSpPr>
            <a:spLocks noChangeArrowheads="1"/>
          </p:cNvSpPr>
          <p:nvPr/>
        </p:nvSpPr>
        <p:spPr bwMode="auto">
          <a:xfrm>
            <a:off x="876935" y="5681415"/>
            <a:ext cx="96476" cy="94921"/>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45" name="Rectangle 77">
            <a:extLst>
              <a:ext uri="{FF2B5EF4-FFF2-40B4-BE49-F238E27FC236}">
                <a16:creationId xmlns:a16="http://schemas.microsoft.com/office/drawing/2014/main" id="{4F9180F3-9297-42F2-A2F4-D0F47452D40A}"/>
              </a:ext>
            </a:extLst>
          </p:cNvPr>
          <p:cNvSpPr>
            <a:spLocks noChangeArrowheads="1"/>
          </p:cNvSpPr>
          <p:nvPr/>
        </p:nvSpPr>
        <p:spPr bwMode="auto">
          <a:xfrm>
            <a:off x="1241055" y="5681415"/>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46" name="Rectangle 78">
            <a:extLst>
              <a:ext uri="{FF2B5EF4-FFF2-40B4-BE49-F238E27FC236}">
                <a16:creationId xmlns:a16="http://schemas.microsoft.com/office/drawing/2014/main" id="{9CD7F38D-5E5A-4313-865E-E44AF346664C}"/>
              </a:ext>
            </a:extLst>
          </p:cNvPr>
          <p:cNvSpPr>
            <a:spLocks noChangeArrowheads="1"/>
          </p:cNvSpPr>
          <p:nvPr/>
        </p:nvSpPr>
        <p:spPr bwMode="auto">
          <a:xfrm>
            <a:off x="1401331" y="5681415"/>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47" name="Rectangle 79">
            <a:extLst>
              <a:ext uri="{FF2B5EF4-FFF2-40B4-BE49-F238E27FC236}">
                <a16:creationId xmlns:a16="http://schemas.microsoft.com/office/drawing/2014/main" id="{CB3A7623-1078-4A25-B5FF-4A4BD8FBC9EE}"/>
              </a:ext>
            </a:extLst>
          </p:cNvPr>
          <p:cNvSpPr>
            <a:spLocks noChangeArrowheads="1"/>
          </p:cNvSpPr>
          <p:nvPr/>
        </p:nvSpPr>
        <p:spPr bwMode="auto">
          <a:xfrm>
            <a:off x="1561607" y="5681415"/>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48" name="Rectangle 80">
            <a:extLst>
              <a:ext uri="{FF2B5EF4-FFF2-40B4-BE49-F238E27FC236}">
                <a16:creationId xmlns:a16="http://schemas.microsoft.com/office/drawing/2014/main" id="{1134E37E-7930-4533-A0AA-14B4CBC240CF}"/>
              </a:ext>
            </a:extLst>
          </p:cNvPr>
          <p:cNvSpPr>
            <a:spLocks noChangeArrowheads="1"/>
          </p:cNvSpPr>
          <p:nvPr/>
        </p:nvSpPr>
        <p:spPr bwMode="auto">
          <a:xfrm>
            <a:off x="718216" y="5865033"/>
            <a:ext cx="96476" cy="96476"/>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49" name="Rectangle 81">
            <a:extLst>
              <a:ext uri="{FF2B5EF4-FFF2-40B4-BE49-F238E27FC236}">
                <a16:creationId xmlns:a16="http://schemas.microsoft.com/office/drawing/2014/main" id="{1F9EAD66-9564-4563-A0DA-DBD064264C64}"/>
              </a:ext>
            </a:extLst>
          </p:cNvPr>
          <p:cNvSpPr>
            <a:spLocks noChangeArrowheads="1"/>
          </p:cNvSpPr>
          <p:nvPr/>
        </p:nvSpPr>
        <p:spPr bwMode="auto">
          <a:xfrm>
            <a:off x="876935" y="5865033"/>
            <a:ext cx="96476" cy="96476"/>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50" name="Rectangle 82">
            <a:extLst>
              <a:ext uri="{FF2B5EF4-FFF2-40B4-BE49-F238E27FC236}">
                <a16:creationId xmlns:a16="http://schemas.microsoft.com/office/drawing/2014/main" id="{CE554CE4-BFC9-4E0F-B846-10D021B635A1}"/>
              </a:ext>
            </a:extLst>
          </p:cNvPr>
          <p:cNvSpPr>
            <a:spLocks noChangeArrowheads="1"/>
          </p:cNvSpPr>
          <p:nvPr/>
        </p:nvSpPr>
        <p:spPr bwMode="auto">
          <a:xfrm>
            <a:off x="1241055" y="5865033"/>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51" name="Rectangle 83">
            <a:extLst>
              <a:ext uri="{FF2B5EF4-FFF2-40B4-BE49-F238E27FC236}">
                <a16:creationId xmlns:a16="http://schemas.microsoft.com/office/drawing/2014/main" id="{4E7AF8E5-2249-4EC4-A3CC-4E289615688B}"/>
              </a:ext>
            </a:extLst>
          </p:cNvPr>
          <p:cNvSpPr>
            <a:spLocks noChangeArrowheads="1"/>
          </p:cNvSpPr>
          <p:nvPr/>
        </p:nvSpPr>
        <p:spPr bwMode="auto">
          <a:xfrm>
            <a:off x="1401331" y="5865033"/>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52" name="Rectangle 84">
            <a:extLst>
              <a:ext uri="{FF2B5EF4-FFF2-40B4-BE49-F238E27FC236}">
                <a16:creationId xmlns:a16="http://schemas.microsoft.com/office/drawing/2014/main" id="{DC687FFE-D302-4491-8B5C-98A36955B807}"/>
              </a:ext>
            </a:extLst>
          </p:cNvPr>
          <p:cNvSpPr>
            <a:spLocks noChangeArrowheads="1"/>
          </p:cNvSpPr>
          <p:nvPr/>
        </p:nvSpPr>
        <p:spPr bwMode="auto">
          <a:xfrm>
            <a:off x="1561607" y="5865033"/>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53" name="Rectangle 85">
            <a:extLst>
              <a:ext uri="{FF2B5EF4-FFF2-40B4-BE49-F238E27FC236}">
                <a16:creationId xmlns:a16="http://schemas.microsoft.com/office/drawing/2014/main" id="{A8DF27BD-CF6F-4073-9D0D-D9074E2B2F51}"/>
              </a:ext>
            </a:extLst>
          </p:cNvPr>
          <p:cNvSpPr>
            <a:spLocks noChangeArrowheads="1"/>
          </p:cNvSpPr>
          <p:nvPr/>
        </p:nvSpPr>
        <p:spPr bwMode="auto">
          <a:xfrm>
            <a:off x="718216" y="6048650"/>
            <a:ext cx="96476" cy="96476"/>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54" name="Rectangle 86">
            <a:extLst>
              <a:ext uri="{FF2B5EF4-FFF2-40B4-BE49-F238E27FC236}">
                <a16:creationId xmlns:a16="http://schemas.microsoft.com/office/drawing/2014/main" id="{617E97D4-86A4-442D-81F5-7EF3503801D4}"/>
              </a:ext>
            </a:extLst>
          </p:cNvPr>
          <p:cNvSpPr>
            <a:spLocks noChangeArrowheads="1"/>
          </p:cNvSpPr>
          <p:nvPr/>
        </p:nvSpPr>
        <p:spPr bwMode="auto">
          <a:xfrm>
            <a:off x="876935" y="6048650"/>
            <a:ext cx="96476" cy="96476"/>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55" name="Rectangle 87">
            <a:extLst>
              <a:ext uri="{FF2B5EF4-FFF2-40B4-BE49-F238E27FC236}">
                <a16:creationId xmlns:a16="http://schemas.microsoft.com/office/drawing/2014/main" id="{F2E11D93-C8A8-4D02-BC4D-32B9A9E7E711}"/>
              </a:ext>
            </a:extLst>
          </p:cNvPr>
          <p:cNvSpPr>
            <a:spLocks noChangeArrowheads="1"/>
          </p:cNvSpPr>
          <p:nvPr/>
        </p:nvSpPr>
        <p:spPr bwMode="auto">
          <a:xfrm>
            <a:off x="1241055" y="6048650"/>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56" name="Rectangle 88">
            <a:extLst>
              <a:ext uri="{FF2B5EF4-FFF2-40B4-BE49-F238E27FC236}">
                <a16:creationId xmlns:a16="http://schemas.microsoft.com/office/drawing/2014/main" id="{CC1362D4-1B83-4D3E-89FD-4D6F051C02D6}"/>
              </a:ext>
            </a:extLst>
          </p:cNvPr>
          <p:cNvSpPr>
            <a:spLocks noChangeArrowheads="1"/>
          </p:cNvSpPr>
          <p:nvPr/>
        </p:nvSpPr>
        <p:spPr bwMode="auto">
          <a:xfrm>
            <a:off x="1401331" y="6048650"/>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57" name="Rectangle 89">
            <a:extLst>
              <a:ext uri="{FF2B5EF4-FFF2-40B4-BE49-F238E27FC236}">
                <a16:creationId xmlns:a16="http://schemas.microsoft.com/office/drawing/2014/main" id="{37C86917-C680-4FA2-9734-97AA87EA09B6}"/>
              </a:ext>
            </a:extLst>
          </p:cNvPr>
          <p:cNvSpPr>
            <a:spLocks noChangeArrowheads="1"/>
          </p:cNvSpPr>
          <p:nvPr/>
        </p:nvSpPr>
        <p:spPr bwMode="auto">
          <a:xfrm>
            <a:off x="1561607" y="6048650"/>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58" name="Rectangle 90">
            <a:extLst>
              <a:ext uri="{FF2B5EF4-FFF2-40B4-BE49-F238E27FC236}">
                <a16:creationId xmlns:a16="http://schemas.microsoft.com/office/drawing/2014/main" id="{F1E9BAE9-0F6E-4EBD-9996-A36E642A2F3D}"/>
              </a:ext>
            </a:extLst>
          </p:cNvPr>
          <p:cNvSpPr>
            <a:spLocks noChangeArrowheads="1"/>
          </p:cNvSpPr>
          <p:nvPr/>
        </p:nvSpPr>
        <p:spPr bwMode="auto">
          <a:xfrm>
            <a:off x="718216" y="6232266"/>
            <a:ext cx="96476" cy="96476"/>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59" name="Rectangle 91">
            <a:extLst>
              <a:ext uri="{FF2B5EF4-FFF2-40B4-BE49-F238E27FC236}">
                <a16:creationId xmlns:a16="http://schemas.microsoft.com/office/drawing/2014/main" id="{1E32E424-9877-4A40-A7F8-111ED8274EE4}"/>
              </a:ext>
            </a:extLst>
          </p:cNvPr>
          <p:cNvSpPr>
            <a:spLocks noChangeArrowheads="1"/>
          </p:cNvSpPr>
          <p:nvPr/>
        </p:nvSpPr>
        <p:spPr bwMode="auto">
          <a:xfrm>
            <a:off x="876935" y="6232266"/>
            <a:ext cx="96476" cy="96476"/>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60" name="Rectangle 92">
            <a:extLst>
              <a:ext uri="{FF2B5EF4-FFF2-40B4-BE49-F238E27FC236}">
                <a16:creationId xmlns:a16="http://schemas.microsoft.com/office/drawing/2014/main" id="{0086FA0F-7844-4E45-8518-DDA0F4A6BC6A}"/>
              </a:ext>
            </a:extLst>
          </p:cNvPr>
          <p:cNvSpPr>
            <a:spLocks noChangeArrowheads="1"/>
          </p:cNvSpPr>
          <p:nvPr/>
        </p:nvSpPr>
        <p:spPr bwMode="auto">
          <a:xfrm>
            <a:off x="1241055" y="6232266"/>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61" name="Rectangle 93">
            <a:extLst>
              <a:ext uri="{FF2B5EF4-FFF2-40B4-BE49-F238E27FC236}">
                <a16:creationId xmlns:a16="http://schemas.microsoft.com/office/drawing/2014/main" id="{361A0CBC-BD2C-4EFA-9405-D3F5F5DADA2D}"/>
              </a:ext>
            </a:extLst>
          </p:cNvPr>
          <p:cNvSpPr>
            <a:spLocks noChangeArrowheads="1"/>
          </p:cNvSpPr>
          <p:nvPr/>
        </p:nvSpPr>
        <p:spPr bwMode="auto">
          <a:xfrm>
            <a:off x="1401331" y="6232266"/>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62" name="Rectangle 94">
            <a:extLst>
              <a:ext uri="{FF2B5EF4-FFF2-40B4-BE49-F238E27FC236}">
                <a16:creationId xmlns:a16="http://schemas.microsoft.com/office/drawing/2014/main" id="{F31B8510-4208-4AE6-93E0-FEDF2DAF8E93}"/>
              </a:ext>
            </a:extLst>
          </p:cNvPr>
          <p:cNvSpPr>
            <a:spLocks noChangeArrowheads="1"/>
          </p:cNvSpPr>
          <p:nvPr/>
        </p:nvSpPr>
        <p:spPr bwMode="auto">
          <a:xfrm>
            <a:off x="1561607" y="6232266"/>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63" name="Rectangle 95">
            <a:extLst>
              <a:ext uri="{FF2B5EF4-FFF2-40B4-BE49-F238E27FC236}">
                <a16:creationId xmlns:a16="http://schemas.microsoft.com/office/drawing/2014/main" id="{DCB2D2FB-24C5-41DC-95C8-6030A305CCF9}"/>
              </a:ext>
            </a:extLst>
          </p:cNvPr>
          <p:cNvSpPr>
            <a:spLocks noChangeArrowheads="1"/>
          </p:cNvSpPr>
          <p:nvPr/>
        </p:nvSpPr>
        <p:spPr bwMode="auto">
          <a:xfrm>
            <a:off x="718216" y="6415883"/>
            <a:ext cx="96476" cy="96476"/>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64" name="Rectangle 96">
            <a:extLst>
              <a:ext uri="{FF2B5EF4-FFF2-40B4-BE49-F238E27FC236}">
                <a16:creationId xmlns:a16="http://schemas.microsoft.com/office/drawing/2014/main" id="{FC7EA791-9356-491B-B97E-5806C1EBF061}"/>
              </a:ext>
            </a:extLst>
          </p:cNvPr>
          <p:cNvSpPr>
            <a:spLocks noChangeArrowheads="1"/>
          </p:cNvSpPr>
          <p:nvPr/>
        </p:nvSpPr>
        <p:spPr bwMode="auto">
          <a:xfrm>
            <a:off x="876935" y="6415883"/>
            <a:ext cx="96476" cy="96476"/>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65" name="Rectangle 97">
            <a:extLst>
              <a:ext uri="{FF2B5EF4-FFF2-40B4-BE49-F238E27FC236}">
                <a16:creationId xmlns:a16="http://schemas.microsoft.com/office/drawing/2014/main" id="{56B2F410-CA88-4671-AC60-A36CA0CDD043}"/>
              </a:ext>
            </a:extLst>
          </p:cNvPr>
          <p:cNvSpPr>
            <a:spLocks noChangeArrowheads="1"/>
          </p:cNvSpPr>
          <p:nvPr/>
        </p:nvSpPr>
        <p:spPr bwMode="auto">
          <a:xfrm>
            <a:off x="1241055" y="6415883"/>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66" name="Rectangle 98">
            <a:extLst>
              <a:ext uri="{FF2B5EF4-FFF2-40B4-BE49-F238E27FC236}">
                <a16:creationId xmlns:a16="http://schemas.microsoft.com/office/drawing/2014/main" id="{51568F6C-4422-404E-B075-3E44B3F839D9}"/>
              </a:ext>
            </a:extLst>
          </p:cNvPr>
          <p:cNvSpPr>
            <a:spLocks noChangeArrowheads="1"/>
          </p:cNvSpPr>
          <p:nvPr/>
        </p:nvSpPr>
        <p:spPr bwMode="auto">
          <a:xfrm>
            <a:off x="1401331" y="6415883"/>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67" name="Rectangle 99">
            <a:extLst>
              <a:ext uri="{FF2B5EF4-FFF2-40B4-BE49-F238E27FC236}">
                <a16:creationId xmlns:a16="http://schemas.microsoft.com/office/drawing/2014/main" id="{0665FA11-CA12-4B90-9E34-4F2EEC1CE70D}"/>
              </a:ext>
            </a:extLst>
          </p:cNvPr>
          <p:cNvSpPr>
            <a:spLocks noChangeArrowheads="1"/>
          </p:cNvSpPr>
          <p:nvPr/>
        </p:nvSpPr>
        <p:spPr bwMode="auto">
          <a:xfrm>
            <a:off x="1561607" y="6415883"/>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68" name="Rectangle 62">
            <a:extLst>
              <a:ext uri="{FF2B5EF4-FFF2-40B4-BE49-F238E27FC236}">
                <a16:creationId xmlns:a16="http://schemas.microsoft.com/office/drawing/2014/main" id="{6AD4E322-667B-4EC2-9380-A9D59199BBE2}"/>
              </a:ext>
            </a:extLst>
          </p:cNvPr>
          <p:cNvSpPr>
            <a:spLocks noChangeArrowheads="1"/>
          </p:cNvSpPr>
          <p:nvPr/>
        </p:nvSpPr>
        <p:spPr bwMode="auto">
          <a:xfrm>
            <a:off x="1267512" y="5136790"/>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73" name="Rectangle 63">
            <a:extLst>
              <a:ext uri="{FF2B5EF4-FFF2-40B4-BE49-F238E27FC236}">
                <a16:creationId xmlns:a16="http://schemas.microsoft.com/office/drawing/2014/main" id="{A9F47A8A-C0A7-4B45-8DC0-518B4E5B0365}"/>
              </a:ext>
            </a:extLst>
          </p:cNvPr>
          <p:cNvSpPr>
            <a:spLocks noChangeArrowheads="1"/>
          </p:cNvSpPr>
          <p:nvPr/>
        </p:nvSpPr>
        <p:spPr bwMode="auto">
          <a:xfrm>
            <a:off x="1427786" y="5136790"/>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74" name="Rectangle 64">
            <a:extLst>
              <a:ext uri="{FF2B5EF4-FFF2-40B4-BE49-F238E27FC236}">
                <a16:creationId xmlns:a16="http://schemas.microsoft.com/office/drawing/2014/main" id="{44F0F30A-A3C8-4941-A3BE-FE3E30E27CC9}"/>
              </a:ext>
            </a:extLst>
          </p:cNvPr>
          <p:cNvSpPr>
            <a:spLocks noChangeArrowheads="1"/>
          </p:cNvSpPr>
          <p:nvPr/>
        </p:nvSpPr>
        <p:spPr bwMode="auto">
          <a:xfrm>
            <a:off x="1588062" y="5136790"/>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75" name="Rectangle 67">
            <a:extLst>
              <a:ext uri="{FF2B5EF4-FFF2-40B4-BE49-F238E27FC236}">
                <a16:creationId xmlns:a16="http://schemas.microsoft.com/office/drawing/2014/main" id="{D6FE07B6-0C82-4B46-B31D-CD8C2FC906A1}"/>
              </a:ext>
            </a:extLst>
          </p:cNvPr>
          <p:cNvSpPr>
            <a:spLocks noChangeArrowheads="1"/>
          </p:cNvSpPr>
          <p:nvPr/>
        </p:nvSpPr>
        <p:spPr bwMode="auto">
          <a:xfrm>
            <a:off x="1248836" y="5320406"/>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76" name="Rectangle 68">
            <a:extLst>
              <a:ext uri="{FF2B5EF4-FFF2-40B4-BE49-F238E27FC236}">
                <a16:creationId xmlns:a16="http://schemas.microsoft.com/office/drawing/2014/main" id="{6A19251F-8BA2-415E-BFE8-CD876DE2601E}"/>
              </a:ext>
            </a:extLst>
          </p:cNvPr>
          <p:cNvSpPr>
            <a:spLocks noChangeArrowheads="1"/>
          </p:cNvSpPr>
          <p:nvPr/>
        </p:nvSpPr>
        <p:spPr bwMode="auto">
          <a:xfrm>
            <a:off x="1409112" y="5320406"/>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77" name="Rectangle 69">
            <a:extLst>
              <a:ext uri="{FF2B5EF4-FFF2-40B4-BE49-F238E27FC236}">
                <a16:creationId xmlns:a16="http://schemas.microsoft.com/office/drawing/2014/main" id="{AA0D962D-87FC-4B6B-ACB1-57C3625CAD9C}"/>
              </a:ext>
            </a:extLst>
          </p:cNvPr>
          <p:cNvSpPr>
            <a:spLocks noChangeArrowheads="1"/>
          </p:cNvSpPr>
          <p:nvPr/>
        </p:nvSpPr>
        <p:spPr bwMode="auto">
          <a:xfrm>
            <a:off x="1569387" y="5320406"/>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78" name="Rectangle 72">
            <a:extLst>
              <a:ext uri="{FF2B5EF4-FFF2-40B4-BE49-F238E27FC236}">
                <a16:creationId xmlns:a16="http://schemas.microsoft.com/office/drawing/2014/main" id="{BA9FA4C8-4351-4804-B3FE-21FD0A4D2123}"/>
              </a:ext>
            </a:extLst>
          </p:cNvPr>
          <p:cNvSpPr>
            <a:spLocks noChangeArrowheads="1"/>
          </p:cNvSpPr>
          <p:nvPr/>
        </p:nvSpPr>
        <p:spPr bwMode="auto">
          <a:xfrm>
            <a:off x="1248836" y="5504023"/>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79" name="Rectangle 73">
            <a:extLst>
              <a:ext uri="{FF2B5EF4-FFF2-40B4-BE49-F238E27FC236}">
                <a16:creationId xmlns:a16="http://schemas.microsoft.com/office/drawing/2014/main" id="{26F62717-4B4E-4462-8444-A414D7705D35}"/>
              </a:ext>
            </a:extLst>
          </p:cNvPr>
          <p:cNvSpPr>
            <a:spLocks noChangeArrowheads="1"/>
          </p:cNvSpPr>
          <p:nvPr/>
        </p:nvSpPr>
        <p:spPr bwMode="auto">
          <a:xfrm>
            <a:off x="1409112" y="5504023"/>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80" name="Rectangle 74">
            <a:extLst>
              <a:ext uri="{FF2B5EF4-FFF2-40B4-BE49-F238E27FC236}">
                <a16:creationId xmlns:a16="http://schemas.microsoft.com/office/drawing/2014/main" id="{3B470736-A3CA-4D55-8D21-FCA00010D08A}"/>
              </a:ext>
            </a:extLst>
          </p:cNvPr>
          <p:cNvSpPr>
            <a:spLocks noChangeArrowheads="1"/>
          </p:cNvSpPr>
          <p:nvPr/>
        </p:nvSpPr>
        <p:spPr bwMode="auto">
          <a:xfrm>
            <a:off x="1569387" y="5504023"/>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81" name="Rectangle 77">
            <a:extLst>
              <a:ext uri="{FF2B5EF4-FFF2-40B4-BE49-F238E27FC236}">
                <a16:creationId xmlns:a16="http://schemas.microsoft.com/office/drawing/2014/main" id="{D7D81325-1EA8-4967-9AC6-7BEF0BC10E5C}"/>
              </a:ext>
            </a:extLst>
          </p:cNvPr>
          <p:cNvSpPr>
            <a:spLocks noChangeArrowheads="1"/>
          </p:cNvSpPr>
          <p:nvPr/>
        </p:nvSpPr>
        <p:spPr bwMode="auto">
          <a:xfrm>
            <a:off x="1248836" y="5687639"/>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82" name="Rectangle 78">
            <a:extLst>
              <a:ext uri="{FF2B5EF4-FFF2-40B4-BE49-F238E27FC236}">
                <a16:creationId xmlns:a16="http://schemas.microsoft.com/office/drawing/2014/main" id="{3EC4AF4D-6031-4836-B28E-C2ADFFA51A10}"/>
              </a:ext>
            </a:extLst>
          </p:cNvPr>
          <p:cNvSpPr>
            <a:spLocks noChangeArrowheads="1"/>
          </p:cNvSpPr>
          <p:nvPr/>
        </p:nvSpPr>
        <p:spPr bwMode="auto">
          <a:xfrm>
            <a:off x="1409112" y="5687639"/>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83" name="Rectangle 79">
            <a:extLst>
              <a:ext uri="{FF2B5EF4-FFF2-40B4-BE49-F238E27FC236}">
                <a16:creationId xmlns:a16="http://schemas.microsoft.com/office/drawing/2014/main" id="{6B085A96-EF25-4F18-A515-7F473D276A43}"/>
              </a:ext>
            </a:extLst>
          </p:cNvPr>
          <p:cNvSpPr>
            <a:spLocks noChangeArrowheads="1"/>
          </p:cNvSpPr>
          <p:nvPr/>
        </p:nvSpPr>
        <p:spPr bwMode="auto">
          <a:xfrm>
            <a:off x="1569387" y="5687639"/>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84" name="Rectangle 82">
            <a:extLst>
              <a:ext uri="{FF2B5EF4-FFF2-40B4-BE49-F238E27FC236}">
                <a16:creationId xmlns:a16="http://schemas.microsoft.com/office/drawing/2014/main" id="{73011FC1-E76B-41FC-A8F6-4B3BC29E9907}"/>
              </a:ext>
            </a:extLst>
          </p:cNvPr>
          <p:cNvSpPr>
            <a:spLocks noChangeArrowheads="1"/>
          </p:cNvSpPr>
          <p:nvPr/>
        </p:nvSpPr>
        <p:spPr bwMode="auto">
          <a:xfrm>
            <a:off x="1248836" y="5871257"/>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85" name="Rectangle 83">
            <a:extLst>
              <a:ext uri="{FF2B5EF4-FFF2-40B4-BE49-F238E27FC236}">
                <a16:creationId xmlns:a16="http://schemas.microsoft.com/office/drawing/2014/main" id="{19408DB2-5EC6-46D3-9BB9-DF1DC26A8679}"/>
              </a:ext>
            </a:extLst>
          </p:cNvPr>
          <p:cNvSpPr>
            <a:spLocks noChangeArrowheads="1"/>
          </p:cNvSpPr>
          <p:nvPr/>
        </p:nvSpPr>
        <p:spPr bwMode="auto">
          <a:xfrm>
            <a:off x="1409112" y="5871257"/>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86" name="Rectangle 84">
            <a:extLst>
              <a:ext uri="{FF2B5EF4-FFF2-40B4-BE49-F238E27FC236}">
                <a16:creationId xmlns:a16="http://schemas.microsoft.com/office/drawing/2014/main" id="{7011B516-DE26-4EBE-AC55-6D92D59DDBA2}"/>
              </a:ext>
            </a:extLst>
          </p:cNvPr>
          <p:cNvSpPr>
            <a:spLocks noChangeArrowheads="1"/>
          </p:cNvSpPr>
          <p:nvPr/>
        </p:nvSpPr>
        <p:spPr bwMode="auto">
          <a:xfrm>
            <a:off x="1569387" y="5871257"/>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87" name="Rectangle 87">
            <a:extLst>
              <a:ext uri="{FF2B5EF4-FFF2-40B4-BE49-F238E27FC236}">
                <a16:creationId xmlns:a16="http://schemas.microsoft.com/office/drawing/2014/main" id="{F342C840-C65D-4DFC-AB52-A3D5AB16323F}"/>
              </a:ext>
            </a:extLst>
          </p:cNvPr>
          <p:cNvSpPr>
            <a:spLocks noChangeArrowheads="1"/>
          </p:cNvSpPr>
          <p:nvPr/>
        </p:nvSpPr>
        <p:spPr bwMode="auto">
          <a:xfrm>
            <a:off x="1248836" y="6054874"/>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88" name="Rectangle 88">
            <a:extLst>
              <a:ext uri="{FF2B5EF4-FFF2-40B4-BE49-F238E27FC236}">
                <a16:creationId xmlns:a16="http://schemas.microsoft.com/office/drawing/2014/main" id="{202A2B1C-B02D-42F6-93AA-C9BFDF8D5207}"/>
              </a:ext>
            </a:extLst>
          </p:cNvPr>
          <p:cNvSpPr>
            <a:spLocks noChangeArrowheads="1"/>
          </p:cNvSpPr>
          <p:nvPr/>
        </p:nvSpPr>
        <p:spPr bwMode="auto">
          <a:xfrm>
            <a:off x="1409112" y="6054874"/>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89" name="Rectangle 89">
            <a:extLst>
              <a:ext uri="{FF2B5EF4-FFF2-40B4-BE49-F238E27FC236}">
                <a16:creationId xmlns:a16="http://schemas.microsoft.com/office/drawing/2014/main" id="{CD70230E-7F6F-4E21-9F10-F15AB5522323}"/>
              </a:ext>
            </a:extLst>
          </p:cNvPr>
          <p:cNvSpPr>
            <a:spLocks noChangeArrowheads="1"/>
          </p:cNvSpPr>
          <p:nvPr/>
        </p:nvSpPr>
        <p:spPr bwMode="auto">
          <a:xfrm>
            <a:off x="1569387" y="6054874"/>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90" name="Rectangle 92">
            <a:extLst>
              <a:ext uri="{FF2B5EF4-FFF2-40B4-BE49-F238E27FC236}">
                <a16:creationId xmlns:a16="http://schemas.microsoft.com/office/drawing/2014/main" id="{978080F8-F53B-49B8-823F-0B6204EE6F55}"/>
              </a:ext>
            </a:extLst>
          </p:cNvPr>
          <p:cNvSpPr>
            <a:spLocks noChangeArrowheads="1"/>
          </p:cNvSpPr>
          <p:nvPr/>
        </p:nvSpPr>
        <p:spPr bwMode="auto">
          <a:xfrm>
            <a:off x="1248836" y="6238491"/>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91" name="Rectangle 93">
            <a:extLst>
              <a:ext uri="{FF2B5EF4-FFF2-40B4-BE49-F238E27FC236}">
                <a16:creationId xmlns:a16="http://schemas.microsoft.com/office/drawing/2014/main" id="{D02A3CF1-E70E-4053-A851-F082443E5865}"/>
              </a:ext>
            </a:extLst>
          </p:cNvPr>
          <p:cNvSpPr>
            <a:spLocks noChangeArrowheads="1"/>
          </p:cNvSpPr>
          <p:nvPr/>
        </p:nvSpPr>
        <p:spPr bwMode="auto">
          <a:xfrm>
            <a:off x="1409112" y="6238491"/>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92" name="Rectangle 94">
            <a:extLst>
              <a:ext uri="{FF2B5EF4-FFF2-40B4-BE49-F238E27FC236}">
                <a16:creationId xmlns:a16="http://schemas.microsoft.com/office/drawing/2014/main" id="{23DF8CF8-4ED8-4BA5-98B7-001D522E4AC3}"/>
              </a:ext>
            </a:extLst>
          </p:cNvPr>
          <p:cNvSpPr>
            <a:spLocks noChangeArrowheads="1"/>
          </p:cNvSpPr>
          <p:nvPr/>
        </p:nvSpPr>
        <p:spPr bwMode="auto">
          <a:xfrm>
            <a:off x="1569387" y="6238491"/>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93" name="Rectangle 97">
            <a:extLst>
              <a:ext uri="{FF2B5EF4-FFF2-40B4-BE49-F238E27FC236}">
                <a16:creationId xmlns:a16="http://schemas.microsoft.com/office/drawing/2014/main" id="{3D0D8F65-8D19-4CFE-8F79-9472AF7292FE}"/>
              </a:ext>
            </a:extLst>
          </p:cNvPr>
          <p:cNvSpPr>
            <a:spLocks noChangeArrowheads="1"/>
          </p:cNvSpPr>
          <p:nvPr/>
        </p:nvSpPr>
        <p:spPr bwMode="auto">
          <a:xfrm>
            <a:off x="1248836" y="6422107"/>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94" name="Rectangle 98">
            <a:extLst>
              <a:ext uri="{FF2B5EF4-FFF2-40B4-BE49-F238E27FC236}">
                <a16:creationId xmlns:a16="http://schemas.microsoft.com/office/drawing/2014/main" id="{1E6FCF38-2A5F-48C9-93BB-0C7875D27943}"/>
              </a:ext>
            </a:extLst>
          </p:cNvPr>
          <p:cNvSpPr>
            <a:spLocks noChangeArrowheads="1"/>
          </p:cNvSpPr>
          <p:nvPr/>
        </p:nvSpPr>
        <p:spPr bwMode="auto">
          <a:xfrm>
            <a:off x="1409112" y="6422107"/>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95" name="Rectangle 59">
            <a:extLst>
              <a:ext uri="{FF2B5EF4-FFF2-40B4-BE49-F238E27FC236}">
                <a16:creationId xmlns:a16="http://schemas.microsoft.com/office/drawing/2014/main" id="{347FC817-48E2-46A7-B434-1D1B6A5E7570}"/>
              </a:ext>
            </a:extLst>
          </p:cNvPr>
          <p:cNvSpPr>
            <a:spLocks noChangeArrowheads="1"/>
          </p:cNvSpPr>
          <p:nvPr/>
        </p:nvSpPr>
        <p:spPr bwMode="auto">
          <a:xfrm>
            <a:off x="1194375" y="5041872"/>
            <a:ext cx="513989" cy="1811266"/>
          </a:xfrm>
          <a:prstGeom prst="rect">
            <a:avLst/>
          </a:prstGeom>
          <a:solidFill>
            <a:srgbClr val="2274B6"/>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96" name="Rectangle 72">
            <a:extLst>
              <a:ext uri="{FF2B5EF4-FFF2-40B4-BE49-F238E27FC236}">
                <a16:creationId xmlns:a16="http://schemas.microsoft.com/office/drawing/2014/main" id="{605FEA40-EAD4-4A4E-A3E1-A3158B4E2348}"/>
              </a:ext>
            </a:extLst>
          </p:cNvPr>
          <p:cNvSpPr>
            <a:spLocks noChangeArrowheads="1"/>
          </p:cNvSpPr>
          <p:nvPr/>
        </p:nvSpPr>
        <p:spPr bwMode="auto">
          <a:xfrm>
            <a:off x="1256617" y="5510247"/>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97" name="Rectangle 73">
            <a:extLst>
              <a:ext uri="{FF2B5EF4-FFF2-40B4-BE49-F238E27FC236}">
                <a16:creationId xmlns:a16="http://schemas.microsoft.com/office/drawing/2014/main" id="{83EF4A16-E123-4DB1-93ED-FF192DCD647C}"/>
              </a:ext>
            </a:extLst>
          </p:cNvPr>
          <p:cNvSpPr>
            <a:spLocks noChangeArrowheads="1"/>
          </p:cNvSpPr>
          <p:nvPr/>
        </p:nvSpPr>
        <p:spPr bwMode="auto">
          <a:xfrm>
            <a:off x="1416893" y="5510247"/>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98" name="Rectangle 74">
            <a:extLst>
              <a:ext uri="{FF2B5EF4-FFF2-40B4-BE49-F238E27FC236}">
                <a16:creationId xmlns:a16="http://schemas.microsoft.com/office/drawing/2014/main" id="{17109945-E56F-40CD-8D3B-74579673C4FC}"/>
              </a:ext>
            </a:extLst>
          </p:cNvPr>
          <p:cNvSpPr>
            <a:spLocks noChangeArrowheads="1"/>
          </p:cNvSpPr>
          <p:nvPr/>
        </p:nvSpPr>
        <p:spPr bwMode="auto">
          <a:xfrm>
            <a:off x="1577168" y="5510247"/>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99" name="Rectangle 77">
            <a:extLst>
              <a:ext uri="{FF2B5EF4-FFF2-40B4-BE49-F238E27FC236}">
                <a16:creationId xmlns:a16="http://schemas.microsoft.com/office/drawing/2014/main" id="{C641F867-871A-454F-83AA-8450442190AD}"/>
              </a:ext>
            </a:extLst>
          </p:cNvPr>
          <p:cNvSpPr>
            <a:spLocks noChangeArrowheads="1"/>
          </p:cNvSpPr>
          <p:nvPr/>
        </p:nvSpPr>
        <p:spPr bwMode="auto">
          <a:xfrm>
            <a:off x="1256617" y="5693864"/>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500" name="Rectangle 78">
            <a:extLst>
              <a:ext uri="{FF2B5EF4-FFF2-40B4-BE49-F238E27FC236}">
                <a16:creationId xmlns:a16="http://schemas.microsoft.com/office/drawing/2014/main" id="{6153CC93-D164-42D8-B638-0765AE54AFCE}"/>
              </a:ext>
            </a:extLst>
          </p:cNvPr>
          <p:cNvSpPr>
            <a:spLocks noChangeArrowheads="1"/>
          </p:cNvSpPr>
          <p:nvPr/>
        </p:nvSpPr>
        <p:spPr bwMode="auto">
          <a:xfrm>
            <a:off x="1416893" y="5693864"/>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501" name="Rectangle 79">
            <a:extLst>
              <a:ext uri="{FF2B5EF4-FFF2-40B4-BE49-F238E27FC236}">
                <a16:creationId xmlns:a16="http://schemas.microsoft.com/office/drawing/2014/main" id="{F9147CCF-B142-4A7C-8829-FE0DFE62DA81}"/>
              </a:ext>
            </a:extLst>
          </p:cNvPr>
          <p:cNvSpPr>
            <a:spLocks noChangeArrowheads="1"/>
          </p:cNvSpPr>
          <p:nvPr/>
        </p:nvSpPr>
        <p:spPr bwMode="auto">
          <a:xfrm>
            <a:off x="1577168" y="5693864"/>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502" name="Rectangle 82">
            <a:extLst>
              <a:ext uri="{FF2B5EF4-FFF2-40B4-BE49-F238E27FC236}">
                <a16:creationId xmlns:a16="http://schemas.microsoft.com/office/drawing/2014/main" id="{B6B02514-A10B-4BC5-906B-6D5677714A43}"/>
              </a:ext>
            </a:extLst>
          </p:cNvPr>
          <p:cNvSpPr>
            <a:spLocks noChangeArrowheads="1"/>
          </p:cNvSpPr>
          <p:nvPr/>
        </p:nvSpPr>
        <p:spPr bwMode="auto">
          <a:xfrm>
            <a:off x="1256617" y="5877482"/>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503" name="Rectangle 83">
            <a:extLst>
              <a:ext uri="{FF2B5EF4-FFF2-40B4-BE49-F238E27FC236}">
                <a16:creationId xmlns:a16="http://schemas.microsoft.com/office/drawing/2014/main" id="{A044F27C-C2B6-49B9-B94A-41701A580283}"/>
              </a:ext>
            </a:extLst>
          </p:cNvPr>
          <p:cNvSpPr>
            <a:spLocks noChangeArrowheads="1"/>
          </p:cNvSpPr>
          <p:nvPr/>
        </p:nvSpPr>
        <p:spPr bwMode="auto">
          <a:xfrm>
            <a:off x="1416893" y="5877482"/>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504" name="Rectangle 84">
            <a:extLst>
              <a:ext uri="{FF2B5EF4-FFF2-40B4-BE49-F238E27FC236}">
                <a16:creationId xmlns:a16="http://schemas.microsoft.com/office/drawing/2014/main" id="{A900B6DE-7429-4AAF-BC89-4CCDD2EA1976}"/>
              </a:ext>
            </a:extLst>
          </p:cNvPr>
          <p:cNvSpPr>
            <a:spLocks noChangeArrowheads="1"/>
          </p:cNvSpPr>
          <p:nvPr/>
        </p:nvSpPr>
        <p:spPr bwMode="auto">
          <a:xfrm>
            <a:off x="1577168" y="5877482"/>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505" name="Rectangle 87">
            <a:extLst>
              <a:ext uri="{FF2B5EF4-FFF2-40B4-BE49-F238E27FC236}">
                <a16:creationId xmlns:a16="http://schemas.microsoft.com/office/drawing/2014/main" id="{0EEE5E76-44FC-4840-9C9B-FA5BFDFE5278}"/>
              </a:ext>
            </a:extLst>
          </p:cNvPr>
          <p:cNvSpPr>
            <a:spLocks noChangeArrowheads="1"/>
          </p:cNvSpPr>
          <p:nvPr/>
        </p:nvSpPr>
        <p:spPr bwMode="auto">
          <a:xfrm>
            <a:off x="1256617" y="6061099"/>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506" name="Rectangle 88">
            <a:extLst>
              <a:ext uri="{FF2B5EF4-FFF2-40B4-BE49-F238E27FC236}">
                <a16:creationId xmlns:a16="http://schemas.microsoft.com/office/drawing/2014/main" id="{2BDCCCC6-EE23-48D2-B352-55AEE1198EC9}"/>
              </a:ext>
            </a:extLst>
          </p:cNvPr>
          <p:cNvSpPr>
            <a:spLocks noChangeArrowheads="1"/>
          </p:cNvSpPr>
          <p:nvPr/>
        </p:nvSpPr>
        <p:spPr bwMode="auto">
          <a:xfrm>
            <a:off x="1416893" y="6061099"/>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507" name="Rectangle 89">
            <a:extLst>
              <a:ext uri="{FF2B5EF4-FFF2-40B4-BE49-F238E27FC236}">
                <a16:creationId xmlns:a16="http://schemas.microsoft.com/office/drawing/2014/main" id="{19DC52EB-3FA1-41C4-BE4C-3679A0585F03}"/>
              </a:ext>
            </a:extLst>
          </p:cNvPr>
          <p:cNvSpPr>
            <a:spLocks noChangeArrowheads="1"/>
          </p:cNvSpPr>
          <p:nvPr/>
        </p:nvSpPr>
        <p:spPr bwMode="auto">
          <a:xfrm>
            <a:off x="1577168" y="6061099"/>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508" name="Rectangle 92">
            <a:extLst>
              <a:ext uri="{FF2B5EF4-FFF2-40B4-BE49-F238E27FC236}">
                <a16:creationId xmlns:a16="http://schemas.microsoft.com/office/drawing/2014/main" id="{EBCAC8E3-B2FC-4CF9-A301-030A862EE87C}"/>
              </a:ext>
            </a:extLst>
          </p:cNvPr>
          <p:cNvSpPr>
            <a:spLocks noChangeArrowheads="1"/>
          </p:cNvSpPr>
          <p:nvPr/>
        </p:nvSpPr>
        <p:spPr bwMode="auto">
          <a:xfrm>
            <a:off x="1256617" y="6244715"/>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509" name="Rectangle 93">
            <a:extLst>
              <a:ext uri="{FF2B5EF4-FFF2-40B4-BE49-F238E27FC236}">
                <a16:creationId xmlns:a16="http://schemas.microsoft.com/office/drawing/2014/main" id="{C1BEBDFA-9D5E-46C0-A04A-5E5D83A79F74}"/>
              </a:ext>
            </a:extLst>
          </p:cNvPr>
          <p:cNvSpPr>
            <a:spLocks noChangeArrowheads="1"/>
          </p:cNvSpPr>
          <p:nvPr/>
        </p:nvSpPr>
        <p:spPr bwMode="auto">
          <a:xfrm>
            <a:off x="1416893" y="6244715"/>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510" name="Rectangle 94">
            <a:extLst>
              <a:ext uri="{FF2B5EF4-FFF2-40B4-BE49-F238E27FC236}">
                <a16:creationId xmlns:a16="http://schemas.microsoft.com/office/drawing/2014/main" id="{7F87C427-8735-42AA-9E21-9186C74F250F}"/>
              </a:ext>
            </a:extLst>
          </p:cNvPr>
          <p:cNvSpPr>
            <a:spLocks noChangeArrowheads="1"/>
          </p:cNvSpPr>
          <p:nvPr/>
        </p:nvSpPr>
        <p:spPr bwMode="auto">
          <a:xfrm>
            <a:off x="1577168" y="6244715"/>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511" name="Rectangle 97">
            <a:extLst>
              <a:ext uri="{FF2B5EF4-FFF2-40B4-BE49-F238E27FC236}">
                <a16:creationId xmlns:a16="http://schemas.microsoft.com/office/drawing/2014/main" id="{994FC73B-5A34-4790-83B5-F2735A71F71A}"/>
              </a:ext>
            </a:extLst>
          </p:cNvPr>
          <p:cNvSpPr>
            <a:spLocks noChangeArrowheads="1"/>
          </p:cNvSpPr>
          <p:nvPr/>
        </p:nvSpPr>
        <p:spPr bwMode="auto">
          <a:xfrm>
            <a:off x="1256617" y="6428331"/>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512" name="Rectangle 98">
            <a:extLst>
              <a:ext uri="{FF2B5EF4-FFF2-40B4-BE49-F238E27FC236}">
                <a16:creationId xmlns:a16="http://schemas.microsoft.com/office/drawing/2014/main" id="{B471C47C-D49E-4764-B9B6-673CFCA72866}"/>
              </a:ext>
            </a:extLst>
          </p:cNvPr>
          <p:cNvSpPr>
            <a:spLocks noChangeArrowheads="1"/>
          </p:cNvSpPr>
          <p:nvPr/>
        </p:nvSpPr>
        <p:spPr bwMode="auto">
          <a:xfrm>
            <a:off x="1416893" y="6428331"/>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513" name="Rectangle 98">
            <a:extLst>
              <a:ext uri="{FF2B5EF4-FFF2-40B4-BE49-F238E27FC236}">
                <a16:creationId xmlns:a16="http://schemas.microsoft.com/office/drawing/2014/main" id="{1C157272-A4CA-4321-BC1D-8B9386BAE926}"/>
              </a:ext>
            </a:extLst>
          </p:cNvPr>
          <p:cNvSpPr>
            <a:spLocks noChangeArrowheads="1"/>
          </p:cNvSpPr>
          <p:nvPr/>
        </p:nvSpPr>
        <p:spPr bwMode="auto">
          <a:xfrm>
            <a:off x="1577168" y="6428331"/>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grpSp>
        <p:nvGrpSpPr>
          <p:cNvPr id="514" name="Group 4">
            <a:extLst>
              <a:ext uri="{FF2B5EF4-FFF2-40B4-BE49-F238E27FC236}">
                <a16:creationId xmlns:a16="http://schemas.microsoft.com/office/drawing/2014/main" id="{0DED9A49-E468-4F23-B9E4-1C175ECEE982}"/>
              </a:ext>
            </a:extLst>
          </p:cNvPr>
          <p:cNvGrpSpPr>
            <a:grpSpLocks noChangeAspect="1"/>
          </p:cNvGrpSpPr>
          <p:nvPr/>
        </p:nvGrpSpPr>
        <p:grpSpPr bwMode="auto">
          <a:xfrm>
            <a:off x="823981" y="3808785"/>
            <a:ext cx="5242808" cy="2933828"/>
            <a:chOff x="247" y="777"/>
            <a:chExt cx="3717" cy="2080"/>
          </a:xfrm>
        </p:grpSpPr>
        <p:sp>
          <p:nvSpPr>
            <p:cNvPr id="515" name="AutoShape 3">
              <a:extLst>
                <a:ext uri="{FF2B5EF4-FFF2-40B4-BE49-F238E27FC236}">
                  <a16:creationId xmlns:a16="http://schemas.microsoft.com/office/drawing/2014/main" id="{AE95034B-22C2-46A6-820B-E20FD470851F}"/>
                </a:ext>
              </a:extLst>
            </p:cNvPr>
            <p:cNvSpPr>
              <a:spLocks noChangeAspect="1" noChangeArrowheads="1" noTextEdit="1"/>
            </p:cNvSpPr>
            <p:nvPr/>
          </p:nvSpPr>
          <p:spPr bwMode="auto">
            <a:xfrm>
              <a:off x="273" y="777"/>
              <a:ext cx="3567" cy="2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16" name="Rectangle 6">
              <a:extLst>
                <a:ext uri="{FF2B5EF4-FFF2-40B4-BE49-F238E27FC236}">
                  <a16:creationId xmlns:a16="http://schemas.microsoft.com/office/drawing/2014/main" id="{64A095E6-5291-4A84-9ACD-D099A5E28B68}"/>
                </a:ext>
              </a:extLst>
            </p:cNvPr>
            <p:cNvSpPr>
              <a:spLocks noChangeArrowheads="1"/>
            </p:cNvSpPr>
            <p:nvPr/>
          </p:nvSpPr>
          <p:spPr bwMode="auto">
            <a:xfrm>
              <a:off x="247" y="778"/>
              <a:ext cx="3717" cy="2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17" name="Rectangle 7">
              <a:extLst>
                <a:ext uri="{FF2B5EF4-FFF2-40B4-BE49-F238E27FC236}">
                  <a16:creationId xmlns:a16="http://schemas.microsoft.com/office/drawing/2014/main" id="{0156D045-FC18-445D-B9EB-962FA74424AE}"/>
                </a:ext>
              </a:extLst>
            </p:cNvPr>
            <p:cNvSpPr>
              <a:spLocks noChangeArrowheads="1"/>
            </p:cNvSpPr>
            <p:nvPr/>
          </p:nvSpPr>
          <p:spPr bwMode="auto">
            <a:xfrm>
              <a:off x="712" y="778"/>
              <a:ext cx="2788" cy="2079"/>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18" name="Rectangle 8">
              <a:extLst>
                <a:ext uri="{FF2B5EF4-FFF2-40B4-BE49-F238E27FC236}">
                  <a16:creationId xmlns:a16="http://schemas.microsoft.com/office/drawing/2014/main" id="{0F4C93ED-7FD0-4FA1-B48F-0DD7982C6AFE}"/>
                </a:ext>
              </a:extLst>
            </p:cNvPr>
            <p:cNvSpPr>
              <a:spLocks noChangeArrowheads="1"/>
            </p:cNvSpPr>
            <p:nvPr/>
          </p:nvSpPr>
          <p:spPr bwMode="auto">
            <a:xfrm>
              <a:off x="712" y="778"/>
              <a:ext cx="2788" cy="2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19" name="Freeform 9">
              <a:extLst>
                <a:ext uri="{FF2B5EF4-FFF2-40B4-BE49-F238E27FC236}">
                  <a16:creationId xmlns:a16="http://schemas.microsoft.com/office/drawing/2014/main" id="{37F90B00-DDBB-488E-8DC5-B3E55FA12100}"/>
                </a:ext>
              </a:extLst>
            </p:cNvPr>
            <p:cNvSpPr>
              <a:spLocks/>
            </p:cNvSpPr>
            <p:nvPr/>
          </p:nvSpPr>
          <p:spPr bwMode="auto">
            <a:xfrm>
              <a:off x="1168" y="2213"/>
              <a:ext cx="407" cy="52"/>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20" name="Freeform 10">
              <a:extLst>
                <a:ext uri="{FF2B5EF4-FFF2-40B4-BE49-F238E27FC236}">
                  <a16:creationId xmlns:a16="http://schemas.microsoft.com/office/drawing/2014/main" id="{C8BF3B28-D562-4E8C-831D-595C7E667A0D}"/>
                </a:ext>
              </a:extLst>
            </p:cNvPr>
            <p:cNvSpPr>
              <a:spLocks/>
            </p:cNvSpPr>
            <p:nvPr/>
          </p:nvSpPr>
          <p:spPr bwMode="auto">
            <a:xfrm>
              <a:off x="2515" y="1337"/>
              <a:ext cx="442" cy="234"/>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21" name="Freeform 11">
              <a:extLst>
                <a:ext uri="{FF2B5EF4-FFF2-40B4-BE49-F238E27FC236}">
                  <a16:creationId xmlns:a16="http://schemas.microsoft.com/office/drawing/2014/main" id="{EB17EF82-E841-4F64-A917-C2178D875ABA}"/>
                </a:ext>
              </a:extLst>
            </p:cNvPr>
            <p:cNvSpPr>
              <a:spLocks/>
            </p:cNvSpPr>
            <p:nvPr/>
          </p:nvSpPr>
          <p:spPr bwMode="auto">
            <a:xfrm>
              <a:off x="2115" y="2211"/>
              <a:ext cx="949" cy="52"/>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22" name="Freeform 12">
              <a:extLst>
                <a:ext uri="{FF2B5EF4-FFF2-40B4-BE49-F238E27FC236}">
                  <a16:creationId xmlns:a16="http://schemas.microsoft.com/office/drawing/2014/main" id="{FE1443AF-0460-4C5C-BBFC-4FE5285E6CFE}"/>
                </a:ext>
              </a:extLst>
            </p:cNvPr>
            <p:cNvSpPr>
              <a:spLocks/>
            </p:cNvSpPr>
            <p:nvPr/>
          </p:nvSpPr>
          <p:spPr bwMode="auto">
            <a:xfrm>
              <a:off x="1555" y="2347"/>
              <a:ext cx="638" cy="69"/>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23" name="Freeform 13">
              <a:extLst>
                <a:ext uri="{FF2B5EF4-FFF2-40B4-BE49-F238E27FC236}">
                  <a16:creationId xmlns:a16="http://schemas.microsoft.com/office/drawing/2014/main" id="{96F11A61-BC2A-4842-A13D-790F603D3AFC}"/>
                </a:ext>
              </a:extLst>
            </p:cNvPr>
            <p:cNvSpPr>
              <a:spLocks/>
            </p:cNvSpPr>
            <p:nvPr/>
          </p:nvSpPr>
          <p:spPr bwMode="auto">
            <a:xfrm>
              <a:off x="1429" y="1857"/>
              <a:ext cx="21" cy="49"/>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24" name="Freeform 14">
              <a:extLst>
                <a:ext uri="{FF2B5EF4-FFF2-40B4-BE49-F238E27FC236}">
                  <a16:creationId xmlns:a16="http://schemas.microsoft.com/office/drawing/2014/main" id="{1FD6CC34-0F19-4B12-99E4-805BDA33F386}"/>
                </a:ext>
              </a:extLst>
            </p:cNvPr>
            <p:cNvSpPr>
              <a:spLocks/>
            </p:cNvSpPr>
            <p:nvPr/>
          </p:nvSpPr>
          <p:spPr bwMode="auto">
            <a:xfrm>
              <a:off x="1441" y="1857"/>
              <a:ext cx="9" cy="49"/>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25" name="Freeform 15">
              <a:extLst>
                <a:ext uri="{FF2B5EF4-FFF2-40B4-BE49-F238E27FC236}">
                  <a16:creationId xmlns:a16="http://schemas.microsoft.com/office/drawing/2014/main" id="{4B755E8C-6DAD-4130-9FD0-4613667EDA4D}"/>
                </a:ext>
              </a:extLst>
            </p:cNvPr>
            <p:cNvSpPr>
              <a:spLocks/>
            </p:cNvSpPr>
            <p:nvPr/>
          </p:nvSpPr>
          <p:spPr bwMode="auto">
            <a:xfrm>
              <a:off x="1429" y="1857"/>
              <a:ext cx="4" cy="49"/>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26" name="Freeform 16">
              <a:extLst>
                <a:ext uri="{FF2B5EF4-FFF2-40B4-BE49-F238E27FC236}">
                  <a16:creationId xmlns:a16="http://schemas.microsoft.com/office/drawing/2014/main" id="{3FF84048-8A56-40DE-A141-80F5481B504F}"/>
                </a:ext>
              </a:extLst>
            </p:cNvPr>
            <p:cNvSpPr>
              <a:spLocks/>
            </p:cNvSpPr>
            <p:nvPr/>
          </p:nvSpPr>
          <p:spPr bwMode="auto">
            <a:xfrm>
              <a:off x="1430" y="1896"/>
              <a:ext cx="21" cy="30"/>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27" name="Freeform 17">
              <a:extLst>
                <a:ext uri="{FF2B5EF4-FFF2-40B4-BE49-F238E27FC236}">
                  <a16:creationId xmlns:a16="http://schemas.microsoft.com/office/drawing/2014/main" id="{632DC68C-566C-4B5F-B3B5-00908ED98721}"/>
                </a:ext>
              </a:extLst>
            </p:cNvPr>
            <p:cNvSpPr>
              <a:spLocks/>
            </p:cNvSpPr>
            <p:nvPr/>
          </p:nvSpPr>
          <p:spPr bwMode="auto">
            <a:xfrm>
              <a:off x="1430" y="1924"/>
              <a:ext cx="21" cy="3"/>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28" name="Freeform 18">
              <a:extLst>
                <a:ext uri="{FF2B5EF4-FFF2-40B4-BE49-F238E27FC236}">
                  <a16:creationId xmlns:a16="http://schemas.microsoft.com/office/drawing/2014/main" id="{5581D83D-302E-46D4-9CE1-7F807790A140}"/>
                </a:ext>
              </a:extLst>
            </p:cNvPr>
            <p:cNvSpPr>
              <a:spLocks/>
            </p:cNvSpPr>
            <p:nvPr/>
          </p:nvSpPr>
          <p:spPr bwMode="auto">
            <a:xfrm>
              <a:off x="1443" y="1910"/>
              <a:ext cx="8" cy="16"/>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29" name="Freeform 19">
              <a:extLst>
                <a:ext uri="{FF2B5EF4-FFF2-40B4-BE49-F238E27FC236}">
                  <a16:creationId xmlns:a16="http://schemas.microsoft.com/office/drawing/2014/main" id="{B5110884-825A-420B-A666-5211089851A4}"/>
                </a:ext>
              </a:extLst>
            </p:cNvPr>
            <p:cNvSpPr>
              <a:spLocks/>
            </p:cNvSpPr>
            <p:nvPr/>
          </p:nvSpPr>
          <p:spPr bwMode="auto">
            <a:xfrm>
              <a:off x="1406" y="1857"/>
              <a:ext cx="20" cy="49"/>
            </a:xfrm>
            <a:custGeom>
              <a:avLst/>
              <a:gdLst>
                <a:gd name="T0" fmla="*/ 0 w 20"/>
                <a:gd name="T1" fmla="*/ 0 h 49"/>
                <a:gd name="T2" fmla="*/ 0 w 20"/>
                <a:gd name="T3" fmla="*/ 10 h 49"/>
                <a:gd name="T4" fmla="*/ 0 w 20"/>
                <a:gd name="T5" fmla="*/ 49 h 49"/>
                <a:gd name="T6" fmla="*/ 13 w 20"/>
                <a:gd name="T7" fmla="*/ 49 h 49"/>
                <a:gd name="T8" fmla="*/ 20 w 20"/>
                <a:gd name="T9" fmla="*/ 11 h 49"/>
                <a:gd name="T10" fmla="*/ 20 w 20"/>
                <a:gd name="T11" fmla="*/ 0 h 49"/>
                <a:gd name="T12" fmla="*/ 0 w 20"/>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0" h="49">
                  <a:moveTo>
                    <a:pt x="0" y="0"/>
                  </a:moveTo>
                  <a:lnTo>
                    <a:pt x="0" y="10"/>
                  </a:lnTo>
                  <a:lnTo>
                    <a:pt x="0" y="49"/>
                  </a:lnTo>
                  <a:lnTo>
                    <a:pt x="13" y="49"/>
                  </a:lnTo>
                  <a:lnTo>
                    <a:pt x="20" y="11"/>
                  </a:lnTo>
                  <a:lnTo>
                    <a:pt x="20"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30" name="Freeform 20">
              <a:extLst>
                <a:ext uri="{FF2B5EF4-FFF2-40B4-BE49-F238E27FC236}">
                  <a16:creationId xmlns:a16="http://schemas.microsoft.com/office/drawing/2014/main" id="{D8A4F710-C2D9-4242-B8B7-9411A2EB4243}"/>
                </a:ext>
              </a:extLst>
            </p:cNvPr>
            <p:cNvSpPr>
              <a:spLocks/>
            </p:cNvSpPr>
            <p:nvPr/>
          </p:nvSpPr>
          <p:spPr bwMode="auto">
            <a:xfrm>
              <a:off x="1419" y="1857"/>
              <a:ext cx="7" cy="49"/>
            </a:xfrm>
            <a:custGeom>
              <a:avLst/>
              <a:gdLst>
                <a:gd name="T0" fmla="*/ 4 w 7"/>
                <a:gd name="T1" fmla="*/ 0 h 49"/>
                <a:gd name="T2" fmla="*/ 4 w 7"/>
                <a:gd name="T3" fmla="*/ 11 h 49"/>
                <a:gd name="T4" fmla="*/ 0 w 7"/>
                <a:gd name="T5" fmla="*/ 49 h 49"/>
                <a:gd name="T6" fmla="*/ 7 w 7"/>
                <a:gd name="T7" fmla="*/ 11 h 49"/>
                <a:gd name="T8" fmla="*/ 7 w 7"/>
                <a:gd name="T9" fmla="*/ 0 h 49"/>
                <a:gd name="T10" fmla="*/ 4 w 7"/>
                <a:gd name="T11" fmla="*/ 0 h 49"/>
              </a:gdLst>
              <a:ahLst/>
              <a:cxnLst>
                <a:cxn ang="0">
                  <a:pos x="T0" y="T1"/>
                </a:cxn>
                <a:cxn ang="0">
                  <a:pos x="T2" y="T3"/>
                </a:cxn>
                <a:cxn ang="0">
                  <a:pos x="T4" y="T5"/>
                </a:cxn>
                <a:cxn ang="0">
                  <a:pos x="T6" y="T7"/>
                </a:cxn>
                <a:cxn ang="0">
                  <a:pos x="T8" y="T9"/>
                </a:cxn>
                <a:cxn ang="0">
                  <a:pos x="T10" y="T11"/>
                </a:cxn>
              </a:cxnLst>
              <a:rect l="0" t="0" r="r" b="b"/>
              <a:pathLst>
                <a:path w="7" h="49">
                  <a:moveTo>
                    <a:pt x="4" y="0"/>
                  </a:moveTo>
                  <a:lnTo>
                    <a:pt x="4" y="11"/>
                  </a:lnTo>
                  <a:lnTo>
                    <a:pt x="0" y="49"/>
                  </a:lnTo>
                  <a:lnTo>
                    <a:pt x="7" y="11"/>
                  </a:lnTo>
                  <a:lnTo>
                    <a:pt x="7"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31" name="Freeform 21">
              <a:extLst>
                <a:ext uri="{FF2B5EF4-FFF2-40B4-BE49-F238E27FC236}">
                  <a16:creationId xmlns:a16="http://schemas.microsoft.com/office/drawing/2014/main" id="{1682B561-BD8E-4BE8-AABB-03B7E00E975B}"/>
                </a:ext>
              </a:extLst>
            </p:cNvPr>
            <p:cNvSpPr>
              <a:spLocks/>
            </p:cNvSpPr>
            <p:nvPr/>
          </p:nvSpPr>
          <p:spPr bwMode="auto">
            <a:xfrm>
              <a:off x="1406" y="1857"/>
              <a:ext cx="4" cy="49"/>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32" name="Freeform 22">
              <a:extLst>
                <a:ext uri="{FF2B5EF4-FFF2-40B4-BE49-F238E27FC236}">
                  <a16:creationId xmlns:a16="http://schemas.microsoft.com/office/drawing/2014/main" id="{A948C2EA-949B-4D5B-89F0-9B1779301579}"/>
                </a:ext>
              </a:extLst>
            </p:cNvPr>
            <p:cNvSpPr>
              <a:spLocks/>
            </p:cNvSpPr>
            <p:nvPr/>
          </p:nvSpPr>
          <p:spPr bwMode="auto">
            <a:xfrm>
              <a:off x="1406" y="1896"/>
              <a:ext cx="22" cy="30"/>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33" name="Freeform 23">
              <a:extLst>
                <a:ext uri="{FF2B5EF4-FFF2-40B4-BE49-F238E27FC236}">
                  <a16:creationId xmlns:a16="http://schemas.microsoft.com/office/drawing/2014/main" id="{18F8A2AF-3865-4BF5-9D46-5C767DA830E8}"/>
                </a:ext>
              </a:extLst>
            </p:cNvPr>
            <p:cNvSpPr>
              <a:spLocks/>
            </p:cNvSpPr>
            <p:nvPr/>
          </p:nvSpPr>
          <p:spPr bwMode="auto">
            <a:xfrm>
              <a:off x="1406" y="1924"/>
              <a:ext cx="21" cy="3"/>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34" name="Freeform 24">
              <a:extLst>
                <a:ext uri="{FF2B5EF4-FFF2-40B4-BE49-F238E27FC236}">
                  <a16:creationId xmlns:a16="http://schemas.microsoft.com/office/drawing/2014/main" id="{4BFD723E-0629-4CA5-8B08-239468FFF11D}"/>
                </a:ext>
              </a:extLst>
            </p:cNvPr>
            <p:cNvSpPr>
              <a:spLocks/>
            </p:cNvSpPr>
            <p:nvPr/>
          </p:nvSpPr>
          <p:spPr bwMode="auto">
            <a:xfrm>
              <a:off x="1420" y="1910"/>
              <a:ext cx="7" cy="16"/>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35" name="Freeform 25">
              <a:extLst>
                <a:ext uri="{FF2B5EF4-FFF2-40B4-BE49-F238E27FC236}">
                  <a16:creationId xmlns:a16="http://schemas.microsoft.com/office/drawing/2014/main" id="{4B969441-D375-44A5-A4D1-B8D4C1B46F2F}"/>
                </a:ext>
              </a:extLst>
            </p:cNvPr>
            <p:cNvSpPr>
              <a:spLocks/>
            </p:cNvSpPr>
            <p:nvPr/>
          </p:nvSpPr>
          <p:spPr bwMode="auto">
            <a:xfrm>
              <a:off x="1441" y="1744"/>
              <a:ext cx="6" cy="1"/>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36" name="Freeform 26">
              <a:extLst>
                <a:ext uri="{FF2B5EF4-FFF2-40B4-BE49-F238E27FC236}">
                  <a16:creationId xmlns:a16="http://schemas.microsoft.com/office/drawing/2014/main" id="{E0D1AB29-4D2A-4A08-8BCB-10D480721FFF}"/>
                </a:ext>
              </a:extLst>
            </p:cNvPr>
            <p:cNvSpPr>
              <a:spLocks/>
            </p:cNvSpPr>
            <p:nvPr/>
          </p:nvSpPr>
          <p:spPr bwMode="auto">
            <a:xfrm>
              <a:off x="1433" y="1728"/>
              <a:ext cx="0" cy="1"/>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37" name="Freeform 27">
              <a:extLst>
                <a:ext uri="{FF2B5EF4-FFF2-40B4-BE49-F238E27FC236}">
                  <a16:creationId xmlns:a16="http://schemas.microsoft.com/office/drawing/2014/main" id="{D062E35B-0D34-4213-816E-73FE4BDE260B}"/>
                </a:ext>
              </a:extLst>
            </p:cNvPr>
            <p:cNvSpPr>
              <a:spLocks/>
            </p:cNvSpPr>
            <p:nvPr/>
          </p:nvSpPr>
          <p:spPr bwMode="auto">
            <a:xfrm>
              <a:off x="1422" y="1724"/>
              <a:ext cx="31" cy="36"/>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38" name="Freeform 28">
              <a:extLst>
                <a:ext uri="{FF2B5EF4-FFF2-40B4-BE49-F238E27FC236}">
                  <a16:creationId xmlns:a16="http://schemas.microsoft.com/office/drawing/2014/main" id="{95C96F82-22D2-472B-845A-F0CBC0E12001}"/>
                </a:ext>
              </a:extLst>
            </p:cNvPr>
            <p:cNvSpPr>
              <a:spLocks/>
            </p:cNvSpPr>
            <p:nvPr/>
          </p:nvSpPr>
          <p:spPr bwMode="auto">
            <a:xfrm>
              <a:off x="1427" y="1754"/>
              <a:ext cx="11" cy="3"/>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39" name="Freeform 29">
              <a:extLst>
                <a:ext uri="{FF2B5EF4-FFF2-40B4-BE49-F238E27FC236}">
                  <a16:creationId xmlns:a16="http://schemas.microsoft.com/office/drawing/2014/main" id="{ABD37870-F281-4065-8662-8622E573B22C}"/>
                </a:ext>
              </a:extLst>
            </p:cNvPr>
            <p:cNvSpPr>
              <a:spLocks/>
            </p:cNvSpPr>
            <p:nvPr/>
          </p:nvSpPr>
          <p:spPr bwMode="auto">
            <a:xfrm>
              <a:off x="1444" y="1745"/>
              <a:ext cx="3" cy="3"/>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40" name="Freeform 30">
              <a:extLst>
                <a:ext uri="{FF2B5EF4-FFF2-40B4-BE49-F238E27FC236}">
                  <a16:creationId xmlns:a16="http://schemas.microsoft.com/office/drawing/2014/main" id="{28F31F26-6A8F-4784-9830-1AFC4714BD2F}"/>
                </a:ext>
              </a:extLst>
            </p:cNvPr>
            <p:cNvSpPr>
              <a:spLocks/>
            </p:cNvSpPr>
            <p:nvPr/>
          </p:nvSpPr>
          <p:spPr bwMode="auto">
            <a:xfrm>
              <a:off x="1446" y="1745"/>
              <a:ext cx="1" cy="2"/>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41" name="Freeform 31">
              <a:extLst>
                <a:ext uri="{FF2B5EF4-FFF2-40B4-BE49-F238E27FC236}">
                  <a16:creationId xmlns:a16="http://schemas.microsoft.com/office/drawing/2014/main" id="{429A10B7-52D4-4CE9-B25A-8EF80BE09FDA}"/>
                </a:ext>
              </a:extLst>
            </p:cNvPr>
            <p:cNvSpPr>
              <a:spLocks/>
            </p:cNvSpPr>
            <p:nvPr/>
          </p:nvSpPr>
          <p:spPr bwMode="auto">
            <a:xfrm>
              <a:off x="1444" y="1733"/>
              <a:ext cx="3" cy="2"/>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42" name="Freeform 32">
              <a:extLst>
                <a:ext uri="{FF2B5EF4-FFF2-40B4-BE49-F238E27FC236}">
                  <a16:creationId xmlns:a16="http://schemas.microsoft.com/office/drawing/2014/main" id="{0AF80EC2-7678-4B0E-A2A8-46189461E177}"/>
                </a:ext>
              </a:extLst>
            </p:cNvPr>
            <p:cNvSpPr>
              <a:spLocks/>
            </p:cNvSpPr>
            <p:nvPr/>
          </p:nvSpPr>
          <p:spPr bwMode="auto">
            <a:xfrm>
              <a:off x="1418" y="1754"/>
              <a:ext cx="22" cy="14"/>
            </a:xfrm>
            <a:custGeom>
              <a:avLst/>
              <a:gdLst>
                <a:gd name="T0" fmla="*/ 0 w 22"/>
                <a:gd name="T1" fmla="*/ 8 h 14"/>
                <a:gd name="T2" fmla="*/ 2 w 22"/>
                <a:gd name="T3" fmla="*/ 0 h 14"/>
                <a:gd name="T4" fmla="*/ 22 w 22"/>
                <a:gd name="T5" fmla="*/ 5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5"/>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43" name="Freeform 33">
              <a:extLst>
                <a:ext uri="{FF2B5EF4-FFF2-40B4-BE49-F238E27FC236}">
                  <a16:creationId xmlns:a16="http://schemas.microsoft.com/office/drawing/2014/main" id="{834AA982-A47F-4411-A213-2A62B7E42FE0}"/>
                </a:ext>
              </a:extLst>
            </p:cNvPr>
            <p:cNvSpPr>
              <a:spLocks/>
            </p:cNvSpPr>
            <p:nvPr/>
          </p:nvSpPr>
          <p:spPr bwMode="auto">
            <a:xfrm>
              <a:off x="1394" y="1757"/>
              <a:ext cx="65" cy="105"/>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44" name="Freeform 34">
              <a:extLst>
                <a:ext uri="{FF2B5EF4-FFF2-40B4-BE49-F238E27FC236}">
                  <a16:creationId xmlns:a16="http://schemas.microsoft.com/office/drawing/2014/main" id="{8E5E8F0D-A640-4FD4-B8A6-9F8DB25DA61A}"/>
                </a:ext>
              </a:extLst>
            </p:cNvPr>
            <p:cNvSpPr>
              <a:spLocks/>
            </p:cNvSpPr>
            <p:nvPr/>
          </p:nvSpPr>
          <p:spPr bwMode="auto">
            <a:xfrm>
              <a:off x="1394" y="1759"/>
              <a:ext cx="44" cy="101"/>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45" name="Freeform 35">
              <a:extLst>
                <a:ext uri="{FF2B5EF4-FFF2-40B4-BE49-F238E27FC236}">
                  <a16:creationId xmlns:a16="http://schemas.microsoft.com/office/drawing/2014/main" id="{9A312DFC-0F9D-41E7-BB57-E83CA99AB5AF}"/>
                </a:ext>
              </a:extLst>
            </p:cNvPr>
            <p:cNvSpPr>
              <a:spLocks/>
            </p:cNvSpPr>
            <p:nvPr/>
          </p:nvSpPr>
          <p:spPr bwMode="auto">
            <a:xfrm>
              <a:off x="1416" y="1803"/>
              <a:ext cx="55" cy="35"/>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46" name="Freeform 36">
              <a:extLst>
                <a:ext uri="{FF2B5EF4-FFF2-40B4-BE49-F238E27FC236}">
                  <a16:creationId xmlns:a16="http://schemas.microsoft.com/office/drawing/2014/main" id="{06AA598B-4E16-4DD9-9CB6-0870625C3C1B}"/>
                </a:ext>
              </a:extLst>
            </p:cNvPr>
            <p:cNvSpPr>
              <a:spLocks/>
            </p:cNvSpPr>
            <p:nvPr/>
          </p:nvSpPr>
          <p:spPr bwMode="auto">
            <a:xfrm>
              <a:off x="1460" y="1833"/>
              <a:ext cx="12" cy="13"/>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47" name="Freeform 37">
              <a:extLst>
                <a:ext uri="{FF2B5EF4-FFF2-40B4-BE49-F238E27FC236}">
                  <a16:creationId xmlns:a16="http://schemas.microsoft.com/office/drawing/2014/main" id="{321A0BEF-FA4E-402E-AD52-E18B3A574979}"/>
                </a:ext>
              </a:extLst>
            </p:cNvPr>
            <p:cNvSpPr>
              <a:spLocks/>
            </p:cNvSpPr>
            <p:nvPr/>
          </p:nvSpPr>
          <p:spPr bwMode="auto">
            <a:xfrm>
              <a:off x="1460" y="1830"/>
              <a:ext cx="10" cy="4"/>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48" name="Freeform 38">
              <a:extLst>
                <a:ext uri="{FF2B5EF4-FFF2-40B4-BE49-F238E27FC236}">
                  <a16:creationId xmlns:a16="http://schemas.microsoft.com/office/drawing/2014/main" id="{C6045924-B592-46B8-B6D0-5E13AAB5E310}"/>
                </a:ext>
              </a:extLst>
            </p:cNvPr>
            <p:cNvSpPr>
              <a:spLocks/>
            </p:cNvSpPr>
            <p:nvPr/>
          </p:nvSpPr>
          <p:spPr bwMode="auto">
            <a:xfrm>
              <a:off x="1418" y="1770"/>
              <a:ext cx="49" cy="73"/>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49" name="Freeform 39">
              <a:extLst>
                <a:ext uri="{FF2B5EF4-FFF2-40B4-BE49-F238E27FC236}">
                  <a16:creationId xmlns:a16="http://schemas.microsoft.com/office/drawing/2014/main" id="{0A4257B7-F52F-45CA-AC2F-076FB8BC6402}"/>
                </a:ext>
              </a:extLst>
            </p:cNvPr>
            <p:cNvSpPr>
              <a:spLocks/>
            </p:cNvSpPr>
            <p:nvPr/>
          </p:nvSpPr>
          <p:spPr bwMode="auto">
            <a:xfrm>
              <a:off x="1418" y="1772"/>
              <a:ext cx="44" cy="71"/>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50" name="Freeform 40">
              <a:extLst>
                <a:ext uri="{FF2B5EF4-FFF2-40B4-BE49-F238E27FC236}">
                  <a16:creationId xmlns:a16="http://schemas.microsoft.com/office/drawing/2014/main" id="{CD38284E-0F1E-4351-A421-1B4F638AF4B9}"/>
                </a:ext>
              </a:extLst>
            </p:cNvPr>
            <p:cNvSpPr>
              <a:spLocks/>
            </p:cNvSpPr>
            <p:nvPr/>
          </p:nvSpPr>
          <p:spPr bwMode="auto">
            <a:xfrm>
              <a:off x="1403" y="1706"/>
              <a:ext cx="46" cy="46"/>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51" name="Freeform 41">
              <a:extLst>
                <a:ext uri="{FF2B5EF4-FFF2-40B4-BE49-F238E27FC236}">
                  <a16:creationId xmlns:a16="http://schemas.microsoft.com/office/drawing/2014/main" id="{4F4F2809-30D0-4AAB-AFBC-8D7D95F77636}"/>
                </a:ext>
              </a:extLst>
            </p:cNvPr>
            <p:cNvSpPr>
              <a:spLocks/>
            </p:cNvSpPr>
            <p:nvPr/>
          </p:nvSpPr>
          <p:spPr bwMode="auto">
            <a:xfrm>
              <a:off x="1398" y="1698"/>
              <a:ext cx="52" cy="41"/>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52" name="Freeform 42">
              <a:extLst>
                <a:ext uri="{FF2B5EF4-FFF2-40B4-BE49-F238E27FC236}">
                  <a16:creationId xmlns:a16="http://schemas.microsoft.com/office/drawing/2014/main" id="{96AC69A0-5D4B-4BAF-97C5-F9C5D9B47D7F}"/>
                </a:ext>
              </a:extLst>
            </p:cNvPr>
            <p:cNvSpPr>
              <a:spLocks/>
            </p:cNvSpPr>
            <p:nvPr/>
          </p:nvSpPr>
          <p:spPr bwMode="auto">
            <a:xfrm>
              <a:off x="1413" y="1698"/>
              <a:ext cx="37" cy="24"/>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53" name="Freeform 43">
              <a:extLst>
                <a:ext uri="{FF2B5EF4-FFF2-40B4-BE49-F238E27FC236}">
                  <a16:creationId xmlns:a16="http://schemas.microsoft.com/office/drawing/2014/main" id="{17AA08AA-8F21-4A03-971F-AEEA13FBC419}"/>
                </a:ext>
              </a:extLst>
            </p:cNvPr>
            <p:cNvSpPr>
              <a:spLocks/>
            </p:cNvSpPr>
            <p:nvPr/>
          </p:nvSpPr>
          <p:spPr bwMode="auto">
            <a:xfrm>
              <a:off x="1399" y="1704"/>
              <a:ext cx="18" cy="35"/>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54" name="Freeform 44">
              <a:extLst>
                <a:ext uri="{FF2B5EF4-FFF2-40B4-BE49-F238E27FC236}">
                  <a16:creationId xmlns:a16="http://schemas.microsoft.com/office/drawing/2014/main" id="{18747609-E35B-4A86-97F9-8F9DAA05B00C}"/>
                </a:ext>
              </a:extLst>
            </p:cNvPr>
            <p:cNvSpPr>
              <a:spLocks/>
            </p:cNvSpPr>
            <p:nvPr/>
          </p:nvSpPr>
          <p:spPr bwMode="auto">
            <a:xfrm>
              <a:off x="1399" y="1714"/>
              <a:ext cx="54" cy="25"/>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55" name="Freeform 45">
              <a:extLst>
                <a:ext uri="{FF2B5EF4-FFF2-40B4-BE49-F238E27FC236}">
                  <a16:creationId xmlns:a16="http://schemas.microsoft.com/office/drawing/2014/main" id="{A75493AF-9434-4D9B-AC89-DF189E0E010B}"/>
                </a:ext>
              </a:extLst>
            </p:cNvPr>
            <p:cNvSpPr>
              <a:spLocks noEditPoints="1"/>
            </p:cNvSpPr>
            <p:nvPr/>
          </p:nvSpPr>
          <p:spPr bwMode="auto">
            <a:xfrm>
              <a:off x="1291" y="1968"/>
              <a:ext cx="156" cy="190"/>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56" name="Freeform 46">
              <a:extLst>
                <a:ext uri="{FF2B5EF4-FFF2-40B4-BE49-F238E27FC236}">
                  <a16:creationId xmlns:a16="http://schemas.microsoft.com/office/drawing/2014/main" id="{5635773F-DB78-4B86-9F85-486144455574}"/>
                </a:ext>
              </a:extLst>
            </p:cNvPr>
            <p:cNvSpPr>
              <a:spLocks/>
            </p:cNvSpPr>
            <p:nvPr/>
          </p:nvSpPr>
          <p:spPr bwMode="auto">
            <a:xfrm>
              <a:off x="1260" y="2141"/>
              <a:ext cx="218" cy="71"/>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57" name="Freeform 47">
              <a:extLst>
                <a:ext uri="{FF2B5EF4-FFF2-40B4-BE49-F238E27FC236}">
                  <a16:creationId xmlns:a16="http://schemas.microsoft.com/office/drawing/2014/main" id="{68ED02C2-65F8-4B3B-97AB-2776EF5171EF}"/>
                </a:ext>
              </a:extLst>
            </p:cNvPr>
            <p:cNvSpPr>
              <a:spLocks/>
            </p:cNvSpPr>
            <p:nvPr/>
          </p:nvSpPr>
          <p:spPr bwMode="auto">
            <a:xfrm>
              <a:off x="1260" y="2153"/>
              <a:ext cx="206" cy="59"/>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58" name="Freeform 48">
              <a:extLst>
                <a:ext uri="{FF2B5EF4-FFF2-40B4-BE49-F238E27FC236}">
                  <a16:creationId xmlns:a16="http://schemas.microsoft.com/office/drawing/2014/main" id="{0CA58B5E-9DE8-4063-9127-1A029E8C42D7}"/>
                </a:ext>
              </a:extLst>
            </p:cNvPr>
            <p:cNvSpPr>
              <a:spLocks/>
            </p:cNvSpPr>
            <p:nvPr/>
          </p:nvSpPr>
          <p:spPr bwMode="auto">
            <a:xfrm>
              <a:off x="1260" y="2141"/>
              <a:ext cx="218" cy="71"/>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59" name="Oval 49">
              <a:extLst>
                <a:ext uri="{FF2B5EF4-FFF2-40B4-BE49-F238E27FC236}">
                  <a16:creationId xmlns:a16="http://schemas.microsoft.com/office/drawing/2014/main" id="{CFC6F016-27F5-463E-AC53-0539F467D355}"/>
                </a:ext>
              </a:extLst>
            </p:cNvPr>
            <p:cNvSpPr>
              <a:spLocks noChangeArrowheads="1"/>
            </p:cNvSpPr>
            <p:nvPr/>
          </p:nvSpPr>
          <p:spPr bwMode="auto">
            <a:xfrm>
              <a:off x="1280" y="2184"/>
              <a:ext cx="55" cy="5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60" name="Oval 50">
              <a:extLst>
                <a:ext uri="{FF2B5EF4-FFF2-40B4-BE49-F238E27FC236}">
                  <a16:creationId xmlns:a16="http://schemas.microsoft.com/office/drawing/2014/main" id="{D65F7B29-F3D9-47DC-97CC-21D417AC1C34}"/>
                </a:ext>
              </a:extLst>
            </p:cNvPr>
            <p:cNvSpPr>
              <a:spLocks noChangeArrowheads="1"/>
            </p:cNvSpPr>
            <p:nvPr/>
          </p:nvSpPr>
          <p:spPr bwMode="auto">
            <a:xfrm>
              <a:off x="1291" y="2196"/>
              <a:ext cx="32" cy="31"/>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61" name="Freeform 51">
              <a:extLst>
                <a:ext uri="{FF2B5EF4-FFF2-40B4-BE49-F238E27FC236}">
                  <a16:creationId xmlns:a16="http://schemas.microsoft.com/office/drawing/2014/main" id="{7BEB6362-2037-4E87-AB09-6A070F8D3841}"/>
                </a:ext>
              </a:extLst>
            </p:cNvPr>
            <p:cNvSpPr>
              <a:spLocks/>
            </p:cNvSpPr>
            <p:nvPr/>
          </p:nvSpPr>
          <p:spPr bwMode="auto">
            <a:xfrm>
              <a:off x="1291" y="2200"/>
              <a:ext cx="27" cy="27"/>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62" name="Oval 52">
              <a:extLst>
                <a:ext uri="{FF2B5EF4-FFF2-40B4-BE49-F238E27FC236}">
                  <a16:creationId xmlns:a16="http://schemas.microsoft.com/office/drawing/2014/main" id="{FC25BCA1-D949-4C7D-9C47-12437260D0EE}"/>
                </a:ext>
              </a:extLst>
            </p:cNvPr>
            <p:cNvSpPr>
              <a:spLocks noChangeArrowheads="1"/>
            </p:cNvSpPr>
            <p:nvPr/>
          </p:nvSpPr>
          <p:spPr bwMode="auto">
            <a:xfrm>
              <a:off x="1403" y="2184"/>
              <a:ext cx="55" cy="5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63" name="Oval 53">
              <a:extLst>
                <a:ext uri="{FF2B5EF4-FFF2-40B4-BE49-F238E27FC236}">
                  <a16:creationId xmlns:a16="http://schemas.microsoft.com/office/drawing/2014/main" id="{31AE538A-4077-462F-942E-796DCB8F751C}"/>
                </a:ext>
              </a:extLst>
            </p:cNvPr>
            <p:cNvSpPr>
              <a:spLocks noChangeArrowheads="1"/>
            </p:cNvSpPr>
            <p:nvPr/>
          </p:nvSpPr>
          <p:spPr bwMode="auto">
            <a:xfrm>
              <a:off x="1414" y="2196"/>
              <a:ext cx="32" cy="31"/>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64" name="Freeform 54">
              <a:extLst>
                <a:ext uri="{FF2B5EF4-FFF2-40B4-BE49-F238E27FC236}">
                  <a16:creationId xmlns:a16="http://schemas.microsoft.com/office/drawing/2014/main" id="{C6441538-748A-43C7-A085-607C929DBF4B}"/>
                </a:ext>
              </a:extLst>
            </p:cNvPr>
            <p:cNvSpPr>
              <a:spLocks/>
            </p:cNvSpPr>
            <p:nvPr/>
          </p:nvSpPr>
          <p:spPr bwMode="auto">
            <a:xfrm>
              <a:off x="1414" y="2200"/>
              <a:ext cx="27" cy="27"/>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65" name="Freeform 55">
              <a:extLst>
                <a:ext uri="{FF2B5EF4-FFF2-40B4-BE49-F238E27FC236}">
                  <a16:creationId xmlns:a16="http://schemas.microsoft.com/office/drawing/2014/main" id="{E1931521-7D18-45A3-A2EC-E89CEB867788}"/>
                </a:ext>
              </a:extLst>
            </p:cNvPr>
            <p:cNvSpPr>
              <a:spLocks noEditPoints="1"/>
            </p:cNvSpPr>
            <p:nvPr/>
          </p:nvSpPr>
          <p:spPr bwMode="auto">
            <a:xfrm>
              <a:off x="1253" y="1839"/>
              <a:ext cx="232" cy="141"/>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66" name="Freeform 56">
              <a:extLst>
                <a:ext uri="{FF2B5EF4-FFF2-40B4-BE49-F238E27FC236}">
                  <a16:creationId xmlns:a16="http://schemas.microsoft.com/office/drawing/2014/main" id="{5DAF59AF-57EA-43EE-863A-EF625B3A74F8}"/>
                </a:ext>
              </a:extLst>
            </p:cNvPr>
            <p:cNvSpPr>
              <a:spLocks/>
            </p:cNvSpPr>
            <p:nvPr/>
          </p:nvSpPr>
          <p:spPr bwMode="auto">
            <a:xfrm>
              <a:off x="1260" y="1940"/>
              <a:ext cx="206" cy="4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67" name="Freeform 57">
              <a:extLst>
                <a:ext uri="{FF2B5EF4-FFF2-40B4-BE49-F238E27FC236}">
                  <a16:creationId xmlns:a16="http://schemas.microsoft.com/office/drawing/2014/main" id="{445D7A4A-C2C3-43A0-BD57-CAC4B7D53091}"/>
                </a:ext>
              </a:extLst>
            </p:cNvPr>
            <p:cNvSpPr>
              <a:spLocks/>
            </p:cNvSpPr>
            <p:nvPr/>
          </p:nvSpPr>
          <p:spPr bwMode="auto">
            <a:xfrm>
              <a:off x="1260" y="1927"/>
              <a:ext cx="218" cy="53"/>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68" name="Freeform 58">
              <a:extLst>
                <a:ext uri="{FF2B5EF4-FFF2-40B4-BE49-F238E27FC236}">
                  <a16:creationId xmlns:a16="http://schemas.microsoft.com/office/drawing/2014/main" id="{3D42EB7E-5CE6-4E9F-90EA-6E56D11DBAA4}"/>
                </a:ext>
              </a:extLst>
            </p:cNvPr>
            <p:cNvSpPr>
              <a:spLocks/>
            </p:cNvSpPr>
            <p:nvPr/>
          </p:nvSpPr>
          <p:spPr bwMode="auto">
            <a:xfrm>
              <a:off x="2614" y="1847"/>
              <a:ext cx="39" cy="196"/>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69" name="Freeform 59">
              <a:extLst>
                <a:ext uri="{FF2B5EF4-FFF2-40B4-BE49-F238E27FC236}">
                  <a16:creationId xmlns:a16="http://schemas.microsoft.com/office/drawing/2014/main" id="{D6D23A0D-D845-4918-A996-846DD236489A}"/>
                </a:ext>
              </a:extLst>
            </p:cNvPr>
            <p:cNvSpPr>
              <a:spLocks/>
            </p:cNvSpPr>
            <p:nvPr/>
          </p:nvSpPr>
          <p:spPr bwMode="auto">
            <a:xfrm>
              <a:off x="2636" y="1847"/>
              <a:ext cx="17" cy="196"/>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70" name="Freeform 60">
              <a:extLst>
                <a:ext uri="{FF2B5EF4-FFF2-40B4-BE49-F238E27FC236}">
                  <a16:creationId xmlns:a16="http://schemas.microsoft.com/office/drawing/2014/main" id="{3A2781C5-3439-4412-AEE5-EF98F9FD814A}"/>
                </a:ext>
              </a:extLst>
            </p:cNvPr>
            <p:cNvSpPr>
              <a:spLocks/>
            </p:cNvSpPr>
            <p:nvPr/>
          </p:nvSpPr>
          <p:spPr bwMode="auto">
            <a:xfrm>
              <a:off x="2614" y="1847"/>
              <a:ext cx="16" cy="196"/>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71" name="Freeform 61">
              <a:extLst>
                <a:ext uri="{FF2B5EF4-FFF2-40B4-BE49-F238E27FC236}">
                  <a16:creationId xmlns:a16="http://schemas.microsoft.com/office/drawing/2014/main" id="{20BFB615-CFA5-400A-B562-68498981A2CA}"/>
                </a:ext>
              </a:extLst>
            </p:cNvPr>
            <p:cNvSpPr>
              <a:spLocks/>
            </p:cNvSpPr>
            <p:nvPr/>
          </p:nvSpPr>
          <p:spPr bwMode="auto">
            <a:xfrm>
              <a:off x="2158" y="1376"/>
              <a:ext cx="153" cy="151"/>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72" name="Freeform 62">
              <a:extLst>
                <a:ext uri="{FF2B5EF4-FFF2-40B4-BE49-F238E27FC236}">
                  <a16:creationId xmlns:a16="http://schemas.microsoft.com/office/drawing/2014/main" id="{BA36CD16-8895-4590-823C-B813A3147F6A}"/>
                </a:ext>
              </a:extLst>
            </p:cNvPr>
            <p:cNvSpPr>
              <a:spLocks/>
            </p:cNvSpPr>
            <p:nvPr/>
          </p:nvSpPr>
          <p:spPr bwMode="auto">
            <a:xfrm>
              <a:off x="1838" y="1057"/>
              <a:ext cx="365" cy="363"/>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73" name="Freeform 63">
              <a:extLst>
                <a:ext uri="{FF2B5EF4-FFF2-40B4-BE49-F238E27FC236}">
                  <a16:creationId xmlns:a16="http://schemas.microsoft.com/office/drawing/2014/main" id="{531B8F8D-7811-4E79-A58F-2D2726EEAC6B}"/>
                </a:ext>
              </a:extLst>
            </p:cNvPr>
            <p:cNvSpPr>
              <a:spLocks/>
            </p:cNvSpPr>
            <p:nvPr/>
          </p:nvSpPr>
          <p:spPr bwMode="auto">
            <a:xfrm>
              <a:off x="2232" y="1449"/>
              <a:ext cx="672" cy="667"/>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74" name="Freeform 64">
              <a:extLst>
                <a:ext uri="{FF2B5EF4-FFF2-40B4-BE49-F238E27FC236}">
                  <a16:creationId xmlns:a16="http://schemas.microsoft.com/office/drawing/2014/main" id="{4C4F8FAB-20F1-4785-8080-E62D54EA9EEC}"/>
                </a:ext>
              </a:extLst>
            </p:cNvPr>
            <p:cNvSpPr>
              <a:spLocks/>
            </p:cNvSpPr>
            <p:nvPr/>
          </p:nvSpPr>
          <p:spPr bwMode="auto">
            <a:xfrm>
              <a:off x="2150" y="1368"/>
              <a:ext cx="69" cy="67"/>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75" name="Freeform 65">
              <a:extLst>
                <a:ext uri="{FF2B5EF4-FFF2-40B4-BE49-F238E27FC236}">
                  <a16:creationId xmlns:a16="http://schemas.microsoft.com/office/drawing/2014/main" id="{2F1F356E-786F-41A9-BACF-F6643BC4244A}"/>
                </a:ext>
              </a:extLst>
            </p:cNvPr>
            <p:cNvSpPr>
              <a:spLocks/>
            </p:cNvSpPr>
            <p:nvPr/>
          </p:nvSpPr>
          <p:spPr bwMode="auto">
            <a:xfrm>
              <a:off x="1980" y="1199"/>
              <a:ext cx="51" cy="49"/>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76" name="Freeform 66">
              <a:extLst>
                <a:ext uri="{FF2B5EF4-FFF2-40B4-BE49-F238E27FC236}">
                  <a16:creationId xmlns:a16="http://schemas.microsoft.com/office/drawing/2014/main" id="{3C334054-8D35-40C5-99E5-74D51E658791}"/>
                </a:ext>
              </a:extLst>
            </p:cNvPr>
            <p:cNvSpPr>
              <a:spLocks/>
            </p:cNvSpPr>
            <p:nvPr/>
          </p:nvSpPr>
          <p:spPr bwMode="auto">
            <a:xfrm>
              <a:off x="2221" y="1438"/>
              <a:ext cx="97" cy="95"/>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78" name="Freeform 67">
              <a:extLst>
                <a:ext uri="{FF2B5EF4-FFF2-40B4-BE49-F238E27FC236}">
                  <a16:creationId xmlns:a16="http://schemas.microsoft.com/office/drawing/2014/main" id="{FB0990F4-3514-441D-AD71-1CBB9622F09A}"/>
                </a:ext>
              </a:extLst>
            </p:cNvPr>
            <p:cNvSpPr>
              <a:spLocks/>
            </p:cNvSpPr>
            <p:nvPr/>
          </p:nvSpPr>
          <p:spPr bwMode="auto">
            <a:xfrm>
              <a:off x="2285" y="1454"/>
              <a:ext cx="619" cy="595"/>
            </a:xfrm>
            <a:custGeom>
              <a:avLst/>
              <a:gdLst>
                <a:gd name="T0" fmla="*/ 619 w 619"/>
                <a:gd name="T1" fmla="*/ 589 h 595"/>
                <a:gd name="T2" fmla="*/ 613 w 619"/>
                <a:gd name="T3" fmla="*/ 595 h 595"/>
                <a:gd name="T4" fmla="*/ 0 w 619"/>
                <a:gd name="T5" fmla="*/ 26 h 595"/>
                <a:gd name="T6" fmla="*/ 26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6"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79" name="Freeform 68">
              <a:extLst>
                <a:ext uri="{FF2B5EF4-FFF2-40B4-BE49-F238E27FC236}">
                  <a16:creationId xmlns:a16="http://schemas.microsoft.com/office/drawing/2014/main" id="{028A4965-5A5C-408E-B0D8-ED9E0C28DC7B}"/>
                </a:ext>
              </a:extLst>
            </p:cNvPr>
            <p:cNvSpPr>
              <a:spLocks/>
            </p:cNvSpPr>
            <p:nvPr/>
          </p:nvSpPr>
          <p:spPr bwMode="auto">
            <a:xfrm>
              <a:off x="2237" y="1501"/>
              <a:ext cx="598" cy="615"/>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80" name="Freeform 69">
              <a:extLst>
                <a:ext uri="{FF2B5EF4-FFF2-40B4-BE49-F238E27FC236}">
                  <a16:creationId xmlns:a16="http://schemas.microsoft.com/office/drawing/2014/main" id="{87736329-A9A0-4ECD-B640-54DE09526980}"/>
                </a:ext>
              </a:extLst>
            </p:cNvPr>
            <p:cNvSpPr>
              <a:spLocks/>
            </p:cNvSpPr>
            <p:nvPr/>
          </p:nvSpPr>
          <p:spPr bwMode="auto">
            <a:xfrm>
              <a:off x="2503" y="2043"/>
              <a:ext cx="419" cy="59"/>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81" name="Oval 70">
              <a:extLst>
                <a:ext uri="{FF2B5EF4-FFF2-40B4-BE49-F238E27FC236}">
                  <a16:creationId xmlns:a16="http://schemas.microsoft.com/office/drawing/2014/main" id="{5E81745C-EF32-4604-B3D1-7775475DFD96}"/>
                </a:ext>
              </a:extLst>
            </p:cNvPr>
            <p:cNvSpPr>
              <a:spLocks noChangeArrowheads="1"/>
            </p:cNvSpPr>
            <p:nvPr/>
          </p:nvSpPr>
          <p:spPr bwMode="auto">
            <a:xfrm>
              <a:off x="2311" y="2120"/>
              <a:ext cx="121" cy="119"/>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82" name="Oval 71">
              <a:extLst>
                <a:ext uri="{FF2B5EF4-FFF2-40B4-BE49-F238E27FC236}">
                  <a16:creationId xmlns:a16="http://schemas.microsoft.com/office/drawing/2014/main" id="{FE67F829-803C-4E50-AAA8-24F1F52CEE97}"/>
                </a:ext>
              </a:extLst>
            </p:cNvPr>
            <p:cNvSpPr>
              <a:spLocks noChangeArrowheads="1"/>
            </p:cNvSpPr>
            <p:nvPr/>
          </p:nvSpPr>
          <p:spPr bwMode="auto">
            <a:xfrm>
              <a:off x="2553" y="2120"/>
              <a:ext cx="120" cy="119"/>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83" name="Oval 72">
              <a:extLst>
                <a:ext uri="{FF2B5EF4-FFF2-40B4-BE49-F238E27FC236}">
                  <a16:creationId xmlns:a16="http://schemas.microsoft.com/office/drawing/2014/main" id="{BD0886A4-5F1B-467E-ACA6-BF23443D1542}"/>
                </a:ext>
              </a:extLst>
            </p:cNvPr>
            <p:cNvSpPr>
              <a:spLocks noChangeArrowheads="1"/>
            </p:cNvSpPr>
            <p:nvPr/>
          </p:nvSpPr>
          <p:spPr bwMode="auto">
            <a:xfrm>
              <a:off x="2736" y="2120"/>
              <a:ext cx="120" cy="119"/>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84" name="Freeform 73">
              <a:extLst>
                <a:ext uri="{FF2B5EF4-FFF2-40B4-BE49-F238E27FC236}">
                  <a16:creationId xmlns:a16="http://schemas.microsoft.com/office/drawing/2014/main" id="{E6A40E47-59B7-4075-A092-DBC642544F89}"/>
                </a:ext>
              </a:extLst>
            </p:cNvPr>
            <p:cNvSpPr>
              <a:spLocks/>
            </p:cNvSpPr>
            <p:nvPr/>
          </p:nvSpPr>
          <p:spPr bwMode="auto">
            <a:xfrm>
              <a:off x="2226" y="1924"/>
              <a:ext cx="215" cy="256"/>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85" name="Freeform 74">
              <a:extLst>
                <a:ext uri="{FF2B5EF4-FFF2-40B4-BE49-F238E27FC236}">
                  <a16:creationId xmlns:a16="http://schemas.microsoft.com/office/drawing/2014/main" id="{654F8CA3-0D99-4FA6-B7D1-FEEC2AD03585}"/>
                </a:ext>
              </a:extLst>
            </p:cNvPr>
            <p:cNvSpPr>
              <a:spLocks/>
            </p:cNvSpPr>
            <p:nvPr/>
          </p:nvSpPr>
          <p:spPr bwMode="auto">
            <a:xfrm>
              <a:off x="2573" y="2102"/>
              <a:ext cx="2" cy="1"/>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86" name="Freeform 75">
              <a:extLst>
                <a:ext uri="{FF2B5EF4-FFF2-40B4-BE49-F238E27FC236}">
                  <a16:creationId xmlns:a16="http://schemas.microsoft.com/office/drawing/2014/main" id="{19AFF587-9629-4929-8D77-E7D1EF6153C3}"/>
                </a:ext>
              </a:extLst>
            </p:cNvPr>
            <p:cNvSpPr>
              <a:spLocks/>
            </p:cNvSpPr>
            <p:nvPr/>
          </p:nvSpPr>
          <p:spPr bwMode="auto">
            <a:xfrm>
              <a:off x="2438" y="2102"/>
              <a:ext cx="2" cy="1"/>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87" name="Freeform 76">
              <a:extLst>
                <a:ext uri="{FF2B5EF4-FFF2-40B4-BE49-F238E27FC236}">
                  <a16:creationId xmlns:a16="http://schemas.microsoft.com/office/drawing/2014/main" id="{0F8682EC-2B91-44D2-81CC-7BB4BD5D42CC}"/>
                </a:ext>
              </a:extLst>
            </p:cNvPr>
            <p:cNvSpPr>
              <a:spLocks/>
            </p:cNvSpPr>
            <p:nvPr/>
          </p:nvSpPr>
          <p:spPr bwMode="auto">
            <a:xfrm>
              <a:off x="2226" y="1924"/>
              <a:ext cx="80" cy="256"/>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88" name="Rectangle 77">
              <a:extLst>
                <a:ext uri="{FF2B5EF4-FFF2-40B4-BE49-F238E27FC236}">
                  <a16:creationId xmlns:a16="http://schemas.microsoft.com/office/drawing/2014/main" id="{9658E4BA-6686-49AB-98C6-3EB7007B77A0}"/>
                </a:ext>
              </a:extLst>
            </p:cNvPr>
            <p:cNvSpPr>
              <a:spLocks noChangeArrowheads="1"/>
            </p:cNvSpPr>
            <p:nvPr/>
          </p:nvSpPr>
          <p:spPr bwMode="auto">
            <a:xfrm>
              <a:off x="1847" y="1097"/>
              <a:ext cx="14" cy="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89" name="Freeform 78">
              <a:extLst>
                <a:ext uri="{FF2B5EF4-FFF2-40B4-BE49-F238E27FC236}">
                  <a16:creationId xmlns:a16="http://schemas.microsoft.com/office/drawing/2014/main" id="{BE8E578E-33C8-401B-BE7A-C22ACDD3C54A}"/>
                </a:ext>
              </a:extLst>
            </p:cNvPr>
            <p:cNvSpPr>
              <a:spLocks/>
            </p:cNvSpPr>
            <p:nvPr/>
          </p:nvSpPr>
          <p:spPr bwMode="auto">
            <a:xfrm>
              <a:off x="2363" y="1924"/>
              <a:ext cx="571" cy="256"/>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90" name="Freeform 79">
              <a:extLst>
                <a:ext uri="{FF2B5EF4-FFF2-40B4-BE49-F238E27FC236}">
                  <a16:creationId xmlns:a16="http://schemas.microsoft.com/office/drawing/2014/main" id="{A48A804C-D1D3-44A3-871C-A1BEACA96DB5}"/>
                </a:ext>
              </a:extLst>
            </p:cNvPr>
            <p:cNvSpPr>
              <a:spLocks/>
            </p:cNvSpPr>
            <p:nvPr/>
          </p:nvSpPr>
          <p:spPr bwMode="auto">
            <a:xfrm>
              <a:off x="2363" y="1924"/>
              <a:ext cx="189" cy="256"/>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91" name="Freeform 80">
              <a:extLst>
                <a:ext uri="{FF2B5EF4-FFF2-40B4-BE49-F238E27FC236}">
                  <a16:creationId xmlns:a16="http://schemas.microsoft.com/office/drawing/2014/main" id="{8697F989-B600-4006-8642-36A906110D07}"/>
                </a:ext>
              </a:extLst>
            </p:cNvPr>
            <p:cNvSpPr>
              <a:spLocks/>
            </p:cNvSpPr>
            <p:nvPr/>
          </p:nvSpPr>
          <p:spPr bwMode="auto">
            <a:xfrm>
              <a:off x="2376" y="216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92" name="Freeform 81">
              <a:extLst>
                <a:ext uri="{FF2B5EF4-FFF2-40B4-BE49-F238E27FC236}">
                  <a16:creationId xmlns:a16="http://schemas.microsoft.com/office/drawing/2014/main" id="{9704A8BE-5D74-4581-8F0A-BCA362838779}"/>
                </a:ext>
              </a:extLst>
            </p:cNvPr>
            <p:cNvSpPr>
              <a:spLocks/>
            </p:cNvSpPr>
            <p:nvPr/>
          </p:nvSpPr>
          <p:spPr bwMode="auto">
            <a:xfrm>
              <a:off x="2376" y="2170"/>
              <a:ext cx="0" cy="1"/>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93" name="Freeform 82">
              <a:extLst>
                <a:ext uri="{FF2B5EF4-FFF2-40B4-BE49-F238E27FC236}">
                  <a16:creationId xmlns:a16="http://schemas.microsoft.com/office/drawing/2014/main" id="{F2CE9E9F-0E90-47F3-A04A-6ECBCAC24477}"/>
                </a:ext>
              </a:extLst>
            </p:cNvPr>
            <p:cNvSpPr>
              <a:spLocks/>
            </p:cNvSpPr>
            <p:nvPr/>
          </p:nvSpPr>
          <p:spPr bwMode="auto">
            <a:xfrm>
              <a:off x="2376" y="217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94" name="Freeform 83">
              <a:extLst>
                <a:ext uri="{FF2B5EF4-FFF2-40B4-BE49-F238E27FC236}">
                  <a16:creationId xmlns:a16="http://schemas.microsoft.com/office/drawing/2014/main" id="{F77ACC6F-51A2-4EE5-871A-8EDD60DDA7CE}"/>
                </a:ext>
              </a:extLst>
            </p:cNvPr>
            <p:cNvSpPr>
              <a:spLocks/>
            </p:cNvSpPr>
            <p:nvPr/>
          </p:nvSpPr>
          <p:spPr bwMode="auto">
            <a:xfrm>
              <a:off x="2388" y="2102"/>
              <a:ext cx="546" cy="78"/>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95" name="Freeform 84">
              <a:extLst>
                <a:ext uri="{FF2B5EF4-FFF2-40B4-BE49-F238E27FC236}">
                  <a16:creationId xmlns:a16="http://schemas.microsoft.com/office/drawing/2014/main" id="{352E4993-E4DA-42A5-94FD-75A6FA2167C5}"/>
                </a:ext>
              </a:extLst>
            </p:cNvPr>
            <p:cNvSpPr>
              <a:spLocks/>
            </p:cNvSpPr>
            <p:nvPr/>
          </p:nvSpPr>
          <p:spPr bwMode="auto">
            <a:xfrm>
              <a:off x="2400" y="1952"/>
              <a:ext cx="128" cy="150"/>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96" name="Freeform 85">
              <a:extLst>
                <a:ext uri="{FF2B5EF4-FFF2-40B4-BE49-F238E27FC236}">
                  <a16:creationId xmlns:a16="http://schemas.microsoft.com/office/drawing/2014/main" id="{0DDA0376-104E-4F31-8462-9081B2DAE6E8}"/>
                </a:ext>
              </a:extLst>
            </p:cNvPr>
            <p:cNvSpPr>
              <a:spLocks/>
            </p:cNvSpPr>
            <p:nvPr/>
          </p:nvSpPr>
          <p:spPr bwMode="auto">
            <a:xfrm>
              <a:off x="2400" y="1952"/>
              <a:ext cx="128" cy="150"/>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97" name="Oval 86">
              <a:extLst>
                <a:ext uri="{FF2B5EF4-FFF2-40B4-BE49-F238E27FC236}">
                  <a16:creationId xmlns:a16="http://schemas.microsoft.com/office/drawing/2014/main" id="{48EB23B8-83A9-48BC-9EEA-15C7CD80489F}"/>
                </a:ext>
              </a:extLst>
            </p:cNvPr>
            <p:cNvSpPr>
              <a:spLocks noChangeArrowheads="1"/>
            </p:cNvSpPr>
            <p:nvPr/>
          </p:nvSpPr>
          <p:spPr bwMode="auto">
            <a:xfrm>
              <a:off x="2404" y="2120"/>
              <a:ext cx="119" cy="119"/>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98" name="Oval 87">
              <a:extLst>
                <a:ext uri="{FF2B5EF4-FFF2-40B4-BE49-F238E27FC236}">
                  <a16:creationId xmlns:a16="http://schemas.microsoft.com/office/drawing/2014/main" id="{2D903249-2856-4C64-A231-BF95C5E51D37}"/>
                </a:ext>
              </a:extLst>
            </p:cNvPr>
            <p:cNvSpPr>
              <a:spLocks noChangeArrowheads="1"/>
            </p:cNvSpPr>
            <p:nvPr/>
          </p:nvSpPr>
          <p:spPr bwMode="auto">
            <a:xfrm>
              <a:off x="2432" y="2147"/>
              <a:ext cx="63" cy="65"/>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99" name="Oval 88">
              <a:extLst>
                <a:ext uri="{FF2B5EF4-FFF2-40B4-BE49-F238E27FC236}">
                  <a16:creationId xmlns:a16="http://schemas.microsoft.com/office/drawing/2014/main" id="{A7FD1AFD-6373-4ABB-A129-C6947A9B7010}"/>
                </a:ext>
              </a:extLst>
            </p:cNvPr>
            <p:cNvSpPr>
              <a:spLocks noChangeArrowheads="1"/>
            </p:cNvSpPr>
            <p:nvPr/>
          </p:nvSpPr>
          <p:spPr bwMode="auto">
            <a:xfrm>
              <a:off x="2771" y="2120"/>
              <a:ext cx="121" cy="119"/>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00" name="Oval 89">
              <a:extLst>
                <a:ext uri="{FF2B5EF4-FFF2-40B4-BE49-F238E27FC236}">
                  <a16:creationId xmlns:a16="http://schemas.microsoft.com/office/drawing/2014/main" id="{07602A7C-C440-4DE2-A510-4D50BACA334D}"/>
                </a:ext>
              </a:extLst>
            </p:cNvPr>
            <p:cNvSpPr>
              <a:spLocks noChangeArrowheads="1"/>
            </p:cNvSpPr>
            <p:nvPr/>
          </p:nvSpPr>
          <p:spPr bwMode="auto">
            <a:xfrm>
              <a:off x="2644" y="2120"/>
              <a:ext cx="120" cy="119"/>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01" name="Freeform 90">
              <a:extLst>
                <a:ext uri="{FF2B5EF4-FFF2-40B4-BE49-F238E27FC236}">
                  <a16:creationId xmlns:a16="http://schemas.microsoft.com/office/drawing/2014/main" id="{83035263-2AF8-4607-8AF2-DE601FEAC572}"/>
                </a:ext>
              </a:extLst>
            </p:cNvPr>
            <p:cNvSpPr>
              <a:spLocks/>
            </p:cNvSpPr>
            <p:nvPr/>
          </p:nvSpPr>
          <p:spPr bwMode="auto">
            <a:xfrm>
              <a:off x="2432" y="2157"/>
              <a:ext cx="54" cy="55"/>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02" name="Freeform 91">
              <a:extLst>
                <a:ext uri="{FF2B5EF4-FFF2-40B4-BE49-F238E27FC236}">
                  <a16:creationId xmlns:a16="http://schemas.microsoft.com/office/drawing/2014/main" id="{CD2CEF27-64C5-4276-9464-96B94C92F709}"/>
                </a:ext>
              </a:extLst>
            </p:cNvPr>
            <p:cNvSpPr>
              <a:spLocks/>
            </p:cNvSpPr>
            <p:nvPr/>
          </p:nvSpPr>
          <p:spPr bwMode="auto">
            <a:xfrm>
              <a:off x="2267" y="2124"/>
              <a:ext cx="76" cy="10"/>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03" name="Freeform 92">
              <a:extLst>
                <a:ext uri="{FF2B5EF4-FFF2-40B4-BE49-F238E27FC236}">
                  <a16:creationId xmlns:a16="http://schemas.microsoft.com/office/drawing/2014/main" id="{1A300CE3-C8EB-4DD7-8F81-99B1FB8FBC5B}"/>
                </a:ext>
              </a:extLst>
            </p:cNvPr>
            <p:cNvSpPr>
              <a:spLocks/>
            </p:cNvSpPr>
            <p:nvPr/>
          </p:nvSpPr>
          <p:spPr bwMode="auto">
            <a:xfrm>
              <a:off x="2267" y="2147"/>
              <a:ext cx="76" cy="11"/>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04" name="Freeform 93">
              <a:extLst>
                <a:ext uri="{FF2B5EF4-FFF2-40B4-BE49-F238E27FC236}">
                  <a16:creationId xmlns:a16="http://schemas.microsoft.com/office/drawing/2014/main" id="{8220F3D9-8CE9-4FED-A340-3FB435D1FCA8}"/>
                </a:ext>
              </a:extLst>
            </p:cNvPr>
            <p:cNvSpPr>
              <a:spLocks/>
            </p:cNvSpPr>
            <p:nvPr/>
          </p:nvSpPr>
          <p:spPr bwMode="auto">
            <a:xfrm>
              <a:off x="2247" y="1952"/>
              <a:ext cx="143" cy="151"/>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05" name="Freeform 94">
              <a:extLst>
                <a:ext uri="{FF2B5EF4-FFF2-40B4-BE49-F238E27FC236}">
                  <a16:creationId xmlns:a16="http://schemas.microsoft.com/office/drawing/2014/main" id="{AAAFF239-7701-4A7D-8948-57B2AC85E97D}"/>
                </a:ext>
              </a:extLst>
            </p:cNvPr>
            <p:cNvSpPr>
              <a:spLocks/>
            </p:cNvSpPr>
            <p:nvPr/>
          </p:nvSpPr>
          <p:spPr bwMode="auto">
            <a:xfrm>
              <a:off x="2247" y="1952"/>
              <a:ext cx="117" cy="151"/>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06" name="Freeform 95">
              <a:extLst>
                <a:ext uri="{FF2B5EF4-FFF2-40B4-BE49-F238E27FC236}">
                  <a16:creationId xmlns:a16="http://schemas.microsoft.com/office/drawing/2014/main" id="{22E4BCD0-68AA-425E-B322-62483724B346}"/>
                </a:ext>
              </a:extLst>
            </p:cNvPr>
            <p:cNvSpPr>
              <a:spLocks noEditPoints="1"/>
            </p:cNvSpPr>
            <p:nvPr/>
          </p:nvSpPr>
          <p:spPr bwMode="auto">
            <a:xfrm>
              <a:off x="1647" y="1580"/>
              <a:ext cx="177" cy="176"/>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07" name="Freeform 96">
              <a:extLst>
                <a:ext uri="{FF2B5EF4-FFF2-40B4-BE49-F238E27FC236}">
                  <a16:creationId xmlns:a16="http://schemas.microsoft.com/office/drawing/2014/main" id="{095542C8-5472-4A73-B3CE-B292D1090909}"/>
                </a:ext>
              </a:extLst>
            </p:cNvPr>
            <p:cNvSpPr>
              <a:spLocks noEditPoints="1"/>
            </p:cNvSpPr>
            <p:nvPr/>
          </p:nvSpPr>
          <p:spPr bwMode="auto">
            <a:xfrm>
              <a:off x="1554" y="1723"/>
              <a:ext cx="160" cy="16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08" name="Freeform 97">
              <a:extLst>
                <a:ext uri="{FF2B5EF4-FFF2-40B4-BE49-F238E27FC236}">
                  <a16:creationId xmlns:a16="http://schemas.microsoft.com/office/drawing/2014/main" id="{E86DBF74-E3D1-439A-B690-AEBE6F9E128D}"/>
                </a:ext>
              </a:extLst>
            </p:cNvPr>
            <p:cNvSpPr>
              <a:spLocks noEditPoints="1"/>
            </p:cNvSpPr>
            <p:nvPr/>
          </p:nvSpPr>
          <p:spPr bwMode="auto">
            <a:xfrm>
              <a:off x="1778" y="1677"/>
              <a:ext cx="226" cy="224"/>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09" name="Freeform 98">
              <a:extLst>
                <a:ext uri="{FF2B5EF4-FFF2-40B4-BE49-F238E27FC236}">
                  <a16:creationId xmlns:a16="http://schemas.microsoft.com/office/drawing/2014/main" id="{D9F24753-7122-44EF-A034-C98E3D4EF9C4}"/>
                </a:ext>
              </a:extLst>
            </p:cNvPr>
            <p:cNvSpPr>
              <a:spLocks noEditPoints="1"/>
            </p:cNvSpPr>
            <p:nvPr/>
          </p:nvSpPr>
          <p:spPr bwMode="auto">
            <a:xfrm>
              <a:off x="2001" y="1682"/>
              <a:ext cx="143" cy="144"/>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10" name="Freeform 99">
              <a:extLst>
                <a:ext uri="{FF2B5EF4-FFF2-40B4-BE49-F238E27FC236}">
                  <a16:creationId xmlns:a16="http://schemas.microsoft.com/office/drawing/2014/main" id="{B5CAD8AD-461E-432C-ACA1-AD2E90ECCFC2}"/>
                </a:ext>
              </a:extLst>
            </p:cNvPr>
            <p:cNvSpPr>
              <a:spLocks/>
            </p:cNvSpPr>
            <p:nvPr/>
          </p:nvSpPr>
          <p:spPr bwMode="auto">
            <a:xfrm>
              <a:off x="1524" y="1839"/>
              <a:ext cx="652" cy="133"/>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11" name="Freeform 100">
              <a:extLst>
                <a:ext uri="{FF2B5EF4-FFF2-40B4-BE49-F238E27FC236}">
                  <a16:creationId xmlns:a16="http://schemas.microsoft.com/office/drawing/2014/main" id="{18BF9F4E-915C-4523-8F8D-D7CA8671EA1E}"/>
                </a:ext>
              </a:extLst>
            </p:cNvPr>
            <p:cNvSpPr>
              <a:spLocks/>
            </p:cNvSpPr>
            <p:nvPr/>
          </p:nvSpPr>
          <p:spPr bwMode="auto">
            <a:xfrm>
              <a:off x="1549" y="1839"/>
              <a:ext cx="627" cy="133"/>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12" name="Freeform 101">
              <a:extLst>
                <a:ext uri="{FF2B5EF4-FFF2-40B4-BE49-F238E27FC236}">
                  <a16:creationId xmlns:a16="http://schemas.microsoft.com/office/drawing/2014/main" id="{598943CA-35F0-4220-A947-5068203F4AF1}"/>
                </a:ext>
              </a:extLst>
            </p:cNvPr>
            <p:cNvSpPr>
              <a:spLocks/>
            </p:cNvSpPr>
            <p:nvPr/>
          </p:nvSpPr>
          <p:spPr bwMode="auto">
            <a:xfrm>
              <a:off x="1526" y="1390"/>
              <a:ext cx="648" cy="237"/>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13" name="Freeform 102">
              <a:extLst>
                <a:ext uri="{FF2B5EF4-FFF2-40B4-BE49-F238E27FC236}">
                  <a16:creationId xmlns:a16="http://schemas.microsoft.com/office/drawing/2014/main" id="{2E171E5A-B6C4-4BD1-A7EA-A60B56E52BEA}"/>
                </a:ext>
              </a:extLst>
            </p:cNvPr>
            <p:cNvSpPr>
              <a:spLocks/>
            </p:cNvSpPr>
            <p:nvPr/>
          </p:nvSpPr>
          <p:spPr bwMode="auto">
            <a:xfrm>
              <a:off x="1654" y="1390"/>
              <a:ext cx="520" cy="237"/>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14" name="Oval 103">
              <a:extLst>
                <a:ext uri="{FF2B5EF4-FFF2-40B4-BE49-F238E27FC236}">
                  <a16:creationId xmlns:a16="http://schemas.microsoft.com/office/drawing/2014/main" id="{1B2535BF-B679-40BA-A77B-936D592A595A}"/>
                </a:ext>
              </a:extLst>
            </p:cNvPr>
            <p:cNvSpPr>
              <a:spLocks noChangeArrowheads="1"/>
            </p:cNvSpPr>
            <p:nvPr/>
          </p:nvSpPr>
          <p:spPr bwMode="auto">
            <a:xfrm>
              <a:off x="2799" y="2147"/>
              <a:ext cx="65" cy="65"/>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15" name="Oval 104">
              <a:extLst>
                <a:ext uri="{FF2B5EF4-FFF2-40B4-BE49-F238E27FC236}">
                  <a16:creationId xmlns:a16="http://schemas.microsoft.com/office/drawing/2014/main" id="{B5A00ADC-5717-4255-BD20-E4C0E5897056}"/>
                </a:ext>
              </a:extLst>
            </p:cNvPr>
            <p:cNvSpPr>
              <a:spLocks noChangeArrowheads="1"/>
            </p:cNvSpPr>
            <p:nvPr/>
          </p:nvSpPr>
          <p:spPr bwMode="auto">
            <a:xfrm>
              <a:off x="2672" y="2147"/>
              <a:ext cx="64" cy="65"/>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16" name="Freeform 105">
              <a:extLst>
                <a:ext uri="{FF2B5EF4-FFF2-40B4-BE49-F238E27FC236}">
                  <a16:creationId xmlns:a16="http://schemas.microsoft.com/office/drawing/2014/main" id="{81F7685D-CFDE-4917-AA3C-8CBDB04044E9}"/>
                </a:ext>
              </a:extLst>
            </p:cNvPr>
            <p:cNvSpPr>
              <a:spLocks/>
            </p:cNvSpPr>
            <p:nvPr/>
          </p:nvSpPr>
          <p:spPr bwMode="auto">
            <a:xfrm>
              <a:off x="2672" y="2157"/>
              <a:ext cx="54" cy="55"/>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17" name="Freeform 106">
              <a:extLst>
                <a:ext uri="{FF2B5EF4-FFF2-40B4-BE49-F238E27FC236}">
                  <a16:creationId xmlns:a16="http://schemas.microsoft.com/office/drawing/2014/main" id="{1C2F2F41-63A6-4F99-9029-A2A9D76F4DA2}"/>
                </a:ext>
              </a:extLst>
            </p:cNvPr>
            <p:cNvSpPr>
              <a:spLocks/>
            </p:cNvSpPr>
            <p:nvPr/>
          </p:nvSpPr>
          <p:spPr bwMode="auto">
            <a:xfrm>
              <a:off x="2799" y="2157"/>
              <a:ext cx="55" cy="55"/>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grpSp>
      <p:sp>
        <p:nvSpPr>
          <p:cNvPr id="635" name="TextBox 634">
            <a:extLst>
              <a:ext uri="{FF2B5EF4-FFF2-40B4-BE49-F238E27FC236}">
                <a16:creationId xmlns:a16="http://schemas.microsoft.com/office/drawing/2014/main" id="{E90D8968-4E25-411E-8FB2-3A8537769A1C}"/>
              </a:ext>
            </a:extLst>
          </p:cNvPr>
          <p:cNvSpPr txBox="1"/>
          <p:nvPr/>
        </p:nvSpPr>
        <p:spPr>
          <a:xfrm>
            <a:off x="7050565" y="1809084"/>
            <a:ext cx="5091695" cy="1243448"/>
          </a:xfrm>
          <a:prstGeom prst="rect">
            <a:avLst/>
          </a:prstGeom>
          <a:noFill/>
        </p:spPr>
        <p:txBody>
          <a:bodyPr wrap="square" lIns="179259" tIns="0" bIns="0" rtlCol="0" anchor="ctr" anchorCtr="0">
            <a:noAutofit/>
          </a:bodyPr>
          <a:lstStyle/>
          <a:p>
            <a:pPr algn="ctr" defTabSz="896214">
              <a:defRPr/>
            </a:pPr>
            <a:r>
              <a:rPr lang="en-US" sz="1568" i="1" dirty="0">
                <a:solidFill>
                  <a:srgbClr val="505050"/>
                </a:solidFill>
                <a:latin typeface="Segoe UI" panose="020B0502040204020203" pitchFamily="34" charset="0"/>
                <a:ea typeface="Segoe UI" panose="020B0502040204020203" pitchFamily="34" charset="0"/>
                <a:cs typeface="Segoe UI" panose="020B0502040204020203" pitchFamily="34" charset="0"/>
              </a:rPr>
              <a:t>Why Microsoft Azure</a:t>
            </a:r>
          </a:p>
        </p:txBody>
      </p:sp>
      <p:sp>
        <p:nvSpPr>
          <p:cNvPr id="636" name="TextBox 635">
            <a:extLst>
              <a:ext uri="{FF2B5EF4-FFF2-40B4-BE49-F238E27FC236}">
                <a16:creationId xmlns:a16="http://schemas.microsoft.com/office/drawing/2014/main" id="{9A94154D-4B45-4E0D-ADF0-B941AC60C442}"/>
              </a:ext>
            </a:extLst>
          </p:cNvPr>
          <p:cNvSpPr txBox="1"/>
          <p:nvPr/>
        </p:nvSpPr>
        <p:spPr>
          <a:xfrm>
            <a:off x="6987841" y="2430808"/>
            <a:ext cx="5104678" cy="1350303"/>
          </a:xfrm>
          <a:prstGeom prst="rect">
            <a:avLst/>
          </a:prstGeom>
          <a:noFill/>
        </p:spPr>
        <p:txBody>
          <a:bodyPr wrap="square" lIns="179259" tIns="0" bIns="0" rtlCol="0" anchor="ctr" anchorCtr="0">
            <a:noAutofit/>
          </a:bodyPr>
          <a:lstStyle/>
          <a:p>
            <a:pPr marL="106749" algn="ctr" defTabSz="895751" fontAlgn="base">
              <a:spcBef>
                <a:spcPts val="288"/>
              </a:spcBef>
              <a:spcAft>
                <a:spcPts val="480"/>
              </a:spcAft>
              <a:defRPr/>
            </a:pPr>
            <a:r>
              <a:rPr lang="en-US" sz="1568" i="1" spc="20" dirty="0">
                <a:solidFill>
                  <a:srgbClr val="505050"/>
                </a:solidFill>
                <a:latin typeface="Segoe UI" panose="020B0502040204020203" pitchFamily="34" charset="0"/>
                <a:cs typeface="Segoe UI" panose="020B0502040204020203" pitchFamily="34" charset="0"/>
              </a:rPr>
              <a:t>The assessment process</a:t>
            </a:r>
            <a:endParaRPr lang="en-US" sz="1568" i="1" spc="20" dirty="0">
              <a:solidFill>
                <a:srgbClr val="3C3C3C">
                  <a:lumMod val="50000"/>
                </a:srgbClr>
              </a:solidFill>
              <a:latin typeface="Segoe UI" panose="020B0502040204020203" pitchFamily="34" charset="0"/>
              <a:cs typeface="Segoe UI" panose="020B0502040204020203" pitchFamily="34" charset="0"/>
            </a:endParaRPr>
          </a:p>
        </p:txBody>
      </p:sp>
      <p:sp>
        <p:nvSpPr>
          <p:cNvPr id="637" name="Rectangle 636">
            <a:extLst>
              <a:ext uri="{FF2B5EF4-FFF2-40B4-BE49-F238E27FC236}">
                <a16:creationId xmlns:a16="http://schemas.microsoft.com/office/drawing/2014/main" id="{3CBC4CFA-4E84-4FF2-984C-5290E9BA8139}"/>
              </a:ext>
            </a:extLst>
          </p:cNvPr>
          <p:cNvSpPr/>
          <p:nvPr/>
        </p:nvSpPr>
        <p:spPr bwMode="auto">
          <a:xfrm>
            <a:off x="7166190" y="2755595"/>
            <a:ext cx="4651079" cy="17928"/>
          </a:xfrm>
          <a:prstGeom prst="rect">
            <a:avLst/>
          </a:prstGeom>
          <a:solidFill>
            <a:schemeClr val="tx2">
              <a:lumMod val="65000"/>
              <a:alpha val="3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38" name="Rectangle 637">
            <a:extLst>
              <a:ext uri="{FF2B5EF4-FFF2-40B4-BE49-F238E27FC236}">
                <a16:creationId xmlns:a16="http://schemas.microsoft.com/office/drawing/2014/main" id="{9DECB2C6-7D8D-47DD-855C-99419A82C9FB}"/>
              </a:ext>
            </a:extLst>
          </p:cNvPr>
          <p:cNvSpPr/>
          <p:nvPr/>
        </p:nvSpPr>
        <p:spPr bwMode="auto">
          <a:xfrm>
            <a:off x="7131991" y="2134349"/>
            <a:ext cx="4719478" cy="17928"/>
          </a:xfrm>
          <a:prstGeom prst="rect">
            <a:avLst/>
          </a:prstGeom>
          <a:solidFill>
            <a:schemeClr val="tx2">
              <a:lumMod val="65000"/>
              <a:alpha val="3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39" name="TextBox 638">
            <a:extLst>
              <a:ext uri="{FF2B5EF4-FFF2-40B4-BE49-F238E27FC236}">
                <a16:creationId xmlns:a16="http://schemas.microsoft.com/office/drawing/2014/main" id="{45B8E89A-9FAA-4D32-831F-BB3E10AADB70}"/>
              </a:ext>
            </a:extLst>
          </p:cNvPr>
          <p:cNvSpPr txBox="1"/>
          <p:nvPr/>
        </p:nvSpPr>
        <p:spPr>
          <a:xfrm>
            <a:off x="7076548" y="442669"/>
            <a:ext cx="4940898" cy="621968"/>
          </a:xfrm>
          <a:prstGeom prst="rect">
            <a:avLst/>
          </a:prstGeom>
          <a:noFill/>
        </p:spPr>
        <p:txBody>
          <a:bodyPr wrap="square" lIns="179259" tIns="143407" rIns="179259" bIns="143407" rtlCol="0">
            <a:spAutoFit/>
          </a:bodyPr>
          <a:lstStyle/>
          <a:p>
            <a:pPr algn="ctr" defTabSz="913785">
              <a:lnSpc>
                <a:spcPct val="90000"/>
              </a:lnSpc>
              <a:defRPr/>
            </a:pPr>
            <a:r>
              <a:rPr lang="en-US" sz="2353" kern="0" spc="20" dirty="0">
                <a:solidFill>
                  <a:srgbClr val="3C3C3C"/>
                </a:solidFill>
                <a:latin typeface="Segoe UI"/>
                <a:cs typeface="Segoe UI Semilight" panose="020B0402040204020203" pitchFamily="34" charset="0"/>
              </a:rPr>
              <a:t>Agenda</a:t>
            </a:r>
          </a:p>
        </p:txBody>
      </p:sp>
      <p:sp>
        <p:nvSpPr>
          <p:cNvPr id="640" name="TextBox 639">
            <a:extLst>
              <a:ext uri="{FF2B5EF4-FFF2-40B4-BE49-F238E27FC236}">
                <a16:creationId xmlns:a16="http://schemas.microsoft.com/office/drawing/2014/main" id="{00D1E30C-69F8-4656-BC77-A1243D7B90B3}"/>
              </a:ext>
            </a:extLst>
          </p:cNvPr>
          <p:cNvSpPr txBox="1"/>
          <p:nvPr/>
        </p:nvSpPr>
        <p:spPr>
          <a:xfrm>
            <a:off x="7013812" y="1412146"/>
            <a:ext cx="4837657" cy="723965"/>
          </a:xfrm>
          <a:prstGeom prst="rect">
            <a:avLst/>
          </a:prstGeom>
          <a:noFill/>
        </p:spPr>
        <p:txBody>
          <a:bodyPr wrap="square" lIns="179259" tIns="143407" rIns="179259" bIns="143407" rtlCol="0">
            <a:spAutoFit/>
          </a:bodyPr>
          <a:lstStyle/>
          <a:p>
            <a:pPr marL="106749" algn="ctr" defTabSz="895751" fontAlgn="base">
              <a:lnSpc>
                <a:spcPct val="90000"/>
              </a:lnSpc>
              <a:spcBef>
                <a:spcPts val="288"/>
              </a:spcBef>
              <a:spcAft>
                <a:spcPts val="480"/>
              </a:spcAft>
              <a:defRPr/>
            </a:pPr>
            <a:br>
              <a:rPr lang="en-US" sz="1568" i="1" dirty="0">
                <a:solidFill>
                  <a:srgbClr val="505050"/>
                </a:solidFill>
                <a:latin typeface="Segoe UI" panose="020B0502040204020203" pitchFamily="34" charset="0"/>
                <a:ea typeface="Segoe UI" panose="020B0502040204020203" pitchFamily="34" charset="0"/>
                <a:cs typeface="Segoe UI" panose="020B0502040204020203" pitchFamily="34" charset="0"/>
              </a:rPr>
            </a:br>
            <a:r>
              <a:rPr lang="en-US" sz="1568" i="1" dirty="0">
                <a:solidFill>
                  <a:srgbClr val="505050"/>
                </a:solidFill>
                <a:latin typeface="Segoe UI" panose="020B0502040204020203" pitchFamily="34" charset="0"/>
                <a:ea typeface="Segoe UI" panose="020B0502040204020203" pitchFamily="34" charset="0"/>
                <a:cs typeface="Segoe UI" panose="020B0502040204020203" pitchFamily="34" charset="0"/>
              </a:rPr>
              <a:t>Your datacenter cloud readiness assessment</a:t>
            </a:r>
          </a:p>
        </p:txBody>
      </p:sp>
      <p:sp>
        <p:nvSpPr>
          <p:cNvPr id="641" name="Rectangle 640">
            <a:extLst>
              <a:ext uri="{FF2B5EF4-FFF2-40B4-BE49-F238E27FC236}">
                <a16:creationId xmlns:a16="http://schemas.microsoft.com/office/drawing/2014/main" id="{B378253B-6DF2-4C8B-AE14-8ABD3B90568B}"/>
              </a:ext>
            </a:extLst>
          </p:cNvPr>
          <p:cNvSpPr/>
          <p:nvPr/>
        </p:nvSpPr>
        <p:spPr bwMode="auto">
          <a:xfrm>
            <a:off x="7133042" y="3469571"/>
            <a:ext cx="4651079" cy="17928"/>
          </a:xfrm>
          <a:prstGeom prst="rect">
            <a:avLst/>
          </a:prstGeom>
          <a:solidFill>
            <a:schemeClr val="tx2">
              <a:lumMod val="65000"/>
              <a:alpha val="3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7587B690-6A0D-4D19-A0A6-991DA87DBBF0}"/>
              </a:ext>
            </a:extLst>
          </p:cNvPr>
          <p:cNvGrpSpPr/>
          <p:nvPr/>
        </p:nvGrpSpPr>
        <p:grpSpPr>
          <a:xfrm>
            <a:off x="6028371" y="5449189"/>
            <a:ext cx="855393" cy="1403947"/>
            <a:chOff x="6342928" y="5107622"/>
            <a:chExt cx="678869" cy="2187263"/>
          </a:xfrm>
        </p:grpSpPr>
        <p:sp>
          <p:nvSpPr>
            <p:cNvPr id="643" name="Rectangle 117">
              <a:extLst>
                <a:ext uri="{FF2B5EF4-FFF2-40B4-BE49-F238E27FC236}">
                  <a16:creationId xmlns:a16="http://schemas.microsoft.com/office/drawing/2014/main" id="{6B4A2305-3DB4-4531-B592-F4B9966118E6}"/>
                </a:ext>
              </a:extLst>
            </p:cNvPr>
            <p:cNvSpPr>
              <a:spLocks noChangeArrowheads="1"/>
            </p:cNvSpPr>
            <p:nvPr/>
          </p:nvSpPr>
          <p:spPr bwMode="auto">
            <a:xfrm>
              <a:off x="6342928" y="5107623"/>
              <a:ext cx="678869" cy="2187262"/>
            </a:xfrm>
            <a:prstGeom prst="rect">
              <a:avLst/>
            </a:prstGeom>
            <a:solidFill>
              <a:srgbClr val="045BA6"/>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grpSp>
          <p:nvGrpSpPr>
            <p:cNvPr id="644" name="Group 643">
              <a:extLst>
                <a:ext uri="{FF2B5EF4-FFF2-40B4-BE49-F238E27FC236}">
                  <a16:creationId xmlns:a16="http://schemas.microsoft.com/office/drawing/2014/main" id="{D3805300-DAB2-4ECE-B065-E828862A904D}"/>
                </a:ext>
              </a:extLst>
            </p:cNvPr>
            <p:cNvGrpSpPr/>
            <p:nvPr/>
          </p:nvGrpSpPr>
          <p:grpSpPr>
            <a:xfrm>
              <a:off x="6464944" y="5107622"/>
              <a:ext cx="454472" cy="2187263"/>
              <a:chOff x="8546306" y="746197"/>
              <a:chExt cx="424695" cy="2545519"/>
            </a:xfrm>
          </p:grpSpPr>
          <p:sp>
            <p:nvSpPr>
              <p:cNvPr id="645" name="Line 160">
                <a:extLst>
                  <a:ext uri="{FF2B5EF4-FFF2-40B4-BE49-F238E27FC236}">
                    <a16:creationId xmlns:a16="http://schemas.microsoft.com/office/drawing/2014/main" id="{FAD33444-FC2D-4A1B-A31E-4C6C0AC2604E}"/>
                  </a:ext>
                </a:extLst>
              </p:cNvPr>
              <p:cNvSpPr>
                <a:spLocks noChangeShapeType="1"/>
              </p:cNvSpPr>
              <p:nvPr/>
            </p:nvSpPr>
            <p:spPr bwMode="auto">
              <a:xfrm>
                <a:off x="8971001" y="746197"/>
                <a:ext cx="0" cy="2545519"/>
              </a:xfrm>
              <a:prstGeom prst="line">
                <a:avLst/>
              </a:prstGeom>
              <a:noFill/>
              <a:ln w="26988" cap="flat">
                <a:solidFill>
                  <a:srgbClr val="0093E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646" name="Line 161">
                <a:extLst>
                  <a:ext uri="{FF2B5EF4-FFF2-40B4-BE49-F238E27FC236}">
                    <a16:creationId xmlns:a16="http://schemas.microsoft.com/office/drawing/2014/main" id="{AEEE72B7-9785-4A8F-89BE-6559C802B2D6}"/>
                  </a:ext>
                </a:extLst>
              </p:cNvPr>
              <p:cNvSpPr>
                <a:spLocks noChangeShapeType="1"/>
              </p:cNvSpPr>
              <p:nvPr/>
            </p:nvSpPr>
            <p:spPr bwMode="auto">
              <a:xfrm>
                <a:off x="8866155" y="746197"/>
                <a:ext cx="0" cy="2545519"/>
              </a:xfrm>
              <a:prstGeom prst="line">
                <a:avLst/>
              </a:prstGeom>
              <a:noFill/>
              <a:ln w="26988" cap="flat">
                <a:solidFill>
                  <a:srgbClr val="0093E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647" name="Line 162">
                <a:extLst>
                  <a:ext uri="{FF2B5EF4-FFF2-40B4-BE49-F238E27FC236}">
                    <a16:creationId xmlns:a16="http://schemas.microsoft.com/office/drawing/2014/main" id="{950DF0B2-9967-4787-9594-F87D952490DF}"/>
                  </a:ext>
                </a:extLst>
              </p:cNvPr>
              <p:cNvSpPr>
                <a:spLocks noChangeShapeType="1"/>
              </p:cNvSpPr>
              <p:nvPr/>
            </p:nvSpPr>
            <p:spPr bwMode="auto">
              <a:xfrm>
                <a:off x="8757327" y="746197"/>
                <a:ext cx="0" cy="2545519"/>
              </a:xfrm>
              <a:prstGeom prst="line">
                <a:avLst/>
              </a:prstGeom>
              <a:noFill/>
              <a:ln w="26988" cap="flat">
                <a:solidFill>
                  <a:srgbClr val="0093E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648" name="Line 163">
                <a:extLst>
                  <a:ext uri="{FF2B5EF4-FFF2-40B4-BE49-F238E27FC236}">
                    <a16:creationId xmlns:a16="http://schemas.microsoft.com/office/drawing/2014/main" id="{20725CA3-EA91-4CBD-84CE-489004C8BD09}"/>
                  </a:ext>
                </a:extLst>
              </p:cNvPr>
              <p:cNvSpPr>
                <a:spLocks noChangeShapeType="1"/>
              </p:cNvSpPr>
              <p:nvPr/>
            </p:nvSpPr>
            <p:spPr bwMode="auto">
              <a:xfrm>
                <a:off x="8651153" y="746197"/>
                <a:ext cx="0" cy="2545519"/>
              </a:xfrm>
              <a:prstGeom prst="line">
                <a:avLst/>
              </a:prstGeom>
              <a:noFill/>
              <a:ln w="26988" cap="flat">
                <a:solidFill>
                  <a:srgbClr val="0093E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649" name="Line 164">
                <a:extLst>
                  <a:ext uri="{FF2B5EF4-FFF2-40B4-BE49-F238E27FC236}">
                    <a16:creationId xmlns:a16="http://schemas.microsoft.com/office/drawing/2014/main" id="{D31228F1-7687-4CA4-A399-B1BE891B2F03}"/>
                  </a:ext>
                </a:extLst>
              </p:cNvPr>
              <p:cNvSpPr>
                <a:spLocks noChangeShapeType="1"/>
              </p:cNvSpPr>
              <p:nvPr/>
            </p:nvSpPr>
            <p:spPr bwMode="auto">
              <a:xfrm>
                <a:off x="8546306" y="746197"/>
                <a:ext cx="0" cy="2545519"/>
              </a:xfrm>
              <a:prstGeom prst="line">
                <a:avLst/>
              </a:prstGeom>
              <a:noFill/>
              <a:ln w="26988" cap="flat">
                <a:solidFill>
                  <a:srgbClr val="0093E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grpSp>
      </p:grpSp>
      <p:sp>
        <p:nvSpPr>
          <p:cNvPr id="373" name="Rectangle 372">
            <a:extLst>
              <a:ext uri="{FF2B5EF4-FFF2-40B4-BE49-F238E27FC236}">
                <a16:creationId xmlns:a16="http://schemas.microsoft.com/office/drawing/2014/main" id="{1DC85956-F9A0-4BAF-A64F-0E9100CF3D19}"/>
              </a:ext>
            </a:extLst>
          </p:cNvPr>
          <p:cNvSpPr/>
          <p:nvPr/>
        </p:nvSpPr>
        <p:spPr bwMode="auto">
          <a:xfrm>
            <a:off x="7166189" y="4154743"/>
            <a:ext cx="4651079" cy="17928"/>
          </a:xfrm>
          <a:prstGeom prst="rect">
            <a:avLst/>
          </a:prstGeom>
          <a:solidFill>
            <a:schemeClr val="tx2">
              <a:lumMod val="65000"/>
              <a:alpha val="3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4" name="Rectangle 373">
            <a:extLst>
              <a:ext uri="{FF2B5EF4-FFF2-40B4-BE49-F238E27FC236}">
                <a16:creationId xmlns:a16="http://schemas.microsoft.com/office/drawing/2014/main" id="{165611EE-6E42-4DA7-B6B9-B029DFDAE44A}"/>
              </a:ext>
            </a:extLst>
          </p:cNvPr>
          <p:cNvSpPr/>
          <p:nvPr/>
        </p:nvSpPr>
        <p:spPr bwMode="auto">
          <a:xfrm>
            <a:off x="7166189" y="4856440"/>
            <a:ext cx="4651079" cy="17928"/>
          </a:xfrm>
          <a:prstGeom prst="rect">
            <a:avLst/>
          </a:prstGeom>
          <a:solidFill>
            <a:schemeClr val="tx2">
              <a:lumMod val="65000"/>
              <a:alpha val="3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5" name="TextBox 374">
            <a:extLst>
              <a:ext uri="{FF2B5EF4-FFF2-40B4-BE49-F238E27FC236}">
                <a16:creationId xmlns:a16="http://schemas.microsoft.com/office/drawing/2014/main" id="{444D1000-4627-4F4D-9C1B-1EC520E809BD}"/>
              </a:ext>
            </a:extLst>
          </p:cNvPr>
          <p:cNvSpPr txBox="1"/>
          <p:nvPr/>
        </p:nvSpPr>
        <p:spPr>
          <a:xfrm>
            <a:off x="6994658" y="3140225"/>
            <a:ext cx="5104678" cy="1350303"/>
          </a:xfrm>
          <a:prstGeom prst="rect">
            <a:avLst/>
          </a:prstGeom>
          <a:noFill/>
        </p:spPr>
        <p:txBody>
          <a:bodyPr wrap="square" lIns="179259" tIns="0" bIns="0" rtlCol="0" anchor="ctr" anchorCtr="0">
            <a:noAutofit/>
          </a:bodyPr>
          <a:lstStyle/>
          <a:p>
            <a:pPr marL="106749" algn="ctr" defTabSz="895751" fontAlgn="base">
              <a:spcBef>
                <a:spcPts val="288"/>
              </a:spcBef>
              <a:spcAft>
                <a:spcPts val="480"/>
              </a:spcAft>
              <a:defRPr/>
            </a:pPr>
            <a:r>
              <a:rPr lang="en-US" sz="1568" i="1" spc="20" dirty="0">
                <a:solidFill>
                  <a:srgbClr val="505050"/>
                </a:solidFill>
                <a:latin typeface="Segoe UI" panose="020B0502040204020203" pitchFamily="34" charset="0"/>
                <a:cs typeface="Segoe UI" panose="020B0502040204020203" pitchFamily="34" charset="0"/>
              </a:rPr>
              <a:t>Sample Report Output</a:t>
            </a:r>
            <a:endParaRPr lang="en-US" sz="1568" i="1" spc="20" dirty="0">
              <a:solidFill>
                <a:srgbClr val="3C3C3C">
                  <a:lumMod val="50000"/>
                </a:srgbClr>
              </a:solidFill>
              <a:latin typeface="Segoe UI" panose="020B0502040204020203" pitchFamily="34" charset="0"/>
              <a:cs typeface="Segoe UI" panose="020B0502040204020203" pitchFamily="34" charset="0"/>
            </a:endParaRPr>
          </a:p>
        </p:txBody>
      </p:sp>
      <p:sp>
        <p:nvSpPr>
          <p:cNvPr id="377" name="TextBox 376">
            <a:extLst>
              <a:ext uri="{FF2B5EF4-FFF2-40B4-BE49-F238E27FC236}">
                <a16:creationId xmlns:a16="http://schemas.microsoft.com/office/drawing/2014/main" id="{FCECD3E3-B8AE-47C9-89C7-93F785B3E5FA}"/>
              </a:ext>
            </a:extLst>
          </p:cNvPr>
          <p:cNvSpPr txBox="1"/>
          <p:nvPr/>
        </p:nvSpPr>
        <p:spPr>
          <a:xfrm>
            <a:off x="6935464" y="3815377"/>
            <a:ext cx="5104678" cy="1350303"/>
          </a:xfrm>
          <a:prstGeom prst="rect">
            <a:avLst/>
          </a:prstGeom>
          <a:noFill/>
        </p:spPr>
        <p:txBody>
          <a:bodyPr wrap="square" lIns="179259" tIns="0" bIns="0" rtlCol="0" anchor="ctr" anchorCtr="0">
            <a:noAutofit/>
          </a:bodyPr>
          <a:lstStyle/>
          <a:p>
            <a:pPr marL="106749" algn="ctr" defTabSz="895751" fontAlgn="base">
              <a:spcBef>
                <a:spcPts val="288"/>
              </a:spcBef>
              <a:spcAft>
                <a:spcPts val="480"/>
              </a:spcAft>
              <a:defRPr/>
            </a:pPr>
            <a:r>
              <a:rPr lang="en-US" sz="1568" i="1" spc="20" dirty="0">
                <a:solidFill>
                  <a:srgbClr val="505050"/>
                </a:solidFill>
                <a:latin typeface="Segoe UI" panose="020B0502040204020203" pitchFamily="34" charset="0"/>
                <a:cs typeface="Segoe UI" panose="020B0502040204020203" pitchFamily="34" charset="0"/>
              </a:rPr>
              <a:t>Microsoft Partner Network</a:t>
            </a:r>
            <a:endParaRPr lang="en-US" sz="1568" i="1" spc="20" dirty="0">
              <a:solidFill>
                <a:srgbClr val="3C3C3C">
                  <a:lumMod val="50000"/>
                </a:srgb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005047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C17C72-51B8-4BCF-9595-B6441B1DFF76}"/>
              </a:ext>
            </a:extLst>
          </p:cNvPr>
          <p:cNvSpPr>
            <a:spLocks noGrp="1"/>
          </p:cNvSpPr>
          <p:nvPr>
            <p:ph type="title"/>
          </p:nvPr>
        </p:nvSpPr>
        <p:spPr/>
        <p:txBody>
          <a:bodyPr/>
          <a:lstStyle/>
          <a:p>
            <a:r>
              <a:rPr lang="en-US" dirty="0"/>
              <a:t>Assessment Outcome</a:t>
            </a:r>
          </a:p>
        </p:txBody>
      </p:sp>
      <p:pic>
        <p:nvPicPr>
          <p:cNvPr id="4" name="Picture 3">
            <a:extLst>
              <a:ext uri="{FF2B5EF4-FFF2-40B4-BE49-F238E27FC236}">
                <a16:creationId xmlns:a16="http://schemas.microsoft.com/office/drawing/2014/main" id="{19D236EA-803A-40C0-A907-2398A8576E68}"/>
              </a:ext>
            </a:extLst>
          </p:cNvPr>
          <p:cNvPicPr>
            <a:picLocks noChangeAspect="1"/>
          </p:cNvPicPr>
          <p:nvPr/>
        </p:nvPicPr>
        <p:blipFill>
          <a:blip r:embed="rId3"/>
          <a:stretch>
            <a:fillRect/>
          </a:stretch>
        </p:blipFill>
        <p:spPr>
          <a:xfrm>
            <a:off x="760260" y="1266604"/>
            <a:ext cx="4278936" cy="5213261"/>
          </a:xfrm>
          <a:prstGeom prst="rect">
            <a:avLst/>
          </a:prstGeom>
        </p:spPr>
      </p:pic>
      <p:pic>
        <p:nvPicPr>
          <p:cNvPr id="5" name="Picture 4">
            <a:extLst>
              <a:ext uri="{FF2B5EF4-FFF2-40B4-BE49-F238E27FC236}">
                <a16:creationId xmlns:a16="http://schemas.microsoft.com/office/drawing/2014/main" id="{70D14058-61E1-4A6B-A85E-499C3FD3EB79}"/>
              </a:ext>
            </a:extLst>
          </p:cNvPr>
          <p:cNvPicPr>
            <a:picLocks noChangeAspect="1"/>
          </p:cNvPicPr>
          <p:nvPr/>
        </p:nvPicPr>
        <p:blipFill>
          <a:blip r:embed="rId4"/>
          <a:stretch>
            <a:fillRect/>
          </a:stretch>
        </p:blipFill>
        <p:spPr>
          <a:xfrm>
            <a:off x="6537541" y="179310"/>
            <a:ext cx="5155240" cy="3307602"/>
          </a:xfrm>
          <a:prstGeom prst="rect">
            <a:avLst/>
          </a:prstGeom>
        </p:spPr>
      </p:pic>
      <p:pic>
        <p:nvPicPr>
          <p:cNvPr id="6" name="Picture 5">
            <a:extLst>
              <a:ext uri="{FF2B5EF4-FFF2-40B4-BE49-F238E27FC236}">
                <a16:creationId xmlns:a16="http://schemas.microsoft.com/office/drawing/2014/main" id="{2B915A66-B08B-4571-9778-EEC085CFB466}"/>
              </a:ext>
            </a:extLst>
          </p:cNvPr>
          <p:cNvPicPr>
            <a:picLocks noChangeAspect="1"/>
          </p:cNvPicPr>
          <p:nvPr/>
        </p:nvPicPr>
        <p:blipFill>
          <a:blip r:embed="rId5"/>
          <a:stretch>
            <a:fillRect/>
          </a:stretch>
        </p:blipFill>
        <p:spPr>
          <a:xfrm>
            <a:off x="6728926" y="3486912"/>
            <a:ext cx="4602024" cy="3222891"/>
          </a:xfrm>
          <a:prstGeom prst="rect">
            <a:avLst/>
          </a:prstGeom>
        </p:spPr>
      </p:pic>
    </p:spTree>
    <p:extLst>
      <p:ext uri="{BB962C8B-B14F-4D97-AF65-F5344CB8AC3E}">
        <p14:creationId xmlns:p14="http://schemas.microsoft.com/office/powerpoint/2010/main" val="158182217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CC33F4-5848-44CC-8361-8136DEEC4D43}"/>
              </a:ext>
            </a:extLst>
          </p:cNvPr>
          <p:cNvSpPr>
            <a:spLocks noGrp="1"/>
          </p:cNvSpPr>
          <p:nvPr>
            <p:ph type="title"/>
          </p:nvPr>
        </p:nvSpPr>
        <p:spPr/>
        <p:txBody>
          <a:bodyPr/>
          <a:lstStyle/>
          <a:p>
            <a:r>
              <a:rPr lang="en-US" dirty="0"/>
              <a:t>Assessment Proposal</a:t>
            </a:r>
          </a:p>
        </p:txBody>
      </p:sp>
      <p:sp>
        <p:nvSpPr>
          <p:cNvPr id="3" name="Text Placeholder 2">
            <a:extLst>
              <a:ext uri="{FF2B5EF4-FFF2-40B4-BE49-F238E27FC236}">
                <a16:creationId xmlns:a16="http://schemas.microsoft.com/office/drawing/2014/main" id="{FBBA8FFA-87DF-4992-A2C9-5CEFFF183AEB}"/>
              </a:ext>
            </a:extLst>
          </p:cNvPr>
          <p:cNvSpPr>
            <a:spLocks noGrp="1"/>
          </p:cNvSpPr>
          <p:nvPr>
            <p:ph type="body" sz="quarter" idx="10"/>
          </p:nvPr>
        </p:nvSpPr>
        <p:spPr>
          <a:xfrm>
            <a:off x="269241" y="1189179"/>
            <a:ext cx="5020212" cy="5288993"/>
          </a:xfrm>
        </p:spPr>
        <p:txBody>
          <a:bodyPr>
            <a:normAutofit fontScale="92500" lnSpcReduction="20000"/>
          </a:bodyPr>
          <a:lstStyle/>
          <a:p>
            <a:r>
              <a:rPr lang="en-US" dirty="0"/>
              <a:t>Introduction </a:t>
            </a:r>
          </a:p>
          <a:p>
            <a:r>
              <a:rPr lang="en-US" dirty="0"/>
              <a:t>Assessment </a:t>
            </a:r>
          </a:p>
          <a:p>
            <a:pPr lvl="1"/>
            <a:r>
              <a:rPr lang="en-US" dirty="0"/>
              <a:t>Business Overview</a:t>
            </a:r>
          </a:p>
          <a:p>
            <a:pPr lvl="1"/>
            <a:r>
              <a:rPr lang="en-US" dirty="0"/>
              <a:t>Business Case</a:t>
            </a:r>
          </a:p>
          <a:p>
            <a:pPr lvl="1"/>
            <a:r>
              <a:rPr lang="en-US" dirty="0"/>
              <a:t>Assessment Report</a:t>
            </a:r>
          </a:p>
          <a:p>
            <a:r>
              <a:rPr lang="en-US" dirty="0"/>
              <a:t>Proposal</a:t>
            </a:r>
          </a:p>
          <a:p>
            <a:pPr lvl="1"/>
            <a:r>
              <a:rPr lang="en-US" dirty="0"/>
              <a:t>Target State Architecture / Solution Components</a:t>
            </a:r>
          </a:p>
          <a:p>
            <a:r>
              <a:rPr lang="en-US" dirty="0"/>
              <a:t>Execution Strategy </a:t>
            </a:r>
          </a:p>
          <a:p>
            <a:pPr lvl="1"/>
            <a:r>
              <a:rPr lang="en-US" dirty="0"/>
              <a:t>Timelines</a:t>
            </a:r>
          </a:p>
          <a:p>
            <a:pPr lvl="1"/>
            <a:r>
              <a:rPr lang="en-US" dirty="0"/>
              <a:t>Project Deliverables</a:t>
            </a:r>
          </a:p>
          <a:p>
            <a:pPr lvl="1"/>
            <a:r>
              <a:rPr lang="en-US" dirty="0"/>
              <a:t>Resources </a:t>
            </a:r>
          </a:p>
        </p:txBody>
      </p:sp>
      <p:sp>
        <p:nvSpPr>
          <p:cNvPr id="4" name="Text Placeholder 2">
            <a:extLst>
              <a:ext uri="{FF2B5EF4-FFF2-40B4-BE49-F238E27FC236}">
                <a16:creationId xmlns:a16="http://schemas.microsoft.com/office/drawing/2014/main" id="{721671C3-FDF1-46A3-8301-3B7BE512449B}"/>
              </a:ext>
            </a:extLst>
          </p:cNvPr>
          <p:cNvSpPr txBox="1">
            <a:spLocks/>
          </p:cNvSpPr>
          <p:nvPr/>
        </p:nvSpPr>
        <p:spPr>
          <a:xfrm>
            <a:off x="6255044" y="1189179"/>
            <a:ext cx="5533682" cy="5288993"/>
          </a:xfrm>
          <a:prstGeom prst="rect">
            <a:avLst/>
          </a:prstGeom>
        </p:spPr>
        <p:txBody>
          <a:bodyPr vert="horz" wrap="square" lIns="0" tIns="0" rIns="146304" bIns="91440" rtlCol="0">
            <a:normAutofit fontScale="92500" lnSpcReduction="20000"/>
          </a:bodyPr>
          <a:lstStyle>
            <a:lvl1pPr marL="336080" marR="0" indent="-336080" algn="l" defTabSz="914192" rtl="0" eaLnBrk="1" fontAlgn="auto" latinLnBrk="0" hangingPunct="1">
              <a:lnSpc>
                <a:spcPct val="95000"/>
              </a:lnSpc>
              <a:spcBef>
                <a:spcPts val="588"/>
              </a:spcBef>
              <a:spcAft>
                <a:spcPts val="588"/>
              </a:spcAft>
              <a:buClrTx/>
              <a:buSzPct val="90000"/>
              <a:buFont typeface="Arial" pitchFamily="34" charset="0"/>
              <a:buChar char="•"/>
              <a:tabLst/>
              <a:defRPr sz="3528" kern="1200" spc="0" baseline="0">
                <a:solidFill>
                  <a:schemeClr val="bg1"/>
                </a:solidFill>
                <a:latin typeface="+mj-lt"/>
                <a:ea typeface="+mn-ea"/>
                <a:cs typeface="+mn-cs"/>
              </a:defRPr>
            </a:lvl1pPr>
            <a:lvl2pPr marL="572581" marR="0" indent="-236500" algn="l" defTabSz="914192" rtl="0" eaLnBrk="1" fontAlgn="auto" latinLnBrk="0" hangingPunct="1">
              <a:lnSpc>
                <a:spcPct val="95000"/>
              </a:lnSpc>
              <a:spcBef>
                <a:spcPts val="588"/>
              </a:spcBef>
              <a:spcAft>
                <a:spcPts val="588"/>
              </a:spcAft>
              <a:buClrTx/>
              <a:buSzPct val="90000"/>
              <a:buFont typeface="Arial" pitchFamily="34" charset="0"/>
              <a:buChar char="•"/>
              <a:tabLst/>
              <a:defRPr sz="2353" kern="1200" spc="0" baseline="0">
                <a:solidFill>
                  <a:schemeClr val="bg1"/>
                </a:solidFill>
                <a:latin typeface="+mn-lt"/>
                <a:ea typeface="+mn-ea"/>
                <a:cs typeface="+mn-cs"/>
              </a:defRPr>
            </a:lvl2pPr>
            <a:lvl3pPr marL="784187" marR="0" indent="-224054" algn="l" defTabSz="914192" rtl="0" eaLnBrk="1" fontAlgn="auto" latinLnBrk="0" hangingPunct="1">
              <a:lnSpc>
                <a:spcPct val="95000"/>
              </a:lnSpc>
              <a:spcBef>
                <a:spcPts val="588"/>
              </a:spcBef>
              <a:spcAft>
                <a:spcPts val="588"/>
              </a:spcAft>
              <a:buClrTx/>
              <a:buSzPct val="90000"/>
              <a:buFont typeface="Arial" pitchFamily="34" charset="0"/>
              <a:buChar char="•"/>
              <a:tabLst/>
              <a:defRPr sz="1961" kern="1200" spc="0" baseline="0">
                <a:solidFill>
                  <a:schemeClr val="bg1"/>
                </a:solidFill>
                <a:latin typeface="+mn-lt"/>
                <a:ea typeface="+mn-ea"/>
                <a:cs typeface="+mn-cs"/>
              </a:defRPr>
            </a:lvl3pPr>
            <a:lvl4pPr marL="1008241" marR="0" indent="-224054" algn="l" defTabSz="914192" rtl="0" eaLnBrk="1" fontAlgn="auto" latinLnBrk="0" hangingPunct="1">
              <a:lnSpc>
                <a:spcPct val="95000"/>
              </a:lnSpc>
              <a:spcBef>
                <a:spcPts val="588"/>
              </a:spcBef>
              <a:spcAft>
                <a:spcPts val="588"/>
              </a:spcAft>
              <a:buClrTx/>
              <a:buSzPct val="90000"/>
              <a:buFont typeface="Arial" pitchFamily="34" charset="0"/>
              <a:buChar char="•"/>
              <a:tabLst/>
              <a:defRPr sz="1765" kern="1200" spc="0" baseline="0">
                <a:solidFill>
                  <a:schemeClr val="bg1"/>
                </a:solidFill>
                <a:latin typeface="+mn-lt"/>
                <a:ea typeface="+mn-ea"/>
                <a:cs typeface="+mn-cs"/>
              </a:defRPr>
            </a:lvl4pPr>
            <a:lvl5pPr marL="1232294" marR="0" indent="-224054" algn="l" defTabSz="914192" rtl="0" eaLnBrk="1" fontAlgn="auto" latinLnBrk="0" hangingPunct="1">
              <a:lnSpc>
                <a:spcPct val="95000"/>
              </a:lnSpc>
              <a:spcBef>
                <a:spcPts val="588"/>
              </a:spcBef>
              <a:spcAft>
                <a:spcPts val="588"/>
              </a:spcAft>
              <a:buClrTx/>
              <a:buSzPct val="90000"/>
              <a:buFont typeface="Arial" pitchFamily="34" charset="0"/>
              <a:buChar char="•"/>
              <a:tabLst/>
              <a:defRPr sz="1765" kern="1200" spc="0" baseline="0">
                <a:solidFill>
                  <a:schemeClr val="bg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dirty="0"/>
              <a:t>Execution Strategy Cont.</a:t>
            </a:r>
          </a:p>
          <a:p>
            <a:pPr lvl="1"/>
            <a:r>
              <a:rPr lang="en-US" dirty="0"/>
              <a:t>Project Risk Management </a:t>
            </a:r>
          </a:p>
          <a:p>
            <a:pPr lvl="1"/>
            <a:r>
              <a:rPr lang="en-US" dirty="0"/>
              <a:t>Dependencies </a:t>
            </a:r>
          </a:p>
          <a:p>
            <a:pPr lvl="1"/>
            <a:r>
              <a:rPr lang="en-US" dirty="0"/>
              <a:t>Governance </a:t>
            </a:r>
          </a:p>
          <a:p>
            <a:r>
              <a:rPr lang="en-US" dirty="0"/>
              <a:t>Expected Results </a:t>
            </a:r>
          </a:p>
          <a:p>
            <a:pPr lvl="1"/>
            <a:r>
              <a:rPr lang="en-US" dirty="0"/>
              <a:t>Financial Benefits </a:t>
            </a:r>
          </a:p>
          <a:p>
            <a:pPr lvl="1"/>
            <a:r>
              <a:rPr lang="en-US" dirty="0"/>
              <a:t>Technical Benefits </a:t>
            </a:r>
          </a:p>
          <a:p>
            <a:pPr lvl="1"/>
            <a:r>
              <a:rPr lang="en-US" dirty="0"/>
              <a:t>Other Benefits </a:t>
            </a:r>
          </a:p>
          <a:p>
            <a:r>
              <a:rPr lang="en-US" dirty="0"/>
              <a:t>Costs / Pricing &amp; TCO</a:t>
            </a:r>
          </a:p>
          <a:p>
            <a:r>
              <a:rPr lang="en-US" dirty="0"/>
              <a:t>Assumptions </a:t>
            </a:r>
          </a:p>
          <a:p>
            <a:r>
              <a:rPr lang="en-US" dirty="0"/>
              <a:t>Conclusion</a:t>
            </a:r>
          </a:p>
          <a:p>
            <a:endParaRPr lang="en-US" dirty="0"/>
          </a:p>
        </p:txBody>
      </p:sp>
    </p:spTree>
    <p:extLst>
      <p:ext uri="{BB962C8B-B14F-4D97-AF65-F5344CB8AC3E}">
        <p14:creationId xmlns:p14="http://schemas.microsoft.com/office/powerpoint/2010/main" val="188415092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C9F812-CEEB-4BFC-B441-EA09B395B53A}"/>
              </a:ext>
            </a:extLst>
          </p:cNvPr>
          <p:cNvSpPr>
            <a:spLocks noGrp="1"/>
          </p:cNvSpPr>
          <p:nvPr>
            <p:ph type="title"/>
          </p:nvPr>
        </p:nvSpPr>
        <p:spPr>
          <a:xfrm>
            <a:off x="269239" y="179310"/>
            <a:ext cx="10035556" cy="756465"/>
          </a:xfrm>
        </p:spPr>
        <p:txBody>
          <a:bodyPr/>
          <a:lstStyle/>
          <a:p>
            <a:r>
              <a:rPr lang="en-US" dirty="0"/>
              <a:t>Partner Acceleration Framework Partners </a:t>
            </a:r>
          </a:p>
        </p:txBody>
      </p:sp>
      <p:pic>
        <p:nvPicPr>
          <p:cNvPr id="4" name="Picture 3">
            <a:extLst>
              <a:ext uri="{FF2B5EF4-FFF2-40B4-BE49-F238E27FC236}">
                <a16:creationId xmlns:a16="http://schemas.microsoft.com/office/drawing/2014/main" id="{CDF896F1-1BA8-408D-B35C-3B1AA2BC5A26}"/>
              </a:ext>
            </a:extLst>
          </p:cNvPr>
          <p:cNvPicPr>
            <a:picLocks noChangeAspect="1"/>
          </p:cNvPicPr>
          <p:nvPr/>
        </p:nvPicPr>
        <p:blipFill rotWithShape="1">
          <a:blip r:embed="rId3"/>
          <a:srcRect b="7244"/>
          <a:stretch/>
        </p:blipFill>
        <p:spPr>
          <a:xfrm>
            <a:off x="269239" y="1196102"/>
            <a:ext cx="6362639" cy="3255756"/>
          </a:xfrm>
          <a:prstGeom prst="rect">
            <a:avLst/>
          </a:prstGeom>
        </p:spPr>
      </p:pic>
      <p:sp>
        <p:nvSpPr>
          <p:cNvPr id="22" name="TextBox 21">
            <a:extLst>
              <a:ext uri="{FF2B5EF4-FFF2-40B4-BE49-F238E27FC236}">
                <a16:creationId xmlns:a16="http://schemas.microsoft.com/office/drawing/2014/main" id="{8568241B-5D5A-4D36-A9B0-FCC9C005DFAF}"/>
              </a:ext>
            </a:extLst>
          </p:cNvPr>
          <p:cNvSpPr txBox="1"/>
          <p:nvPr/>
        </p:nvSpPr>
        <p:spPr>
          <a:xfrm>
            <a:off x="7503363" y="3978670"/>
            <a:ext cx="3611837" cy="535531"/>
          </a:xfrm>
          <a:prstGeom prst="rect">
            <a:avLst/>
          </a:prstGeom>
          <a:noFill/>
        </p:spPr>
        <p:txBody>
          <a:bodyPr wrap="square" rtlCol="0">
            <a:spAutoFit/>
          </a:bodyPr>
          <a:lstStyle/>
          <a:p>
            <a:pPr algn="ctr" defTabSz="976147">
              <a:lnSpc>
                <a:spcPct val="90000"/>
              </a:lnSpc>
              <a:spcAft>
                <a:spcPts val="600"/>
              </a:spcAft>
            </a:pPr>
            <a:r>
              <a:rPr lang="de-DE" sz="1600" dirty="0">
                <a:solidFill>
                  <a:srgbClr val="0078D7"/>
                </a:solidFill>
                <a:latin typeface="Segoe UI"/>
                <a:cs typeface="Segoe UI Semibold" panose="020B0702040204020203" pitchFamily="34" charset="0"/>
              </a:rPr>
              <a:t>Microsoft‘s partners supported by Microsoft‘s architects</a:t>
            </a:r>
          </a:p>
        </p:txBody>
      </p:sp>
      <p:sp>
        <p:nvSpPr>
          <p:cNvPr id="23" name="Rectangle 22">
            <a:extLst>
              <a:ext uri="{FF2B5EF4-FFF2-40B4-BE49-F238E27FC236}">
                <a16:creationId xmlns:a16="http://schemas.microsoft.com/office/drawing/2014/main" id="{B6F6B7C5-F6BF-4C52-B58B-29A67DA53EFD}"/>
              </a:ext>
            </a:extLst>
          </p:cNvPr>
          <p:cNvSpPr/>
          <p:nvPr/>
        </p:nvSpPr>
        <p:spPr bwMode="auto">
          <a:xfrm flipV="1">
            <a:off x="7512995" y="4769548"/>
            <a:ext cx="3730153" cy="62345"/>
          </a:xfrm>
          <a:prstGeom prst="rect">
            <a:avLst/>
          </a:prstGeom>
          <a:solidFill>
            <a:schemeClr val="tx2">
              <a:lumMod val="65000"/>
              <a:alpha val="3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 name="TextBox 23">
            <a:extLst>
              <a:ext uri="{FF2B5EF4-FFF2-40B4-BE49-F238E27FC236}">
                <a16:creationId xmlns:a16="http://schemas.microsoft.com/office/drawing/2014/main" id="{D110B150-08E8-4246-9353-564124465062}"/>
              </a:ext>
            </a:extLst>
          </p:cNvPr>
          <p:cNvSpPr txBox="1"/>
          <p:nvPr/>
        </p:nvSpPr>
        <p:spPr>
          <a:xfrm>
            <a:off x="7572152" y="5125065"/>
            <a:ext cx="3611837" cy="978729"/>
          </a:xfrm>
          <a:prstGeom prst="rect">
            <a:avLst/>
          </a:prstGeom>
          <a:noFill/>
        </p:spPr>
        <p:txBody>
          <a:bodyPr wrap="square" rtlCol="0">
            <a:spAutoFit/>
          </a:bodyPr>
          <a:lstStyle/>
          <a:p>
            <a:pPr algn="ctr" defTabSz="976147">
              <a:lnSpc>
                <a:spcPct val="90000"/>
              </a:lnSpc>
              <a:spcAft>
                <a:spcPts val="600"/>
              </a:spcAft>
            </a:pPr>
            <a:r>
              <a:rPr lang="de-DE" sz="1600" dirty="0">
                <a:solidFill>
                  <a:srgbClr val="0078D7"/>
                </a:solidFill>
                <a:latin typeface="Segoe UI"/>
                <a:cs typeface="Segoe UI Semibold" panose="020B0702040204020203" pitchFamily="34" charset="0"/>
              </a:rPr>
              <a:t>Specialist System Integrators &amp; Managed Service Providers enrolled in to Microsoft‘s </a:t>
            </a:r>
            <a:r>
              <a:rPr lang="de-DE" sz="1600" b="1" dirty="0">
                <a:solidFill>
                  <a:srgbClr val="0078D7"/>
                </a:solidFill>
                <a:latin typeface="Segoe UI"/>
                <a:cs typeface="Segoe UI Semibold" panose="020B0702040204020203" pitchFamily="34" charset="0"/>
              </a:rPr>
              <a:t>Partner Acceleration Framework </a:t>
            </a:r>
          </a:p>
        </p:txBody>
      </p:sp>
      <p:sp>
        <p:nvSpPr>
          <p:cNvPr id="26" name="Rectangle 25">
            <a:extLst>
              <a:ext uri="{FF2B5EF4-FFF2-40B4-BE49-F238E27FC236}">
                <a16:creationId xmlns:a16="http://schemas.microsoft.com/office/drawing/2014/main" id="{58409D97-3848-4B61-80E9-D775D6F4F19A}"/>
              </a:ext>
            </a:extLst>
          </p:cNvPr>
          <p:cNvSpPr/>
          <p:nvPr/>
        </p:nvSpPr>
        <p:spPr bwMode="auto">
          <a:xfrm flipV="1">
            <a:off x="7512995" y="3660076"/>
            <a:ext cx="3730153" cy="62345"/>
          </a:xfrm>
          <a:prstGeom prst="rect">
            <a:avLst/>
          </a:prstGeom>
          <a:solidFill>
            <a:schemeClr val="tx2">
              <a:lumMod val="65000"/>
              <a:alpha val="3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TextBox 27">
            <a:extLst>
              <a:ext uri="{FF2B5EF4-FFF2-40B4-BE49-F238E27FC236}">
                <a16:creationId xmlns:a16="http://schemas.microsoft.com/office/drawing/2014/main" id="{408884FE-CD02-4EE2-9D5D-3104AACF9181}"/>
              </a:ext>
            </a:extLst>
          </p:cNvPr>
          <p:cNvSpPr txBox="1"/>
          <p:nvPr/>
        </p:nvSpPr>
        <p:spPr>
          <a:xfrm>
            <a:off x="7503362" y="2744023"/>
            <a:ext cx="3611837" cy="535531"/>
          </a:xfrm>
          <a:prstGeom prst="rect">
            <a:avLst/>
          </a:prstGeom>
          <a:noFill/>
        </p:spPr>
        <p:txBody>
          <a:bodyPr wrap="square" rtlCol="0">
            <a:spAutoFit/>
          </a:bodyPr>
          <a:lstStyle/>
          <a:p>
            <a:pPr algn="ctr" defTabSz="976147">
              <a:lnSpc>
                <a:spcPct val="90000"/>
              </a:lnSpc>
              <a:spcAft>
                <a:spcPts val="600"/>
              </a:spcAft>
            </a:pPr>
            <a:r>
              <a:rPr lang="de-DE" sz="1600" dirty="0">
                <a:solidFill>
                  <a:srgbClr val="0078D7"/>
                </a:solidFill>
                <a:latin typeface="Segoe UI"/>
                <a:cs typeface="Segoe UI Semibold" panose="020B0702040204020203" pitchFamily="34" charset="0"/>
              </a:rPr>
              <a:t>Microsoft‘s One Commercial Partner &amp; STU technical teams</a:t>
            </a:r>
          </a:p>
        </p:txBody>
      </p:sp>
      <p:sp>
        <p:nvSpPr>
          <p:cNvPr id="30" name="TextBox 29">
            <a:extLst>
              <a:ext uri="{FF2B5EF4-FFF2-40B4-BE49-F238E27FC236}">
                <a16:creationId xmlns:a16="http://schemas.microsoft.com/office/drawing/2014/main" id="{9808F80B-8E95-41BD-B7F2-754E3A131F38}"/>
              </a:ext>
            </a:extLst>
          </p:cNvPr>
          <p:cNvSpPr txBox="1"/>
          <p:nvPr/>
        </p:nvSpPr>
        <p:spPr>
          <a:xfrm>
            <a:off x="6907621" y="1462929"/>
            <a:ext cx="4940898" cy="941332"/>
          </a:xfrm>
          <a:prstGeom prst="rect">
            <a:avLst/>
          </a:prstGeom>
          <a:noFill/>
        </p:spPr>
        <p:txBody>
          <a:bodyPr wrap="square" lIns="179259" tIns="143407" rIns="179259" bIns="143407" rtlCol="0">
            <a:spAutoFit/>
          </a:bodyPr>
          <a:lstStyle/>
          <a:p>
            <a:pPr algn="ctr" defTabSz="913785">
              <a:lnSpc>
                <a:spcPct val="90000"/>
              </a:lnSpc>
              <a:defRPr/>
            </a:pPr>
            <a:r>
              <a:rPr lang="en-US" sz="2353" kern="0" spc="20" dirty="0">
                <a:solidFill>
                  <a:srgbClr val="3C3C3C"/>
                </a:solidFill>
                <a:latin typeface="Segoe UI"/>
                <a:cs typeface="Segoe UI Semilight" panose="020B0402040204020203" pitchFamily="34" charset="0"/>
              </a:rPr>
              <a:t>Microsoft partners delivering</a:t>
            </a:r>
          </a:p>
          <a:p>
            <a:pPr algn="ctr" defTabSz="913785">
              <a:lnSpc>
                <a:spcPct val="90000"/>
              </a:lnSpc>
              <a:defRPr/>
            </a:pPr>
            <a:r>
              <a:rPr lang="en-US" sz="2353" kern="0" spc="20" dirty="0">
                <a:solidFill>
                  <a:srgbClr val="3C3C3C"/>
                </a:solidFill>
                <a:latin typeface="Segoe UI"/>
                <a:cs typeface="Segoe UI Semilight" panose="020B0402040204020203" pitchFamily="34" charset="0"/>
              </a:rPr>
              <a:t>Microsoft solutions</a:t>
            </a:r>
          </a:p>
        </p:txBody>
      </p:sp>
      <p:pic>
        <p:nvPicPr>
          <p:cNvPr id="5" name="Picture 4" descr="A close up of a logo&#10;&#10;Description generated with very high confidence">
            <a:extLst>
              <a:ext uri="{FF2B5EF4-FFF2-40B4-BE49-F238E27FC236}">
                <a16:creationId xmlns:a16="http://schemas.microsoft.com/office/drawing/2014/main" id="{4CA7573F-F5C3-4E87-93B9-51F28E77150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9239" y="4452209"/>
            <a:ext cx="6362639" cy="2250341"/>
          </a:xfrm>
          <a:prstGeom prst="rect">
            <a:avLst/>
          </a:prstGeom>
        </p:spPr>
      </p:pic>
      <p:sp>
        <p:nvSpPr>
          <p:cNvPr id="6" name="Arrow: Down 5">
            <a:extLst>
              <a:ext uri="{FF2B5EF4-FFF2-40B4-BE49-F238E27FC236}">
                <a16:creationId xmlns:a16="http://schemas.microsoft.com/office/drawing/2014/main" id="{5A4C95F3-0EC6-4954-9E6A-9B8DDF993B33}"/>
              </a:ext>
            </a:extLst>
          </p:cNvPr>
          <p:cNvSpPr/>
          <p:nvPr/>
        </p:nvSpPr>
        <p:spPr bwMode="auto">
          <a:xfrm>
            <a:off x="3000546" y="4446383"/>
            <a:ext cx="646103" cy="634834"/>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a:extLst>
              <a:ext uri="{FF2B5EF4-FFF2-40B4-BE49-F238E27FC236}">
                <a16:creationId xmlns:a16="http://schemas.microsoft.com/office/drawing/2014/main" id="{3AF08036-2136-4AAB-910F-B72E0DEA5FA1}"/>
              </a:ext>
            </a:extLst>
          </p:cNvPr>
          <p:cNvSpPr txBox="1"/>
          <p:nvPr/>
        </p:nvSpPr>
        <p:spPr>
          <a:xfrm>
            <a:off x="361380" y="5935386"/>
            <a:ext cx="4705071"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chemeClr val="bg1"/>
                </a:solidFill>
              </a:rPr>
              <a:t>Partner Acceleration Framework</a:t>
            </a:r>
          </a:p>
        </p:txBody>
      </p:sp>
    </p:spTree>
    <p:extLst>
      <p:ext uri="{BB962C8B-B14F-4D97-AF65-F5344CB8AC3E}">
        <p14:creationId xmlns:p14="http://schemas.microsoft.com/office/powerpoint/2010/main" val="40411948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42" presetClass="path" presetSubtype="0" decel="100000" fill="hold" grpId="1" nodeType="withEffect">
                                  <p:stCondLst>
                                    <p:cond delay="250"/>
                                  </p:stCondLst>
                                  <p:childTnLst>
                                    <p:animMotion origin="layout" path="M -3.95833E-6 -2.22222E-6 L -3.95833E-6 0.08935 " pathEditMode="relative" rAng="0" ptsTypes="AA">
                                      <p:cBhvr>
                                        <p:cTn id="9" dur="500" spd="-100000" fill="hold"/>
                                        <p:tgtEl>
                                          <p:spTgt spid="22"/>
                                        </p:tgtEl>
                                        <p:attrNameLst>
                                          <p:attrName>ppt_x</p:attrName>
                                          <p:attrName>ppt_y</p:attrName>
                                        </p:attrNameLst>
                                      </p:cBhvr>
                                      <p:rCtr x="0" y="4468"/>
                                    </p:animMotion>
                                  </p:childTnLst>
                                </p:cTn>
                              </p:par>
                              <p:par>
                                <p:cTn id="10" presetID="10" presetClass="entr" presetSubtype="0" fill="hold" grpId="0" nodeType="withEffect">
                                  <p:stCondLst>
                                    <p:cond delay="25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par>
                                <p:cTn id="13" presetID="42" presetClass="path" presetSubtype="0" decel="100000" fill="hold" grpId="1" nodeType="withEffect">
                                  <p:stCondLst>
                                    <p:cond delay="250"/>
                                  </p:stCondLst>
                                  <p:childTnLst>
                                    <p:animMotion origin="layout" path="M -3.95833E-6 -2.22222E-6 L -3.95833E-6 0.08935 " pathEditMode="relative" rAng="0" ptsTypes="AA">
                                      <p:cBhvr>
                                        <p:cTn id="14" dur="500" spd="-100000" fill="hold"/>
                                        <p:tgtEl>
                                          <p:spTgt spid="24"/>
                                        </p:tgtEl>
                                        <p:attrNameLst>
                                          <p:attrName>ppt_x</p:attrName>
                                          <p:attrName>ppt_y</p:attrName>
                                        </p:attrNameLst>
                                      </p:cBhvr>
                                      <p:rCtr x="0" y="4468"/>
                                    </p:animMotion>
                                  </p:childTnLst>
                                </p:cTn>
                              </p:par>
                              <p:par>
                                <p:cTn id="15" presetID="10" presetClass="entr" presetSubtype="0" fill="hold" grpId="0" nodeType="withEffect">
                                  <p:stCondLst>
                                    <p:cond delay="250"/>
                                  </p:stCondLst>
                                  <p:childTnLst>
                                    <p:set>
                                      <p:cBhvr>
                                        <p:cTn id="16" dur="1" fill="hold">
                                          <p:stCondLst>
                                            <p:cond delay="0"/>
                                          </p:stCondLst>
                                        </p:cTn>
                                        <p:tgtEl>
                                          <p:spTgt spid="28"/>
                                        </p:tgtEl>
                                        <p:attrNameLst>
                                          <p:attrName>style.visibility</p:attrName>
                                        </p:attrNameLst>
                                      </p:cBhvr>
                                      <p:to>
                                        <p:strVal val="visible"/>
                                      </p:to>
                                    </p:set>
                                    <p:animEffect transition="in" filter="fade">
                                      <p:cBhvr>
                                        <p:cTn id="17" dur="500"/>
                                        <p:tgtEl>
                                          <p:spTgt spid="28"/>
                                        </p:tgtEl>
                                      </p:cBhvr>
                                    </p:animEffect>
                                  </p:childTnLst>
                                </p:cTn>
                              </p:par>
                              <p:par>
                                <p:cTn id="18" presetID="42" presetClass="path" presetSubtype="0" decel="100000" fill="hold" grpId="1" nodeType="withEffect">
                                  <p:stCondLst>
                                    <p:cond delay="250"/>
                                  </p:stCondLst>
                                  <p:childTnLst>
                                    <p:animMotion origin="layout" path="M -3.95833E-6 -2.22222E-6 L -3.95833E-6 0.08935 " pathEditMode="relative" rAng="0" ptsTypes="AA">
                                      <p:cBhvr>
                                        <p:cTn id="19" dur="500" spd="-100000" fill="hold"/>
                                        <p:tgtEl>
                                          <p:spTgt spid="28"/>
                                        </p:tgtEl>
                                        <p:attrNameLst>
                                          <p:attrName>ppt_x</p:attrName>
                                          <p:attrName>ppt_y</p:attrName>
                                        </p:attrNameLst>
                                      </p:cBhvr>
                                      <p:rCtr x="0" y="446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4" grpId="0"/>
      <p:bldP spid="24" grpId="1"/>
      <p:bldP spid="28" grpId="0"/>
      <p:bldP spid="28" grpId="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0" name="Picture 3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7" y="-30224"/>
            <a:ext cx="12189648" cy="6918449"/>
          </a:xfrm>
          <a:prstGeom prst="rect">
            <a:avLst/>
          </a:prstGeom>
        </p:spPr>
      </p:pic>
      <p:sp>
        <p:nvSpPr>
          <p:cNvPr id="338" name="Rectangle 337"/>
          <p:cNvSpPr/>
          <p:nvPr/>
        </p:nvSpPr>
        <p:spPr bwMode="auto">
          <a:xfrm>
            <a:off x="1804522" y="774997"/>
            <a:ext cx="8558072" cy="5355455"/>
          </a:xfrm>
          <a:prstGeom prst="rect">
            <a:avLst/>
          </a:prstGeom>
          <a:solidFill>
            <a:schemeClr val="accent1">
              <a:alpha val="9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 name="Group 1"/>
          <p:cNvGrpSpPr/>
          <p:nvPr/>
        </p:nvGrpSpPr>
        <p:grpSpPr>
          <a:xfrm>
            <a:off x="3058948" y="2705847"/>
            <a:ext cx="6074103" cy="3039751"/>
            <a:chOff x="3754836" y="2514600"/>
            <a:chExt cx="6074964" cy="3040182"/>
          </a:xfrm>
          <a:solidFill>
            <a:schemeClr val="bg1"/>
          </a:solidFill>
        </p:grpSpPr>
        <p:pic>
          <p:nvPicPr>
            <p:cNvPr id="88" name="Picture 2"/>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black">
            <a:xfrm>
              <a:off x="5870490" y="5145358"/>
              <a:ext cx="925785" cy="409424"/>
            </a:xfrm>
            <a:prstGeom prst="rect">
              <a:avLst/>
            </a:prstGeom>
            <a:noFill/>
            <a:ln w="9525">
              <a:noFill/>
              <a:miter lim="800000"/>
              <a:headEnd/>
              <a:tailEnd/>
            </a:ln>
            <a:effectLst/>
          </p:spPr>
        </p:pic>
        <p:grpSp>
          <p:nvGrpSpPr>
            <p:cNvPr id="89" name="Group 88"/>
            <p:cNvGrpSpPr/>
            <p:nvPr/>
          </p:nvGrpSpPr>
          <p:grpSpPr bwMode="black">
            <a:xfrm>
              <a:off x="9131444" y="4712441"/>
              <a:ext cx="698356" cy="169153"/>
              <a:chOff x="2321681" y="5571144"/>
              <a:chExt cx="701013" cy="175680"/>
            </a:xfrm>
            <a:grpFill/>
            <a:effectLst/>
          </p:grpSpPr>
          <p:sp>
            <p:nvSpPr>
              <p:cNvPr id="330" name="Freeform 23"/>
              <p:cNvSpPr>
                <a:spLocks/>
              </p:cNvSpPr>
              <p:nvPr/>
            </p:nvSpPr>
            <p:spPr bwMode="black">
              <a:xfrm>
                <a:off x="2321681" y="5578649"/>
                <a:ext cx="136791" cy="168175"/>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8" y="0"/>
                  </a:cxn>
                  <a:cxn ang="0">
                    <a:pos x="126" y="1"/>
                  </a:cxn>
                  <a:cxn ang="0">
                    <a:pos x="142" y="4"/>
                  </a:cxn>
                  <a:cxn ang="0">
                    <a:pos x="155" y="7"/>
                  </a:cxn>
                  <a:cxn ang="0">
                    <a:pos x="164" y="11"/>
                  </a:cxn>
                  <a:cxn ang="0">
                    <a:pos x="164" y="45"/>
                  </a:cxn>
                  <a:cxn ang="0">
                    <a:pos x="153" y="39"/>
                  </a:cxn>
                  <a:cxn ang="0">
                    <a:pos x="139" y="34"/>
                  </a:cxn>
                  <a:cxn ang="0">
                    <a:pos x="123" y="31"/>
                  </a:cxn>
                  <a:cxn ang="0">
                    <a:pos x="106" y="29"/>
                  </a:cxn>
                  <a:cxn ang="0">
                    <a:pos x="78" y="35"/>
                  </a:cxn>
                  <a:cxn ang="0">
                    <a:pos x="56" y="50"/>
                  </a:cxn>
                  <a:cxn ang="0">
                    <a:pos x="41" y="73"/>
                  </a:cxn>
                  <a:cxn ang="0">
                    <a:pos x="35" y="105"/>
                  </a:cxn>
                  <a:cxn ang="0">
                    <a:pos x="40" y="138"/>
                  </a:cxn>
                  <a:cxn ang="0">
                    <a:pos x="55"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8" y="2"/>
                      <a:pt x="97" y="0"/>
                      <a:pt x="108"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6" y="29"/>
                    </a:cubicBezTo>
                    <a:cubicBezTo>
                      <a:pt x="96" y="29"/>
                      <a:pt x="87" y="31"/>
                      <a:pt x="78" y="35"/>
                    </a:cubicBezTo>
                    <a:cubicBezTo>
                      <a:pt x="70" y="38"/>
                      <a:pt x="62" y="43"/>
                      <a:pt x="56" y="50"/>
                    </a:cubicBezTo>
                    <a:cubicBezTo>
                      <a:pt x="49" y="56"/>
                      <a:pt x="44" y="64"/>
                      <a:pt x="41" y="73"/>
                    </a:cubicBezTo>
                    <a:cubicBezTo>
                      <a:pt x="37" y="83"/>
                      <a:pt x="35" y="93"/>
                      <a:pt x="35" y="105"/>
                    </a:cubicBezTo>
                    <a:cubicBezTo>
                      <a:pt x="35" y="118"/>
                      <a:pt x="37" y="129"/>
                      <a:pt x="40" y="138"/>
                    </a:cubicBezTo>
                    <a:cubicBezTo>
                      <a:pt x="44" y="148"/>
                      <a:pt x="49" y="155"/>
                      <a:pt x="55" y="161"/>
                    </a:cubicBezTo>
                    <a:cubicBezTo>
                      <a:pt x="61"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31" name="Freeform 24"/>
              <p:cNvSpPr>
                <a:spLocks/>
              </p:cNvSpPr>
              <p:nvPr/>
            </p:nvSpPr>
            <p:spPr bwMode="black">
              <a:xfrm>
                <a:off x="2486786" y="5626065"/>
                <a:ext cx="66861" cy="117689"/>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2"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6" y="3"/>
                      <a:pt x="59" y="2"/>
                    </a:cubicBezTo>
                    <a:cubicBezTo>
                      <a:pt x="63" y="0"/>
                      <a:pt x="66" y="0"/>
                      <a:pt x="70" y="0"/>
                    </a:cubicBezTo>
                    <a:cubicBezTo>
                      <a:pt x="73" y="0"/>
                      <a:pt x="75" y="0"/>
                      <a:pt x="77" y="0"/>
                    </a:cubicBezTo>
                    <a:cubicBezTo>
                      <a:pt x="80" y="1"/>
                      <a:pt x="82"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32" name="Freeform 25"/>
              <p:cNvSpPr>
                <a:spLocks noEditPoints="1"/>
              </p:cNvSpPr>
              <p:nvPr/>
            </p:nvSpPr>
            <p:spPr bwMode="black">
              <a:xfrm>
                <a:off x="2557740" y="5625383"/>
                <a:ext cx="97562"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6"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4" y="135"/>
                      <a:pt x="78" y="141"/>
                      <a:pt x="70" y="145"/>
                    </a:cubicBezTo>
                    <a:cubicBezTo>
                      <a:pt x="63" y="149"/>
                      <a:pt x="55" y="151"/>
                      <a:pt x="46" y="151"/>
                    </a:cubicBezTo>
                    <a:cubicBezTo>
                      <a:pt x="39"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6" y="4"/>
                    </a:cubicBezTo>
                    <a:cubicBezTo>
                      <a:pt x="40" y="3"/>
                      <a:pt x="45" y="2"/>
                      <a:pt x="50" y="1"/>
                    </a:cubicBezTo>
                    <a:cubicBezTo>
                      <a:pt x="55" y="0"/>
                      <a:pt x="61"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9" y="119"/>
                    </a:cubicBezTo>
                    <a:cubicBezTo>
                      <a:pt x="41" y="121"/>
                      <a:pt x="43" y="122"/>
                      <a:pt x="46" y="123"/>
                    </a:cubicBezTo>
                    <a:cubicBezTo>
                      <a:pt x="49" y="124"/>
                      <a:pt x="52" y="125"/>
                      <a:pt x="56" y="125"/>
                    </a:cubicBezTo>
                    <a:cubicBezTo>
                      <a:pt x="61" y="125"/>
                      <a:pt x="66"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33" name="Freeform 26"/>
              <p:cNvSpPr>
                <a:spLocks/>
              </p:cNvSpPr>
              <p:nvPr/>
            </p:nvSpPr>
            <p:spPr bwMode="black">
              <a:xfrm>
                <a:off x="2671335" y="5625383"/>
                <a:ext cx="91080" cy="121441"/>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3" y="7"/>
                  </a:cxn>
                  <a:cxn ang="0">
                    <a:pos x="113" y="38"/>
                  </a:cxn>
                  <a:cxn ang="0">
                    <a:pos x="97" y="30"/>
                  </a:cxn>
                  <a:cxn ang="0">
                    <a:pos x="79" y="26"/>
                  </a:cxn>
                  <a:cxn ang="0">
                    <a:pos x="62" y="30"/>
                  </a:cxn>
                  <a:cxn ang="0">
                    <a:pos x="47" y="39"/>
                  </a:cxn>
                  <a:cxn ang="0">
                    <a:pos x="38" y="55"/>
                  </a:cxn>
                  <a:cxn ang="0">
                    <a:pos x="34" y="76"/>
                  </a:cxn>
                  <a:cxn ang="0">
                    <a:pos x="37" y="96"/>
                  </a:cxn>
                  <a:cxn ang="0">
                    <a:pos x="46" y="111"/>
                  </a:cxn>
                  <a:cxn ang="0">
                    <a:pos x="60" y="121"/>
                  </a:cxn>
                  <a:cxn ang="0">
                    <a:pos x="79" y="124"/>
                  </a:cxn>
                  <a:cxn ang="0">
                    <a:pos x="88" y="123"/>
                  </a:cxn>
                  <a:cxn ang="0">
                    <a:pos x="96" y="121"/>
                  </a:cxn>
                  <a:cxn ang="0">
                    <a:pos x="105" y="117"/>
                  </a:cxn>
                  <a:cxn ang="0">
                    <a:pos x="113" y="112"/>
                  </a:cxn>
                  <a:cxn ang="0">
                    <a:pos x="113" y="141"/>
                  </a:cxn>
                  <a:cxn ang="0">
                    <a:pos x="95" y="148"/>
                  </a:cxn>
                </a:cxnLst>
                <a:rect l="0" t="0" r="r" b="b"/>
                <a:pathLst>
                  <a:path w="113" h="151">
                    <a:moveTo>
                      <a:pt x="95" y="148"/>
                    </a:moveTo>
                    <a:cubicBezTo>
                      <a:pt x="88" y="150"/>
                      <a:pt x="81" y="151"/>
                      <a:pt x="72" y="151"/>
                    </a:cubicBezTo>
                    <a:cubicBezTo>
                      <a:pt x="61" y="151"/>
                      <a:pt x="51" y="149"/>
                      <a:pt x="42" y="145"/>
                    </a:cubicBezTo>
                    <a:cubicBezTo>
                      <a:pt x="33" y="142"/>
                      <a:pt x="26" y="137"/>
                      <a:pt x="20" y="130"/>
                    </a:cubicBezTo>
                    <a:cubicBezTo>
                      <a:pt x="14" y="124"/>
                      <a:pt x="9" y="116"/>
                      <a:pt x="5" y="108"/>
                    </a:cubicBezTo>
                    <a:cubicBezTo>
                      <a:pt x="2" y="99"/>
                      <a:pt x="0" y="89"/>
                      <a:pt x="0" y="79"/>
                    </a:cubicBezTo>
                    <a:cubicBezTo>
                      <a:pt x="0" y="67"/>
                      <a:pt x="2" y="56"/>
                      <a:pt x="6" y="46"/>
                    </a:cubicBezTo>
                    <a:cubicBezTo>
                      <a:pt x="9" y="37"/>
                      <a:pt x="15"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3" y="7"/>
                    </a:cubicBezTo>
                    <a:cubicBezTo>
                      <a:pt x="113" y="38"/>
                      <a:pt x="113" y="38"/>
                      <a:pt x="113" y="38"/>
                    </a:cubicBezTo>
                    <a:cubicBezTo>
                      <a:pt x="108" y="34"/>
                      <a:pt x="103" y="32"/>
                      <a:pt x="97" y="30"/>
                    </a:cubicBezTo>
                    <a:cubicBezTo>
                      <a:pt x="92" y="27"/>
                      <a:pt x="86" y="26"/>
                      <a:pt x="79" y="26"/>
                    </a:cubicBezTo>
                    <a:cubicBezTo>
                      <a:pt x="73" y="26"/>
                      <a:pt x="67" y="27"/>
                      <a:pt x="62" y="30"/>
                    </a:cubicBezTo>
                    <a:cubicBezTo>
                      <a:pt x="56" y="32"/>
                      <a:pt x="51" y="35"/>
                      <a:pt x="47" y="39"/>
                    </a:cubicBezTo>
                    <a:cubicBezTo>
                      <a:pt x="43" y="44"/>
                      <a:pt x="40" y="49"/>
                      <a:pt x="38"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6" y="123"/>
                      <a:pt x="72" y="124"/>
                      <a:pt x="79" y="124"/>
                    </a:cubicBezTo>
                    <a:cubicBezTo>
                      <a:pt x="82" y="124"/>
                      <a:pt x="85" y="124"/>
                      <a:pt x="88" y="123"/>
                    </a:cubicBezTo>
                    <a:cubicBezTo>
                      <a:pt x="91" y="123"/>
                      <a:pt x="94" y="122"/>
                      <a:pt x="96" y="121"/>
                    </a:cubicBezTo>
                    <a:cubicBezTo>
                      <a:pt x="99" y="119"/>
                      <a:pt x="102" y="118"/>
                      <a:pt x="105" y="117"/>
                    </a:cubicBezTo>
                    <a:cubicBezTo>
                      <a:pt x="108" y="115"/>
                      <a:pt x="110" y="114"/>
                      <a:pt x="113" y="112"/>
                    </a:cubicBezTo>
                    <a:cubicBezTo>
                      <a:pt x="113" y="141"/>
                      <a:pt x="113" y="141"/>
                      <a:pt x="113" y="141"/>
                    </a:cubicBezTo>
                    <a:cubicBezTo>
                      <a:pt x="108" y="144"/>
                      <a:pt x="102"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34" name="Freeform 27"/>
              <p:cNvSpPr>
                <a:spLocks noEditPoints="1"/>
              </p:cNvSpPr>
              <p:nvPr/>
            </p:nvSpPr>
            <p:spPr bwMode="black">
              <a:xfrm>
                <a:off x="2781860" y="5571144"/>
                <a:ext cx="32066" cy="172610"/>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9" y="36"/>
                      <a:pt x="7" y="34"/>
                      <a:pt x="6" y="33"/>
                    </a:cubicBezTo>
                    <a:cubicBezTo>
                      <a:pt x="4" y="31"/>
                      <a:pt x="2" y="29"/>
                      <a:pt x="1" y="27"/>
                    </a:cubicBezTo>
                    <a:cubicBezTo>
                      <a:pt x="0" y="24"/>
                      <a:pt x="0" y="22"/>
                      <a:pt x="0" y="20"/>
                    </a:cubicBezTo>
                    <a:cubicBezTo>
                      <a:pt x="0" y="17"/>
                      <a:pt x="0"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35" name="Freeform 28"/>
              <p:cNvSpPr>
                <a:spLocks noEditPoints="1"/>
              </p:cNvSpPr>
              <p:nvPr/>
            </p:nvSpPr>
            <p:spPr bwMode="black">
              <a:xfrm>
                <a:off x="2830982" y="5625383"/>
                <a:ext cx="97221"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36" name="Freeform 29"/>
              <p:cNvSpPr>
                <a:spLocks/>
              </p:cNvSpPr>
              <p:nvPr/>
            </p:nvSpPr>
            <p:spPr bwMode="black">
              <a:xfrm>
                <a:off x="2945941" y="5625383"/>
                <a:ext cx="76753" cy="121441"/>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19" y="122"/>
                  </a:cxn>
                  <a:cxn ang="0">
                    <a:pos x="30" y="124"/>
                  </a:cxn>
                  <a:cxn ang="0">
                    <a:pos x="38"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3" y="26"/>
                  </a:cxn>
                  <a:cxn ang="0">
                    <a:pos x="14" y="12"/>
                  </a:cxn>
                  <a:cxn ang="0">
                    <a:pos x="32" y="3"/>
                  </a:cxn>
                  <a:cxn ang="0">
                    <a:pos x="54" y="0"/>
                  </a:cxn>
                  <a:cxn ang="0">
                    <a:pos x="64" y="0"/>
                  </a:cxn>
                  <a:cxn ang="0">
                    <a:pos x="72" y="2"/>
                  </a:cxn>
                  <a:cxn ang="0">
                    <a:pos x="80" y="4"/>
                  </a:cxn>
                  <a:cxn ang="0">
                    <a:pos x="87" y="6"/>
                  </a:cxn>
                  <a:cxn ang="0">
                    <a:pos x="87" y="35"/>
                  </a:cxn>
                  <a:cxn ang="0">
                    <a:pos x="79" y="31"/>
                  </a:cxn>
                  <a:cxn ang="0">
                    <a:pos x="71" y="28"/>
                  </a:cxn>
                  <a:cxn ang="0">
                    <a:pos x="62" y="26"/>
                  </a:cxn>
                  <a:cxn ang="0">
                    <a:pos x="53" y="25"/>
                  </a:cxn>
                  <a:cxn ang="0">
                    <a:pos x="38" y="30"/>
                  </a:cxn>
                  <a:cxn ang="0">
                    <a:pos x="32" y="41"/>
                  </a:cxn>
                  <a:cxn ang="0">
                    <a:pos x="34" y="48"/>
                  </a:cxn>
                  <a:cxn ang="0">
                    <a:pos x="38" y="53"/>
                  </a:cxn>
                  <a:cxn ang="0">
                    <a:pos x="46" y="58"/>
                  </a:cxn>
                  <a:cxn ang="0">
                    <a:pos x="58" y="63"/>
                  </a:cxn>
                  <a:cxn ang="0">
                    <a:pos x="72" y="70"/>
                  </a:cxn>
                  <a:cxn ang="0">
                    <a:pos x="84" y="79"/>
                  </a:cxn>
                  <a:cxn ang="0">
                    <a:pos x="92" y="91"/>
                  </a:cxn>
                  <a:cxn ang="0">
                    <a:pos x="95" y="106"/>
                  </a:cxn>
                </a:cxnLst>
                <a:rect l="0" t="0" r="r" b="b"/>
                <a:pathLst>
                  <a:path w="95" h="151">
                    <a:moveTo>
                      <a:pt x="95" y="106"/>
                    </a:moveTo>
                    <a:cubicBezTo>
                      <a:pt x="95" y="112"/>
                      <a:pt x="93" y="118"/>
                      <a:pt x="91" y="123"/>
                    </a:cubicBezTo>
                    <a:cubicBezTo>
                      <a:pt x="88" y="129"/>
                      <a:pt x="85" y="134"/>
                      <a:pt x="80" y="138"/>
                    </a:cubicBezTo>
                    <a:cubicBezTo>
                      <a:pt x="75" y="142"/>
                      <a:pt x="69" y="145"/>
                      <a:pt x="62" y="147"/>
                    </a:cubicBezTo>
                    <a:cubicBezTo>
                      <a:pt x="55" y="150"/>
                      <a:pt x="47" y="151"/>
                      <a:pt x="37" y="151"/>
                    </a:cubicBezTo>
                    <a:cubicBezTo>
                      <a:pt x="35" y="151"/>
                      <a:pt x="32" y="150"/>
                      <a:pt x="28" y="150"/>
                    </a:cubicBezTo>
                    <a:cubicBezTo>
                      <a:pt x="25" y="150"/>
                      <a:pt x="21"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19" y="122"/>
                    </a:cubicBezTo>
                    <a:cubicBezTo>
                      <a:pt x="23" y="123"/>
                      <a:pt x="26" y="124"/>
                      <a:pt x="30"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1"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90" name="Group 89"/>
            <p:cNvGrpSpPr/>
            <p:nvPr/>
          </p:nvGrpSpPr>
          <p:grpSpPr bwMode="black">
            <a:xfrm>
              <a:off x="7418221" y="3672980"/>
              <a:ext cx="1382743" cy="190072"/>
              <a:chOff x="3403273" y="5616873"/>
              <a:chExt cx="1088404" cy="154797"/>
            </a:xfrm>
            <a:grpFill/>
            <a:effectLst/>
          </p:grpSpPr>
          <p:sp>
            <p:nvSpPr>
              <p:cNvPr id="319" name="Freeform 36"/>
              <p:cNvSpPr>
                <a:spLocks/>
              </p:cNvSpPr>
              <p:nvPr/>
            </p:nvSpPr>
            <p:spPr bwMode="black">
              <a:xfrm>
                <a:off x="3403273" y="5626227"/>
                <a:ext cx="106215" cy="143331"/>
              </a:xfrm>
              <a:custGeom>
                <a:avLst/>
                <a:gdLst/>
                <a:ahLst/>
                <a:cxnLst>
                  <a:cxn ang="0">
                    <a:pos x="215" y="66"/>
                  </a:cxn>
                  <a:cxn ang="0">
                    <a:pos x="215" y="475"/>
                  </a:cxn>
                  <a:cxn ang="0">
                    <a:pos x="134" y="475"/>
                  </a:cxn>
                  <a:cxn ang="0">
                    <a:pos x="134" y="66"/>
                  </a:cxn>
                  <a:cxn ang="0">
                    <a:pos x="0" y="66"/>
                  </a:cxn>
                  <a:cxn ang="0">
                    <a:pos x="0" y="0"/>
                  </a:cxn>
                  <a:cxn ang="0">
                    <a:pos x="352" y="0"/>
                  </a:cxn>
                  <a:cxn ang="0">
                    <a:pos x="352" y="66"/>
                  </a:cxn>
                  <a:cxn ang="0">
                    <a:pos x="215" y="66"/>
                  </a:cxn>
                </a:cxnLst>
                <a:rect l="0" t="0" r="r" b="b"/>
                <a:pathLst>
                  <a:path w="352" h="475">
                    <a:moveTo>
                      <a:pt x="215" y="66"/>
                    </a:moveTo>
                    <a:lnTo>
                      <a:pt x="215" y="475"/>
                    </a:lnTo>
                    <a:lnTo>
                      <a:pt x="134" y="475"/>
                    </a:lnTo>
                    <a:lnTo>
                      <a:pt x="134" y="66"/>
                    </a:lnTo>
                    <a:lnTo>
                      <a:pt x="0" y="66"/>
                    </a:lnTo>
                    <a:lnTo>
                      <a:pt x="0" y="0"/>
                    </a:lnTo>
                    <a:lnTo>
                      <a:pt x="352" y="0"/>
                    </a:lnTo>
                    <a:lnTo>
                      <a:pt x="352" y="66"/>
                    </a:lnTo>
                    <a:lnTo>
                      <a:pt x="215" y="66"/>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20" name="Freeform 37"/>
              <p:cNvSpPr>
                <a:spLocks noEditPoints="1"/>
              </p:cNvSpPr>
              <p:nvPr/>
            </p:nvSpPr>
            <p:spPr bwMode="black">
              <a:xfrm>
                <a:off x="3488064" y="5664851"/>
                <a:ext cx="93240" cy="106819"/>
              </a:xfrm>
              <a:custGeom>
                <a:avLst/>
                <a:gdLst/>
                <a:ahLst/>
                <a:cxnLst>
                  <a:cxn ang="0">
                    <a:pos x="33" y="85"/>
                  </a:cxn>
                  <a:cxn ang="0">
                    <a:pos x="45" y="114"/>
                  </a:cxn>
                  <a:cxn ang="0">
                    <a:pos x="76" y="125"/>
                  </a:cxn>
                  <a:cxn ang="0">
                    <a:pos x="100" y="121"/>
                  </a:cxn>
                  <a:cxn ang="0">
                    <a:pos x="119" y="111"/>
                  </a:cxn>
                  <a:cxn ang="0">
                    <a:pos x="119" y="138"/>
                  </a:cxn>
                  <a:cxn ang="0">
                    <a:pos x="112" y="142"/>
                  </a:cxn>
                  <a:cxn ang="0">
                    <a:pos x="100" y="146"/>
                  </a:cxn>
                  <a:cxn ang="0">
                    <a:pos x="86" y="149"/>
                  </a:cxn>
                  <a:cxn ang="0">
                    <a:pos x="68" y="150"/>
                  </a:cxn>
                  <a:cxn ang="0">
                    <a:pos x="40" y="146"/>
                  </a:cxn>
                  <a:cxn ang="0">
                    <a:pos x="18" y="131"/>
                  </a:cxn>
                  <a:cxn ang="0">
                    <a:pos x="4" y="108"/>
                  </a:cxn>
                  <a:cxn ang="0">
                    <a:pos x="0" y="76"/>
                  </a:cxn>
                  <a:cxn ang="0">
                    <a:pos x="6" y="42"/>
                  </a:cxn>
                  <a:cxn ang="0">
                    <a:pos x="22" y="18"/>
                  </a:cxn>
                  <a:cxn ang="0">
                    <a:pos x="44" y="4"/>
                  </a:cxn>
                  <a:cxn ang="0">
                    <a:pos x="68" y="0"/>
                  </a:cxn>
                  <a:cxn ang="0">
                    <a:pos x="96" y="5"/>
                  </a:cxn>
                  <a:cxn ang="0">
                    <a:pos x="115" y="19"/>
                  </a:cxn>
                  <a:cxn ang="0">
                    <a:pos x="127" y="41"/>
                  </a:cxn>
                  <a:cxn ang="0">
                    <a:pos x="131" y="68"/>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0">
                    <a:moveTo>
                      <a:pt x="33" y="85"/>
                    </a:moveTo>
                    <a:cubicBezTo>
                      <a:pt x="34" y="98"/>
                      <a:pt x="38" y="108"/>
                      <a:pt x="45" y="114"/>
                    </a:cubicBezTo>
                    <a:cubicBezTo>
                      <a:pt x="52" y="121"/>
                      <a:pt x="63" y="125"/>
                      <a:pt x="76" y="125"/>
                    </a:cubicBezTo>
                    <a:cubicBezTo>
                      <a:pt x="84" y="125"/>
                      <a:pt x="92" y="123"/>
                      <a:pt x="100" y="121"/>
                    </a:cubicBezTo>
                    <a:cubicBezTo>
                      <a:pt x="107" y="118"/>
                      <a:pt x="114" y="115"/>
                      <a:pt x="119" y="111"/>
                    </a:cubicBezTo>
                    <a:cubicBezTo>
                      <a:pt x="119" y="138"/>
                      <a:pt x="119" y="138"/>
                      <a:pt x="119" y="138"/>
                    </a:cubicBezTo>
                    <a:cubicBezTo>
                      <a:pt x="117" y="140"/>
                      <a:pt x="115" y="141"/>
                      <a:pt x="112" y="142"/>
                    </a:cubicBezTo>
                    <a:cubicBezTo>
                      <a:pt x="109" y="144"/>
                      <a:pt x="105" y="145"/>
                      <a:pt x="100" y="146"/>
                    </a:cubicBezTo>
                    <a:cubicBezTo>
                      <a:pt x="96" y="147"/>
                      <a:pt x="91" y="148"/>
                      <a:pt x="86" y="149"/>
                    </a:cubicBezTo>
                    <a:cubicBezTo>
                      <a:pt x="80" y="150"/>
                      <a:pt x="75" y="150"/>
                      <a:pt x="68" y="150"/>
                    </a:cubicBezTo>
                    <a:cubicBezTo>
                      <a:pt x="58" y="150"/>
                      <a:pt x="48" y="149"/>
                      <a:pt x="40" y="146"/>
                    </a:cubicBezTo>
                    <a:cubicBezTo>
                      <a:pt x="31" y="142"/>
                      <a:pt x="24" y="138"/>
                      <a:pt x="18" y="131"/>
                    </a:cubicBezTo>
                    <a:cubicBezTo>
                      <a:pt x="12" y="125"/>
                      <a:pt x="8" y="117"/>
                      <a:pt x="4" y="108"/>
                    </a:cubicBezTo>
                    <a:cubicBezTo>
                      <a:pt x="1" y="99"/>
                      <a:pt x="0" y="88"/>
                      <a:pt x="0" y="76"/>
                    </a:cubicBezTo>
                    <a:cubicBezTo>
                      <a:pt x="0" y="63"/>
                      <a:pt x="2" y="52"/>
                      <a:pt x="6" y="42"/>
                    </a:cubicBezTo>
                    <a:cubicBezTo>
                      <a:pt x="10" y="33"/>
                      <a:pt x="15" y="25"/>
                      <a:pt x="22" y="18"/>
                    </a:cubicBezTo>
                    <a:cubicBezTo>
                      <a:pt x="28" y="12"/>
                      <a:pt x="36" y="7"/>
                      <a:pt x="44" y="4"/>
                    </a:cubicBezTo>
                    <a:cubicBezTo>
                      <a:pt x="52" y="1"/>
                      <a:pt x="60" y="0"/>
                      <a:pt x="68" y="0"/>
                    </a:cubicBezTo>
                    <a:cubicBezTo>
                      <a:pt x="79" y="0"/>
                      <a:pt x="88" y="1"/>
                      <a:pt x="96" y="5"/>
                    </a:cubicBezTo>
                    <a:cubicBezTo>
                      <a:pt x="103" y="8"/>
                      <a:pt x="110" y="13"/>
                      <a:pt x="115" y="19"/>
                    </a:cubicBezTo>
                    <a:cubicBezTo>
                      <a:pt x="120" y="25"/>
                      <a:pt x="124" y="32"/>
                      <a:pt x="127" y="41"/>
                    </a:cubicBezTo>
                    <a:cubicBezTo>
                      <a:pt x="130" y="49"/>
                      <a:pt x="131" y="58"/>
                      <a:pt x="131" y="68"/>
                    </a:cubicBezTo>
                    <a:cubicBezTo>
                      <a:pt x="131" y="85"/>
                      <a:pt x="131" y="85"/>
                      <a:pt x="131" y="85"/>
                    </a:cubicBezTo>
                    <a:lnTo>
                      <a:pt x="33" y="85"/>
                    </a:lnTo>
                    <a:close/>
                    <a:moveTo>
                      <a:pt x="97" y="46"/>
                    </a:moveTo>
                    <a:cubicBezTo>
                      <a:pt x="96" y="42"/>
                      <a:pt x="94" y="38"/>
                      <a:pt x="91" y="35"/>
                    </a:cubicBezTo>
                    <a:cubicBezTo>
                      <a:pt x="89" y="32"/>
                      <a:pt x="86" y="29"/>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21" name="Freeform 38"/>
              <p:cNvSpPr>
                <a:spLocks/>
              </p:cNvSpPr>
              <p:nvPr/>
            </p:nvSpPr>
            <p:spPr bwMode="black">
              <a:xfrm>
                <a:off x="3599107" y="5665455"/>
                <a:ext cx="59444" cy="104103"/>
              </a:xfrm>
              <a:custGeom>
                <a:avLst/>
                <a:gdLst/>
                <a:ahLst/>
                <a:cxnLst>
                  <a:cxn ang="0">
                    <a:pos x="79" y="32"/>
                  </a:cxn>
                  <a:cxn ang="0">
                    <a:pos x="74" y="30"/>
                  </a:cxn>
                  <a:cxn ang="0">
                    <a:pos x="69" y="29"/>
                  </a:cxn>
                  <a:cxn ang="0">
                    <a:pos x="64" y="29"/>
                  </a:cxn>
                  <a:cxn ang="0">
                    <a:pos x="51" y="32"/>
                  </a:cxn>
                  <a:cxn ang="0">
                    <a:pos x="41" y="40"/>
                  </a:cxn>
                  <a:cxn ang="0">
                    <a:pos x="35" y="54"/>
                  </a:cxn>
                  <a:cxn ang="0">
                    <a:pos x="32" y="72"/>
                  </a:cxn>
                  <a:cxn ang="0">
                    <a:pos x="32" y="146"/>
                  </a:cxn>
                  <a:cxn ang="0">
                    <a:pos x="0" y="146"/>
                  </a:cxn>
                  <a:cxn ang="0">
                    <a:pos x="0" y="2"/>
                  </a:cxn>
                  <a:cxn ang="0">
                    <a:pos x="32" y="2"/>
                  </a:cxn>
                  <a:cxn ang="0">
                    <a:pos x="32" y="30"/>
                  </a:cxn>
                  <a:cxn ang="0">
                    <a:pos x="33" y="30"/>
                  </a:cxn>
                  <a:cxn ang="0">
                    <a:pos x="39" y="16"/>
                  </a:cxn>
                  <a:cxn ang="0">
                    <a:pos x="48" y="7"/>
                  </a:cxn>
                  <a:cxn ang="0">
                    <a:pos x="59" y="1"/>
                  </a:cxn>
                  <a:cxn ang="0">
                    <a:pos x="70" y="0"/>
                  </a:cxn>
                  <a:cxn ang="0">
                    <a:pos x="77" y="0"/>
                  </a:cxn>
                  <a:cxn ang="0">
                    <a:pos x="83" y="2"/>
                  </a:cxn>
                  <a:cxn ang="0">
                    <a:pos x="83" y="34"/>
                  </a:cxn>
                  <a:cxn ang="0">
                    <a:pos x="79" y="32"/>
                  </a:cxn>
                </a:cxnLst>
                <a:rect l="0" t="0" r="r" b="b"/>
                <a:pathLst>
                  <a:path w="83" h="146">
                    <a:moveTo>
                      <a:pt x="79" y="32"/>
                    </a:moveTo>
                    <a:cubicBezTo>
                      <a:pt x="78" y="31"/>
                      <a:pt x="76" y="31"/>
                      <a:pt x="74" y="30"/>
                    </a:cubicBezTo>
                    <a:cubicBezTo>
                      <a:pt x="73" y="30"/>
                      <a:pt x="71" y="30"/>
                      <a:pt x="69" y="29"/>
                    </a:cubicBezTo>
                    <a:cubicBezTo>
                      <a:pt x="67" y="29"/>
                      <a:pt x="66" y="29"/>
                      <a:pt x="64" y="29"/>
                    </a:cubicBezTo>
                    <a:cubicBezTo>
                      <a:pt x="59" y="29"/>
                      <a:pt x="55" y="30"/>
                      <a:pt x="51" y="32"/>
                    </a:cubicBezTo>
                    <a:cubicBezTo>
                      <a:pt x="48" y="34"/>
                      <a:pt x="44" y="37"/>
                      <a:pt x="41" y="40"/>
                    </a:cubicBezTo>
                    <a:cubicBezTo>
                      <a:pt x="39" y="44"/>
                      <a:pt x="36" y="49"/>
                      <a:pt x="35" y="54"/>
                    </a:cubicBezTo>
                    <a:cubicBezTo>
                      <a:pt x="33" y="59"/>
                      <a:pt x="32" y="66"/>
                      <a:pt x="32" y="72"/>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39" y="16"/>
                    </a:cubicBezTo>
                    <a:cubicBezTo>
                      <a:pt x="42" y="12"/>
                      <a:pt x="45" y="9"/>
                      <a:pt x="48" y="7"/>
                    </a:cubicBezTo>
                    <a:cubicBezTo>
                      <a:pt x="52" y="4"/>
                      <a:pt x="55" y="3"/>
                      <a:pt x="59" y="1"/>
                    </a:cubicBezTo>
                    <a:cubicBezTo>
                      <a:pt x="62" y="0"/>
                      <a:pt x="66" y="0"/>
                      <a:pt x="70" y="0"/>
                    </a:cubicBezTo>
                    <a:cubicBezTo>
                      <a:pt x="72" y="0"/>
                      <a:pt x="74" y="0"/>
                      <a:pt x="77" y="0"/>
                    </a:cubicBezTo>
                    <a:cubicBezTo>
                      <a:pt x="79" y="0"/>
                      <a:pt x="81" y="1"/>
                      <a:pt x="83" y="2"/>
                    </a:cubicBezTo>
                    <a:cubicBezTo>
                      <a:pt x="83" y="34"/>
                      <a:pt x="83" y="34"/>
                      <a:pt x="83" y="34"/>
                    </a:cubicBezTo>
                    <a:cubicBezTo>
                      <a:pt x="82" y="33"/>
                      <a:pt x="81" y="32"/>
                      <a:pt x="79"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22" name="Freeform 39"/>
              <p:cNvSpPr>
                <a:spLocks noEditPoints="1"/>
              </p:cNvSpPr>
              <p:nvPr/>
            </p:nvSpPr>
            <p:spPr bwMode="black">
              <a:xfrm>
                <a:off x="3668509" y="5616873"/>
                <a:ext cx="28364" cy="152685"/>
              </a:xfrm>
              <a:custGeom>
                <a:avLst/>
                <a:gdLst/>
                <a:ahLst/>
                <a:cxnLst>
                  <a:cxn ang="0">
                    <a:pos x="40" y="19"/>
                  </a:cxn>
                  <a:cxn ang="0">
                    <a:pos x="38" y="27"/>
                  </a:cxn>
                  <a:cxn ang="0">
                    <a:pos x="34" y="32"/>
                  </a:cxn>
                  <a:cxn ang="0">
                    <a:pos x="28" y="36"/>
                  </a:cxn>
                  <a:cxn ang="0">
                    <a:pos x="20" y="38"/>
                  </a:cxn>
                  <a:cxn ang="0">
                    <a:pos x="12" y="36"/>
                  </a:cxn>
                  <a:cxn ang="0">
                    <a:pos x="6" y="32"/>
                  </a:cxn>
                  <a:cxn ang="0">
                    <a:pos x="1" y="27"/>
                  </a:cxn>
                  <a:cxn ang="0">
                    <a:pos x="0" y="19"/>
                  </a:cxn>
                  <a:cxn ang="0">
                    <a:pos x="2" y="12"/>
                  </a:cxn>
                  <a:cxn ang="0">
                    <a:pos x="6" y="6"/>
                  </a:cxn>
                  <a:cxn ang="0">
                    <a:pos x="12" y="2"/>
                  </a:cxn>
                  <a:cxn ang="0">
                    <a:pos x="20" y="0"/>
                  </a:cxn>
                  <a:cxn ang="0">
                    <a:pos x="28" y="2"/>
                  </a:cxn>
                  <a:cxn ang="0">
                    <a:pos x="34" y="6"/>
                  </a:cxn>
                  <a:cxn ang="0">
                    <a:pos x="38" y="12"/>
                  </a:cxn>
                  <a:cxn ang="0">
                    <a:pos x="40" y="19"/>
                  </a:cxn>
                  <a:cxn ang="0">
                    <a:pos x="3" y="214"/>
                  </a:cxn>
                  <a:cxn ang="0">
                    <a:pos x="3" y="70"/>
                  </a:cxn>
                  <a:cxn ang="0">
                    <a:pos x="36" y="70"/>
                  </a:cxn>
                  <a:cxn ang="0">
                    <a:pos x="36" y="214"/>
                  </a:cxn>
                  <a:cxn ang="0">
                    <a:pos x="3" y="214"/>
                  </a:cxn>
                </a:cxnLst>
                <a:rect l="0" t="0" r="r" b="b"/>
                <a:pathLst>
                  <a:path w="40" h="214">
                    <a:moveTo>
                      <a:pt x="40" y="19"/>
                    </a:moveTo>
                    <a:cubicBezTo>
                      <a:pt x="40" y="22"/>
                      <a:pt x="39" y="24"/>
                      <a:pt x="38" y="27"/>
                    </a:cubicBezTo>
                    <a:cubicBezTo>
                      <a:pt x="37" y="29"/>
                      <a:pt x="36" y="31"/>
                      <a:pt x="34" y="32"/>
                    </a:cubicBezTo>
                    <a:cubicBezTo>
                      <a:pt x="32" y="34"/>
                      <a:pt x="30" y="35"/>
                      <a:pt x="28" y="36"/>
                    </a:cubicBezTo>
                    <a:cubicBezTo>
                      <a:pt x="25" y="37"/>
                      <a:pt x="23" y="38"/>
                      <a:pt x="20" y="38"/>
                    </a:cubicBezTo>
                    <a:cubicBezTo>
                      <a:pt x="17" y="38"/>
                      <a:pt x="14" y="37"/>
                      <a:pt x="12" y="36"/>
                    </a:cubicBezTo>
                    <a:cubicBezTo>
                      <a:pt x="9" y="35"/>
                      <a:pt x="7" y="34"/>
                      <a:pt x="6" y="32"/>
                    </a:cubicBezTo>
                    <a:cubicBezTo>
                      <a:pt x="4" y="31"/>
                      <a:pt x="2" y="29"/>
                      <a:pt x="1" y="27"/>
                    </a:cubicBezTo>
                    <a:cubicBezTo>
                      <a:pt x="0" y="24"/>
                      <a:pt x="0" y="22"/>
                      <a:pt x="0" y="19"/>
                    </a:cubicBezTo>
                    <a:cubicBezTo>
                      <a:pt x="0" y="17"/>
                      <a:pt x="0" y="14"/>
                      <a:pt x="2" y="12"/>
                    </a:cubicBezTo>
                    <a:cubicBezTo>
                      <a:pt x="3" y="9"/>
                      <a:pt x="4" y="7"/>
                      <a:pt x="6" y="6"/>
                    </a:cubicBezTo>
                    <a:cubicBezTo>
                      <a:pt x="8" y="4"/>
                      <a:pt x="10" y="3"/>
                      <a:pt x="12" y="2"/>
                    </a:cubicBezTo>
                    <a:cubicBezTo>
                      <a:pt x="14" y="1"/>
                      <a:pt x="17" y="0"/>
                      <a:pt x="20" y="0"/>
                    </a:cubicBezTo>
                    <a:cubicBezTo>
                      <a:pt x="23" y="0"/>
                      <a:pt x="25" y="1"/>
                      <a:pt x="28" y="2"/>
                    </a:cubicBezTo>
                    <a:cubicBezTo>
                      <a:pt x="30" y="3"/>
                      <a:pt x="32" y="4"/>
                      <a:pt x="34" y="6"/>
                    </a:cubicBezTo>
                    <a:cubicBezTo>
                      <a:pt x="36" y="7"/>
                      <a:pt x="37" y="9"/>
                      <a:pt x="38" y="12"/>
                    </a:cubicBezTo>
                    <a:cubicBezTo>
                      <a:pt x="39" y="14"/>
                      <a:pt x="40" y="17"/>
                      <a:pt x="40" y="19"/>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23" name="Freeform 40"/>
              <p:cNvSpPr>
                <a:spLocks/>
              </p:cNvSpPr>
              <p:nvPr/>
            </p:nvSpPr>
            <p:spPr bwMode="black">
              <a:xfrm>
                <a:off x="3721013" y="5664851"/>
                <a:ext cx="152684" cy="104707"/>
              </a:xfrm>
              <a:custGeom>
                <a:avLst/>
                <a:gdLst/>
                <a:ahLst/>
                <a:cxnLst>
                  <a:cxn ang="0">
                    <a:pos x="182" y="147"/>
                  </a:cxn>
                  <a:cxn ang="0">
                    <a:pos x="182" y="66"/>
                  </a:cxn>
                  <a:cxn ang="0">
                    <a:pos x="180" y="46"/>
                  </a:cxn>
                  <a:cxn ang="0">
                    <a:pos x="174" y="34"/>
                  </a:cxn>
                  <a:cxn ang="0">
                    <a:pos x="165" y="28"/>
                  </a:cxn>
                  <a:cxn ang="0">
                    <a:pos x="153" y="26"/>
                  </a:cxn>
                  <a:cxn ang="0">
                    <a:pos x="141" y="29"/>
                  </a:cxn>
                  <a:cxn ang="0">
                    <a:pos x="131" y="38"/>
                  </a:cxn>
                  <a:cxn ang="0">
                    <a:pos x="125" y="51"/>
                  </a:cxn>
                  <a:cxn ang="0">
                    <a:pos x="123" y="66"/>
                  </a:cxn>
                  <a:cxn ang="0">
                    <a:pos x="123" y="147"/>
                  </a:cxn>
                  <a:cxn ang="0">
                    <a:pos x="91" y="147"/>
                  </a:cxn>
                  <a:cxn ang="0">
                    <a:pos x="91" y="63"/>
                  </a:cxn>
                  <a:cxn ang="0">
                    <a:pos x="89" y="46"/>
                  </a:cxn>
                  <a:cxn ang="0">
                    <a:pos x="83" y="34"/>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5"/>
                  </a:cxn>
                  <a:cxn ang="0">
                    <a:pos x="33" y="25"/>
                  </a:cxn>
                  <a:cxn ang="0">
                    <a:pos x="52" y="6"/>
                  </a:cxn>
                  <a:cxn ang="0">
                    <a:pos x="78" y="0"/>
                  </a:cxn>
                  <a:cxn ang="0">
                    <a:pos x="92" y="2"/>
                  </a:cxn>
                  <a:cxn ang="0">
                    <a:pos x="104" y="7"/>
                  </a:cxn>
                  <a:cxn ang="0">
                    <a:pos x="113" y="16"/>
                  </a:cxn>
                  <a:cxn ang="0">
                    <a:pos x="119" y="28"/>
                  </a:cxn>
                  <a:cxn ang="0">
                    <a:pos x="140" y="6"/>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1"/>
                      <a:pt x="180" y="46"/>
                    </a:cubicBezTo>
                    <a:cubicBezTo>
                      <a:pt x="178" y="41"/>
                      <a:pt x="177" y="37"/>
                      <a:pt x="174" y="34"/>
                    </a:cubicBezTo>
                    <a:cubicBezTo>
                      <a:pt x="172" y="31"/>
                      <a:pt x="169" y="29"/>
                      <a:pt x="165" y="28"/>
                    </a:cubicBezTo>
                    <a:cubicBezTo>
                      <a:pt x="162" y="27"/>
                      <a:pt x="158" y="26"/>
                      <a:pt x="153" y="26"/>
                    </a:cubicBezTo>
                    <a:cubicBezTo>
                      <a:pt x="149" y="26"/>
                      <a:pt x="145" y="27"/>
                      <a:pt x="141" y="29"/>
                    </a:cubicBezTo>
                    <a:cubicBezTo>
                      <a:pt x="137" y="32"/>
                      <a:pt x="134" y="34"/>
                      <a:pt x="131"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0"/>
                      <a:pt x="89" y="46"/>
                    </a:cubicBezTo>
                    <a:cubicBezTo>
                      <a:pt x="87" y="41"/>
                      <a:pt x="85" y="37"/>
                      <a:pt x="83" y="34"/>
                    </a:cubicBezTo>
                    <a:cubicBezTo>
                      <a:pt x="80" y="32"/>
                      <a:pt x="77" y="29"/>
                      <a:pt x="74" y="28"/>
                    </a:cubicBezTo>
                    <a:cubicBezTo>
                      <a:pt x="71" y="27"/>
                      <a:pt x="67" y="26"/>
                      <a:pt x="62" y="26"/>
                    </a:cubicBezTo>
                    <a:cubicBezTo>
                      <a:pt x="58" y="26"/>
                      <a:pt x="54" y="27"/>
                      <a:pt x="50" y="29"/>
                    </a:cubicBezTo>
                    <a:cubicBezTo>
                      <a:pt x="47" y="31"/>
                      <a:pt x="43" y="34"/>
                      <a:pt x="41" y="37"/>
                    </a:cubicBezTo>
                    <a:cubicBezTo>
                      <a:pt x="38" y="40"/>
                      <a:pt x="36" y="45"/>
                      <a:pt x="34" y="50"/>
                    </a:cubicBezTo>
                    <a:cubicBezTo>
                      <a:pt x="33" y="54"/>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5"/>
                      <a:pt x="32" y="25"/>
                      <a:pt x="32" y="25"/>
                    </a:cubicBezTo>
                    <a:cubicBezTo>
                      <a:pt x="33" y="25"/>
                      <a:pt x="33" y="25"/>
                      <a:pt x="33" y="25"/>
                    </a:cubicBezTo>
                    <a:cubicBezTo>
                      <a:pt x="38" y="17"/>
                      <a:pt x="44" y="10"/>
                      <a:pt x="52" y="6"/>
                    </a:cubicBezTo>
                    <a:cubicBezTo>
                      <a:pt x="60" y="2"/>
                      <a:pt x="68" y="0"/>
                      <a:pt x="78" y="0"/>
                    </a:cubicBezTo>
                    <a:cubicBezTo>
                      <a:pt x="83" y="0"/>
                      <a:pt x="88" y="0"/>
                      <a:pt x="92" y="2"/>
                    </a:cubicBezTo>
                    <a:cubicBezTo>
                      <a:pt x="96" y="3"/>
                      <a:pt x="100" y="5"/>
                      <a:pt x="104" y="7"/>
                    </a:cubicBezTo>
                    <a:cubicBezTo>
                      <a:pt x="107" y="10"/>
                      <a:pt x="110" y="13"/>
                      <a:pt x="113" y="16"/>
                    </a:cubicBezTo>
                    <a:cubicBezTo>
                      <a:pt x="116" y="20"/>
                      <a:pt x="118" y="23"/>
                      <a:pt x="119" y="28"/>
                    </a:cubicBezTo>
                    <a:cubicBezTo>
                      <a:pt x="125" y="18"/>
                      <a:pt x="132" y="11"/>
                      <a:pt x="140" y="6"/>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24" name="Freeform 41"/>
              <p:cNvSpPr>
                <a:spLocks noEditPoints="1"/>
              </p:cNvSpPr>
              <p:nvPr/>
            </p:nvSpPr>
            <p:spPr bwMode="black">
              <a:xfrm>
                <a:off x="3889389" y="5664851"/>
                <a:ext cx="86300" cy="106819"/>
              </a:xfrm>
              <a:custGeom>
                <a:avLst/>
                <a:gdLst/>
                <a:ahLst/>
                <a:cxnLst>
                  <a:cxn ang="0">
                    <a:pos x="89" y="147"/>
                  </a:cxn>
                  <a:cxn ang="0">
                    <a:pos x="89" y="127"/>
                  </a:cxn>
                  <a:cxn ang="0">
                    <a:pos x="89" y="127"/>
                  </a:cxn>
                  <a:cxn ang="0">
                    <a:pos x="71" y="144"/>
                  </a:cxn>
                  <a:cxn ang="0">
                    <a:pos x="46" y="150"/>
                  </a:cxn>
                  <a:cxn ang="0">
                    <a:pos x="27"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7" y="29"/>
                  </a:cxn>
                  <a:cxn ang="0">
                    <a:pos x="14" y="41"/>
                  </a:cxn>
                  <a:cxn ang="0">
                    <a:pos x="14" y="12"/>
                  </a:cxn>
                  <a:cxn ang="0">
                    <a:pos x="23" y="8"/>
                  </a:cxn>
                  <a:cxn ang="0">
                    <a:pos x="36" y="4"/>
                  </a:cxn>
                  <a:cxn ang="0">
                    <a:pos x="51" y="1"/>
                  </a:cxn>
                  <a:cxn ang="0">
                    <a:pos x="66" y="0"/>
                  </a:cxn>
                  <a:cxn ang="0">
                    <a:pos x="90" y="3"/>
                  </a:cxn>
                  <a:cxn ang="0">
                    <a:pos x="108" y="14"/>
                  </a:cxn>
                  <a:cxn ang="0">
                    <a:pos x="118"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9" y="127"/>
                      <a:pt x="89" y="127"/>
                      <a:pt x="89" y="127"/>
                    </a:cubicBezTo>
                    <a:cubicBezTo>
                      <a:pt x="84" y="135"/>
                      <a:pt x="78" y="140"/>
                      <a:pt x="71" y="144"/>
                    </a:cubicBezTo>
                    <a:cubicBezTo>
                      <a:pt x="64" y="148"/>
                      <a:pt x="55" y="150"/>
                      <a:pt x="46" y="150"/>
                    </a:cubicBezTo>
                    <a:cubicBezTo>
                      <a:pt x="39" y="150"/>
                      <a:pt x="32" y="149"/>
                      <a:pt x="27" y="147"/>
                    </a:cubicBezTo>
                    <a:cubicBezTo>
                      <a:pt x="21" y="145"/>
                      <a:pt x="16" y="142"/>
                      <a:pt x="12" y="139"/>
                    </a:cubicBezTo>
                    <a:cubicBezTo>
                      <a:pt x="8" y="135"/>
                      <a:pt x="5" y="130"/>
                      <a:pt x="3" y="125"/>
                    </a:cubicBezTo>
                    <a:cubicBezTo>
                      <a:pt x="1" y="120"/>
                      <a:pt x="0" y="114"/>
                      <a:pt x="0" y="108"/>
                    </a:cubicBezTo>
                    <a:cubicBezTo>
                      <a:pt x="0" y="102"/>
                      <a:pt x="1" y="96"/>
                      <a:pt x="3" y="90"/>
                    </a:cubicBezTo>
                    <a:cubicBezTo>
                      <a:pt x="5" y="85"/>
                      <a:pt x="8"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8" y="27"/>
                      <a:pt x="71" y="25"/>
                      <a:pt x="62" y="25"/>
                    </a:cubicBezTo>
                    <a:cubicBezTo>
                      <a:pt x="54" y="25"/>
                      <a:pt x="45" y="26"/>
                      <a:pt x="37" y="29"/>
                    </a:cubicBezTo>
                    <a:cubicBezTo>
                      <a:pt x="28" y="32"/>
                      <a:pt x="21" y="36"/>
                      <a:pt x="14" y="41"/>
                    </a:cubicBezTo>
                    <a:cubicBezTo>
                      <a:pt x="14" y="12"/>
                      <a:pt x="14" y="12"/>
                      <a:pt x="14" y="12"/>
                    </a:cubicBezTo>
                    <a:cubicBezTo>
                      <a:pt x="17" y="11"/>
                      <a:pt x="19" y="10"/>
                      <a:pt x="23" y="8"/>
                    </a:cubicBezTo>
                    <a:cubicBezTo>
                      <a:pt x="27" y="7"/>
                      <a:pt x="31" y="5"/>
                      <a:pt x="36" y="4"/>
                    </a:cubicBezTo>
                    <a:cubicBezTo>
                      <a:pt x="41" y="3"/>
                      <a:pt x="45" y="2"/>
                      <a:pt x="51" y="1"/>
                    </a:cubicBezTo>
                    <a:cubicBezTo>
                      <a:pt x="56" y="0"/>
                      <a:pt x="61" y="0"/>
                      <a:pt x="66" y="0"/>
                    </a:cubicBezTo>
                    <a:cubicBezTo>
                      <a:pt x="75" y="0"/>
                      <a:pt x="83" y="1"/>
                      <a:pt x="90" y="3"/>
                    </a:cubicBezTo>
                    <a:cubicBezTo>
                      <a:pt x="97" y="6"/>
                      <a:pt x="103" y="10"/>
                      <a:pt x="108" y="14"/>
                    </a:cubicBezTo>
                    <a:cubicBezTo>
                      <a:pt x="112" y="19"/>
                      <a:pt x="116"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5"/>
                      <a:pt x="39" y="87"/>
                      <a:pt x="37" y="89"/>
                    </a:cubicBezTo>
                    <a:cubicBezTo>
                      <a:pt x="36" y="91"/>
                      <a:pt x="34" y="93"/>
                      <a:pt x="33" y="96"/>
                    </a:cubicBezTo>
                    <a:cubicBezTo>
                      <a:pt x="33" y="98"/>
                      <a:pt x="32" y="101"/>
                      <a:pt x="32" y="104"/>
                    </a:cubicBezTo>
                    <a:cubicBezTo>
                      <a:pt x="32" y="107"/>
                      <a:pt x="33" y="110"/>
                      <a:pt x="34" y="113"/>
                    </a:cubicBezTo>
                    <a:cubicBezTo>
                      <a:pt x="35" y="115"/>
                      <a:pt x="37" y="117"/>
                      <a:pt x="39" y="119"/>
                    </a:cubicBezTo>
                    <a:cubicBezTo>
                      <a:pt x="41" y="121"/>
                      <a:pt x="43" y="122"/>
                      <a:pt x="46" y="123"/>
                    </a:cubicBezTo>
                    <a:cubicBezTo>
                      <a:pt x="49" y="124"/>
                      <a:pt x="53" y="125"/>
                      <a:pt x="56" y="125"/>
                    </a:cubicBezTo>
                    <a:cubicBezTo>
                      <a:pt x="61" y="125"/>
                      <a:pt x="66" y="124"/>
                      <a:pt x="70" y="122"/>
                    </a:cubicBezTo>
                    <a:cubicBezTo>
                      <a:pt x="74" y="120"/>
                      <a:pt x="77" y="118"/>
                      <a:pt x="80" y="115"/>
                    </a:cubicBezTo>
                    <a:cubicBezTo>
                      <a:pt x="83" y="111"/>
                      <a:pt x="86" y="108"/>
                      <a:pt x="87" y="104"/>
                    </a:cubicBezTo>
                    <a:cubicBezTo>
                      <a:pt x="89" y="99"/>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25" name="Freeform 42"/>
              <p:cNvSpPr>
                <a:spLocks/>
              </p:cNvSpPr>
              <p:nvPr/>
            </p:nvSpPr>
            <p:spPr bwMode="black">
              <a:xfrm>
                <a:off x="4052634" y="5626227"/>
                <a:ext cx="109836" cy="143331"/>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4"/>
                  </a:cxn>
                  <a:cxn ang="0">
                    <a:pos x="34" y="94"/>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4"/>
                      <a:pt x="34" y="94"/>
                      <a:pt x="34" y="94"/>
                    </a:cubicBezTo>
                    <a:cubicBezTo>
                      <a:pt x="34" y="94"/>
                      <a:pt x="34" y="94"/>
                      <a:pt x="34" y="94"/>
                    </a:cubicBezTo>
                    <a:cubicBezTo>
                      <a:pt x="35" y="93"/>
                      <a:pt x="36" y="91"/>
                      <a:pt x="37" y="90"/>
                    </a:cubicBezTo>
                    <a:cubicBezTo>
                      <a:pt x="38" y="88"/>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26" name="Freeform 43"/>
              <p:cNvSpPr>
                <a:spLocks noEditPoints="1"/>
              </p:cNvSpPr>
              <p:nvPr/>
            </p:nvSpPr>
            <p:spPr bwMode="black">
              <a:xfrm>
                <a:off x="4163677" y="5664851"/>
                <a:ext cx="86300" cy="106819"/>
              </a:xfrm>
              <a:custGeom>
                <a:avLst/>
                <a:gdLst/>
                <a:ahLst/>
                <a:cxnLst>
                  <a:cxn ang="0">
                    <a:pos x="89" y="147"/>
                  </a:cxn>
                  <a:cxn ang="0">
                    <a:pos x="89" y="127"/>
                  </a:cxn>
                  <a:cxn ang="0">
                    <a:pos x="88" y="127"/>
                  </a:cxn>
                  <a:cxn ang="0">
                    <a:pos x="70" y="144"/>
                  </a:cxn>
                  <a:cxn ang="0">
                    <a:pos x="46" y="150"/>
                  </a:cxn>
                  <a:cxn ang="0">
                    <a:pos x="26"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6" y="29"/>
                  </a:cxn>
                  <a:cxn ang="0">
                    <a:pos x="14" y="41"/>
                  </a:cxn>
                  <a:cxn ang="0">
                    <a:pos x="14" y="12"/>
                  </a:cxn>
                  <a:cxn ang="0">
                    <a:pos x="23" y="8"/>
                  </a:cxn>
                  <a:cxn ang="0">
                    <a:pos x="35" y="4"/>
                  </a:cxn>
                  <a:cxn ang="0">
                    <a:pos x="50" y="1"/>
                  </a:cxn>
                  <a:cxn ang="0">
                    <a:pos x="65" y="0"/>
                  </a:cxn>
                  <a:cxn ang="0">
                    <a:pos x="90" y="3"/>
                  </a:cxn>
                  <a:cxn ang="0">
                    <a:pos x="107" y="14"/>
                  </a:cxn>
                  <a:cxn ang="0">
                    <a:pos x="117"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8" y="127"/>
                      <a:pt x="88" y="127"/>
                      <a:pt x="88" y="127"/>
                    </a:cubicBezTo>
                    <a:cubicBezTo>
                      <a:pt x="83" y="135"/>
                      <a:pt x="77" y="140"/>
                      <a:pt x="70" y="144"/>
                    </a:cubicBezTo>
                    <a:cubicBezTo>
                      <a:pt x="63" y="148"/>
                      <a:pt x="55" y="150"/>
                      <a:pt x="46" y="150"/>
                    </a:cubicBezTo>
                    <a:cubicBezTo>
                      <a:pt x="38" y="150"/>
                      <a:pt x="32" y="149"/>
                      <a:pt x="26" y="147"/>
                    </a:cubicBezTo>
                    <a:cubicBezTo>
                      <a:pt x="20" y="145"/>
                      <a:pt x="16" y="142"/>
                      <a:pt x="12" y="139"/>
                    </a:cubicBezTo>
                    <a:cubicBezTo>
                      <a:pt x="8" y="135"/>
                      <a:pt x="5" y="130"/>
                      <a:pt x="3" y="125"/>
                    </a:cubicBezTo>
                    <a:cubicBezTo>
                      <a:pt x="1" y="120"/>
                      <a:pt x="0" y="114"/>
                      <a:pt x="0" y="108"/>
                    </a:cubicBezTo>
                    <a:cubicBezTo>
                      <a:pt x="0" y="102"/>
                      <a:pt x="1" y="96"/>
                      <a:pt x="3" y="90"/>
                    </a:cubicBezTo>
                    <a:cubicBezTo>
                      <a:pt x="4" y="85"/>
                      <a:pt x="7"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7" y="27"/>
                      <a:pt x="70" y="25"/>
                      <a:pt x="62" y="25"/>
                    </a:cubicBezTo>
                    <a:cubicBezTo>
                      <a:pt x="53" y="25"/>
                      <a:pt x="45" y="26"/>
                      <a:pt x="36" y="29"/>
                    </a:cubicBezTo>
                    <a:cubicBezTo>
                      <a:pt x="28" y="32"/>
                      <a:pt x="20" y="36"/>
                      <a:pt x="14" y="41"/>
                    </a:cubicBezTo>
                    <a:cubicBezTo>
                      <a:pt x="14" y="12"/>
                      <a:pt x="14" y="12"/>
                      <a:pt x="14" y="12"/>
                    </a:cubicBezTo>
                    <a:cubicBezTo>
                      <a:pt x="16" y="11"/>
                      <a:pt x="19" y="10"/>
                      <a:pt x="23" y="8"/>
                    </a:cubicBezTo>
                    <a:cubicBezTo>
                      <a:pt x="26" y="7"/>
                      <a:pt x="31" y="5"/>
                      <a:pt x="35" y="4"/>
                    </a:cubicBezTo>
                    <a:cubicBezTo>
                      <a:pt x="40" y="3"/>
                      <a:pt x="45" y="2"/>
                      <a:pt x="50" y="1"/>
                    </a:cubicBezTo>
                    <a:cubicBezTo>
                      <a:pt x="55" y="0"/>
                      <a:pt x="60" y="0"/>
                      <a:pt x="65" y="0"/>
                    </a:cubicBezTo>
                    <a:cubicBezTo>
                      <a:pt x="75" y="0"/>
                      <a:pt x="83" y="1"/>
                      <a:pt x="90" y="3"/>
                    </a:cubicBezTo>
                    <a:cubicBezTo>
                      <a:pt x="97" y="6"/>
                      <a:pt x="103" y="10"/>
                      <a:pt x="107" y="14"/>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5"/>
                      <a:pt x="39" y="87"/>
                      <a:pt x="37" y="89"/>
                    </a:cubicBezTo>
                    <a:cubicBezTo>
                      <a:pt x="35" y="91"/>
                      <a:pt x="34" y="93"/>
                      <a:pt x="33" y="96"/>
                    </a:cubicBezTo>
                    <a:cubicBezTo>
                      <a:pt x="32" y="98"/>
                      <a:pt x="32" y="101"/>
                      <a:pt x="32" y="104"/>
                    </a:cubicBezTo>
                    <a:cubicBezTo>
                      <a:pt x="32" y="107"/>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1"/>
                      <a:pt x="85" y="108"/>
                      <a:pt x="87" y="104"/>
                    </a:cubicBezTo>
                    <a:cubicBezTo>
                      <a:pt x="88" y="99"/>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27" name="Freeform 44"/>
              <p:cNvSpPr>
                <a:spLocks/>
              </p:cNvSpPr>
              <p:nvPr/>
            </p:nvSpPr>
            <p:spPr bwMode="black">
              <a:xfrm>
                <a:off x="4265065" y="5664851"/>
                <a:ext cx="67591" cy="106819"/>
              </a:xfrm>
              <a:custGeom>
                <a:avLst/>
                <a:gdLst/>
                <a:ahLst/>
                <a:cxnLst>
                  <a:cxn ang="0">
                    <a:pos x="95" y="106"/>
                  </a:cxn>
                  <a:cxn ang="0">
                    <a:pos x="92" y="123"/>
                  </a:cxn>
                  <a:cxn ang="0">
                    <a:pos x="81" y="137"/>
                  </a:cxn>
                  <a:cxn ang="0">
                    <a:pos x="63" y="147"/>
                  </a:cxn>
                  <a:cxn ang="0">
                    <a:pos x="38" y="150"/>
                  </a:cxn>
                  <a:cxn ang="0">
                    <a:pos x="29" y="150"/>
                  </a:cxn>
                  <a:cxn ang="0">
                    <a:pos x="19" y="148"/>
                  </a:cxn>
                  <a:cxn ang="0">
                    <a:pos x="9" y="146"/>
                  </a:cxn>
                  <a:cxn ang="0">
                    <a:pos x="0" y="143"/>
                  </a:cxn>
                  <a:cxn ang="0">
                    <a:pos x="0" y="112"/>
                  </a:cxn>
                  <a:cxn ang="0">
                    <a:pos x="10" y="117"/>
                  </a:cxn>
                  <a:cxn ang="0">
                    <a:pos x="20" y="122"/>
                  </a:cxn>
                  <a:cxn ang="0">
                    <a:pos x="30" y="124"/>
                  </a:cxn>
                  <a:cxn ang="0">
                    <a:pos x="39" y="125"/>
                  </a:cxn>
                  <a:cxn ang="0">
                    <a:pos x="57" y="121"/>
                  </a:cxn>
                  <a:cxn ang="0">
                    <a:pos x="63" y="110"/>
                  </a:cxn>
                  <a:cxn ang="0">
                    <a:pos x="62" y="103"/>
                  </a:cxn>
                  <a:cxn ang="0">
                    <a:pos x="58" y="98"/>
                  </a:cxn>
                  <a:cxn ang="0">
                    <a:pos x="49" y="92"/>
                  </a:cxn>
                  <a:cxn ang="0">
                    <a:pos x="35" y="86"/>
                  </a:cxn>
                  <a:cxn ang="0">
                    <a:pos x="20" y="79"/>
                  </a:cxn>
                  <a:cxn ang="0">
                    <a:pos x="10" y="70"/>
                  </a:cxn>
                  <a:cxn ang="0">
                    <a:pos x="3" y="59"/>
                  </a:cxn>
                  <a:cxn ang="0">
                    <a:pos x="0" y="43"/>
                  </a:cxn>
                  <a:cxn ang="0">
                    <a:pos x="4" y="26"/>
                  </a:cxn>
                  <a:cxn ang="0">
                    <a:pos x="15" y="12"/>
                  </a:cxn>
                  <a:cxn ang="0">
                    <a:pos x="33" y="3"/>
                  </a:cxn>
                  <a:cxn ang="0">
                    <a:pos x="55" y="0"/>
                  </a:cxn>
                  <a:cxn ang="0">
                    <a:pos x="64" y="0"/>
                  </a:cxn>
                  <a:cxn ang="0">
                    <a:pos x="73" y="2"/>
                  </a:cxn>
                  <a:cxn ang="0">
                    <a:pos x="81" y="3"/>
                  </a:cxn>
                  <a:cxn ang="0">
                    <a:pos x="88" y="6"/>
                  </a:cxn>
                  <a:cxn ang="0">
                    <a:pos x="88" y="35"/>
                  </a:cxn>
                  <a:cxn ang="0">
                    <a:pos x="80" y="31"/>
                  </a:cxn>
                  <a:cxn ang="0">
                    <a:pos x="72" y="28"/>
                  </a:cxn>
                  <a:cxn ang="0">
                    <a:pos x="63" y="26"/>
                  </a:cxn>
                  <a:cxn ang="0">
                    <a:pos x="54" y="25"/>
                  </a:cxn>
                  <a:cxn ang="0">
                    <a:pos x="39" y="29"/>
                  </a:cxn>
                  <a:cxn ang="0">
                    <a:pos x="33" y="40"/>
                  </a:cxn>
                  <a:cxn ang="0">
                    <a:pos x="35" y="48"/>
                  </a:cxn>
                  <a:cxn ang="0">
                    <a:pos x="39" y="53"/>
                  </a:cxn>
                  <a:cxn ang="0">
                    <a:pos x="46" y="58"/>
                  </a:cxn>
                  <a:cxn ang="0">
                    <a:pos x="59" y="63"/>
                  </a:cxn>
                  <a:cxn ang="0">
                    <a:pos x="73" y="70"/>
                  </a:cxn>
                  <a:cxn ang="0">
                    <a:pos x="85" y="79"/>
                  </a:cxn>
                  <a:cxn ang="0">
                    <a:pos x="93" y="91"/>
                  </a:cxn>
                  <a:cxn ang="0">
                    <a:pos x="95" y="106"/>
                  </a:cxn>
                </a:cxnLst>
                <a:rect l="0" t="0" r="r" b="b"/>
                <a:pathLst>
                  <a:path w="95" h="150">
                    <a:moveTo>
                      <a:pt x="95" y="106"/>
                    </a:moveTo>
                    <a:cubicBezTo>
                      <a:pt x="95" y="112"/>
                      <a:pt x="94" y="118"/>
                      <a:pt x="92" y="123"/>
                    </a:cubicBezTo>
                    <a:cubicBezTo>
                      <a:pt x="89" y="129"/>
                      <a:pt x="86" y="133"/>
                      <a:pt x="81" y="137"/>
                    </a:cubicBezTo>
                    <a:cubicBezTo>
                      <a:pt x="76" y="141"/>
                      <a:pt x="70" y="145"/>
                      <a:pt x="63" y="147"/>
                    </a:cubicBezTo>
                    <a:cubicBezTo>
                      <a:pt x="56" y="149"/>
                      <a:pt x="48" y="150"/>
                      <a:pt x="38" y="150"/>
                    </a:cubicBezTo>
                    <a:cubicBezTo>
                      <a:pt x="35" y="150"/>
                      <a:pt x="33" y="150"/>
                      <a:pt x="29" y="150"/>
                    </a:cubicBezTo>
                    <a:cubicBezTo>
                      <a:pt x="26" y="149"/>
                      <a:pt x="22" y="149"/>
                      <a:pt x="19" y="148"/>
                    </a:cubicBezTo>
                    <a:cubicBezTo>
                      <a:pt x="15" y="147"/>
                      <a:pt x="12" y="147"/>
                      <a:pt x="9" y="146"/>
                    </a:cubicBezTo>
                    <a:cubicBezTo>
                      <a:pt x="6" y="145"/>
                      <a:pt x="3" y="144"/>
                      <a:pt x="0" y="143"/>
                    </a:cubicBezTo>
                    <a:cubicBezTo>
                      <a:pt x="0" y="112"/>
                      <a:pt x="0" y="112"/>
                      <a:pt x="0" y="112"/>
                    </a:cubicBezTo>
                    <a:cubicBezTo>
                      <a:pt x="3" y="114"/>
                      <a:pt x="7" y="116"/>
                      <a:pt x="10" y="117"/>
                    </a:cubicBezTo>
                    <a:cubicBezTo>
                      <a:pt x="13" y="119"/>
                      <a:pt x="17" y="120"/>
                      <a:pt x="20" y="122"/>
                    </a:cubicBezTo>
                    <a:cubicBezTo>
                      <a:pt x="24" y="123"/>
                      <a:pt x="27" y="124"/>
                      <a:pt x="30" y="124"/>
                    </a:cubicBezTo>
                    <a:cubicBezTo>
                      <a:pt x="34" y="125"/>
                      <a:pt x="37" y="125"/>
                      <a:pt x="39" y="125"/>
                    </a:cubicBezTo>
                    <a:cubicBezTo>
                      <a:pt x="48" y="125"/>
                      <a:pt x="53" y="124"/>
                      <a:pt x="57" y="121"/>
                    </a:cubicBezTo>
                    <a:cubicBezTo>
                      <a:pt x="61" y="118"/>
                      <a:pt x="63" y="114"/>
                      <a:pt x="63" y="110"/>
                    </a:cubicBezTo>
                    <a:cubicBezTo>
                      <a:pt x="63" y="107"/>
                      <a:pt x="62" y="105"/>
                      <a:pt x="62" y="103"/>
                    </a:cubicBezTo>
                    <a:cubicBezTo>
                      <a:pt x="61" y="101"/>
                      <a:pt x="60" y="100"/>
                      <a:pt x="58" y="98"/>
                    </a:cubicBezTo>
                    <a:cubicBezTo>
                      <a:pt x="56" y="96"/>
                      <a:pt x="53" y="94"/>
                      <a:pt x="49" y="92"/>
                    </a:cubicBezTo>
                    <a:cubicBezTo>
                      <a:pt x="45" y="91"/>
                      <a:pt x="41" y="88"/>
                      <a:pt x="35" y="86"/>
                    </a:cubicBezTo>
                    <a:cubicBezTo>
                      <a:pt x="30" y="84"/>
                      <a:pt x="25" y="81"/>
                      <a:pt x="20" y="79"/>
                    </a:cubicBezTo>
                    <a:cubicBezTo>
                      <a:pt x="16" y="76"/>
                      <a:pt x="13" y="74"/>
                      <a:pt x="10" y="70"/>
                    </a:cubicBezTo>
                    <a:cubicBezTo>
                      <a:pt x="7" y="67"/>
                      <a:pt x="4" y="63"/>
                      <a:pt x="3" y="59"/>
                    </a:cubicBezTo>
                    <a:cubicBezTo>
                      <a:pt x="1" y="55"/>
                      <a:pt x="0" y="49"/>
                      <a:pt x="0" y="43"/>
                    </a:cubicBezTo>
                    <a:cubicBezTo>
                      <a:pt x="0" y="37"/>
                      <a:pt x="2" y="31"/>
                      <a:pt x="4" y="26"/>
                    </a:cubicBezTo>
                    <a:cubicBezTo>
                      <a:pt x="7" y="21"/>
                      <a:pt x="10" y="16"/>
                      <a:pt x="15" y="12"/>
                    </a:cubicBezTo>
                    <a:cubicBezTo>
                      <a:pt x="20" y="8"/>
                      <a:pt x="26" y="5"/>
                      <a:pt x="33" y="3"/>
                    </a:cubicBezTo>
                    <a:cubicBezTo>
                      <a:pt x="39" y="1"/>
                      <a:pt x="47" y="0"/>
                      <a:pt x="55" y="0"/>
                    </a:cubicBezTo>
                    <a:cubicBezTo>
                      <a:pt x="58" y="0"/>
                      <a:pt x="61" y="0"/>
                      <a:pt x="64" y="0"/>
                    </a:cubicBezTo>
                    <a:cubicBezTo>
                      <a:pt x="67" y="1"/>
                      <a:pt x="70" y="1"/>
                      <a:pt x="73" y="2"/>
                    </a:cubicBezTo>
                    <a:cubicBezTo>
                      <a:pt x="76" y="2"/>
                      <a:pt x="79" y="3"/>
                      <a:pt x="81" y="3"/>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5"/>
                      <a:pt x="57" y="25"/>
                      <a:pt x="54" y="25"/>
                    </a:cubicBezTo>
                    <a:cubicBezTo>
                      <a:pt x="48" y="25"/>
                      <a:pt x="43" y="26"/>
                      <a:pt x="39" y="29"/>
                    </a:cubicBezTo>
                    <a:cubicBezTo>
                      <a:pt x="35" y="32"/>
                      <a:pt x="33" y="36"/>
                      <a:pt x="33" y="40"/>
                    </a:cubicBezTo>
                    <a:cubicBezTo>
                      <a:pt x="33" y="43"/>
                      <a:pt x="34" y="46"/>
                      <a:pt x="35" y="48"/>
                    </a:cubicBezTo>
                    <a:cubicBezTo>
                      <a:pt x="35" y="50"/>
                      <a:pt x="37" y="52"/>
                      <a:pt x="39" y="53"/>
                    </a:cubicBezTo>
                    <a:cubicBezTo>
                      <a:pt x="41" y="55"/>
                      <a:pt x="43" y="56"/>
                      <a:pt x="46" y="58"/>
                    </a:cubicBezTo>
                    <a:cubicBezTo>
                      <a:pt x="50" y="60"/>
                      <a:pt x="54" y="61"/>
                      <a:pt x="59" y="63"/>
                    </a:cubicBezTo>
                    <a:cubicBezTo>
                      <a:pt x="64" y="65"/>
                      <a:pt x="69" y="68"/>
                      <a:pt x="73" y="70"/>
                    </a:cubicBezTo>
                    <a:cubicBezTo>
                      <a:pt x="78" y="73"/>
                      <a:pt x="82" y="76"/>
                      <a:pt x="85" y="79"/>
                    </a:cubicBezTo>
                    <a:cubicBezTo>
                      <a:pt x="88" y="82"/>
                      <a:pt x="91" y="86"/>
                      <a:pt x="93"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28" name="Freeform 45"/>
              <p:cNvSpPr>
                <a:spLocks noEditPoints="1"/>
              </p:cNvSpPr>
              <p:nvPr/>
            </p:nvSpPr>
            <p:spPr bwMode="black">
              <a:xfrm>
                <a:off x="4348347" y="5616873"/>
                <a:ext cx="28666" cy="152685"/>
              </a:xfrm>
              <a:custGeom>
                <a:avLst/>
                <a:gdLst/>
                <a:ahLst/>
                <a:cxnLst>
                  <a:cxn ang="0">
                    <a:pos x="40" y="19"/>
                  </a:cxn>
                  <a:cxn ang="0">
                    <a:pos x="39" y="27"/>
                  </a:cxn>
                  <a:cxn ang="0">
                    <a:pos x="34" y="32"/>
                  </a:cxn>
                  <a:cxn ang="0">
                    <a:pos x="28" y="36"/>
                  </a:cxn>
                  <a:cxn ang="0">
                    <a:pos x="20" y="38"/>
                  </a:cxn>
                  <a:cxn ang="0">
                    <a:pos x="12" y="36"/>
                  </a:cxn>
                  <a:cxn ang="0">
                    <a:pos x="6" y="32"/>
                  </a:cxn>
                  <a:cxn ang="0">
                    <a:pos x="2" y="27"/>
                  </a:cxn>
                  <a:cxn ang="0">
                    <a:pos x="0" y="19"/>
                  </a:cxn>
                  <a:cxn ang="0">
                    <a:pos x="2" y="12"/>
                  </a:cxn>
                  <a:cxn ang="0">
                    <a:pos x="6" y="6"/>
                  </a:cxn>
                  <a:cxn ang="0">
                    <a:pos x="12" y="2"/>
                  </a:cxn>
                  <a:cxn ang="0">
                    <a:pos x="20" y="0"/>
                  </a:cxn>
                  <a:cxn ang="0">
                    <a:pos x="28" y="2"/>
                  </a:cxn>
                  <a:cxn ang="0">
                    <a:pos x="34" y="6"/>
                  </a:cxn>
                  <a:cxn ang="0">
                    <a:pos x="39" y="12"/>
                  </a:cxn>
                  <a:cxn ang="0">
                    <a:pos x="40" y="19"/>
                  </a:cxn>
                  <a:cxn ang="0">
                    <a:pos x="4" y="214"/>
                  </a:cxn>
                  <a:cxn ang="0">
                    <a:pos x="4" y="70"/>
                  </a:cxn>
                  <a:cxn ang="0">
                    <a:pos x="36" y="70"/>
                  </a:cxn>
                  <a:cxn ang="0">
                    <a:pos x="36" y="214"/>
                  </a:cxn>
                  <a:cxn ang="0">
                    <a:pos x="4" y="214"/>
                  </a:cxn>
                </a:cxnLst>
                <a:rect l="0" t="0" r="r" b="b"/>
                <a:pathLst>
                  <a:path w="40" h="214">
                    <a:moveTo>
                      <a:pt x="40" y="19"/>
                    </a:moveTo>
                    <a:cubicBezTo>
                      <a:pt x="40" y="22"/>
                      <a:pt x="40" y="24"/>
                      <a:pt x="39" y="27"/>
                    </a:cubicBezTo>
                    <a:cubicBezTo>
                      <a:pt x="38" y="29"/>
                      <a:pt x="36" y="31"/>
                      <a:pt x="34" y="32"/>
                    </a:cubicBezTo>
                    <a:cubicBezTo>
                      <a:pt x="33" y="34"/>
                      <a:pt x="31" y="35"/>
                      <a:pt x="28" y="36"/>
                    </a:cubicBezTo>
                    <a:cubicBezTo>
                      <a:pt x="26" y="37"/>
                      <a:pt x="23" y="38"/>
                      <a:pt x="20" y="38"/>
                    </a:cubicBezTo>
                    <a:cubicBezTo>
                      <a:pt x="17" y="38"/>
                      <a:pt x="15" y="37"/>
                      <a:pt x="12" y="36"/>
                    </a:cubicBezTo>
                    <a:cubicBezTo>
                      <a:pt x="10" y="35"/>
                      <a:pt x="8" y="34"/>
                      <a:pt x="6" y="32"/>
                    </a:cubicBezTo>
                    <a:cubicBezTo>
                      <a:pt x="4" y="31"/>
                      <a:pt x="3" y="29"/>
                      <a:pt x="2" y="27"/>
                    </a:cubicBezTo>
                    <a:cubicBezTo>
                      <a:pt x="1" y="24"/>
                      <a:pt x="0" y="22"/>
                      <a:pt x="0" y="19"/>
                    </a:cubicBezTo>
                    <a:cubicBezTo>
                      <a:pt x="0" y="17"/>
                      <a:pt x="1" y="14"/>
                      <a:pt x="2" y="12"/>
                    </a:cubicBezTo>
                    <a:cubicBezTo>
                      <a:pt x="3" y="9"/>
                      <a:pt x="4" y="7"/>
                      <a:pt x="6" y="6"/>
                    </a:cubicBezTo>
                    <a:cubicBezTo>
                      <a:pt x="8" y="4"/>
                      <a:pt x="10" y="3"/>
                      <a:pt x="12" y="2"/>
                    </a:cubicBezTo>
                    <a:cubicBezTo>
                      <a:pt x="15" y="1"/>
                      <a:pt x="17" y="0"/>
                      <a:pt x="20" y="0"/>
                    </a:cubicBezTo>
                    <a:cubicBezTo>
                      <a:pt x="23" y="0"/>
                      <a:pt x="26" y="1"/>
                      <a:pt x="28" y="2"/>
                    </a:cubicBezTo>
                    <a:cubicBezTo>
                      <a:pt x="30" y="3"/>
                      <a:pt x="33" y="4"/>
                      <a:pt x="34" y="6"/>
                    </a:cubicBezTo>
                    <a:cubicBezTo>
                      <a:pt x="36" y="7"/>
                      <a:pt x="37" y="9"/>
                      <a:pt x="39" y="12"/>
                    </a:cubicBezTo>
                    <a:cubicBezTo>
                      <a:pt x="40" y="14"/>
                      <a:pt x="40" y="17"/>
                      <a:pt x="40" y="19"/>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29" name="Freeform 46"/>
              <p:cNvSpPr>
                <a:spLocks/>
              </p:cNvSpPr>
              <p:nvPr/>
            </p:nvSpPr>
            <p:spPr bwMode="black">
              <a:xfrm>
                <a:off x="4401153" y="5617778"/>
                <a:ext cx="90524" cy="151780"/>
              </a:xfrm>
              <a:custGeom>
                <a:avLst/>
                <a:gdLst/>
                <a:ahLst/>
                <a:cxnLst>
                  <a:cxn ang="0">
                    <a:pos x="95" y="213"/>
                  </a:cxn>
                  <a:cxn ang="0">
                    <a:pos x="95" y="131"/>
                  </a:cxn>
                  <a:cxn ang="0">
                    <a:pos x="88" y="102"/>
                  </a:cxn>
                  <a:cxn ang="0">
                    <a:pos x="66" y="92"/>
                  </a:cxn>
                  <a:cxn ang="0">
                    <a:pos x="52" y="95"/>
                  </a:cxn>
                  <a:cxn ang="0">
                    <a:pos x="41" y="104"/>
                  </a:cxn>
                  <a:cxn ang="0">
                    <a:pos x="35" y="116"/>
                  </a:cxn>
                  <a:cxn ang="0">
                    <a:pos x="32" y="131"/>
                  </a:cxn>
                  <a:cxn ang="0">
                    <a:pos x="32" y="213"/>
                  </a:cxn>
                  <a:cxn ang="0">
                    <a:pos x="0" y="213"/>
                  </a:cxn>
                  <a:cxn ang="0">
                    <a:pos x="0" y="0"/>
                  </a:cxn>
                  <a:cxn ang="0">
                    <a:pos x="32" y="0"/>
                  </a:cxn>
                  <a:cxn ang="0">
                    <a:pos x="32" y="92"/>
                  </a:cxn>
                  <a:cxn ang="0">
                    <a:pos x="33" y="92"/>
                  </a:cxn>
                  <a:cxn ang="0">
                    <a:pos x="41" y="81"/>
                  </a:cxn>
                  <a:cxn ang="0">
                    <a:pos x="51" y="73"/>
                  </a:cxn>
                  <a:cxn ang="0">
                    <a:pos x="64" y="68"/>
                  </a:cxn>
                  <a:cxn ang="0">
                    <a:pos x="79" y="66"/>
                  </a:cxn>
                  <a:cxn ang="0">
                    <a:pos x="115" y="81"/>
                  </a:cxn>
                  <a:cxn ang="0">
                    <a:pos x="127" y="125"/>
                  </a:cxn>
                  <a:cxn ang="0">
                    <a:pos x="127" y="213"/>
                  </a:cxn>
                  <a:cxn ang="0">
                    <a:pos x="95" y="213"/>
                  </a:cxn>
                </a:cxnLst>
                <a:rect l="0" t="0" r="r" b="b"/>
                <a:pathLst>
                  <a:path w="127" h="213">
                    <a:moveTo>
                      <a:pt x="95" y="213"/>
                    </a:moveTo>
                    <a:cubicBezTo>
                      <a:pt x="95" y="131"/>
                      <a:pt x="95" y="131"/>
                      <a:pt x="95" y="131"/>
                    </a:cubicBezTo>
                    <a:cubicBezTo>
                      <a:pt x="95" y="119"/>
                      <a:pt x="92" y="109"/>
                      <a:pt x="88" y="102"/>
                    </a:cubicBezTo>
                    <a:cubicBezTo>
                      <a:pt x="84" y="95"/>
                      <a:pt x="76" y="92"/>
                      <a:pt x="66" y="92"/>
                    </a:cubicBezTo>
                    <a:cubicBezTo>
                      <a:pt x="61" y="92"/>
                      <a:pt x="56" y="93"/>
                      <a:pt x="52" y="95"/>
                    </a:cubicBezTo>
                    <a:cubicBezTo>
                      <a:pt x="48" y="98"/>
                      <a:pt x="44" y="100"/>
                      <a:pt x="41" y="104"/>
                    </a:cubicBezTo>
                    <a:cubicBezTo>
                      <a:pt x="38" y="108"/>
                      <a:pt x="36" y="112"/>
                      <a:pt x="35" y="116"/>
                    </a:cubicBezTo>
                    <a:cubicBezTo>
                      <a:pt x="33" y="121"/>
                      <a:pt x="32" y="126"/>
                      <a:pt x="32" y="131"/>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4"/>
                      <a:pt x="41" y="81"/>
                    </a:cubicBezTo>
                    <a:cubicBezTo>
                      <a:pt x="44" y="78"/>
                      <a:pt x="48" y="75"/>
                      <a:pt x="51" y="73"/>
                    </a:cubicBezTo>
                    <a:cubicBezTo>
                      <a:pt x="55" y="71"/>
                      <a:pt x="59" y="69"/>
                      <a:pt x="64" y="68"/>
                    </a:cubicBezTo>
                    <a:cubicBezTo>
                      <a:pt x="68" y="66"/>
                      <a:pt x="73" y="66"/>
                      <a:pt x="79" y="66"/>
                    </a:cubicBezTo>
                    <a:cubicBezTo>
                      <a:pt x="95" y="66"/>
                      <a:pt x="107" y="71"/>
                      <a:pt x="115" y="81"/>
                    </a:cubicBezTo>
                    <a:cubicBezTo>
                      <a:pt x="123" y="91"/>
                      <a:pt x="127" y="105"/>
                      <a:pt x="127" y="125"/>
                    </a:cubicBezTo>
                    <a:cubicBezTo>
                      <a:pt x="127" y="213"/>
                      <a:pt x="127" y="213"/>
                      <a:pt x="127" y="213"/>
                    </a:cubicBezTo>
                    <a:lnTo>
                      <a:pt x="95" y="21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91" name="Group 90"/>
            <p:cNvGrpSpPr/>
            <p:nvPr/>
          </p:nvGrpSpPr>
          <p:grpSpPr bwMode="black">
            <a:xfrm>
              <a:off x="5210413" y="3127477"/>
              <a:ext cx="1632294" cy="168683"/>
              <a:chOff x="9662524" y="5603535"/>
              <a:chExt cx="1748299" cy="186932"/>
            </a:xfrm>
            <a:grpFill/>
            <a:effectLst/>
          </p:grpSpPr>
          <p:sp>
            <p:nvSpPr>
              <p:cNvPr id="309" name="Freeform 19"/>
              <p:cNvSpPr>
                <a:spLocks noEditPoints="1"/>
              </p:cNvSpPr>
              <p:nvPr/>
            </p:nvSpPr>
            <p:spPr bwMode="black">
              <a:xfrm>
                <a:off x="9662524" y="5613338"/>
                <a:ext cx="157185" cy="169355"/>
              </a:xfrm>
              <a:custGeom>
                <a:avLst/>
                <a:gdLst/>
                <a:ahLst/>
                <a:cxnLst>
                  <a:cxn ang="0">
                    <a:pos x="78" y="57"/>
                  </a:cxn>
                  <a:cxn ang="0">
                    <a:pos x="123" y="39"/>
                  </a:cxn>
                  <a:cxn ang="0">
                    <a:pos x="138" y="42"/>
                  </a:cxn>
                  <a:cxn ang="0">
                    <a:pos x="130" y="53"/>
                  </a:cxn>
                  <a:cxn ang="0">
                    <a:pos x="76" y="66"/>
                  </a:cxn>
                  <a:cxn ang="0">
                    <a:pos x="71" y="115"/>
                  </a:cxn>
                  <a:cxn ang="0">
                    <a:pos x="127" y="101"/>
                  </a:cxn>
                  <a:cxn ang="0">
                    <a:pos x="110" y="88"/>
                  </a:cxn>
                  <a:cxn ang="0">
                    <a:pos x="111" y="83"/>
                  </a:cxn>
                  <a:cxn ang="0">
                    <a:pos x="145" y="101"/>
                  </a:cxn>
                  <a:cxn ang="0">
                    <a:pos x="207" y="121"/>
                  </a:cxn>
                  <a:cxn ang="0">
                    <a:pos x="224" y="161"/>
                  </a:cxn>
                  <a:cxn ang="0">
                    <a:pos x="203" y="205"/>
                  </a:cxn>
                  <a:cxn ang="0">
                    <a:pos x="132" y="241"/>
                  </a:cxn>
                  <a:cxn ang="0">
                    <a:pos x="130" y="236"/>
                  </a:cxn>
                  <a:cxn ang="0">
                    <a:pos x="188" y="204"/>
                  </a:cxn>
                  <a:cxn ang="0">
                    <a:pos x="208" y="161"/>
                  </a:cxn>
                  <a:cxn ang="0">
                    <a:pos x="194" y="126"/>
                  </a:cxn>
                  <a:cxn ang="0">
                    <a:pos x="143" y="109"/>
                  </a:cxn>
                  <a:cxn ang="0">
                    <a:pos x="123" y="149"/>
                  </a:cxn>
                  <a:cxn ang="0">
                    <a:pos x="94" y="187"/>
                  </a:cxn>
                  <a:cxn ang="0">
                    <a:pos x="105" y="199"/>
                  </a:cxn>
                  <a:cxn ang="0">
                    <a:pos x="103" y="209"/>
                  </a:cxn>
                  <a:cxn ang="0">
                    <a:pos x="90" y="205"/>
                  </a:cxn>
                  <a:cxn ang="0">
                    <a:pos x="84" y="197"/>
                  </a:cxn>
                  <a:cxn ang="0">
                    <a:pos x="55" y="221"/>
                  </a:cxn>
                  <a:cxn ang="0">
                    <a:pos x="26" y="228"/>
                  </a:cxn>
                  <a:cxn ang="0">
                    <a:pos x="1" y="198"/>
                  </a:cxn>
                  <a:cxn ang="0">
                    <a:pos x="28" y="142"/>
                  </a:cxn>
                  <a:cxn ang="0">
                    <a:pos x="61" y="119"/>
                  </a:cxn>
                  <a:cxn ang="0">
                    <a:pos x="64" y="68"/>
                  </a:cxn>
                  <a:cxn ang="0">
                    <a:pos x="34" y="71"/>
                  </a:cxn>
                  <a:cxn ang="0">
                    <a:pos x="18" y="67"/>
                  </a:cxn>
                  <a:cxn ang="0">
                    <a:pos x="7" y="49"/>
                  </a:cxn>
                  <a:cxn ang="0">
                    <a:pos x="11" y="48"/>
                  </a:cxn>
                  <a:cxn ang="0">
                    <a:pos x="34" y="61"/>
                  </a:cxn>
                  <a:cxn ang="0">
                    <a:pos x="65" y="59"/>
                  </a:cxn>
                  <a:cxn ang="0">
                    <a:pos x="70" y="17"/>
                  </a:cxn>
                  <a:cxn ang="0">
                    <a:pos x="55" y="4"/>
                  </a:cxn>
                  <a:cxn ang="0">
                    <a:pos x="55" y="0"/>
                  </a:cxn>
                  <a:cxn ang="0">
                    <a:pos x="82" y="6"/>
                  </a:cxn>
                  <a:cxn ang="0">
                    <a:pos x="87" y="23"/>
                  </a:cxn>
                  <a:cxn ang="0">
                    <a:pos x="78" y="57"/>
                  </a:cxn>
                  <a:cxn ang="0">
                    <a:pos x="34" y="150"/>
                  </a:cxn>
                  <a:cxn ang="0">
                    <a:pos x="15" y="197"/>
                  </a:cxn>
                  <a:cxn ang="0">
                    <a:pos x="28" y="221"/>
                  </a:cxn>
                  <a:cxn ang="0">
                    <a:pos x="54" y="212"/>
                  </a:cxn>
                  <a:cxn ang="0">
                    <a:pos x="79" y="190"/>
                  </a:cxn>
                  <a:cxn ang="0">
                    <a:pos x="61" y="128"/>
                  </a:cxn>
                  <a:cxn ang="0">
                    <a:pos x="34" y="150"/>
                  </a:cxn>
                  <a:cxn ang="0">
                    <a:pos x="71" y="124"/>
                  </a:cxn>
                  <a:cxn ang="0">
                    <a:pos x="89" y="180"/>
                  </a:cxn>
                  <a:cxn ang="0">
                    <a:pos x="111" y="145"/>
                  </a:cxn>
                  <a:cxn ang="0">
                    <a:pos x="126" y="109"/>
                  </a:cxn>
                  <a:cxn ang="0">
                    <a:pos x="71" y="124"/>
                  </a:cxn>
                </a:cxnLst>
                <a:rect l="0" t="0" r="r" b="b"/>
                <a:pathLst>
                  <a:path w="224" h="241">
                    <a:moveTo>
                      <a:pt x="78" y="57"/>
                    </a:moveTo>
                    <a:cubicBezTo>
                      <a:pt x="99" y="52"/>
                      <a:pt x="114" y="46"/>
                      <a:pt x="123" y="39"/>
                    </a:cubicBezTo>
                    <a:cubicBezTo>
                      <a:pt x="131" y="39"/>
                      <a:pt x="136" y="40"/>
                      <a:pt x="138" y="42"/>
                    </a:cubicBezTo>
                    <a:cubicBezTo>
                      <a:pt x="144" y="46"/>
                      <a:pt x="142" y="49"/>
                      <a:pt x="130" y="53"/>
                    </a:cubicBezTo>
                    <a:cubicBezTo>
                      <a:pt x="116" y="58"/>
                      <a:pt x="98" y="63"/>
                      <a:pt x="76" y="66"/>
                    </a:cubicBezTo>
                    <a:cubicBezTo>
                      <a:pt x="73" y="89"/>
                      <a:pt x="71" y="105"/>
                      <a:pt x="71" y="115"/>
                    </a:cubicBezTo>
                    <a:cubicBezTo>
                      <a:pt x="90" y="107"/>
                      <a:pt x="109" y="103"/>
                      <a:pt x="127" y="101"/>
                    </a:cubicBezTo>
                    <a:cubicBezTo>
                      <a:pt x="128" y="94"/>
                      <a:pt x="122" y="89"/>
                      <a:pt x="110" y="88"/>
                    </a:cubicBezTo>
                    <a:cubicBezTo>
                      <a:pt x="107" y="86"/>
                      <a:pt x="108" y="85"/>
                      <a:pt x="111" y="83"/>
                    </a:cubicBezTo>
                    <a:cubicBezTo>
                      <a:pt x="134" y="85"/>
                      <a:pt x="146" y="91"/>
                      <a:pt x="145" y="101"/>
                    </a:cubicBezTo>
                    <a:cubicBezTo>
                      <a:pt x="174" y="102"/>
                      <a:pt x="195" y="109"/>
                      <a:pt x="207" y="121"/>
                    </a:cubicBezTo>
                    <a:cubicBezTo>
                      <a:pt x="218" y="132"/>
                      <a:pt x="224" y="145"/>
                      <a:pt x="224" y="161"/>
                    </a:cubicBezTo>
                    <a:cubicBezTo>
                      <a:pt x="224" y="177"/>
                      <a:pt x="217" y="191"/>
                      <a:pt x="203" y="205"/>
                    </a:cubicBezTo>
                    <a:cubicBezTo>
                      <a:pt x="187" y="221"/>
                      <a:pt x="163" y="233"/>
                      <a:pt x="132" y="241"/>
                    </a:cubicBezTo>
                    <a:cubicBezTo>
                      <a:pt x="126" y="241"/>
                      <a:pt x="126" y="239"/>
                      <a:pt x="130" y="236"/>
                    </a:cubicBezTo>
                    <a:cubicBezTo>
                      <a:pt x="157" y="226"/>
                      <a:pt x="176" y="215"/>
                      <a:pt x="188" y="204"/>
                    </a:cubicBezTo>
                    <a:cubicBezTo>
                      <a:pt x="201" y="190"/>
                      <a:pt x="208" y="176"/>
                      <a:pt x="208" y="161"/>
                    </a:cubicBezTo>
                    <a:cubicBezTo>
                      <a:pt x="208" y="147"/>
                      <a:pt x="203" y="135"/>
                      <a:pt x="194" y="126"/>
                    </a:cubicBezTo>
                    <a:cubicBezTo>
                      <a:pt x="184" y="116"/>
                      <a:pt x="167" y="110"/>
                      <a:pt x="143" y="109"/>
                    </a:cubicBezTo>
                    <a:cubicBezTo>
                      <a:pt x="137" y="121"/>
                      <a:pt x="131" y="134"/>
                      <a:pt x="123" y="149"/>
                    </a:cubicBezTo>
                    <a:cubicBezTo>
                      <a:pt x="114" y="163"/>
                      <a:pt x="105" y="176"/>
                      <a:pt x="94" y="187"/>
                    </a:cubicBezTo>
                    <a:cubicBezTo>
                      <a:pt x="97" y="191"/>
                      <a:pt x="101" y="195"/>
                      <a:pt x="105" y="199"/>
                    </a:cubicBezTo>
                    <a:cubicBezTo>
                      <a:pt x="108" y="203"/>
                      <a:pt x="107" y="206"/>
                      <a:pt x="103" y="209"/>
                    </a:cubicBezTo>
                    <a:cubicBezTo>
                      <a:pt x="99" y="212"/>
                      <a:pt x="94" y="211"/>
                      <a:pt x="90" y="205"/>
                    </a:cubicBezTo>
                    <a:cubicBezTo>
                      <a:pt x="88" y="202"/>
                      <a:pt x="86" y="199"/>
                      <a:pt x="84" y="197"/>
                    </a:cubicBezTo>
                    <a:cubicBezTo>
                      <a:pt x="75" y="207"/>
                      <a:pt x="65" y="215"/>
                      <a:pt x="55" y="221"/>
                    </a:cubicBezTo>
                    <a:cubicBezTo>
                      <a:pt x="45" y="227"/>
                      <a:pt x="36" y="229"/>
                      <a:pt x="26" y="228"/>
                    </a:cubicBezTo>
                    <a:cubicBezTo>
                      <a:pt x="11" y="227"/>
                      <a:pt x="3" y="217"/>
                      <a:pt x="1" y="198"/>
                    </a:cubicBezTo>
                    <a:cubicBezTo>
                      <a:pt x="0" y="179"/>
                      <a:pt x="9" y="160"/>
                      <a:pt x="28" y="142"/>
                    </a:cubicBezTo>
                    <a:cubicBezTo>
                      <a:pt x="37" y="134"/>
                      <a:pt x="48" y="126"/>
                      <a:pt x="61" y="119"/>
                    </a:cubicBezTo>
                    <a:cubicBezTo>
                      <a:pt x="61" y="108"/>
                      <a:pt x="62" y="91"/>
                      <a:pt x="64" y="68"/>
                    </a:cubicBezTo>
                    <a:cubicBezTo>
                      <a:pt x="54" y="69"/>
                      <a:pt x="43" y="70"/>
                      <a:pt x="34" y="71"/>
                    </a:cubicBezTo>
                    <a:cubicBezTo>
                      <a:pt x="27" y="72"/>
                      <a:pt x="22" y="70"/>
                      <a:pt x="18" y="67"/>
                    </a:cubicBezTo>
                    <a:cubicBezTo>
                      <a:pt x="12" y="61"/>
                      <a:pt x="8" y="55"/>
                      <a:pt x="7" y="49"/>
                    </a:cubicBezTo>
                    <a:cubicBezTo>
                      <a:pt x="8" y="45"/>
                      <a:pt x="9" y="45"/>
                      <a:pt x="11" y="48"/>
                    </a:cubicBezTo>
                    <a:cubicBezTo>
                      <a:pt x="16" y="57"/>
                      <a:pt x="23" y="61"/>
                      <a:pt x="34" y="61"/>
                    </a:cubicBezTo>
                    <a:cubicBezTo>
                      <a:pt x="46" y="61"/>
                      <a:pt x="57" y="60"/>
                      <a:pt x="65" y="59"/>
                    </a:cubicBezTo>
                    <a:cubicBezTo>
                      <a:pt x="67" y="44"/>
                      <a:pt x="69" y="30"/>
                      <a:pt x="70" y="17"/>
                    </a:cubicBezTo>
                    <a:cubicBezTo>
                      <a:pt x="70" y="10"/>
                      <a:pt x="66" y="6"/>
                      <a:pt x="55" y="4"/>
                    </a:cubicBezTo>
                    <a:cubicBezTo>
                      <a:pt x="52" y="4"/>
                      <a:pt x="52" y="3"/>
                      <a:pt x="55" y="0"/>
                    </a:cubicBezTo>
                    <a:cubicBezTo>
                      <a:pt x="66" y="0"/>
                      <a:pt x="75" y="2"/>
                      <a:pt x="82" y="6"/>
                    </a:cubicBezTo>
                    <a:cubicBezTo>
                      <a:pt x="91" y="10"/>
                      <a:pt x="93" y="16"/>
                      <a:pt x="87" y="23"/>
                    </a:cubicBezTo>
                    <a:cubicBezTo>
                      <a:pt x="84" y="29"/>
                      <a:pt x="81" y="40"/>
                      <a:pt x="78" y="57"/>
                    </a:cubicBezTo>
                    <a:close/>
                    <a:moveTo>
                      <a:pt x="34" y="150"/>
                    </a:moveTo>
                    <a:cubicBezTo>
                      <a:pt x="21" y="164"/>
                      <a:pt x="15" y="180"/>
                      <a:pt x="15" y="197"/>
                    </a:cubicBezTo>
                    <a:cubicBezTo>
                      <a:pt x="15" y="212"/>
                      <a:pt x="19" y="220"/>
                      <a:pt x="28" y="221"/>
                    </a:cubicBezTo>
                    <a:cubicBezTo>
                      <a:pt x="36" y="221"/>
                      <a:pt x="44" y="218"/>
                      <a:pt x="54" y="212"/>
                    </a:cubicBezTo>
                    <a:cubicBezTo>
                      <a:pt x="63" y="206"/>
                      <a:pt x="71" y="198"/>
                      <a:pt x="79" y="190"/>
                    </a:cubicBezTo>
                    <a:cubicBezTo>
                      <a:pt x="67" y="172"/>
                      <a:pt x="61" y="152"/>
                      <a:pt x="61" y="128"/>
                    </a:cubicBezTo>
                    <a:cubicBezTo>
                      <a:pt x="50" y="134"/>
                      <a:pt x="41" y="142"/>
                      <a:pt x="34" y="150"/>
                    </a:cubicBezTo>
                    <a:close/>
                    <a:moveTo>
                      <a:pt x="71" y="124"/>
                    </a:moveTo>
                    <a:cubicBezTo>
                      <a:pt x="73" y="149"/>
                      <a:pt x="79" y="167"/>
                      <a:pt x="89" y="180"/>
                    </a:cubicBezTo>
                    <a:cubicBezTo>
                      <a:pt x="97" y="170"/>
                      <a:pt x="105" y="158"/>
                      <a:pt x="111" y="145"/>
                    </a:cubicBezTo>
                    <a:cubicBezTo>
                      <a:pt x="117" y="133"/>
                      <a:pt x="122" y="121"/>
                      <a:pt x="126" y="109"/>
                    </a:cubicBezTo>
                    <a:cubicBezTo>
                      <a:pt x="100" y="113"/>
                      <a:pt x="82" y="118"/>
                      <a:pt x="71" y="12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10" name="Freeform 20"/>
              <p:cNvSpPr>
                <a:spLocks/>
              </p:cNvSpPr>
              <p:nvPr/>
            </p:nvSpPr>
            <p:spPr bwMode="black">
              <a:xfrm>
                <a:off x="9863991" y="5619761"/>
                <a:ext cx="90592" cy="162256"/>
              </a:xfrm>
              <a:custGeom>
                <a:avLst/>
                <a:gdLst/>
                <a:ahLst/>
                <a:cxnLst>
                  <a:cxn ang="0">
                    <a:pos x="29" y="14"/>
                  </a:cxn>
                  <a:cxn ang="0">
                    <a:pos x="29" y="25"/>
                  </a:cxn>
                  <a:cxn ang="0">
                    <a:pos x="18" y="70"/>
                  </a:cxn>
                  <a:cxn ang="0">
                    <a:pos x="18" y="114"/>
                  </a:cxn>
                  <a:cxn ang="0">
                    <a:pos x="23" y="115"/>
                  </a:cxn>
                  <a:cxn ang="0">
                    <a:pos x="65" y="32"/>
                  </a:cxn>
                  <a:cxn ang="0">
                    <a:pos x="91" y="19"/>
                  </a:cxn>
                  <a:cxn ang="0">
                    <a:pos x="111" y="27"/>
                  </a:cxn>
                  <a:cxn ang="0">
                    <a:pos x="129" y="94"/>
                  </a:cxn>
                  <a:cxn ang="0">
                    <a:pos x="99" y="191"/>
                  </a:cxn>
                  <a:cxn ang="0">
                    <a:pos x="30" y="231"/>
                  </a:cxn>
                  <a:cxn ang="0">
                    <a:pos x="28" y="226"/>
                  </a:cxn>
                  <a:cxn ang="0">
                    <a:pos x="84" y="190"/>
                  </a:cxn>
                  <a:cxn ang="0">
                    <a:pos x="114" y="91"/>
                  </a:cxn>
                  <a:cxn ang="0">
                    <a:pos x="101" y="30"/>
                  </a:cxn>
                  <a:cxn ang="0">
                    <a:pos x="91" y="25"/>
                  </a:cxn>
                  <a:cxn ang="0">
                    <a:pos x="74" y="34"/>
                  </a:cxn>
                  <a:cxn ang="0">
                    <a:pos x="36" y="112"/>
                  </a:cxn>
                  <a:cxn ang="0">
                    <a:pos x="30" y="142"/>
                  </a:cxn>
                  <a:cxn ang="0">
                    <a:pos x="21" y="155"/>
                  </a:cxn>
                  <a:cxn ang="0">
                    <a:pos x="11" y="145"/>
                  </a:cxn>
                  <a:cxn ang="0">
                    <a:pos x="5" y="94"/>
                  </a:cxn>
                  <a:cxn ang="0">
                    <a:pos x="12" y="23"/>
                  </a:cxn>
                  <a:cxn ang="0">
                    <a:pos x="3" y="4"/>
                  </a:cxn>
                  <a:cxn ang="0">
                    <a:pos x="6" y="0"/>
                  </a:cxn>
                  <a:cxn ang="0">
                    <a:pos x="29" y="14"/>
                  </a:cxn>
                </a:cxnLst>
                <a:rect l="0" t="0" r="r" b="b"/>
                <a:pathLst>
                  <a:path w="129" h="231">
                    <a:moveTo>
                      <a:pt x="29" y="14"/>
                    </a:moveTo>
                    <a:cubicBezTo>
                      <a:pt x="32" y="17"/>
                      <a:pt x="32" y="21"/>
                      <a:pt x="29" y="25"/>
                    </a:cubicBezTo>
                    <a:cubicBezTo>
                      <a:pt x="25" y="34"/>
                      <a:pt x="21" y="49"/>
                      <a:pt x="18" y="70"/>
                    </a:cubicBezTo>
                    <a:cubicBezTo>
                      <a:pt x="16" y="87"/>
                      <a:pt x="16" y="102"/>
                      <a:pt x="18" y="114"/>
                    </a:cubicBezTo>
                    <a:cubicBezTo>
                      <a:pt x="19" y="118"/>
                      <a:pt x="20" y="119"/>
                      <a:pt x="23" y="115"/>
                    </a:cubicBezTo>
                    <a:cubicBezTo>
                      <a:pt x="37" y="73"/>
                      <a:pt x="52" y="45"/>
                      <a:pt x="65" y="32"/>
                    </a:cubicBezTo>
                    <a:cubicBezTo>
                      <a:pt x="73" y="24"/>
                      <a:pt x="82" y="19"/>
                      <a:pt x="91" y="19"/>
                    </a:cubicBezTo>
                    <a:cubicBezTo>
                      <a:pt x="99" y="19"/>
                      <a:pt x="106" y="22"/>
                      <a:pt x="111" y="27"/>
                    </a:cubicBezTo>
                    <a:cubicBezTo>
                      <a:pt x="123" y="39"/>
                      <a:pt x="129" y="61"/>
                      <a:pt x="129" y="94"/>
                    </a:cubicBezTo>
                    <a:cubicBezTo>
                      <a:pt x="129" y="139"/>
                      <a:pt x="119" y="171"/>
                      <a:pt x="99" y="191"/>
                    </a:cubicBezTo>
                    <a:cubicBezTo>
                      <a:pt x="80" y="210"/>
                      <a:pt x="57" y="223"/>
                      <a:pt x="30" y="231"/>
                    </a:cubicBezTo>
                    <a:cubicBezTo>
                      <a:pt x="25" y="231"/>
                      <a:pt x="24" y="229"/>
                      <a:pt x="28" y="226"/>
                    </a:cubicBezTo>
                    <a:cubicBezTo>
                      <a:pt x="48" y="220"/>
                      <a:pt x="66" y="208"/>
                      <a:pt x="84" y="190"/>
                    </a:cubicBezTo>
                    <a:cubicBezTo>
                      <a:pt x="104" y="171"/>
                      <a:pt x="114" y="138"/>
                      <a:pt x="114" y="91"/>
                    </a:cubicBezTo>
                    <a:cubicBezTo>
                      <a:pt x="114" y="58"/>
                      <a:pt x="109" y="38"/>
                      <a:pt x="101" y="30"/>
                    </a:cubicBezTo>
                    <a:cubicBezTo>
                      <a:pt x="98" y="27"/>
                      <a:pt x="95" y="25"/>
                      <a:pt x="91" y="25"/>
                    </a:cubicBezTo>
                    <a:cubicBezTo>
                      <a:pt x="86" y="25"/>
                      <a:pt x="80" y="28"/>
                      <a:pt x="74" y="34"/>
                    </a:cubicBezTo>
                    <a:cubicBezTo>
                      <a:pt x="63" y="45"/>
                      <a:pt x="50" y="71"/>
                      <a:pt x="36" y="112"/>
                    </a:cubicBezTo>
                    <a:cubicBezTo>
                      <a:pt x="32" y="122"/>
                      <a:pt x="30" y="132"/>
                      <a:pt x="30" y="142"/>
                    </a:cubicBezTo>
                    <a:cubicBezTo>
                      <a:pt x="30" y="151"/>
                      <a:pt x="27" y="155"/>
                      <a:pt x="21" y="155"/>
                    </a:cubicBezTo>
                    <a:cubicBezTo>
                      <a:pt x="17" y="155"/>
                      <a:pt x="14" y="152"/>
                      <a:pt x="11" y="145"/>
                    </a:cubicBezTo>
                    <a:cubicBezTo>
                      <a:pt x="7" y="132"/>
                      <a:pt x="5" y="115"/>
                      <a:pt x="5" y="94"/>
                    </a:cubicBezTo>
                    <a:cubicBezTo>
                      <a:pt x="5" y="75"/>
                      <a:pt x="7" y="51"/>
                      <a:pt x="12" y="23"/>
                    </a:cubicBezTo>
                    <a:cubicBezTo>
                      <a:pt x="14" y="15"/>
                      <a:pt x="11" y="8"/>
                      <a:pt x="3" y="4"/>
                    </a:cubicBezTo>
                    <a:cubicBezTo>
                      <a:pt x="0" y="1"/>
                      <a:pt x="1" y="0"/>
                      <a:pt x="6" y="0"/>
                    </a:cubicBezTo>
                    <a:cubicBezTo>
                      <a:pt x="17" y="3"/>
                      <a:pt x="25" y="8"/>
                      <a:pt x="29" y="1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11" name="Freeform 21"/>
              <p:cNvSpPr>
                <a:spLocks noEditPoints="1"/>
              </p:cNvSpPr>
              <p:nvPr/>
            </p:nvSpPr>
            <p:spPr bwMode="black">
              <a:xfrm>
                <a:off x="10007992" y="5614014"/>
                <a:ext cx="161579" cy="162256"/>
              </a:xfrm>
              <a:custGeom>
                <a:avLst/>
                <a:gdLst/>
                <a:ahLst/>
                <a:cxnLst>
                  <a:cxn ang="0">
                    <a:pos x="96" y="77"/>
                  </a:cxn>
                  <a:cxn ang="0">
                    <a:pos x="25" y="198"/>
                  </a:cxn>
                  <a:cxn ang="0">
                    <a:pos x="7" y="230"/>
                  </a:cxn>
                  <a:cxn ang="0">
                    <a:pos x="0" y="215"/>
                  </a:cxn>
                  <a:cxn ang="0">
                    <a:pos x="23" y="173"/>
                  </a:cxn>
                  <a:cxn ang="0">
                    <a:pos x="24" y="93"/>
                  </a:cxn>
                  <a:cxn ang="0">
                    <a:pos x="0" y="68"/>
                  </a:cxn>
                  <a:cxn ang="0">
                    <a:pos x="21" y="80"/>
                  </a:cxn>
                  <a:cxn ang="0">
                    <a:pos x="81" y="48"/>
                  </a:cxn>
                  <a:cxn ang="0">
                    <a:pos x="62" y="16"/>
                  </a:cxn>
                  <a:cxn ang="0">
                    <a:pos x="78" y="13"/>
                  </a:cxn>
                  <a:cxn ang="0">
                    <a:pos x="98" y="38"/>
                  </a:cxn>
                  <a:cxn ang="0">
                    <a:pos x="96" y="70"/>
                  </a:cxn>
                  <a:cxn ang="0">
                    <a:pos x="127" y="120"/>
                  </a:cxn>
                  <a:cxn ang="0">
                    <a:pos x="74" y="223"/>
                  </a:cxn>
                  <a:cxn ang="0">
                    <a:pos x="47" y="195"/>
                  </a:cxn>
                  <a:cxn ang="0">
                    <a:pos x="75" y="205"/>
                  </a:cxn>
                  <a:cxn ang="0">
                    <a:pos x="110" y="162"/>
                  </a:cxn>
                  <a:cxn ang="0">
                    <a:pos x="112" y="86"/>
                  </a:cxn>
                  <a:cxn ang="0">
                    <a:pos x="198" y="96"/>
                  </a:cxn>
                  <a:cxn ang="0">
                    <a:pos x="226" y="168"/>
                  </a:cxn>
                  <a:cxn ang="0">
                    <a:pos x="196" y="157"/>
                  </a:cxn>
                  <a:cxn ang="0">
                    <a:pos x="162" y="154"/>
                  </a:cxn>
                  <a:cxn ang="0">
                    <a:pos x="207" y="142"/>
                  </a:cxn>
                  <a:cxn ang="0">
                    <a:pos x="155" y="75"/>
                  </a:cxn>
                  <a:cxn ang="0">
                    <a:pos x="194" y="59"/>
                  </a:cxn>
                  <a:cxn ang="0">
                    <a:pos x="155" y="22"/>
                  </a:cxn>
                  <a:cxn ang="0">
                    <a:pos x="190" y="34"/>
                  </a:cxn>
                  <a:cxn ang="0">
                    <a:pos x="194" y="59"/>
                  </a:cxn>
                  <a:cxn ang="0">
                    <a:pos x="184" y="3"/>
                  </a:cxn>
                  <a:cxn ang="0">
                    <a:pos x="219" y="15"/>
                  </a:cxn>
                  <a:cxn ang="0">
                    <a:pos x="224" y="40"/>
                  </a:cxn>
                </a:cxnLst>
                <a:rect l="0" t="0" r="r" b="b"/>
                <a:pathLst>
                  <a:path w="230" h="231">
                    <a:moveTo>
                      <a:pt x="112" y="86"/>
                    </a:moveTo>
                    <a:cubicBezTo>
                      <a:pt x="109" y="80"/>
                      <a:pt x="104" y="77"/>
                      <a:pt x="96" y="77"/>
                    </a:cubicBezTo>
                    <a:cubicBezTo>
                      <a:pt x="92" y="77"/>
                      <a:pt x="86" y="78"/>
                      <a:pt x="78" y="79"/>
                    </a:cubicBezTo>
                    <a:cubicBezTo>
                      <a:pt x="60" y="119"/>
                      <a:pt x="43" y="159"/>
                      <a:pt x="25" y="198"/>
                    </a:cubicBezTo>
                    <a:cubicBezTo>
                      <a:pt x="23" y="202"/>
                      <a:pt x="19" y="209"/>
                      <a:pt x="15" y="221"/>
                    </a:cubicBezTo>
                    <a:cubicBezTo>
                      <a:pt x="12" y="227"/>
                      <a:pt x="10" y="230"/>
                      <a:pt x="7" y="230"/>
                    </a:cubicBezTo>
                    <a:cubicBezTo>
                      <a:pt x="5" y="230"/>
                      <a:pt x="3" y="228"/>
                      <a:pt x="1" y="224"/>
                    </a:cubicBezTo>
                    <a:cubicBezTo>
                      <a:pt x="0" y="223"/>
                      <a:pt x="0" y="220"/>
                      <a:pt x="0" y="215"/>
                    </a:cubicBezTo>
                    <a:cubicBezTo>
                      <a:pt x="0" y="208"/>
                      <a:pt x="2" y="203"/>
                      <a:pt x="7" y="198"/>
                    </a:cubicBezTo>
                    <a:cubicBezTo>
                      <a:pt x="11" y="194"/>
                      <a:pt x="17" y="185"/>
                      <a:pt x="23" y="173"/>
                    </a:cubicBezTo>
                    <a:cubicBezTo>
                      <a:pt x="39" y="141"/>
                      <a:pt x="54" y="111"/>
                      <a:pt x="66" y="81"/>
                    </a:cubicBezTo>
                    <a:cubicBezTo>
                      <a:pt x="46" y="85"/>
                      <a:pt x="32" y="89"/>
                      <a:pt x="24" y="93"/>
                    </a:cubicBezTo>
                    <a:cubicBezTo>
                      <a:pt x="19" y="95"/>
                      <a:pt x="15" y="94"/>
                      <a:pt x="11" y="91"/>
                    </a:cubicBezTo>
                    <a:cubicBezTo>
                      <a:pt x="4" y="86"/>
                      <a:pt x="0" y="78"/>
                      <a:pt x="0" y="68"/>
                    </a:cubicBezTo>
                    <a:cubicBezTo>
                      <a:pt x="1" y="66"/>
                      <a:pt x="2" y="66"/>
                      <a:pt x="3" y="68"/>
                    </a:cubicBezTo>
                    <a:cubicBezTo>
                      <a:pt x="8" y="76"/>
                      <a:pt x="14" y="80"/>
                      <a:pt x="21" y="80"/>
                    </a:cubicBezTo>
                    <a:cubicBezTo>
                      <a:pt x="27" y="80"/>
                      <a:pt x="43" y="78"/>
                      <a:pt x="70" y="73"/>
                    </a:cubicBezTo>
                    <a:cubicBezTo>
                      <a:pt x="73" y="65"/>
                      <a:pt x="77" y="57"/>
                      <a:pt x="81" y="48"/>
                    </a:cubicBezTo>
                    <a:cubicBezTo>
                      <a:pt x="85" y="37"/>
                      <a:pt x="84" y="29"/>
                      <a:pt x="80" y="24"/>
                    </a:cubicBezTo>
                    <a:cubicBezTo>
                      <a:pt x="76" y="20"/>
                      <a:pt x="70" y="17"/>
                      <a:pt x="62" y="16"/>
                    </a:cubicBezTo>
                    <a:cubicBezTo>
                      <a:pt x="59" y="15"/>
                      <a:pt x="59" y="13"/>
                      <a:pt x="62" y="12"/>
                    </a:cubicBezTo>
                    <a:cubicBezTo>
                      <a:pt x="69" y="12"/>
                      <a:pt x="75" y="12"/>
                      <a:pt x="78" y="13"/>
                    </a:cubicBezTo>
                    <a:cubicBezTo>
                      <a:pt x="86" y="15"/>
                      <a:pt x="93" y="19"/>
                      <a:pt x="99" y="25"/>
                    </a:cubicBezTo>
                    <a:cubicBezTo>
                      <a:pt x="106" y="32"/>
                      <a:pt x="105" y="36"/>
                      <a:pt x="98" y="38"/>
                    </a:cubicBezTo>
                    <a:cubicBezTo>
                      <a:pt x="93" y="50"/>
                      <a:pt x="87" y="61"/>
                      <a:pt x="81" y="72"/>
                    </a:cubicBezTo>
                    <a:cubicBezTo>
                      <a:pt x="87" y="71"/>
                      <a:pt x="92" y="70"/>
                      <a:pt x="96" y="70"/>
                    </a:cubicBezTo>
                    <a:cubicBezTo>
                      <a:pt x="105" y="70"/>
                      <a:pt x="112" y="73"/>
                      <a:pt x="117" y="78"/>
                    </a:cubicBezTo>
                    <a:cubicBezTo>
                      <a:pt x="124" y="86"/>
                      <a:pt x="127" y="100"/>
                      <a:pt x="127" y="120"/>
                    </a:cubicBezTo>
                    <a:cubicBezTo>
                      <a:pt x="127" y="177"/>
                      <a:pt x="113" y="213"/>
                      <a:pt x="85" y="227"/>
                    </a:cubicBezTo>
                    <a:cubicBezTo>
                      <a:pt x="78" y="231"/>
                      <a:pt x="74" y="230"/>
                      <a:pt x="74" y="223"/>
                    </a:cubicBezTo>
                    <a:cubicBezTo>
                      <a:pt x="74" y="218"/>
                      <a:pt x="73" y="214"/>
                      <a:pt x="70" y="212"/>
                    </a:cubicBezTo>
                    <a:cubicBezTo>
                      <a:pt x="62" y="206"/>
                      <a:pt x="55" y="201"/>
                      <a:pt x="47" y="195"/>
                    </a:cubicBezTo>
                    <a:cubicBezTo>
                      <a:pt x="46" y="192"/>
                      <a:pt x="46" y="191"/>
                      <a:pt x="49" y="191"/>
                    </a:cubicBezTo>
                    <a:cubicBezTo>
                      <a:pt x="58" y="197"/>
                      <a:pt x="67" y="201"/>
                      <a:pt x="75" y="205"/>
                    </a:cubicBezTo>
                    <a:cubicBezTo>
                      <a:pt x="83" y="209"/>
                      <a:pt x="90" y="206"/>
                      <a:pt x="96" y="198"/>
                    </a:cubicBezTo>
                    <a:cubicBezTo>
                      <a:pt x="102" y="188"/>
                      <a:pt x="107" y="176"/>
                      <a:pt x="110" y="162"/>
                    </a:cubicBezTo>
                    <a:cubicBezTo>
                      <a:pt x="114" y="144"/>
                      <a:pt x="116" y="128"/>
                      <a:pt x="116" y="113"/>
                    </a:cubicBezTo>
                    <a:cubicBezTo>
                      <a:pt x="116" y="99"/>
                      <a:pt x="115" y="90"/>
                      <a:pt x="112" y="86"/>
                    </a:cubicBezTo>
                    <a:close/>
                    <a:moveTo>
                      <a:pt x="157" y="71"/>
                    </a:moveTo>
                    <a:cubicBezTo>
                      <a:pt x="170" y="76"/>
                      <a:pt x="184" y="85"/>
                      <a:pt x="198" y="96"/>
                    </a:cubicBezTo>
                    <a:cubicBezTo>
                      <a:pt x="216" y="111"/>
                      <a:pt x="227" y="129"/>
                      <a:pt x="229" y="151"/>
                    </a:cubicBezTo>
                    <a:cubicBezTo>
                      <a:pt x="230" y="159"/>
                      <a:pt x="229" y="164"/>
                      <a:pt x="226" y="168"/>
                    </a:cubicBezTo>
                    <a:cubicBezTo>
                      <a:pt x="221" y="174"/>
                      <a:pt x="217" y="173"/>
                      <a:pt x="212" y="167"/>
                    </a:cubicBezTo>
                    <a:cubicBezTo>
                      <a:pt x="208" y="159"/>
                      <a:pt x="202" y="156"/>
                      <a:pt x="196" y="157"/>
                    </a:cubicBezTo>
                    <a:cubicBezTo>
                      <a:pt x="185" y="157"/>
                      <a:pt x="174" y="158"/>
                      <a:pt x="163" y="159"/>
                    </a:cubicBezTo>
                    <a:cubicBezTo>
                      <a:pt x="158" y="158"/>
                      <a:pt x="158" y="157"/>
                      <a:pt x="162" y="154"/>
                    </a:cubicBezTo>
                    <a:cubicBezTo>
                      <a:pt x="174" y="153"/>
                      <a:pt x="187" y="151"/>
                      <a:pt x="200" y="149"/>
                    </a:cubicBezTo>
                    <a:cubicBezTo>
                      <a:pt x="205" y="148"/>
                      <a:pt x="207" y="146"/>
                      <a:pt x="207" y="142"/>
                    </a:cubicBezTo>
                    <a:cubicBezTo>
                      <a:pt x="205" y="130"/>
                      <a:pt x="200" y="118"/>
                      <a:pt x="190" y="105"/>
                    </a:cubicBezTo>
                    <a:cubicBezTo>
                      <a:pt x="181" y="93"/>
                      <a:pt x="169" y="83"/>
                      <a:pt x="155" y="75"/>
                    </a:cubicBezTo>
                    <a:cubicBezTo>
                      <a:pt x="151" y="72"/>
                      <a:pt x="152" y="71"/>
                      <a:pt x="157" y="71"/>
                    </a:cubicBezTo>
                    <a:close/>
                    <a:moveTo>
                      <a:pt x="194" y="59"/>
                    </a:moveTo>
                    <a:cubicBezTo>
                      <a:pt x="190" y="60"/>
                      <a:pt x="187" y="59"/>
                      <a:pt x="184" y="53"/>
                    </a:cubicBezTo>
                    <a:cubicBezTo>
                      <a:pt x="179" y="41"/>
                      <a:pt x="169" y="31"/>
                      <a:pt x="155" y="22"/>
                    </a:cubicBezTo>
                    <a:cubicBezTo>
                      <a:pt x="154" y="20"/>
                      <a:pt x="154" y="19"/>
                      <a:pt x="156" y="20"/>
                    </a:cubicBezTo>
                    <a:cubicBezTo>
                      <a:pt x="169" y="22"/>
                      <a:pt x="180" y="27"/>
                      <a:pt x="190" y="34"/>
                    </a:cubicBezTo>
                    <a:cubicBezTo>
                      <a:pt x="194" y="38"/>
                      <a:pt x="197" y="42"/>
                      <a:pt x="199" y="48"/>
                    </a:cubicBezTo>
                    <a:cubicBezTo>
                      <a:pt x="200" y="54"/>
                      <a:pt x="199" y="57"/>
                      <a:pt x="194" y="59"/>
                    </a:cubicBezTo>
                    <a:close/>
                    <a:moveTo>
                      <a:pt x="213" y="34"/>
                    </a:moveTo>
                    <a:cubicBezTo>
                      <a:pt x="208" y="22"/>
                      <a:pt x="198" y="12"/>
                      <a:pt x="184" y="3"/>
                    </a:cubicBezTo>
                    <a:cubicBezTo>
                      <a:pt x="183" y="0"/>
                      <a:pt x="183" y="0"/>
                      <a:pt x="185" y="0"/>
                    </a:cubicBezTo>
                    <a:cubicBezTo>
                      <a:pt x="198" y="3"/>
                      <a:pt x="209" y="8"/>
                      <a:pt x="219" y="15"/>
                    </a:cubicBezTo>
                    <a:cubicBezTo>
                      <a:pt x="224" y="19"/>
                      <a:pt x="227" y="23"/>
                      <a:pt x="228" y="29"/>
                    </a:cubicBezTo>
                    <a:cubicBezTo>
                      <a:pt x="230" y="35"/>
                      <a:pt x="228" y="38"/>
                      <a:pt x="224" y="40"/>
                    </a:cubicBezTo>
                    <a:cubicBezTo>
                      <a:pt x="219" y="41"/>
                      <a:pt x="216" y="39"/>
                      <a:pt x="213" y="3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12" name="Freeform 22"/>
              <p:cNvSpPr>
                <a:spLocks/>
              </p:cNvSpPr>
              <p:nvPr/>
            </p:nvSpPr>
            <p:spPr bwMode="black">
              <a:xfrm>
                <a:off x="10208107" y="5615704"/>
                <a:ext cx="111550" cy="162932"/>
              </a:xfrm>
              <a:custGeom>
                <a:avLst/>
                <a:gdLst/>
                <a:ahLst/>
                <a:cxnLst>
                  <a:cxn ang="0">
                    <a:pos x="12" y="214"/>
                  </a:cxn>
                  <a:cxn ang="0">
                    <a:pos x="0" y="186"/>
                  </a:cxn>
                  <a:cxn ang="0">
                    <a:pos x="18" y="151"/>
                  </a:cxn>
                  <a:cxn ang="0">
                    <a:pos x="63" y="120"/>
                  </a:cxn>
                  <a:cxn ang="0">
                    <a:pos x="49" y="75"/>
                  </a:cxn>
                  <a:cxn ang="0">
                    <a:pos x="47" y="18"/>
                  </a:cxn>
                  <a:cxn ang="0">
                    <a:pos x="31" y="6"/>
                  </a:cxn>
                  <a:cxn ang="0">
                    <a:pos x="31" y="2"/>
                  </a:cxn>
                  <a:cxn ang="0">
                    <a:pos x="66" y="12"/>
                  </a:cxn>
                  <a:cxn ang="0">
                    <a:pos x="67" y="21"/>
                  </a:cxn>
                  <a:cxn ang="0">
                    <a:pos x="64" y="34"/>
                  </a:cxn>
                  <a:cxn ang="0">
                    <a:pos x="64" y="93"/>
                  </a:cxn>
                  <a:cxn ang="0">
                    <a:pos x="69" y="116"/>
                  </a:cxn>
                  <a:cxn ang="0">
                    <a:pos x="135" y="93"/>
                  </a:cxn>
                  <a:cxn ang="0">
                    <a:pos x="138" y="82"/>
                  </a:cxn>
                  <a:cxn ang="0">
                    <a:pos x="130" y="75"/>
                  </a:cxn>
                  <a:cxn ang="0">
                    <a:pos x="131" y="71"/>
                  </a:cxn>
                  <a:cxn ang="0">
                    <a:pos x="151" y="82"/>
                  </a:cxn>
                  <a:cxn ang="0">
                    <a:pos x="159" y="98"/>
                  </a:cxn>
                  <a:cxn ang="0">
                    <a:pos x="150" y="104"/>
                  </a:cxn>
                  <a:cxn ang="0">
                    <a:pos x="65" y="131"/>
                  </a:cxn>
                  <a:cxn ang="0">
                    <a:pos x="19" y="163"/>
                  </a:cxn>
                  <a:cxn ang="0">
                    <a:pos x="9" y="185"/>
                  </a:cxn>
                  <a:cxn ang="0">
                    <a:pos x="37" y="216"/>
                  </a:cxn>
                  <a:cxn ang="0">
                    <a:pos x="86" y="220"/>
                  </a:cxn>
                  <a:cxn ang="0">
                    <a:pos x="132" y="215"/>
                  </a:cxn>
                  <a:cxn ang="0">
                    <a:pos x="150" y="215"/>
                  </a:cxn>
                  <a:cxn ang="0">
                    <a:pos x="155" y="223"/>
                  </a:cxn>
                  <a:cxn ang="0">
                    <a:pos x="148" y="229"/>
                  </a:cxn>
                  <a:cxn ang="0">
                    <a:pos x="73" y="232"/>
                  </a:cxn>
                  <a:cxn ang="0">
                    <a:pos x="12" y="214"/>
                  </a:cxn>
                </a:cxnLst>
                <a:rect l="0" t="0" r="r" b="b"/>
                <a:pathLst>
                  <a:path w="159" h="232">
                    <a:moveTo>
                      <a:pt x="12" y="214"/>
                    </a:moveTo>
                    <a:cubicBezTo>
                      <a:pt x="4" y="206"/>
                      <a:pt x="0" y="197"/>
                      <a:pt x="0" y="186"/>
                    </a:cubicBezTo>
                    <a:cubicBezTo>
                      <a:pt x="0" y="174"/>
                      <a:pt x="6" y="163"/>
                      <a:pt x="18" y="151"/>
                    </a:cubicBezTo>
                    <a:cubicBezTo>
                      <a:pt x="30" y="140"/>
                      <a:pt x="45" y="130"/>
                      <a:pt x="63" y="120"/>
                    </a:cubicBezTo>
                    <a:cubicBezTo>
                      <a:pt x="54" y="109"/>
                      <a:pt x="49" y="94"/>
                      <a:pt x="49" y="75"/>
                    </a:cubicBezTo>
                    <a:cubicBezTo>
                      <a:pt x="49" y="40"/>
                      <a:pt x="48" y="21"/>
                      <a:pt x="47" y="18"/>
                    </a:cubicBezTo>
                    <a:cubicBezTo>
                      <a:pt x="44" y="10"/>
                      <a:pt x="39" y="6"/>
                      <a:pt x="31" y="6"/>
                    </a:cubicBezTo>
                    <a:cubicBezTo>
                      <a:pt x="28" y="5"/>
                      <a:pt x="28" y="3"/>
                      <a:pt x="31" y="2"/>
                    </a:cubicBezTo>
                    <a:cubicBezTo>
                      <a:pt x="44" y="0"/>
                      <a:pt x="56" y="4"/>
                      <a:pt x="66" y="12"/>
                    </a:cubicBezTo>
                    <a:cubicBezTo>
                      <a:pt x="70" y="15"/>
                      <a:pt x="70" y="18"/>
                      <a:pt x="67" y="21"/>
                    </a:cubicBezTo>
                    <a:cubicBezTo>
                      <a:pt x="65" y="23"/>
                      <a:pt x="64" y="28"/>
                      <a:pt x="64" y="34"/>
                    </a:cubicBezTo>
                    <a:cubicBezTo>
                      <a:pt x="64" y="54"/>
                      <a:pt x="64" y="73"/>
                      <a:pt x="64" y="93"/>
                    </a:cubicBezTo>
                    <a:cubicBezTo>
                      <a:pt x="64" y="106"/>
                      <a:pt x="66" y="113"/>
                      <a:pt x="69" y="116"/>
                    </a:cubicBezTo>
                    <a:cubicBezTo>
                      <a:pt x="90" y="107"/>
                      <a:pt x="112" y="100"/>
                      <a:pt x="135" y="93"/>
                    </a:cubicBezTo>
                    <a:cubicBezTo>
                      <a:pt x="141" y="91"/>
                      <a:pt x="142" y="88"/>
                      <a:pt x="138" y="82"/>
                    </a:cubicBezTo>
                    <a:cubicBezTo>
                      <a:pt x="136" y="79"/>
                      <a:pt x="134" y="77"/>
                      <a:pt x="130" y="75"/>
                    </a:cubicBezTo>
                    <a:cubicBezTo>
                      <a:pt x="127" y="73"/>
                      <a:pt x="127" y="72"/>
                      <a:pt x="131" y="71"/>
                    </a:cubicBezTo>
                    <a:cubicBezTo>
                      <a:pt x="140" y="72"/>
                      <a:pt x="147" y="76"/>
                      <a:pt x="151" y="82"/>
                    </a:cubicBezTo>
                    <a:cubicBezTo>
                      <a:pt x="157" y="88"/>
                      <a:pt x="159" y="94"/>
                      <a:pt x="159" y="98"/>
                    </a:cubicBezTo>
                    <a:cubicBezTo>
                      <a:pt x="159" y="102"/>
                      <a:pt x="156" y="104"/>
                      <a:pt x="150" y="104"/>
                    </a:cubicBezTo>
                    <a:cubicBezTo>
                      <a:pt x="117" y="111"/>
                      <a:pt x="89" y="120"/>
                      <a:pt x="65" y="131"/>
                    </a:cubicBezTo>
                    <a:cubicBezTo>
                      <a:pt x="45" y="141"/>
                      <a:pt x="29" y="151"/>
                      <a:pt x="19" y="163"/>
                    </a:cubicBezTo>
                    <a:cubicBezTo>
                      <a:pt x="12" y="170"/>
                      <a:pt x="9" y="177"/>
                      <a:pt x="9" y="185"/>
                    </a:cubicBezTo>
                    <a:cubicBezTo>
                      <a:pt x="9" y="201"/>
                      <a:pt x="18" y="211"/>
                      <a:pt x="37" y="216"/>
                    </a:cubicBezTo>
                    <a:cubicBezTo>
                      <a:pt x="45" y="219"/>
                      <a:pt x="62" y="220"/>
                      <a:pt x="86" y="220"/>
                    </a:cubicBezTo>
                    <a:cubicBezTo>
                      <a:pt x="108" y="220"/>
                      <a:pt x="123" y="218"/>
                      <a:pt x="132" y="215"/>
                    </a:cubicBezTo>
                    <a:cubicBezTo>
                      <a:pt x="141" y="212"/>
                      <a:pt x="147" y="212"/>
                      <a:pt x="150" y="215"/>
                    </a:cubicBezTo>
                    <a:cubicBezTo>
                      <a:pt x="153" y="218"/>
                      <a:pt x="155" y="220"/>
                      <a:pt x="155" y="223"/>
                    </a:cubicBezTo>
                    <a:cubicBezTo>
                      <a:pt x="155" y="226"/>
                      <a:pt x="153" y="228"/>
                      <a:pt x="148" y="229"/>
                    </a:cubicBezTo>
                    <a:cubicBezTo>
                      <a:pt x="135" y="231"/>
                      <a:pt x="109" y="232"/>
                      <a:pt x="73" y="232"/>
                    </a:cubicBezTo>
                    <a:cubicBezTo>
                      <a:pt x="44" y="232"/>
                      <a:pt x="24" y="226"/>
                      <a:pt x="12" y="21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13" name="Freeform 23"/>
              <p:cNvSpPr>
                <a:spLocks noEditPoints="1"/>
              </p:cNvSpPr>
              <p:nvPr/>
            </p:nvSpPr>
            <p:spPr bwMode="black">
              <a:xfrm>
                <a:off x="10395376" y="5611310"/>
                <a:ext cx="91269" cy="178481"/>
              </a:xfrm>
              <a:custGeom>
                <a:avLst/>
                <a:gdLst/>
                <a:ahLst/>
                <a:cxnLst>
                  <a:cxn ang="0">
                    <a:pos x="41" y="88"/>
                  </a:cxn>
                  <a:cxn ang="0">
                    <a:pos x="85" y="74"/>
                  </a:cxn>
                  <a:cxn ang="0">
                    <a:pos x="114" y="86"/>
                  </a:cxn>
                  <a:cxn ang="0">
                    <a:pos x="130" y="135"/>
                  </a:cxn>
                  <a:cxn ang="0">
                    <a:pos x="98" y="210"/>
                  </a:cxn>
                  <a:cxn ang="0">
                    <a:pos x="15" y="254"/>
                  </a:cxn>
                  <a:cxn ang="0">
                    <a:pos x="14" y="249"/>
                  </a:cxn>
                  <a:cxn ang="0">
                    <a:pos x="89" y="201"/>
                  </a:cxn>
                  <a:cxn ang="0">
                    <a:pos x="114" y="128"/>
                  </a:cxn>
                  <a:cxn ang="0">
                    <a:pos x="102" y="90"/>
                  </a:cxn>
                  <a:cxn ang="0">
                    <a:pos x="82" y="82"/>
                  </a:cxn>
                  <a:cxn ang="0">
                    <a:pos x="35" y="103"/>
                  </a:cxn>
                  <a:cxn ang="0">
                    <a:pos x="20" y="121"/>
                  </a:cxn>
                  <a:cxn ang="0">
                    <a:pos x="9" y="125"/>
                  </a:cxn>
                  <a:cxn ang="0">
                    <a:pos x="0" y="103"/>
                  </a:cxn>
                  <a:cxn ang="0">
                    <a:pos x="2" y="80"/>
                  </a:cxn>
                  <a:cxn ang="0">
                    <a:pos x="5" y="81"/>
                  </a:cxn>
                  <a:cxn ang="0">
                    <a:pos x="9" y="102"/>
                  </a:cxn>
                  <a:cxn ang="0">
                    <a:pos x="19" y="103"/>
                  </a:cxn>
                  <a:cxn ang="0">
                    <a:pos x="41" y="88"/>
                  </a:cxn>
                  <a:cxn ang="0">
                    <a:pos x="88" y="33"/>
                  </a:cxn>
                  <a:cxn ang="0">
                    <a:pos x="56" y="37"/>
                  </a:cxn>
                  <a:cxn ang="0">
                    <a:pos x="30" y="51"/>
                  </a:cxn>
                  <a:cxn ang="0">
                    <a:pos x="28" y="48"/>
                  </a:cxn>
                  <a:cxn ang="0">
                    <a:pos x="57" y="27"/>
                  </a:cxn>
                  <a:cxn ang="0">
                    <a:pos x="16" y="4"/>
                  </a:cxn>
                  <a:cxn ang="0">
                    <a:pos x="19" y="1"/>
                  </a:cxn>
                  <a:cxn ang="0">
                    <a:pos x="58" y="17"/>
                  </a:cxn>
                  <a:cxn ang="0">
                    <a:pos x="82" y="15"/>
                  </a:cxn>
                  <a:cxn ang="0">
                    <a:pos x="97" y="22"/>
                  </a:cxn>
                  <a:cxn ang="0">
                    <a:pos x="88" y="33"/>
                  </a:cxn>
                </a:cxnLst>
                <a:rect l="0" t="0" r="r" b="b"/>
                <a:pathLst>
                  <a:path w="130" h="254">
                    <a:moveTo>
                      <a:pt x="41" y="88"/>
                    </a:moveTo>
                    <a:cubicBezTo>
                      <a:pt x="55" y="79"/>
                      <a:pt x="69" y="74"/>
                      <a:pt x="85" y="74"/>
                    </a:cubicBezTo>
                    <a:cubicBezTo>
                      <a:pt x="95" y="74"/>
                      <a:pt x="105" y="78"/>
                      <a:pt x="114" y="86"/>
                    </a:cubicBezTo>
                    <a:cubicBezTo>
                      <a:pt x="125" y="96"/>
                      <a:pt x="130" y="112"/>
                      <a:pt x="130" y="135"/>
                    </a:cubicBezTo>
                    <a:cubicBezTo>
                      <a:pt x="130" y="165"/>
                      <a:pt x="119" y="190"/>
                      <a:pt x="98" y="210"/>
                    </a:cubicBezTo>
                    <a:cubicBezTo>
                      <a:pt x="78" y="230"/>
                      <a:pt x="50" y="244"/>
                      <a:pt x="15" y="254"/>
                    </a:cubicBezTo>
                    <a:cubicBezTo>
                      <a:pt x="12" y="254"/>
                      <a:pt x="11" y="252"/>
                      <a:pt x="14" y="249"/>
                    </a:cubicBezTo>
                    <a:cubicBezTo>
                      <a:pt x="48" y="237"/>
                      <a:pt x="73" y="221"/>
                      <a:pt x="89" y="201"/>
                    </a:cubicBezTo>
                    <a:cubicBezTo>
                      <a:pt x="106" y="182"/>
                      <a:pt x="114" y="157"/>
                      <a:pt x="114" y="128"/>
                    </a:cubicBezTo>
                    <a:cubicBezTo>
                      <a:pt x="114" y="110"/>
                      <a:pt x="110" y="97"/>
                      <a:pt x="102" y="90"/>
                    </a:cubicBezTo>
                    <a:cubicBezTo>
                      <a:pt x="96" y="85"/>
                      <a:pt x="89" y="82"/>
                      <a:pt x="82" y="82"/>
                    </a:cubicBezTo>
                    <a:cubicBezTo>
                      <a:pt x="66" y="82"/>
                      <a:pt x="50" y="89"/>
                      <a:pt x="35" y="103"/>
                    </a:cubicBezTo>
                    <a:cubicBezTo>
                      <a:pt x="33" y="106"/>
                      <a:pt x="28" y="112"/>
                      <a:pt x="20" y="121"/>
                    </a:cubicBezTo>
                    <a:cubicBezTo>
                      <a:pt x="16" y="126"/>
                      <a:pt x="12" y="127"/>
                      <a:pt x="9" y="125"/>
                    </a:cubicBezTo>
                    <a:cubicBezTo>
                      <a:pt x="3" y="120"/>
                      <a:pt x="0" y="113"/>
                      <a:pt x="0" y="103"/>
                    </a:cubicBezTo>
                    <a:cubicBezTo>
                      <a:pt x="0" y="93"/>
                      <a:pt x="0" y="85"/>
                      <a:pt x="2" y="80"/>
                    </a:cubicBezTo>
                    <a:cubicBezTo>
                      <a:pt x="4" y="78"/>
                      <a:pt x="5" y="79"/>
                      <a:pt x="5" y="81"/>
                    </a:cubicBezTo>
                    <a:cubicBezTo>
                      <a:pt x="5" y="93"/>
                      <a:pt x="6" y="100"/>
                      <a:pt x="9" y="102"/>
                    </a:cubicBezTo>
                    <a:cubicBezTo>
                      <a:pt x="12" y="105"/>
                      <a:pt x="15" y="106"/>
                      <a:pt x="19" y="103"/>
                    </a:cubicBezTo>
                    <a:cubicBezTo>
                      <a:pt x="27" y="97"/>
                      <a:pt x="34" y="92"/>
                      <a:pt x="41" y="88"/>
                    </a:cubicBezTo>
                    <a:close/>
                    <a:moveTo>
                      <a:pt x="88" y="33"/>
                    </a:moveTo>
                    <a:cubicBezTo>
                      <a:pt x="75" y="33"/>
                      <a:pt x="64" y="34"/>
                      <a:pt x="56" y="37"/>
                    </a:cubicBezTo>
                    <a:cubicBezTo>
                      <a:pt x="50" y="39"/>
                      <a:pt x="41" y="44"/>
                      <a:pt x="30" y="51"/>
                    </a:cubicBezTo>
                    <a:cubicBezTo>
                      <a:pt x="28" y="51"/>
                      <a:pt x="27" y="51"/>
                      <a:pt x="28" y="48"/>
                    </a:cubicBezTo>
                    <a:cubicBezTo>
                      <a:pt x="34" y="42"/>
                      <a:pt x="44" y="34"/>
                      <a:pt x="57" y="27"/>
                    </a:cubicBezTo>
                    <a:cubicBezTo>
                      <a:pt x="41" y="27"/>
                      <a:pt x="28" y="19"/>
                      <a:pt x="16" y="4"/>
                    </a:cubicBezTo>
                    <a:cubicBezTo>
                      <a:pt x="16" y="1"/>
                      <a:pt x="16" y="0"/>
                      <a:pt x="19" y="1"/>
                    </a:cubicBezTo>
                    <a:cubicBezTo>
                      <a:pt x="31" y="12"/>
                      <a:pt x="44" y="17"/>
                      <a:pt x="58" y="17"/>
                    </a:cubicBezTo>
                    <a:cubicBezTo>
                      <a:pt x="68" y="17"/>
                      <a:pt x="76" y="16"/>
                      <a:pt x="82" y="15"/>
                    </a:cubicBezTo>
                    <a:cubicBezTo>
                      <a:pt x="89" y="13"/>
                      <a:pt x="94" y="16"/>
                      <a:pt x="97" y="22"/>
                    </a:cubicBezTo>
                    <a:cubicBezTo>
                      <a:pt x="100" y="29"/>
                      <a:pt x="97" y="33"/>
                      <a:pt x="88" y="3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14" name="Freeform 24"/>
              <p:cNvSpPr>
                <a:spLocks noEditPoints="1"/>
              </p:cNvSpPr>
              <p:nvPr/>
            </p:nvSpPr>
            <p:spPr bwMode="black">
              <a:xfrm>
                <a:off x="10549857" y="5607929"/>
                <a:ext cx="158199" cy="162256"/>
              </a:xfrm>
              <a:custGeom>
                <a:avLst/>
                <a:gdLst/>
                <a:ahLst/>
                <a:cxnLst>
                  <a:cxn ang="0">
                    <a:pos x="133" y="217"/>
                  </a:cxn>
                  <a:cxn ang="0">
                    <a:pos x="161" y="215"/>
                  </a:cxn>
                  <a:cxn ang="0">
                    <a:pos x="172" y="213"/>
                  </a:cxn>
                  <a:cxn ang="0">
                    <a:pos x="186" y="222"/>
                  </a:cxn>
                  <a:cxn ang="0">
                    <a:pos x="178" y="231"/>
                  </a:cxn>
                  <a:cxn ang="0">
                    <a:pos x="77" y="231"/>
                  </a:cxn>
                  <a:cxn ang="0">
                    <a:pos x="16" y="207"/>
                  </a:cxn>
                  <a:cxn ang="0">
                    <a:pos x="0" y="171"/>
                  </a:cxn>
                  <a:cxn ang="0">
                    <a:pos x="5" y="172"/>
                  </a:cxn>
                  <a:cxn ang="0">
                    <a:pos x="22" y="198"/>
                  </a:cxn>
                  <a:cxn ang="0">
                    <a:pos x="78" y="217"/>
                  </a:cxn>
                  <a:cxn ang="0">
                    <a:pos x="133" y="217"/>
                  </a:cxn>
                  <a:cxn ang="0">
                    <a:pos x="154" y="63"/>
                  </a:cxn>
                  <a:cxn ang="0">
                    <a:pos x="150" y="71"/>
                  </a:cxn>
                  <a:cxn ang="0">
                    <a:pos x="126" y="71"/>
                  </a:cxn>
                  <a:cxn ang="0">
                    <a:pos x="101" y="75"/>
                  </a:cxn>
                  <a:cxn ang="0">
                    <a:pos x="52" y="96"/>
                  </a:cxn>
                  <a:cxn ang="0">
                    <a:pos x="49" y="94"/>
                  </a:cxn>
                  <a:cxn ang="0">
                    <a:pos x="88" y="70"/>
                  </a:cxn>
                  <a:cxn ang="0">
                    <a:pos x="46" y="61"/>
                  </a:cxn>
                  <a:cxn ang="0">
                    <a:pos x="18" y="38"/>
                  </a:cxn>
                  <a:cxn ang="0">
                    <a:pos x="23" y="36"/>
                  </a:cxn>
                  <a:cxn ang="0">
                    <a:pos x="91" y="56"/>
                  </a:cxn>
                  <a:cxn ang="0">
                    <a:pos x="138" y="52"/>
                  </a:cxn>
                  <a:cxn ang="0">
                    <a:pos x="147" y="56"/>
                  </a:cxn>
                  <a:cxn ang="0">
                    <a:pos x="154" y="63"/>
                  </a:cxn>
                  <a:cxn ang="0">
                    <a:pos x="196" y="48"/>
                  </a:cxn>
                  <a:cxn ang="0">
                    <a:pos x="191" y="59"/>
                  </a:cxn>
                  <a:cxn ang="0">
                    <a:pos x="181" y="53"/>
                  </a:cxn>
                  <a:cxn ang="0">
                    <a:pos x="152" y="22"/>
                  </a:cxn>
                  <a:cxn ang="0">
                    <a:pos x="153" y="20"/>
                  </a:cxn>
                  <a:cxn ang="0">
                    <a:pos x="187" y="34"/>
                  </a:cxn>
                  <a:cxn ang="0">
                    <a:pos x="196" y="48"/>
                  </a:cxn>
                  <a:cxn ang="0">
                    <a:pos x="224" y="29"/>
                  </a:cxn>
                  <a:cxn ang="0">
                    <a:pos x="219" y="40"/>
                  </a:cxn>
                  <a:cxn ang="0">
                    <a:pos x="209" y="34"/>
                  </a:cxn>
                  <a:cxn ang="0">
                    <a:pos x="180" y="3"/>
                  </a:cxn>
                  <a:cxn ang="0">
                    <a:pos x="181" y="0"/>
                  </a:cxn>
                  <a:cxn ang="0">
                    <a:pos x="215" y="15"/>
                  </a:cxn>
                  <a:cxn ang="0">
                    <a:pos x="224" y="29"/>
                  </a:cxn>
                </a:cxnLst>
                <a:rect l="0" t="0" r="r" b="b"/>
                <a:pathLst>
                  <a:path w="225" h="231">
                    <a:moveTo>
                      <a:pt x="133" y="217"/>
                    </a:moveTo>
                    <a:cubicBezTo>
                      <a:pt x="145" y="217"/>
                      <a:pt x="154" y="217"/>
                      <a:pt x="161" y="215"/>
                    </a:cubicBezTo>
                    <a:cubicBezTo>
                      <a:pt x="168" y="214"/>
                      <a:pt x="171" y="213"/>
                      <a:pt x="172" y="213"/>
                    </a:cubicBezTo>
                    <a:cubicBezTo>
                      <a:pt x="177" y="213"/>
                      <a:pt x="181" y="216"/>
                      <a:pt x="186" y="222"/>
                    </a:cubicBezTo>
                    <a:cubicBezTo>
                      <a:pt x="190" y="228"/>
                      <a:pt x="187" y="231"/>
                      <a:pt x="178" y="231"/>
                    </a:cubicBezTo>
                    <a:cubicBezTo>
                      <a:pt x="144" y="231"/>
                      <a:pt x="110" y="231"/>
                      <a:pt x="77" y="231"/>
                    </a:cubicBezTo>
                    <a:cubicBezTo>
                      <a:pt x="50" y="231"/>
                      <a:pt x="29" y="223"/>
                      <a:pt x="16" y="207"/>
                    </a:cubicBezTo>
                    <a:cubicBezTo>
                      <a:pt x="8" y="197"/>
                      <a:pt x="3" y="185"/>
                      <a:pt x="0" y="171"/>
                    </a:cubicBezTo>
                    <a:cubicBezTo>
                      <a:pt x="2" y="168"/>
                      <a:pt x="3" y="169"/>
                      <a:pt x="5" y="172"/>
                    </a:cubicBezTo>
                    <a:cubicBezTo>
                      <a:pt x="8" y="182"/>
                      <a:pt x="14" y="191"/>
                      <a:pt x="22" y="198"/>
                    </a:cubicBezTo>
                    <a:cubicBezTo>
                      <a:pt x="34" y="211"/>
                      <a:pt x="53" y="217"/>
                      <a:pt x="78" y="217"/>
                    </a:cubicBezTo>
                    <a:cubicBezTo>
                      <a:pt x="96" y="217"/>
                      <a:pt x="115" y="217"/>
                      <a:pt x="133" y="217"/>
                    </a:cubicBezTo>
                    <a:close/>
                    <a:moveTo>
                      <a:pt x="154" y="63"/>
                    </a:moveTo>
                    <a:cubicBezTo>
                      <a:pt x="158" y="69"/>
                      <a:pt x="156" y="71"/>
                      <a:pt x="150" y="71"/>
                    </a:cubicBezTo>
                    <a:cubicBezTo>
                      <a:pt x="144" y="71"/>
                      <a:pt x="137" y="71"/>
                      <a:pt x="126" y="71"/>
                    </a:cubicBezTo>
                    <a:cubicBezTo>
                      <a:pt x="117" y="71"/>
                      <a:pt x="109" y="72"/>
                      <a:pt x="101" y="75"/>
                    </a:cubicBezTo>
                    <a:cubicBezTo>
                      <a:pt x="86" y="79"/>
                      <a:pt x="70" y="86"/>
                      <a:pt x="52" y="96"/>
                    </a:cubicBezTo>
                    <a:cubicBezTo>
                      <a:pt x="47" y="98"/>
                      <a:pt x="46" y="97"/>
                      <a:pt x="49" y="94"/>
                    </a:cubicBezTo>
                    <a:cubicBezTo>
                      <a:pt x="60" y="85"/>
                      <a:pt x="73" y="77"/>
                      <a:pt x="88" y="70"/>
                    </a:cubicBezTo>
                    <a:cubicBezTo>
                      <a:pt x="70" y="69"/>
                      <a:pt x="56" y="66"/>
                      <a:pt x="46" y="61"/>
                    </a:cubicBezTo>
                    <a:cubicBezTo>
                      <a:pt x="34" y="55"/>
                      <a:pt x="24" y="47"/>
                      <a:pt x="18" y="38"/>
                    </a:cubicBezTo>
                    <a:cubicBezTo>
                      <a:pt x="18" y="34"/>
                      <a:pt x="20" y="33"/>
                      <a:pt x="23" y="36"/>
                    </a:cubicBezTo>
                    <a:cubicBezTo>
                      <a:pt x="34" y="49"/>
                      <a:pt x="57" y="56"/>
                      <a:pt x="91" y="56"/>
                    </a:cubicBezTo>
                    <a:cubicBezTo>
                      <a:pt x="116" y="56"/>
                      <a:pt x="132" y="54"/>
                      <a:pt x="138" y="52"/>
                    </a:cubicBezTo>
                    <a:cubicBezTo>
                      <a:pt x="141" y="51"/>
                      <a:pt x="144" y="53"/>
                      <a:pt x="147" y="56"/>
                    </a:cubicBezTo>
                    <a:cubicBezTo>
                      <a:pt x="150" y="58"/>
                      <a:pt x="152" y="60"/>
                      <a:pt x="154" y="63"/>
                    </a:cubicBezTo>
                    <a:close/>
                    <a:moveTo>
                      <a:pt x="196" y="48"/>
                    </a:moveTo>
                    <a:cubicBezTo>
                      <a:pt x="197" y="54"/>
                      <a:pt x="196" y="57"/>
                      <a:pt x="191" y="59"/>
                    </a:cubicBezTo>
                    <a:cubicBezTo>
                      <a:pt x="187" y="60"/>
                      <a:pt x="183" y="59"/>
                      <a:pt x="181" y="53"/>
                    </a:cubicBezTo>
                    <a:cubicBezTo>
                      <a:pt x="176" y="41"/>
                      <a:pt x="166" y="31"/>
                      <a:pt x="152" y="22"/>
                    </a:cubicBezTo>
                    <a:cubicBezTo>
                      <a:pt x="150" y="20"/>
                      <a:pt x="151" y="19"/>
                      <a:pt x="153" y="20"/>
                    </a:cubicBezTo>
                    <a:cubicBezTo>
                      <a:pt x="166" y="22"/>
                      <a:pt x="177" y="27"/>
                      <a:pt x="187" y="34"/>
                    </a:cubicBezTo>
                    <a:cubicBezTo>
                      <a:pt x="191" y="38"/>
                      <a:pt x="194" y="42"/>
                      <a:pt x="196" y="48"/>
                    </a:cubicBezTo>
                    <a:close/>
                    <a:moveTo>
                      <a:pt x="224" y="29"/>
                    </a:moveTo>
                    <a:cubicBezTo>
                      <a:pt x="225" y="35"/>
                      <a:pt x="224" y="38"/>
                      <a:pt x="219" y="40"/>
                    </a:cubicBezTo>
                    <a:cubicBezTo>
                      <a:pt x="215" y="41"/>
                      <a:pt x="211" y="39"/>
                      <a:pt x="209" y="34"/>
                    </a:cubicBezTo>
                    <a:cubicBezTo>
                      <a:pt x="204" y="22"/>
                      <a:pt x="194" y="12"/>
                      <a:pt x="180" y="3"/>
                    </a:cubicBezTo>
                    <a:cubicBezTo>
                      <a:pt x="178" y="0"/>
                      <a:pt x="179" y="0"/>
                      <a:pt x="181" y="0"/>
                    </a:cubicBezTo>
                    <a:cubicBezTo>
                      <a:pt x="194" y="3"/>
                      <a:pt x="205" y="8"/>
                      <a:pt x="215" y="15"/>
                    </a:cubicBezTo>
                    <a:cubicBezTo>
                      <a:pt x="219" y="19"/>
                      <a:pt x="222" y="23"/>
                      <a:pt x="224" y="2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15" name="Freeform 25"/>
              <p:cNvSpPr>
                <a:spLocks noEditPoints="1"/>
              </p:cNvSpPr>
              <p:nvPr/>
            </p:nvSpPr>
            <p:spPr bwMode="black">
              <a:xfrm>
                <a:off x="10729014" y="5603535"/>
                <a:ext cx="153128" cy="177805"/>
              </a:xfrm>
              <a:custGeom>
                <a:avLst/>
                <a:gdLst/>
                <a:ahLst/>
                <a:cxnLst>
                  <a:cxn ang="0">
                    <a:pos x="155" y="156"/>
                  </a:cxn>
                  <a:cxn ang="0">
                    <a:pos x="166" y="165"/>
                  </a:cxn>
                  <a:cxn ang="0">
                    <a:pos x="170" y="172"/>
                  </a:cxn>
                  <a:cxn ang="0">
                    <a:pos x="172" y="183"/>
                  </a:cxn>
                  <a:cxn ang="0">
                    <a:pos x="159" y="186"/>
                  </a:cxn>
                  <a:cxn ang="0">
                    <a:pos x="120" y="166"/>
                  </a:cxn>
                  <a:cxn ang="0">
                    <a:pos x="72" y="157"/>
                  </a:cxn>
                  <a:cxn ang="0">
                    <a:pos x="19" y="173"/>
                  </a:cxn>
                  <a:cxn ang="0">
                    <a:pos x="10" y="192"/>
                  </a:cxn>
                  <a:cxn ang="0">
                    <a:pos x="22" y="220"/>
                  </a:cxn>
                  <a:cxn ang="0">
                    <a:pos x="83" y="238"/>
                  </a:cxn>
                  <a:cxn ang="0">
                    <a:pos x="125" y="236"/>
                  </a:cxn>
                  <a:cxn ang="0">
                    <a:pos x="140" y="236"/>
                  </a:cxn>
                  <a:cxn ang="0">
                    <a:pos x="148" y="244"/>
                  </a:cxn>
                  <a:cxn ang="0">
                    <a:pos x="143" y="250"/>
                  </a:cxn>
                  <a:cxn ang="0">
                    <a:pos x="105" y="253"/>
                  </a:cxn>
                  <a:cxn ang="0">
                    <a:pos x="52" y="247"/>
                  </a:cxn>
                  <a:cxn ang="0">
                    <a:pos x="12" y="226"/>
                  </a:cxn>
                  <a:cxn ang="0">
                    <a:pos x="0" y="196"/>
                  </a:cxn>
                  <a:cxn ang="0">
                    <a:pos x="11" y="168"/>
                  </a:cxn>
                  <a:cxn ang="0">
                    <a:pos x="68" y="150"/>
                  </a:cxn>
                  <a:cxn ang="0">
                    <a:pos x="100" y="153"/>
                  </a:cxn>
                  <a:cxn ang="0">
                    <a:pos x="134" y="159"/>
                  </a:cxn>
                  <a:cxn ang="0">
                    <a:pos x="137" y="155"/>
                  </a:cxn>
                  <a:cxn ang="0">
                    <a:pos x="94" y="87"/>
                  </a:cxn>
                  <a:cxn ang="0">
                    <a:pos x="39" y="96"/>
                  </a:cxn>
                  <a:cxn ang="0">
                    <a:pos x="27" y="99"/>
                  </a:cxn>
                  <a:cxn ang="0">
                    <a:pos x="18" y="94"/>
                  </a:cxn>
                  <a:cxn ang="0">
                    <a:pos x="2" y="77"/>
                  </a:cxn>
                  <a:cxn ang="0">
                    <a:pos x="5" y="75"/>
                  </a:cxn>
                  <a:cxn ang="0">
                    <a:pos x="36" y="85"/>
                  </a:cxn>
                  <a:cxn ang="0">
                    <a:pos x="88" y="77"/>
                  </a:cxn>
                  <a:cxn ang="0">
                    <a:pos x="73" y="49"/>
                  </a:cxn>
                  <a:cxn ang="0">
                    <a:pos x="63" y="38"/>
                  </a:cxn>
                  <a:cxn ang="0">
                    <a:pos x="63" y="26"/>
                  </a:cxn>
                  <a:cxn ang="0">
                    <a:pos x="86" y="10"/>
                  </a:cxn>
                  <a:cxn ang="0">
                    <a:pos x="90" y="13"/>
                  </a:cxn>
                  <a:cxn ang="0">
                    <a:pos x="81" y="29"/>
                  </a:cxn>
                  <a:cxn ang="0">
                    <a:pos x="85" y="45"/>
                  </a:cxn>
                  <a:cxn ang="0">
                    <a:pos x="101" y="74"/>
                  </a:cxn>
                  <a:cxn ang="0">
                    <a:pos x="141" y="59"/>
                  </a:cxn>
                  <a:cxn ang="0">
                    <a:pos x="156" y="57"/>
                  </a:cxn>
                  <a:cxn ang="0">
                    <a:pos x="163" y="60"/>
                  </a:cxn>
                  <a:cxn ang="0">
                    <a:pos x="160" y="68"/>
                  </a:cxn>
                  <a:cxn ang="0">
                    <a:pos x="106" y="84"/>
                  </a:cxn>
                  <a:cxn ang="0">
                    <a:pos x="136" y="132"/>
                  </a:cxn>
                  <a:cxn ang="0">
                    <a:pos x="155" y="156"/>
                  </a:cxn>
                  <a:cxn ang="0">
                    <a:pos x="188" y="45"/>
                  </a:cxn>
                  <a:cxn ang="0">
                    <a:pos x="184" y="56"/>
                  </a:cxn>
                  <a:cxn ang="0">
                    <a:pos x="174" y="50"/>
                  </a:cxn>
                  <a:cxn ang="0">
                    <a:pos x="145" y="19"/>
                  </a:cxn>
                  <a:cxn ang="0">
                    <a:pos x="146" y="17"/>
                  </a:cxn>
                  <a:cxn ang="0">
                    <a:pos x="179" y="31"/>
                  </a:cxn>
                  <a:cxn ang="0">
                    <a:pos x="188" y="45"/>
                  </a:cxn>
                  <a:cxn ang="0">
                    <a:pos x="216" y="29"/>
                  </a:cxn>
                  <a:cxn ang="0">
                    <a:pos x="212" y="40"/>
                  </a:cxn>
                  <a:cxn ang="0">
                    <a:pos x="202" y="35"/>
                  </a:cxn>
                  <a:cxn ang="0">
                    <a:pos x="173" y="3"/>
                  </a:cxn>
                  <a:cxn ang="0">
                    <a:pos x="174" y="1"/>
                  </a:cxn>
                  <a:cxn ang="0">
                    <a:pos x="208" y="15"/>
                  </a:cxn>
                  <a:cxn ang="0">
                    <a:pos x="216" y="29"/>
                  </a:cxn>
                </a:cxnLst>
                <a:rect l="0" t="0" r="r" b="b"/>
                <a:pathLst>
                  <a:path w="218" h="253">
                    <a:moveTo>
                      <a:pt x="155" y="156"/>
                    </a:moveTo>
                    <a:cubicBezTo>
                      <a:pt x="158" y="159"/>
                      <a:pt x="161" y="162"/>
                      <a:pt x="166" y="165"/>
                    </a:cubicBezTo>
                    <a:cubicBezTo>
                      <a:pt x="168" y="166"/>
                      <a:pt x="170" y="169"/>
                      <a:pt x="170" y="172"/>
                    </a:cubicBezTo>
                    <a:cubicBezTo>
                      <a:pt x="172" y="178"/>
                      <a:pt x="172" y="181"/>
                      <a:pt x="172" y="183"/>
                    </a:cubicBezTo>
                    <a:cubicBezTo>
                      <a:pt x="169" y="189"/>
                      <a:pt x="164" y="190"/>
                      <a:pt x="159" y="186"/>
                    </a:cubicBezTo>
                    <a:cubicBezTo>
                      <a:pt x="147" y="177"/>
                      <a:pt x="134" y="171"/>
                      <a:pt x="120" y="166"/>
                    </a:cubicBezTo>
                    <a:cubicBezTo>
                      <a:pt x="101" y="160"/>
                      <a:pt x="85" y="157"/>
                      <a:pt x="72" y="157"/>
                    </a:cubicBezTo>
                    <a:cubicBezTo>
                      <a:pt x="47" y="157"/>
                      <a:pt x="29" y="162"/>
                      <a:pt x="19" y="173"/>
                    </a:cubicBezTo>
                    <a:cubicBezTo>
                      <a:pt x="13" y="179"/>
                      <a:pt x="10" y="185"/>
                      <a:pt x="10" y="192"/>
                    </a:cubicBezTo>
                    <a:cubicBezTo>
                      <a:pt x="10" y="204"/>
                      <a:pt x="14" y="213"/>
                      <a:pt x="22" y="220"/>
                    </a:cubicBezTo>
                    <a:cubicBezTo>
                      <a:pt x="36" y="231"/>
                      <a:pt x="56" y="237"/>
                      <a:pt x="83" y="238"/>
                    </a:cubicBezTo>
                    <a:cubicBezTo>
                      <a:pt x="105" y="239"/>
                      <a:pt x="119" y="238"/>
                      <a:pt x="125" y="236"/>
                    </a:cubicBezTo>
                    <a:cubicBezTo>
                      <a:pt x="131" y="233"/>
                      <a:pt x="136" y="233"/>
                      <a:pt x="140" y="236"/>
                    </a:cubicBezTo>
                    <a:cubicBezTo>
                      <a:pt x="144" y="238"/>
                      <a:pt x="146" y="241"/>
                      <a:pt x="148" y="244"/>
                    </a:cubicBezTo>
                    <a:cubicBezTo>
                      <a:pt x="149" y="247"/>
                      <a:pt x="148" y="250"/>
                      <a:pt x="143" y="250"/>
                    </a:cubicBezTo>
                    <a:cubicBezTo>
                      <a:pt x="134" y="252"/>
                      <a:pt x="122" y="253"/>
                      <a:pt x="105" y="253"/>
                    </a:cubicBezTo>
                    <a:cubicBezTo>
                      <a:pt x="85" y="253"/>
                      <a:pt x="67" y="251"/>
                      <a:pt x="52" y="247"/>
                    </a:cubicBezTo>
                    <a:cubicBezTo>
                      <a:pt x="34" y="242"/>
                      <a:pt x="21" y="235"/>
                      <a:pt x="12" y="226"/>
                    </a:cubicBezTo>
                    <a:cubicBezTo>
                      <a:pt x="4" y="217"/>
                      <a:pt x="0" y="207"/>
                      <a:pt x="0" y="196"/>
                    </a:cubicBezTo>
                    <a:cubicBezTo>
                      <a:pt x="0" y="184"/>
                      <a:pt x="3" y="175"/>
                      <a:pt x="11" y="168"/>
                    </a:cubicBezTo>
                    <a:cubicBezTo>
                      <a:pt x="24" y="156"/>
                      <a:pt x="43" y="150"/>
                      <a:pt x="68" y="150"/>
                    </a:cubicBezTo>
                    <a:cubicBezTo>
                      <a:pt x="79" y="150"/>
                      <a:pt x="89" y="151"/>
                      <a:pt x="100" y="153"/>
                    </a:cubicBezTo>
                    <a:cubicBezTo>
                      <a:pt x="115" y="155"/>
                      <a:pt x="127" y="157"/>
                      <a:pt x="134" y="159"/>
                    </a:cubicBezTo>
                    <a:cubicBezTo>
                      <a:pt x="139" y="161"/>
                      <a:pt x="140" y="159"/>
                      <a:pt x="137" y="155"/>
                    </a:cubicBezTo>
                    <a:cubicBezTo>
                      <a:pt x="121" y="132"/>
                      <a:pt x="107" y="110"/>
                      <a:pt x="94" y="87"/>
                    </a:cubicBezTo>
                    <a:cubicBezTo>
                      <a:pt x="72" y="92"/>
                      <a:pt x="54" y="95"/>
                      <a:pt x="39" y="96"/>
                    </a:cubicBezTo>
                    <a:cubicBezTo>
                      <a:pt x="33" y="98"/>
                      <a:pt x="29" y="99"/>
                      <a:pt x="27" y="99"/>
                    </a:cubicBezTo>
                    <a:cubicBezTo>
                      <a:pt x="24" y="99"/>
                      <a:pt x="21" y="97"/>
                      <a:pt x="18" y="94"/>
                    </a:cubicBezTo>
                    <a:cubicBezTo>
                      <a:pt x="9" y="86"/>
                      <a:pt x="3" y="80"/>
                      <a:pt x="2" y="77"/>
                    </a:cubicBezTo>
                    <a:cubicBezTo>
                      <a:pt x="0" y="74"/>
                      <a:pt x="2" y="73"/>
                      <a:pt x="5" y="75"/>
                    </a:cubicBezTo>
                    <a:cubicBezTo>
                      <a:pt x="12" y="82"/>
                      <a:pt x="22" y="85"/>
                      <a:pt x="36" y="85"/>
                    </a:cubicBezTo>
                    <a:cubicBezTo>
                      <a:pt x="49" y="85"/>
                      <a:pt x="67" y="83"/>
                      <a:pt x="88" y="77"/>
                    </a:cubicBezTo>
                    <a:cubicBezTo>
                      <a:pt x="85" y="70"/>
                      <a:pt x="79" y="60"/>
                      <a:pt x="73" y="49"/>
                    </a:cubicBezTo>
                    <a:cubicBezTo>
                      <a:pt x="70" y="45"/>
                      <a:pt x="67" y="42"/>
                      <a:pt x="63" y="38"/>
                    </a:cubicBezTo>
                    <a:cubicBezTo>
                      <a:pt x="58" y="34"/>
                      <a:pt x="58" y="30"/>
                      <a:pt x="63" y="26"/>
                    </a:cubicBezTo>
                    <a:cubicBezTo>
                      <a:pt x="70" y="17"/>
                      <a:pt x="78" y="12"/>
                      <a:pt x="86" y="10"/>
                    </a:cubicBezTo>
                    <a:cubicBezTo>
                      <a:pt x="91" y="10"/>
                      <a:pt x="93" y="11"/>
                      <a:pt x="90" y="13"/>
                    </a:cubicBezTo>
                    <a:cubicBezTo>
                      <a:pt x="85" y="15"/>
                      <a:pt x="82" y="21"/>
                      <a:pt x="81" y="29"/>
                    </a:cubicBezTo>
                    <a:cubicBezTo>
                      <a:pt x="80" y="33"/>
                      <a:pt x="81" y="38"/>
                      <a:pt x="85" y="45"/>
                    </a:cubicBezTo>
                    <a:cubicBezTo>
                      <a:pt x="92" y="58"/>
                      <a:pt x="97" y="68"/>
                      <a:pt x="101" y="74"/>
                    </a:cubicBezTo>
                    <a:cubicBezTo>
                      <a:pt x="122" y="69"/>
                      <a:pt x="136" y="65"/>
                      <a:pt x="141" y="59"/>
                    </a:cubicBezTo>
                    <a:cubicBezTo>
                      <a:pt x="144" y="56"/>
                      <a:pt x="149" y="56"/>
                      <a:pt x="156" y="57"/>
                    </a:cubicBezTo>
                    <a:cubicBezTo>
                      <a:pt x="159" y="58"/>
                      <a:pt x="161" y="59"/>
                      <a:pt x="163" y="60"/>
                    </a:cubicBezTo>
                    <a:cubicBezTo>
                      <a:pt x="166" y="63"/>
                      <a:pt x="165" y="66"/>
                      <a:pt x="160" y="68"/>
                    </a:cubicBezTo>
                    <a:cubicBezTo>
                      <a:pt x="154" y="71"/>
                      <a:pt x="136" y="77"/>
                      <a:pt x="106" y="84"/>
                    </a:cubicBezTo>
                    <a:cubicBezTo>
                      <a:pt x="113" y="97"/>
                      <a:pt x="123" y="114"/>
                      <a:pt x="136" y="132"/>
                    </a:cubicBezTo>
                    <a:cubicBezTo>
                      <a:pt x="142" y="142"/>
                      <a:pt x="149" y="150"/>
                      <a:pt x="155" y="156"/>
                    </a:cubicBezTo>
                    <a:close/>
                    <a:moveTo>
                      <a:pt x="188" y="45"/>
                    </a:moveTo>
                    <a:cubicBezTo>
                      <a:pt x="190" y="51"/>
                      <a:pt x="188" y="54"/>
                      <a:pt x="184" y="56"/>
                    </a:cubicBezTo>
                    <a:cubicBezTo>
                      <a:pt x="179" y="57"/>
                      <a:pt x="176" y="56"/>
                      <a:pt x="174" y="50"/>
                    </a:cubicBezTo>
                    <a:cubicBezTo>
                      <a:pt x="169" y="38"/>
                      <a:pt x="159" y="28"/>
                      <a:pt x="145" y="19"/>
                    </a:cubicBezTo>
                    <a:cubicBezTo>
                      <a:pt x="143" y="17"/>
                      <a:pt x="143" y="16"/>
                      <a:pt x="146" y="17"/>
                    </a:cubicBezTo>
                    <a:cubicBezTo>
                      <a:pt x="158" y="19"/>
                      <a:pt x="170" y="24"/>
                      <a:pt x="179" y="31"/>
                    </a:cubicBezTo>
                    <a:cubicBezTo>
                      <a:pt x="184" y="35"/>
                      <a:pt x="187" y="39"/>
                      <a:pt x="188" y="45"/>
                    </a:cubicBezTo>
                    <a:close/>
                    <a:moveTo>
                      <a:pt x="216" y="29"/>
                    </a:moveTo>
                    <a:cubicBezTo>
                      <a:pt x="218" y="35"/>
                      <a:pt x="216" y="39"/>
                      <a:pt x="212" y="40"/>
                    </a:cubicBezTo>
                    <a:cubicBezTo>
                      <a:pt x="208" y="42"/>
                      <a:pt x="204" y="40"/>
                      <a:pt x="202" y="35"/>
                    </a:cubicBezTo>
                    <a:cubicBezTo>
                      <a:pt x="197" y="23"/>
                      <a:pt x="187" y="12"/>
                      <a:pt x="173" y="3"/>
                    </a:cubicBezTo>
                    <a:cubicBezTo>
                      <a:pt x="171" y="1"/>
                      <a:pt x="172" y="0"/>
                      <a:pt x="174" y="1"/>
                    </a:cubicBezTo>
                    <a:cubicBezTo>
                      <a:pt x="187" y="3"/>
                      <a:pt x="198" y="8"/>
                      <a:pt x="208" y="15"/>
                    </a:cubicBezTo>
                    <a:cubicBezTo>
                      <a:pt x="212" y="19"/>
                      <a:pt x="215" y="24"/>
                      <a:pt x="216" y="2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16" name="Freeform 26"/>
              <p:cNvSpPr>
                <a:spLocks noEditPoints="1"/>
              </p:cNvSpPr>
              <p:nvPr/>
            </p:nvSpPr>
            <p:spPr bwMode="black">
              <a:xfrm>
                <a:off x="10880790" y="5636662"/>
                <a:ext cx="170368" cy="131495"/>
              </a:xfrm>
              <a:custGeom>
                <a:avLst/>
                <a:gdLst/>
                <a:ahLst/>
                <a:cxnLst>
                  <a:cxn ang="0">
                    <a:pos x="19" y="36"/>
                  </a:cxn>
                  <a:cxn ang="0">
                    <a:pos x="3" y="3"/>
                  </a:cxn>
                  <a:cxn ang="0">
                    <a:pos x="4" y="0"/>
                  </a:cxn>
                  <a:cxn ang="0">
                    <a:pos x="31" y="12"/>
                  </a:cxn>
                  <a:cxn ang="0">
                    <a:pos x="35" y="30"/>
                  </a:cxn>
                  <a:cxn ang="0">
                    <a:pos x="31" y="79"/>
                  </a:cxn>
                  <a:cxn ang="0">
                    <a:pos x="44" y="150"/>
                  </a:cxn>
                  <a:cxn ang="0">
                    <a:pos x="56" y="150"/>
                  </a:cxn>
                  <a:cxn ang="0">
                    <a:pos x="98" y="80"/>
                  </a:cxn>
                  <a:cxn ang="0">
                    <a:pos x="102" y="82"/>
                  </a:cxn>
                  <a:cxn ang="0">
                    <a:pos x="72" y="148"/>
                  </a:cxn>
                  <a:cxn ang="0">
                    <a:pos x="67" y="174"/>
                  </a:cxn>
                  <a:cxn ang="0">
                    <a:pos x="59" y="184"/>
                  </a:cxn>
                  <a:cxn ang="0">
                    <a:pos x="28" y="148"/>
                  </a:cxn>
                  <a:cxn ang="0">
                    <a:pos x="19" y="97"/>
                  </a:cxn>
                  <a:cxn ang="0">
                    <a:pos x="19" y="36"/>
                  </a:cxn>
                  <a:cxn ang="0">
                    <a:pos x="210" y="44"/>
                  </a:cxn>
                  <a:cxn ang="0">
                    <a:pos x="243" y="115"/>
                  </a:cxn>
                  <a:cxn ang="0">
                    <a:pos x="232" y="127"/>
                  </a:cxn>
                  <a:cxn ang="0">
                    <a:pos x="223" y="118"/>
                  </a:cxn>
                  <a:cxn ang="0">
                    <a:pos x="207" y="64"/>
                  </a:cxn>
                  <a:cxn ang="0">
                    <a:pos x="171" y="20"/>
                  </a:cxn>
                  <a:cxn ang="0">
                    <a:pos x="173" y="17"/>
                  </a:cxn>
                  <a:cxn ang="0">
                    <a:pos x="210" y="44"/>
                  </a:cxn>
                </a:cxnLst>
                <a:rect l="0" t="0" r="r" b="b"/>
                <a:pathLst>
                  <a:path w="243" h="187">
                    <a:moveTo>
                      <a:pt x="19" y="36"/>
                    </a:moveTo>
                    <a:cubicBezTo>
                      <a:pt x="19" y="19"/>
                      <a:pt x="14" y="8"/>
                      <a:pt x="3" y="3"/>
                    </a:cubicBezTo>
                    <a:cubicBezTo>
                      <a:pt x="0" y="2"/>
                      <a:pt x="1" y="1"/>
                      <a:pt x="4" y="0"/>
                    </a:cubicBezTo>
                    <a:cubicBezTo>
                      <a:pt x="13" y="1"/>
                      <a:pt x="22" y="5"/>
                      <a:pt x="31" y="12"/>
                    </a:cubicBezTo>
                    <a:cubicBezTo>
                      <a:pt x="39" y="18"/>
                      <a:pt x="40" y="24"/>
                      <a:pt x="35" y="30"/>
                    </a:cubicBezTo>
                    <a:cubicBezTo>
                      <a:pt x="32" y="50"/>
                      <a:pt x="31" y="66"/>
                      <a:pt x="31" y="79"/>
                    </a:cubicBezTo>
                    <a:cubicBezTo>
                      <a:pt x="31" y="113"/>
                      <a:pt x="35" y="137"/>
                      <a:pt x="44" y="150"/>
                    </a:cubicBezTo>
                    <a:cubicBezTo>
                      <a:pt x="48" y="157"/>
                      <a:pt x="52" y="157"/>
                      <a:pt x="56" y="150"/>
                    </a:cubicBezTo>
                    <a:cubicBezTo>
                      <a:pt x="69" y="129"/>
                      <a:pt x="83" y="105"/>
                      <a:pt x="98" y="80"/>
                    </a:cubicBezTo>
                    <a:cubicBezTo>
                      <a:pt x="101" y="76"/>
                      <a:pt x="102" y="77"/>
                      <a:pt x="102" y="82"/>
                    </a:cubicBezTo>
                    <a:cubicBezTo>
                      <a:pt x="91" y="106"/>
                      <a:pt x="81" y="128"/>
                      <a:pt x="72" y="148"/>
                    </a:cubicBezTo>
                    <a:cubicBezTo>
                      <a:pt x="67" y="159"/>
                      <a:pt x="65" y="167"/>
                      <a:pt x="67" y="174"/>
                    </a:cubicBezTo>
                    <a:cubicBezTo>
                      <a:pt x="70" y="184"/>
                      <a:pt x="68" y="187"/>
                      <a:pt x="59" y="184"/>
                    </a:cubicBezTo>
                    <a:cubicBezTo>
                      <a:pt x="47" y="180"/>
                      <a:pt x="36" y="168"/>
                      <a:pt x="28" y="148"/>
                    </a:cubicBezTo>
                    <a:cubicBezTo>
                      <a:pt x="22" y="134"/>
                      <a:pt x="19" y="117"/>
                      <a:pt x="19" y="97"/>
                    </a:cubicBezTo>
                    <a:cubicBezTo>
                      <a:pt x="19" y="76"/>
                      <a:pt x="19" y="56"/>
                      <a:pt x="19" y="36"/>
                    </a:cubicBezTo>
                    <a:close/>
                    <a:moveTo>
                      <a:pt x="210" y="44"/>
                    </a:moveTo>
                    <a:cubicBezTo>
                      <a:pt x="232" y="68"/>
                      <a:pt x="243" y="91"/>
                      <a:pt x="243" y="115"/>
                    </a:cubicBezTo>
                    <a:cubicBezTo>
                      <a:pt x="243" y="123"/>
                      <a:pt x="239" y="127"/>
                      <a:pt x="232" y="127"/>
                    </a:cubicBezTo>
                    <a:cubicBezTo>
                      <a:pt x="227" y="127"/>
                      <a:pt x="224" y="124"/>
                      <a:pt x="223" y="118"/>
                    </a:cubicBezTo>
                    <a:cubicBezTo>
                      <a:pt x="221" y="98"/>
                      <a:pt x="216" y="80"/>
                      <a:pt x="207" y="64"/>
                    </a:cubicBezTo>
                    <a:cubicBezTo>
                      <a:pt x="198" y="48"/>
                      <a:pt x="186" y="34"/>
                      <a:pt x="171" y="20"/>
                    </a:cubicBezTo>
                    <a:cubicBezTo>
                      <a:pt x="168" y="18"/>
                      <a:pt x="169" y="17"/>
                      <a:pt x="173" y="17"/>
                    </a:cubicBezTo>
                    <a:cubicBezTo>
                      <a:pt x="189" y="25"/>
                      <a:pt x="201" y="34"/>
                      <a:pt x="210" y="4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17" name="Freeform 27"/>
              <p:cNvSpPr>
                <a:spLocks noEditPoints="1"/>
              </p:cNvSpPr>
              <p:nvPr/>
            </p:nvSpPr>
            <p:spPr bwMode="black">
              <a:xfrm>
                <a:off x="11061974" y="5616380"/>
                <a:ext cx="148734" cy="162932"/>
              </a:xfrm>
              <a:custGeom>
                <a:avLst/>
                <a:gdLst/>
                <a:ahLst/>
                <a:cxnLst>
                  <a:cxn ang="0">
                    <a:pos x="124" y="55"/>
                  </a:cxn>
                  <a:cxn ang="0">
                    <a:pos x="168" y="48"/>
                  </a:cxn>
                  <a:cxn ang="0">
                    <a:pos x="184" y="41"/>
                  </a:cxn>
                  <a:cxn ang="0">
                    <a:pos x="194" y="40"/>
                  </a:cxn>
                  <a:cxn ang="0">
                    <a:pos x="203" y="47"/>
                  </a:cxn>
                  <a:cxn ang="0">
                    <a:pos x="200" y="55"/>
                  </a:cxn>
                  <a:cxn ang="0">
                    <a:pos x="124" y="66"/>
                  </a:cxn>
                  <a:cxn ang="0">
                    <a:pos x="124" y="115"/>
                  </a:cxn>
                  <a:cxn ang="0">
                    <a:pos x="159" y="111"/>
                  </a:cxn>
                  <a:cxn ang="0">
                    <a:pos x="179" y="105"/>
                  </a:cxn>
                  <a:cxn ang="0">
                    <a:pos x="190" y="105"/>
                  </a:cxn>
                  <a:cxn ang="0">
                    <a:pos x="199" y="111"/>
                  </a:cxn>
                  <a:cxn ang="0">
                    <a:pos x="196" y="118"/>
                  </a:cxn>
                  <a:cxn ang="0">
                    <a:pos x="178" y="121"/>
                  </a:cxn>
                  <a:cxn ang="0">
                    <a:pos x="124" y="126"/>
                  </a:cxn>
                  <a:cxn ang="0">
                    <a:pos x="124" y="178"/>
                  </a:cxn>
                  <a:cxn ang="0">
                    <a:pos x="202" y="203"/>
                  </a:cxn>
                  <a:cxn ang="0">
                    <a:pos x="212" y="219"/>
                  </a:cxn>
                  <a:cxn ang="0">
                    <a:pos x="208" y="224"/>
                  </a:cxn>
                  <a:cxn ang="0">
                    <a:pos x="197" y="221"/>
                  </a:cxn>
                  <a:cxn ang="0">
                    <a:pos x="124" y="190"/>
                  </a:cxn>
                  <a:cxn ang="0">
                    <a:pos x="117" y="219"/>
                  </a:cxn>
                  <a:cxn ang="0">
                    <a:pos x="74" y="232"/>
                  </a:cxn>
                  <a:cxn ang="0">
                    <a:pos x="33" y="219"/>
                  </a:cxn>
                  <a:cxn ang="0">
                    <a:pos x="27" y="203"/>
                  </a:cxn>
                  <a:cxn ang="0">
                    <a:pos x="36" y="186"/>
                  </a:cxn>
                  <a:cxn ang="0">
                    <a:pos x="85" y="175"/>
                  </a:cxn>
                  <a:cxn ang="0">
                    <a:pos x="112" y="176"/>
                  </a:cxn>
                  <a:cxn ang="0">
                    <a:pos x="112" y="127"/>
                  </a:cxn>
                  <a:cxn ang="0">
                    <a:pos x="77" y="128"/>
                  </a:cxn>
                  <a:cxn ang="0">
                    <a:pos x="49" y="122"/>
                  </a:cxn>
                  <a:cxn ang="0">
                    <a:pos x="38" y="91"/>
                  </a:cxn>
                  <a:cxn ang="0">
                    <a:pos x="43" y="91"/>
                  </a:cxn>
                  <a:cxn ang="0">
                    <a:pos x="49" y="112"/>
                  </a:cxn>
                  <a:cxn ang="0">
                    <a:pos x="77" y="119"/>
                  </a:cxn>
                  <a:cxn ang="0">
                    <a:pos x="112" y="117"/>
                  </a:cxn>
                  <a:cxn ang="0">
                    <a:pos x="112" y="67"/>
                  </a:cxn>
                  <a:cxn ang="0">
                    <a:pos x="63" y="69"/>
                  </a:cxn>
                  <a:cxn ang="0">
                    <a:pos x="30" y="66"/>
                  </a:cxn>
                  <a:cxn ang="0">
                    <a:pos x="2" y="48"/>
                  </a:cxn>
                  <a:cxn ang="0">
                    <a:pos x="5" y="45"/>
                  </a:cxn>
                  <a:cxn ang="0">
                    <a:pos x="29" y="58"/>
                  </a:cxn>
                  <a:cxn ang="0">
                    <a:pos x="66" y="60"/>
                  </a:cxn>
                  <a:cxn ang="0">
                    <a:pos x="112" y="57"/>
                  </a:cxn>
                  <a:cxn ang="0">
                    <a:pos x="112" y="38"/>
                  </a:cxn>
                  <a:cxn ang="0">
                    <a:pos x="109" y="14"/>
                  </a:cxn>
                  <a:cxn ang="0">
                    <a:pos x="90" y="6"/>
                  </a:cxn>
                  <a:cxn ang="0">
                    <a:pos x="88" y="2"/>
                  </a:cxn>
                  <a:cxn ang="0">
                    <a:pos x="103" y="0"/>
                  </a:cxn>
                  <a:cxn ang="0">
                    <a:pos x="130" y="9"/>
                  </a:cxn>
                  <a:cxn ang="0">
                    <a:pos x="130" y="20"/>
                  </a:cxn>
                  <a:cxn ang="0">
                    <a:pos x="124" y="37"/>
                  </a:cxn>
                  <a:cxn ang="0">
                    <a:pos x="124" y="55"/>
                  </a:cxn>
                  <a:cxn ang="0">
                    <a:pos x="78" y="183"/>
                  </a:cxn>
                  <a:cxn ang="0">
                    <a:pos x="46" y="188"/>
                  </a:cxn>
                  <a:cxn ang="0">
                    <a:pos x="34" y="204"/>
                  </a:cxn>
                  <a:cxn ang="0">
                    <a:pos x="46" y="219"/>
                  </a:cxn>
                  <a:cxn ang="0">
                    <a:pos x="72" y="224"/>
                  </a:cxn>
                  <a:cxn ang="0">
                    <a:pos x="103" y="214"/>
                  </a:cxn>
                  <a:cxn ang="0">
                    <a:pos x="111" y="186"/>
                  </a:cxn>
                  <a:cxn ang="0">
                    <a:pos x="78" y="183"/>
                  </a:cxn>
                </a:cxnLst>
                <a:rect l="0" t="0" r="r" b="b"/>
                <a:pathLst>
                  <a:path w="212" h="232">
                    <a:moveTo>
                      <a:pt x="124" y="55"/>
                    </a:moveTo>
                    <a:cubicBezTo>
                      <a:pt x="142" y="53"/>
                      <a:pt x="156" y="51"/>
                      <a:pt x="168" y="48"/>
                    </a:cubicBezTo>
                    <a:cubicBezTo>
                      <a:pt x="175" y="47"/>
                      <a:pt x="180" y="44"/>
                      <a:pt x="184" y="41"/>
                    </a:cubicBezTo>
                    <a:cubicBezTo>
                      <a:pt x="188" y="38"/>
                      <a:pt x="191" y="38"/>
                      <a:pt x="194" y="40"/>
                    </a:cubicBezTo>
                    <a:cubicBezTo>
                      <a:pt x="199" y="43"/>
                      <a:pt x="201" y="45"/>
                      <a:pt x="203" y="47"/>
                    </a:cubicBezTo>
                    <a:cubicBezTo>
                      <a:pt x="207" y="51"/>
                      <a:pt x="206" y="53"/>
                      <a:pt x="200" y="55"/>
                    </a:cubicBezTo>
                    <a:cubicBezTo>
                      <a:pt x="178" y="60"/>
                      <a:pt x="153" y="64"/>
                      <a:pt x="124" y="66"/>
                    </a:cubicBezTo>
                    <a:cubicBezTo>
                      <a:pt x="124" y="82"/>
                      <a:pt x="124" y="99"/>
                      <a:pt x="124" y="115"/>
                    </a:cubicBezTo>
                    <a:cubicBezTo>
                      <a:pt x="139" y="114"/>
                      <a:pt x="151" y="112"/>
                      <a:pt x="159" y="111"/>
                    </a:cubicBezTo>
                    <a:cubicBezTo>
                      <a:pt x="170" y="109"/>
                      <a:pt x="176" y="108"/>
                      <a:pt x="179" y="105"/>
                    </a:cubicBezTo>
                    <a:cubicBezTo>
                      <a:pt x="183" y="103"/>
                      <a:pt x="187" y="103"/>
                      <a:pt x="190" y="105"/>
                    </a:cubicBezTo>
                    <a:cubicBezTo>
                      <a:pt x="193" y="108"/>
                      <a:pt x="196" y="109"/>
                      <a:pt x="199" y="111"/>
                    </a:cubicBezTo>
                    <a:cubicBezTo>
                      <a:pt x="201" y="113"/>
                      <a:pt x="201" y="115"/>
                      <a:pt x="196" y="118"/>
                    </a:cubicBezTo>
                    <a:cubicBezTo>
                      <a:pt x="194" y="119"/>
                      <a:pt x="188" y="120"/>
                      <a:pt x="178" y="121"/>
                    </a:cubicBezTo>
                    <a:cubicBezTo>
                      <a:pt x="159" y="123"/>
                      <a:pt x="141" y="125"/>
                      <a:pt x="124" y="126"/>
                    </a:cubicBezTo>
                    <a:cubicBezTo>
                      <a:pt x="124" y="144"/>
                      <a:pt x="124" y="161"/>
                      <a:pt x="124" y="178"/>
                    </a:cubicBezTo>
                    <a:cubicBezTo>
                      <a:pt x="154" y="184"/>
                      <a:pt x="179" y="193"/>
                      <a:pt x="202" y="203"/>
                    </a:cubicBezTo>
                    <a:cubicBezTo>
                      <a:pt x="209" y="206"/>
                      <a:pt x="212" y="211"/>
                      <a:pt x="212" y="219"/>
                    </a:cubicBezTo>
                    <a:cubicBezTo>
                      <a:pt x="212" y="222"/>
                      <a:pt x="210" y="224"/>
                      <a:pt x="208" y="224"/>
                    </a:cubicBezTo>
                    <a:cubicBezTo>
                      <a:pt x="205" y="225"/>
                      <a:pt x="202" y="224"/>
                      <a:pt x="197" y="221"/>
                    </a:cubicBezTo>
                    <a:cubicBezTo>
                      <a:pt x="173" y="206"/>
                      <a:pt x="148" y="196"/>
                      <a:pt x="124" y="190"/>
                    </a:cubicBezTo>
                    <a:cubicBezTo>
                      <a:pt x="125" y="202"/>
                      <a:pt x="122" y="212"/>
                      <a:pt x="117" y="219"/>
                    </a:cubicBezTo>
                    <a:cubicBezTo>
                      <a:pt x="108" y="228"/>
                      <a:pt x="94" y="232"/>
                      <a:pt x="74" y="232"/>
                    </a:cubicBezTo>
                    <a:cubicBezTo>
                      <a:pt x="56" y="232"/>
                      <a:pt x="42" y="228"/>
                      <a:pt x="33" y="219"/>
                    </a:cubicBezTo>
                    <a:cubicBezTo>
                      <a:pt x="29" y="214"/>
                      <a:pt x="27" y="209"/>
                      <a:pt x="27" y="203"/>
                    </a:cubicBezTo>
                    <a:cubicBezTo>
                      <a:pt x="27" y="196"/>
                      <a:pt x="30" y="191"/>
                      <a:pt x="36" y="186"/>
                    </a:cubicBezTo>
                    <a:cubicBezTo>
                      <a:pt x="45" y="179"/>
                      <a:pt x="62" y="175"/>
                      <a:pt x="85" y="175"/>
                    </a:cubicBezTo>
                    <a:cubicBezTo>
                      <a:pt x="90" y="175"/>
                      <a:pt x="99" y="175"/>
                      <a:pt x="112" y="176"/>
                    </a:cubicBezTo>
                    <a:cubicBezTo>
                      <a:pt x="112" y="160"/>
                      <a:pt x="112" y="143"/>
                      <a:pt x="112" y="127"/>
                    </a:cubicBezTo>
                    <a:cubicBezTo>
                      <a:pt x="101" y="127"/>
                      <a:pt x="89" y="128"/>
                      <a:pt x="77" y="128"/>
                    </a:cubicBezTo>
                    <a:cubicBezTo>
                      <a:pt x="64" y="128"/>
                      <a:pt x="55" y="126"/>
                      <a:pt x="49" y="122"/>
                    </a:cubicBezTo>
                    <a:cubicBezTo>
                      <a:pt x="41" y="117"/>
                      <a:pt x="37" y="106"/>
                      <a:pt x="38" y="91"/>
                    </a:cubicBezTo>
                    <a:cubicBezTo>
                      <a:pt x="39" y="88"/>
                      <a:pt x="41" y="88"/>
                      <a:pt x="43" y="91"/>
                    </a:cubicBezTo>
                    <a:cubicBezTo>
                      <a:pt x="43" y="101"/>
                      <a:pt x="45" y="108"/>
                      <a:pt x="49" y="112"/>
                    </a:cubicBezTo>
                    <a:cubicBezTo>
                      <a:pt x="54" y="117"/>
                      <a:pt x="63" y="119"/>
                      <a:pt x="77" y="119"/>
                    </a:cubicBezTo>
                    <a:cubicBezTo>
                      <a:pt x="90" y="119"/>
                      <a:pt x="102" y="118"/>
                      <a:pt x="112" y="117"/>
                    </a:cubicBezTo>
                    <a:cubicBezTo>
                      <a:pt x="112" y="100"/>
                      <a:pt x="112" y="84"/>
                      <a:pt x="112" y="67"/>
                    </a:cubicBezTo>
                    <a:cubicBezTo>
                      <a:pt x="98" y="69"/>
                      <a:pt x="81" y="69"/>
                      <a:pt x="63" y="69"/>
                    </a:cubicBezTo>
                    <a:cubicBezTo>
                      <a:pt x="49" y="69"/>
                      <a:pt x="38" y="68"/>
                      <a:pt x="30" y="66"/>
                    </a:cubicBezTo>
                    <a:cubicBezTo>
                      <a:pt x="19" y="63"/>
                      <a:pt x="9" y="57"/>
                      <a:pt x="2" y="48"/>
                    </a:cubicBezTo>
                    <a:cubicBezTo>
                      <a:pt x="0" y="44"/>
                      <a:pt x="1" y="42"/>
                      <a:pt x="5" y="45"/>
                    </a:cubicBezTo>
                    <a:cubicBezTo>
                      <a:pt x="13" y="51"/>
                      <a:pt x="21" y="56"/>
                      <a:pt x="29" y="58"/>
                    </a:cubicBezTo>
                    <a:cubicBezTo>
                      <a:pt x="34" y="60"/>
                      <a:pt x="46" y="60"/>
                      <a:pt x="66" y="60"/>
                    </a:cubicBezTo>
                    <a:cubicBezTo>
                      <a:pt x="81" y="60"/>
                      <a:pt x="96" y="59"/>
                      <a:pt x="112" y="57"/>
                    </a:cubicBezTo>
                    <a:cubicBezTo>
                      <a:pt x="112" y="51"/>
                      <a:pt x="112" y="45"/>
                      <a:pt x="112" y="38"/>
                    </a:cubicBezTo>
                    <a:cubicBezTo>
                      <a:pt x="112" y="25"/>
                      <a:pt x="111" y="17"/>
                      <a:pt x="109" y="14"/>
                    </a:cubicBezTo>
                    <a:cubicBezTo>
                      <a:pt x="105" y="9"/>
                      <a:pt x="99" y="6"/>
                      <a:pt x="90" y="6"/>
                    </a:cubicBezTo>
                    <a:cubicBezTo>
                      <a:pt x="84" y="7"/>
                      <a:pt x="84" y="6"/>
                      <a:pt x="88" y="2"/>
                    </a:cubicBezTo>
                    <a:cubicBezTo>
                      <a:pt x="92" y="0"/>
                      <a:pt x="97" y="0"/>
                      <a:pt x="103" y="0"/>
                    </a:cubicBezTo>
                    <a:cubicBezTo>
                      <a:pt x="111" y="0"/>
                      <a:pt x="119" y="3"/>
                      <a:pt x="130" y="9"/>
                    </a:cubicBezTo>
                    <a:cubicBezTo>
                      <a:pt x="135" y="12"/>
                      <a:pt x="135" y="15"/>
                      <a:pt x="130" y="20"/>
                    </a:cubicBezTo>
                    <a:cubicBezTo>
                      <a:pt x="126" y="23"/>
                      <a:pt x="124" y="29"/>
                      <a:pt x="124" y="37"/>
                    </a:cubicBezTo>
                    <a:cubicBezTo>
                      <a:pt x="124" y="43"/>
                      <a:pt x="124" y="49"/>
                      <a:pt x="124" y="55"/>
                    </a:cubicBezTo>
                    <a:close/>
                    <a:moveTo>
                      <a:pt x="78" y="183"/>
                    </a:moveTo>
                    <a:cubicBezTo>
                      <a:pt x="64" y="183"/>
                      <a:pt x="53" y="185"/>
                      <a:pt x="46" y="188"/>
                    </a:cubicBezTo>
                    <a:cubicBezTo>
                      <a:pt x="38" y="192"/>
                      <a:pt x="34" y="197"/>
                      <a:pt x="34" y="204"/>
                    </a:cubicBezTo>
                    <a:cubicBezTo>
                      <a:pt x="34" y="210"/>
                      <a:pt x="38" y="215"/>
                      <a:pt x="46" y="219"/>
                    </a:cubicBezTo>
                    <a:cubicBezTo>
                      <a:pt x="53" y="223"/>
                      <a:pt x="62" y="224"/>
                      <a:pt x="72" y="224"/>
                    </a:cubicBezTo>
                    <a:cubicBezTo>
                      <a:pt x="85" y="224"/>
                      <a:pt x="96" y="221"/>
                      <a:pt x="103" y="214"/>
                    </a:cubicBezTo>
                    <a:cubicBezTo>
                      <a:pt x="109" y="209"/>
                      <a:pt x="112" y="200"/>
                      <a:pt x="111" y="186"/>
                    </a:cubicBezTo>
                    <a:cubicBezTo>
                      <a:pt x="94" y="184"/>
                      <a:pt x="84" y="183"/>
                      <a:pt x="78" y="18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18" name="Freeform 28"/>
              <p:cNvSpPr>
                <a:spLocks noEditPoints="1"/>
              </p:cNvSpPr>
              <p:nvPr/>
            </p:nvSpPr>
            <p:spPr bwMode="black">
              <a:xfrm>
                <a:off x="11225582" y="5611986"/>
                <a:ext cx="185241" cy="178481"/>
              </a:xfrm>
              <a:custGeom>
                <a:avLst/>
                <a:gdLst/>
                <a:ahLst/>
                <a:cxnLst>
                  <a:cxn ang="0">
                    <a:pos x="148" y="63"/>
                  </a:cxn>
                  <a:cxn ang="0">
                    <a:pos x="215" y="57"/>
                  </a:cxn>
                  <a:cxn ang="0">
                    <a:pos x="238" y="53"/>
                  </a:cxn>
                  <a:cxn ang="0">
                    <a:pos x="249" y="56"/>
                  </a:cxn>
                  <a:cxn ang="0">
                    <a:pos x="263" y="70"/>
                  </a:cxn>
                  <a:cxn ang="0">
                    <a:pos x="256" y="74"/>
                  </a:cxn>
                  <a:cxn ang="0">
                    <a:pos x="199" y="69"/>
                  </a:cxn>
                  <a:cxn ang="0">
                    <a:pos x="148" y="71"/>
                  </a:cxn>
                  <a:cxn ang="0">
                    <a:pos x="148" y="119"/>
                  </a:cxn>
                  <a:cxn ang="0">
                    <a:pos x="151" y="151"/>
                  </a:cxn>
                  <a:cxn ang="0">
                    <a:pos x="90" y="253"/>
                  </a:cxn>
                  <a:cxn ang="0">
                    <a:pos x="87" y="250"/>
                  </a:cxn>
                  <a:cxn ang="0">
                    <a:pos x="111" y="228"/>
                  </a:cxn>
                  <a:cxn ang="0">
                    <a:pos x="137" y="161"/>
                  </a:cxn>
                  <a:cxn ang="0">
                    <a:pos x="113" y="174"/>
                  </a:cxn>
                  <a:cxn ang="0">
                    <a:pos x="91" y="164"/>
                  </a:cxn>
                  <a:cxn ang="0">
                    <a:pos x="83" y="141"/>
                  </a:cxn>
                  <a:cxn ang="0">
                    <a:pos x="94" y="114"/>
                  </a:cxn>
                  <a:cxn ang="0">
                    <a:pos x="117" y="105"/>
                  </a:cxn>
                  <a:cxn ang="0">
                    <a:pos x="135" y="109"/>
                  </a:cxn>
                  <a:cxn ang="0">
                    <a:pos x="135" y="72"/>
                  </a:cxn>
                  <a:cxn ang="0">
                    <a:pos x="46" y="90"/>
                  </a:cxn>
                  <a:cxn ang="0">
                    <a:pos x="30" y="96"/>
                  </a:cxn>
                  <a:cxn ang="0">
                    <a:pos x="18" y="94"/>
                  </a:cxn>
                  <a:cxn ang="0">
                    <a:pos x="0" y="69"/>
                  </a:cxn>
                  <a:cxn ang="0">
                    <a:pos x="4" y="68"/>
                  </a:cxn>
                  <a:cxn ang="0">
                    <a:pos x="26" y="78"/>
                  </a:cxn>
                  <a:cxn ang="0">
                    <a:pos x="74" y="72"/>
                  </a:cxn>
                  <a:cxn ang="0">
                    <a:pos x="135" y="64"/>
                  </a:cxn>
                  <a:cxn ang="0">
                    <a:pos x="135" y="34"/>
                  </a:cxn>
                  <a:cxn ang="0">
                    <a:pos x="112" y="6"/>
                  </a:cxn>
                  <a:cxn ang="0">
                    <a:pos x="112" y="1"/>
                  </a:cxn>
                  <a:cxn ang="0">
                    <a:pos x="142" y="7"/>
                  </a:cxn>
                  <a:cxn ang="0">
                    <a:pos x="153" y="17"/>
                  </a:cxn>
                  <a:cxn ang="0">
                    <a:pos x="151" y="25"/>
                  </a:cxn>
                  <a:cxn ang="0">
                    <a:pos x="148" y="63"/>
                  </a:cxn>
                  <a:cxn ang="0">
                    <a:pos x="99" y="119"/>
                  </a:cxn>
                  <a:cxn ang="0">
                    <a:pos x="93" y="138"/>
                  </a:cxn>
                  <a:cxn ang="0">
                    <a:pos x="102" y="164"/>
                  </a:cxn>
                  <a:cxn ang="0">
                    <a:pos x="113" y="168"/>
                  </a:cxn>
                  <a:cxn ang="0">
                    <a:pos x="126" y="163"/>
                  </a:cxn>
                  <a:cxn ang="0">
                    <a:pos x="136" y="135"/>
                  </a:cxn>
                  <a:cxn ang="0">
                    <a:pos x="117" y="110"/>
                  </a:cxn>
                  <a:cxn ang="0">
                    <a:pos x="99" y="119"/>
                  </a:cxn>
                </a:cxnLst>
                <a:rect l="0" t="0" r="r" b="b"/>
                <a:pathLst>
                  <a:path w="264" h="254">
                    <a:moveTo>
                      <a:pt x="148" y="63"/>
                    </a:moveTo>
                    <a:cubicBezTo>
                      <a:pt x="182" y="61"/>
                      <a:pt x="204" y="59"/>
                      <a:pt x="215" y="57"/>
                    </a:cubicBezTo>
                    <a:cubicBezTo>
                      <a:pt x="220" y="57"/>
                      <a:pt x="227" y="55"/>
                      <a:pt x="238" y="53"/>
                    </a:cubicBezTo>
                    <a:cubicBezTo>
                      <a:pt x="242" y="52"/>
                      <a:pt x="245" y="53"/>
                      <a:pt x="249" y="56"/>
                    </a:cubicBezTo>
                    <a:cubicBezTo>
                      <a:pt x="257" y="63"/>
                      <a:pt x="262" y="68"/>
                      <a:pt x="263" y="70"/>
                    </a:cubicBezTo>
                    <a:cubicBezTo>
                      <a:pt x="264" y="74"/>
                      <a:pt x="262" y="76"/>
                      <a:pt x="256" y="74"/>
                    </a:cubicBezTo>
                    <a:cubicBezTo>
                      <a:pt x="241" y="71"/>
                      <a:pt x="222" y="69"/>
                      <a:pt x="199" y="69"/>
                    </a:cubicBezTo>
                    <a:cubicBezTo>
                      <a:pt x="184" y="69"/>
                      <a:pt x="167" y="69"/>
                      <a:pt x="148" y="71"/>
                    </a:cubicBezTo>
                    <a:cubicBezTo>
                      <a:pt x="148" y="87"/>
                      <a:pt x="148" y="103"/>
                      <a:pt x="148" y="119"/>
                    </a:cubicBezTo>
                    <a:cubicBezTo>
                      <a:pt x="150" y="127"/>
                      <a:pt x="151" y="137"/>
                      <a:pt x="151" y="151"/>
                    </a:cubicBezTo>
                    <a:cubicBezTo>
                      <a:pt x="151" y="198"/>
                      <a:pt x="131" y="232"/>
                      <a:pt x="90" y="253"/>
                    </a:cubicBezTo>
                    <a:cubicBezTo>
                      <a:pt x="86" y="254"/>
                      <a:pt x="85" y="253"/>
                      <a:pt x="87" y="250"/>
                    </a:cubicBezTo>
                    <a:cubicBezTo>
                      <a:pt x="96" y="243"/>
                      <a:pt x="104" y="236"/>
                      <a:pt x="111" y="228"/>
                    </a:cubicBezTo>
                    <a:cubicBezTo>
                      <a:pt x="127" y="209"/>
                      <a:pt x="136" y="187"/>
                      <a:pt x="137" y="161"/>
                    </a:cubicBezTo>
                    <a:cubicBezTo>
                      <a:pt x="131" y="170"/>
                      <a:pt x="123" y="174"/>
                      <a:pt x="113" y="174"/>
                    </a:cubicBezTo>
                    <a:cubicBezTo>
                      <a:pt x="105" y="174"/>
                      <a:pt x="97" y="171"/>
                      <a:pt x="91" y="164"/>
                    </a:cubicBezTo>
                    <a:cubicBezTo>
                      <a:pt x="85" y="159"/>
                      <a:pt x="83" y="151"/>
                      <a:pt x="83" y="141"/>
                    </a:cubicBezTo>
                    <a:cubicBezTo>
                      <a:pt x="83" y="130"/>
                      <a:pt x="87" y="121"/>
                      <a:pt x="94" y="114"/>
                    </a:cubicBezTo>
                    <a:cubicBezTo>
                      <a:pt x="100" y="108"/>
                      <a:pt x="108" y="105"/>
                      <a:pt x="117" y="105"/>
                    </a:cubicBezTo>
                    <a:cubicBezTo>
                      <a:pt x="123" y="105"/>
                      <a:pt x="129" y="106"/>
                      <a:pt x="135" y="109"/>
                    </a:cubicBezTo>
                    <a:cubicBezTo>
                      <a:pt x="135" y="97"/>
                      <a:pt x="135" y="85"/>
                      <a:pt x="135" y="72"/>
                    </a:cubicBezTo>
                    <a:cubicBezTo>
                      <a:pt x="95" y="78"/>
                      <a:pt x="65" y="84"/>
                      <a:pt x="46" y="90"/>
                    </a:cubicBezTo>
                    <a:cubicBezTo>
                      <a:pt x="38" y="92"/>
                      <a:pt x="33" y="94"/>
                      <a:pt x="30" y="96"/>
                    </a:cubicBezTo>
                    <a:cubicBezTo>
                      <a:pt x="26" y="98"/>
                      <a:pt x="21" y="97"/>
                      <a:pt x="18" y="94"/>
                    </a:cubicBezTo>
                    <a:cubicBezTo>
                      <a:pt x="9" y="88"/>
                      <a:pt x="3" y="80"/>
                      <a:pt x="0" y="69"/>
                    </a:cubicBezTo>
                    <a:cubicBezTo>
                      <a:pt x="0" y="65"/>
                      <a:pt x="1" y="65"/>
                      <a:pt x="4" y="68"/>
                    </a:cubicBezTo>
                    <a:cubicBezTo>
                      <a:pt x="8" y="74"/>
                      <a:pt x="15" y="78"/>
                      <a:pt x="26" y="78"/>
                    </a:cubicBezTo>
                    <a:cubicBezTo>
                      <a:pt x="36" y="78"/>
                      <a:pt x="52" y="76"/>
                      <a:pt x="74" y="72"/>
                    </a:cubicBezTo>
                    <a:cubicBezTo>
                      <a:pt x="91" y="69"/>
                      <a:pt x="111" y="66"/>
                      <a:pt x="135" y="64"/>
                    </a:cubicBezTo>
                    <a:cubicBezTo>
                      <a:pt x="135" y="54"/>
                      <a:pt x="135" y="44"/>
                      <a:pt x="135" y="34"/>
                    </a:cubicBezTo>
                    <a:cubicBezTo>
                      <a:pt x="135" y="17"/>
                      <a:pt x="127" y="7"/>
                      <a:pt x="112" y="6"/>
                    </a:cubicBezTo>
                    <a:cubicBezTo>
                      <a:pt x="109" y="4"/>
                      <a:pt x="109" y="3"/>
                      <a:pt x="112" y="1"/>
                    </a:cubicBezTo>
                    <a:cubicBezTo>
                      <a:pt x="125" y="0"/>
                      <a:pt x="135" y="2"/>
                      <a:pt x="142" y="7"/>
                    </a:cubicBezTo>
                    <a:cubicBezTo>
                      <a:pt x="146" y="9"/>
                      <a:pt x="150" y="12"/>
                      <a:pt x="153" y="17"/>
                    </a:cubicBezTo>
                    <a:cubicBezTo>
                      <a:pt x="156" y="21"/>
                      <a:pt x="155" y="23"/>
                      <a:pt x="151" y="25"/>
                    </a:cubicBezTo>
                    <a:cubicBezTo>
                      <a:pt x="149" y="27"/>
                      <a:pt x="148" y="40"/>
                      <a:pt x="148" y="63"/>
                    </a:cubicBezTo>
                    <a:close/>
                    <a:moveTo>
                      <a:pt x="99" y="119"/>
                    </a:moveTo>
                    <a:cubicBezTo>
                      <a:pt x="95" y="124"/>
                      <a:pt x="93" y="131"/>
                      <a:pt x="93" y="138"/>
                    </a:cubicBezTo>
                    <a:cubicBezTo>
                      <a:pt x="93" y="150"/>
                      <a:pt x="96" y="159"/>
                      <a:pt x="102" y="164"/>
                    </a:cubicBezTo>
                    <a:cubicBezTo>
                      <a:pt x="104" y="166"/>
                      <a:pt x="108" y="168"/>
                      <a:pt x="113" y="168"/>
                    </a:cubicBezTo>
                    <a:cubicBezTo>
                      <a:pt x="118" y="168"/>
                      <a:pt x="123" y="166"/>
                      <a:pt x="126" y="163"/>
                    </a:cubicBezTo>
                    <a:cubicBezTo>
                      <a:pt x="132" y="156"/>
                      <a:pt x="136" y="147"/>
                      <a:pt x="136" y="135"/>
                    </a:cubicBezTo>
                    <a:cubicBezTo>
                      <a:pt x="136" y="118"/>
                      <a:pt x="129" y="110"/>
                      <a:pt x="117" y="110"/>
                    </a:cubicBezTo>
                    <a:cubicBezTo>
                      <a:pt x="108" y="110"/>
                      <a:pt x="102" y="113"/>
                      <a:pt x="99" y="11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92" name="Group 91"/>
            <p:cNvGrpSpPr/>
            <p:nvPr/>
          </p:nvGrpSpPr>
          <p:grpSpPr bwMode="black">
            <a:xfrm>
              <a:off x="9002863" y="3659533"/>
              <a:ext cx="826937" cy="216968"/>
              <a:chOff x="7458381" y="5575585"/>
              <a:chExt cx="830083" cy="225342"/>
            </a:xfrm>
            <a:grpFill/>
            <a:effectLst/>
          </p:grpSpPr>
          <p:sp>
            <p:nvSpPr>
              <p:cNvPr id="301" name="Freeform 21"/>
              <p:cNvSpPr>
                <a:spLocks noEditPoints="1"/>
              </p:cNvSpPr>
              <p:nvPr/>
            </p:nvSpPr>
            <p:spPr bwMode="black">
              <a:xfrm>
                <a:off x="7458381" y="5586058"/>
                <a:ext cx="135813" cy="160476"/>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9"/>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9"/>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9"/>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02" name="Freeform 22"/>
              <p:cNvSpPr>
                <a:spLocks/>
              </p:cNvSpPr>
              <p:nvPr/>
            </p:nvSpPr>
            <p:spPr bwMode="black">
              <a:xfrm>
                <a:off x="7601289" y="5631667"/>
                <a:ext cx="98313" cy="114867"/>
              </a:xfrm>
              <a:custGeom>
                <a:avLst/>
                <a:gdLst/>
                <a:ahLst/>
                <a:cxnLst>
                  <a:cxn ang="0">
                    <a:pos x="109" y="279"/>
                  </a:cxn>
                  <a:cxn ang="0">
                    <a:pos x="291" y="279"/>
                  </a:cxn>
                  <a:cxn ang="0">
                    <a:pos x="291" y="340"/>
                  </a:cxn>
                  <a:cxn ang="0">
                    <a:pos x="0" y="340"/>
                  </a:cxn>
                  <a:cxn ang="0">
                    <a:pos x="0" y="314"/>
                  </a:cxn>
                  <a:cxn ang="0">
                    <a:pos x="184" y="61"/>
                  </a:cxn>
                  <a:cxn ang="0">
                    <a:pos x="19" y="61"/>
                  </a:cxn>
                  <a:cxn ang="0">
                    <a:pos x="19" y="0"/>
                  </a:cxn>
                  <a:cxn ang="0">
                    <a:pos x="288" y="0"/>
                  </a:cxn>
                  <a:cxn ang="0">
                    <a:pos x="288" y="30"/>
                  </a:cxn>
                  <a:cxn ang="0">
                    <a:pos x="109" y="279"/>
                  </a:cxn>
                </a:cxnLst>
                <a:rect l="0" t="0" r="r" b="b"/>
                <a:pathLst>
                  <a:path w="291" h="340">
                    <a:moveTo>
                      <a:pt x="109" y="279"/>
                    </a:moveTo>
                    <a:lnTo>
                      <a:pt x="291" y="279"/>
                    </a:lnTo>
                    <a:lnTo>
                      <a:pt x="291" y="340"/>
                    </a:lnTo>
                    <a:lnTo>
                      <a:pt x="0" y="340"/>
                    </a:lnTo>
                    <a:lnTo>
                      <a:pt x="0" y="314"/>
                    </a:lnTo>
                    <a:lnTo>
                      <a:pt x="184" y="61"/>
                    </a:lnTo>
                    <a:lnTo>
                      <a:pt x="19" y="61"/>
                    </a:lnTo>
                    <a:lnTo>
                      <a:pt x="19" y="0"/>
                    </a:lnTo>
                    <a:lnTo>
                      <a:pt x="288" y="0"/>
                    </a:lnTo>
                    <a:lnTo>
                      <a:pt x="288" y="30"/>
                    </a:lnTo>
                    <a:lnTo>
                      <a:pt x="109" y="27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03" name="Freeform 23"/>
              <p:cNvSpPr>
                <a:spLocks noEditPoints="1"/>
              </p:cNvSpPr>
              <p:nvPr/>
            </p:nvSpPr>
            <p:spPr bwMode="black">
              <a:xfrm>
                <a:off x="7713791" y="5575585"/>
                <a:ext cx="32095" cy="170949"/>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2" y="29"/>
                      <a:pt x="1"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04" name="Freeform 24"/>
              <p:cNvSpPr>
                <a:spLocks noEditPoints="1"/>
              </p:cNvSpPr>
              <p:nvPr/>
            </p:nvSpPr>
            <p:spPr bwMode="black">
              <a:xfrm>
                <a:off x="7764130" y="5629302"/>
                <a:ext cx="104394"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5"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4" y="200"/>
                      <a:pt x="81" y="200"/>
                      <a:pt x="77" y="200"/>
                    </a:cubicBezTo>
                    <a:cubicBezTo>
                      <a:pt x="67" y="200"/>
                      <a:pt x="60" y="198"/>
                      <a:pt x="55"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05" name="Freeform 25"/>
              <p:cNvSpPr>
                <a:spLocks/>
              </p:cNvSpPr>
              <p:nvPr/>
            </p:nvSpPr>
            <p:spPr bwMode="black">
              <a:xfrm>
                <a:off x="7888794" y="5576598"/>
                <a:ext cx="105070" cy="169936"/>
              </a:xfrm>
              <a:custGeom>
                <a:avLst/>
                <a:gdLst/>
                <a:ahLst/>
                <a:cxnLst>
                  <a:cxn ang="0">
                    <a:pos x="212" y="503"/>
                  </a:cxn>
                  <a:cxn ang="0">
                    <a:pos x="77" y="340"/>
                  </a:cxn>
                  <a:cxn ang="0">
                    <a:pos x="77" y="340"/>
                  </a:cxn>
                  <a:cxn ang="0">
                    <a:pos x="77" y="503"/>
                  </a:cxn>
                  <a:cxn ang="0">
                    <a:pos x="0" y="503"/>
                  </a:cxn>
                  <a:cxn ang="0">
                    <a:pos x="0" y="0"/>
                  </a:cxn>
                  <a:cxn ang="0">
                    <a:pos x="77" y="0"/>
                  </a:cxn>
                  <a:cxn ang="0">
                    <a:pos x="77" y="319"/>
                  </a:cxn>
                  <a:cxn ang="0">
                    <a:pos x="77" y="319"/>
                  </a:cxn>
                  <a:cxn ang="0">
                    <a:pos x="205" y="163"/>
                  </a:cxn>
                  <a:cxn ang="0">
                    <a:pos x="302" y="163"/>
                  </a:cxn>
                  <a:cxn ang="0">
                    <a:pos x="155" y="326"/>
                  </a:cxn>
                  <a:cxn ang="0">
                    <a:pos x="311" y="503"/>
                  </a:cxn>
                  <a:cxn ang="0">
                    <a:pos x="212" y="503"/>
                  </a:cxn>
                </a:cxnLst>
                <a:rect l="0" t="0" r="r" b="b"/>
                <a:pathLst>
                  <a:path w="311" h="503">
                    <a:moveTo>
                      <a:pt x="212" y="503"/>
                    </a:moveTo>
                    <a:lnTo>
                      <a:pt x="77" y="340"/>
                    </a:lnTo>
                    <a:lnTo>
                      <a:pt x="77" y="340"/>
                    </a:lnTo>
                    <a:lnTo>
                      <a:pt x="77" y="503"/>
                    </a:lnTo>
                    <a:lnTo>
                      <a:pt x="0" y="503"/>
                    </a:lnTo>
                    <a:lnTo>
                      <a:pt x="0" y="0"/>
                    </a:lnTo>
                    <a:lnTo>
                      <a:pt x="77" y="0"/>
                    </a:lnTo>
                    <a:lnTo>
                      <a:pt x="77" y="319"/>
                    </a:lnTo>
                    <a:lnTo>
                      <a:pt x="77" y="319"/>
                    </a:lnTo>
                    <a:lnTo>
                      <a:pt x="205" y="163"/>
                    </a:lnTo>
                    <a:lnTo>
                      <a:pt x="302" y="163"/>
                    </a:lnTo>
                    <a:lnTo>
                      <a:pt x="155" y="326"/>
                    </a:lnTo>
                    <a:lnTo>
                      <a:pt x="311" y="503"/>
                    </a:lnTo>
                    <a:lnTo>
                      <a:pt x="212"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06" name="Freeform 26"/>
              <p:cNvSpPr>
                <a:spLocks/>
              </p:cNvSpPr>
              <p:nvPr/>
            </p:nvSpPr>
            <p:spPr bwMode="black">
              <a:xfrm>
                <a:off x="8003661" y="5631667"/>
                <a:ext cx="102705" cy="117908"/>
              </a:xfrm>
              <a:custGeom>
                <a:avLst/>
                <a:gdLst/>
                <a:ahLst/>
                <a:cxnLst>
                  <a:cxn ang="0">
                    <a:pos x="96" y="144"/>
                  </a:cxn>
                  <a:cxn ang="0">
                    <a:pos x="96" y="123"/>
                  </a:cxn>
                  <a:cxn ang="0">
                    <a:pos x="95" y="123"/>
                  </a:cxn>
                  <a:cxn ang="0">
                    <a:pos x="88" y="132"/>
                  </a:cxn>
                  <a:cxn ang="0">
                    <a:pos x="78" y="140"/>
                  </a:cxn>
                  <a:cxn ang="0">
                    <a:pos x="66" y="146"/>
                  </a:cxn>
                  <a:cxn ang="0">
                    <a:pos x="52" y="148"/>
                  </a:cxn>
                  <a:cxn ang="0">
                    <a:pos x="14" y="133"/>
                  </a:cxn>
                  <a:cxn ang="0">
                    <a:pos x="0" y="88"/>
                  </a:cxn>
                  <a:cxn ang="0">
                    <a:pos x="0" y="0"/>
                  </a:cxn>
                  <a:cxn ang="0">
                    <a:pos x="33" y="0"/>
                  </a:cxn>
                  <a:cxn ang="0">
                    <a:pos x="33" y="84"/>
                  </a:cxn>
                  <a:cxn ang="0">
                    <a:pos x="35" y="101"/>
                  </a:cxn>
                  <a:cxn ang="0">
                    <a:pos x="42" y="113"/>
                  </a:cxn>
                  <a:cxn ang="0">
                    <a:pos x="51" y="119"/>
                  </a:cxn>
                  <a:cxn ang="0">
                    <a:pos x="63" y="121"/>
                  </a:cxn>
                  <a:cxn ang="0">
                    <a:pos x="76" y="119"/>
                  </a:cxn>
                  <a:cxn ang="0">
                    <a:pos x="86" y="111"/>
                  </a:cxn>
                  <a:cxn ang="0">
                    <a:pos x="93" y="100"/>
                  </a:cxn>
                  <a:cxn ang="0">
                    <a:pos x="96" y="84"/>
                  </a:cxn>
                  <a:cxn ang="0">
                    <a:pos x="96" y="0"/>
                  </a:cxn>
                  <a:cxn ang="0">
                    <a:pos x="129" y="0"/>
                  </a:cxn>
                  <a:cxn ang="0">
                    <a:pos x="129" y="144"/>
                  </a:cxn>
                  <a:cxn ang="0">
                    <a:pos x="96" y="144"/>
                  </a:cxn>
                </a:cxnLst>
                <a:rect l="0" t="0" r="r" b="b"/>
                <a:pathLst>
                  <a:path w="129"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5" y="143"/>
                      <a:pt x="71" y="144"/>
                      <a:pt x="66" y="146"/>
                    </a:cubicBezTo>
                    <a:cubicBezTo>
                      <a:pt x="62" y="147"/>
                      <a:pt x="57" y="148"/>
                      <a:pt x="52" y="148"/>
                    </a:cubicBezTo>
                    <a:cubicBezTo>
                      <a:pt x="35" y="148"/>
                      <a:pt x="22" y="143"/>
                      <a:pt x="14"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2" y="113"/>
                    </a:cubicBezTo>
                    <a:cubicBezTo>
                      <a:pt x="44" y="116"/>
                      <a:pt x="47" y="118"/>
                      <a:pt x="51" y="119"/>
                    </a:cubicBezTo>
                    <a:cubicBezTo>
                      <a:pt x="55" y="120"/>
                      <a:pt x="59" y="121"/>
                      <a:pt x="63" y="121"/>
                    </a:cubicBezTo>
                    <a:cubicBezTo>
                      <a:pt x="68"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9" y="0"/>
                      <a:pt x="129" y="0"/>
                      <a:pt x="129" y="0"/>
                    </a:cubicBezTo>
                    <a:cubicBezTo>
                      <a:pt x="129" y="144"/>
                      <a:pt x="129" y="144"/>
                      <a:pt x="129" y="144"/>
                    </a:cubicBezTo>
                    <a:lnTo>
                      <a:pt x="96"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07" name="Freeform 27"/>
              <p:cNvSpPr>
                <a:spLocks noEditPoints="1"/>
              </p:cNvSpPr>
              <p:nvPr/>
            </p:nvSpPr>
            <p:spPr bwMode="black">
              <a:xfrm>
                <a:off x="8099947" y="5575585"/>
                <a:ext cx="65542" cy="225342"/>
              </a:xfrm>
              <a:custGeom>
                <a:avLst/>
                <a:gdLst/>
                <a:ahLst/>
                <a:cxnLst>
                  <a:cxn ang="0">
                    <a:pos x="74" y="238"/>
                  </a:cxn>
                  <a:cxn ang="0">
                    <a:pos x="63" y="261"/>
                  </a:cxn>
                  <a:cxn ang="0">
                    <a:pos x="45" y="276"/>
                  </a:cxn>
                  <a:cxn ang="0">
                    <a:pos x="20" y="282"/>
                  </a:cxn>
                  <a:cxn ang="0">
                    <a:pos x="15" y="281"/>
                  </a:cxn>
                  <a:cxn ang="0">
                    <a:pos x="9" y="280"/>
                  </a:cxn>
                  <a:cxn ang="0">
                    <a:pos x="4" y="279"/>
                  </a:cxn>
                  <a:cxn ang="0">
                    <a:pos x="0" y="278"/>
                  </a:cxn>
                  <a:cxn ang="0">
                    <a:pos x="0" y="250"/>
                  </a:cxn>
                  <a:cxn ang="0">
                    <a:pos x="9" y="254"/>
                  </a:cxn>
                  <a:cxn ang="0">
                    <a:pos x="18" y="255"/>
                  </a:cxn>
                  <a:cxn ang="0">
                    <a:pos x="29" y="253"/>
                  </a:cxn>
                  <a:cxn ang="0">
                    <a:pos x="37" y="246"/>
                  </a:cxn>
                  <a:cxn ang="0">
                    <a:pos x="43" y="232"/>
                  </a:cxn>
                  <a:cxn ang="0">
                    <a:pos x="45" y="213"/>
                  </a:cxn>
                  <a:cxn ang="0">
                    <a:pos x="45" y="70"/>
                  </a:cxn>
                  <a:cxn ang="0">
                    <a:pos x="78" y="70"/>
                  </a:cxn>
                  <a:cxn ang="0">
                    <a:pos x="78" y="209"/>
                  </a:cxn>
                  <a:cxn ang="0">
                    <a:pos x="74" y="238"/>
                  </a:cxn>
                  <a:cxn ang="0">
                    <a:pos x="82" y="20"/>
                  </a:cxn>
                  <a:cxn ang="0">
                    <a:pos x="80" y="27"/>
                  </a:cxn>
                  <a:cxn ang="0">
                    <a:pos x="76" y="33"/>
                  </a:cxn>
                  <a:cxn ang="0">
                    <a:pos x="70" y="37"/>
                  </a:cxn>
                  <a:cxn ang="0">
                    <a:pos x="62" y="38"/>
                  </a:cxn>
                  <a:cxn ang="0">
                    <a:pos x="54" y="37"/>
                  </a:cxn>
                  <a:cxn ang="0">
                    <a:pos x="48" y="33"/>
                  </a:cxn>
                  <a:cxn ang="0">
                    <a:pos x="44" y="27"/>
                  </a:cxn>
                  <a:cxn ang="0">
                    <a:pos x="42" y="20"/>
                  </a:cxn>
                  <a:cxn ang="0">
                    <a:pos x="44" y="12"/>
                  </a:cxn>
                  <a:cxn ang="0">
                    <a:pos x="48" y="6"/>
                  </a:cxn>
                  <a:cxn ang="0">
                    <a:pos x="54" y="2"/>
                  </a:cxn>
                  <a:cxn ang="0">
                    <a:pos x="62" y="0"/>
                  </a:cxn>
                  <a:cxn ang="0">
                    <a:pos x="70" y="2"/>
                  </a:cxn>
                  <a:cxn ang="0">
                    <a:pos x="76" y="6"/>
                  </a:cxn>
                  <a:cxn ang="0">
                    <a:pos x="80" y="12"/>
                  </a:cxn>
                  <a:cxn ang="0">
                    <a:pos x="82" y="20"/>
                  </a:cxn>
                </a:cxnLst>
                <a:rect l="0" t="0" r="r" b="b"/>
                <a:pathLst>
                  <a:path w="82" h="282">
                    <a:moveTo>
                      <a:pt x="74" y="238"/>
                    </a:moveTo>
                    <a:cubicBezTo>
                      <a:pt x="72" y="247"/>
                      <a:pt x="68" y="255"/>
                      <a:pt x="63" y="261"/>
                    </a:cubicBezTo>
                    <a:cubicBezTo>
                      <a:pt x="59" y="268"/>
                      <a:pt x="52" y="273"/>
                      <a:pt x="45" y="276"/>
                    </a:cubicBezTo>
                    <a:cubicBezTo>
                      <a:pt x="38" y="280"/>
                      <a:pt x="30" y="282"/>
                      <a:pt x="20" y="282"/>
                    </a:cubicBezTo>
                    <a:cubicBezTo>
                      <a:pt x="18" y="282"/>
                      <a:pt x="16" y="282"/>
                      <a:pt x="15" y="281"/>
                    </a:cubicBezTo>
                    <a:cubicBezTo>
                      <a:pt x="13" y="281"/>
                      <a:pt x="11" y="281"/>
                      <a:pt x="9" y="280"/>
                    </a:cubicBezTo>
                    <a:cubicBezTo>
                      <a:pt x="8" y="280"/>
                      <a:pt x="6" y="280"/>
                      <a:pt x="4" y="279"/>
                    </a:cubicBezTo>
                    <a:cubicBezTo>
                      <a:pt x="3" y="279"/>
                      <a:pt x="1" y="278"/>
                      <a:pt x="0" y="278"/>
                    </a:cubicBezTo>
                    <a:cubicBezTo>
                      <a:pt x="0" y="250"/>
                      <a:pt x="0" y="250"/>
                      <a:pt x="0" y="250"/>
                    </a:cubicBezTo>
                    <a:cubicBezTo>
                      <a:pt x="3" y="251"/>
                      <a:pt x="6" y="252"/>
                      <a:pt x="9" y="254"/>
                    </a:cubicBezTo>
                    <a:cubicBezTo>
                      <a:pt x="12" y="255"/>
                      <a:pt x="16" y="255"/>
                      <a:pt x="18" y="255"/>
                    </a:cubicBezTo>
                    <a:cubicBezTo>
                      <a:pt x="22" y="255"/>
                      <a:pt x="26" y="255"/>
                      <a:pt x="29" y="253"/>
                    </a:cubicBezTo>
                    <a:cubicBezTo>
                      <a:pt x="32" y="251"/>
                      <a:pt x="35" y="249"/>
                      <a:pt x="37" y="246"/>
                    </a:cubicBezTo>
                    <a:cubicBezTo>
                      <a:pt x="40" y="242"/>
                      <a:pt x="42" y="238"/>
                      <a:pt x="43" y="232"/>
                    </a:cubicBezTo>
                    <a:cubicBezTo>
                      <a:pt x="45" y="227"/>
                      <a:pt x="45" y="220"/>
                      <a:pt x="45" y="213"/>
                    </a:cubicBezTo>
                    <a:cubicBezTo>
                      <a:pt x="45" y="70"/>
                      <a:pt x="45" y="70"/>
                      <a:pt x="45" y="70"/>
                    </a:cubicBezTo>
                    <a:cubicBezTo>
                      <a:pt x="78" y="70"/>
                      <a:pt x="78" y="70"/>
                      <a:pt x="78" y="70"/>
                    </a:cubicBezTo>
                    <a:cubicBezTo>
                      <a:pt x="78" y="209"/>
                      <a:pt x="78" y="209"/>
                      <a:pt x="78" y="209"/>
                    </a:cubicBezTo>
                    <a:cubicBezTo>
                      <a:pt x="78" y="220"/>
                      <a:pt x="77" y="229"/>
                      <a:pt x="74" y="238"/>
                    </a:cubicBezTo>
                    <a:close/>
                    <a:moveTo>
                      <a:pt x="82" y="20"/>
                    </a:moveTo>
                    <a:cubicBezTo>
                      <a:pt x="82" y="22"/>
                      <a:pt x="81" y="24"/>
                      <a:pt x="80" y="27"/>
                    </a:cubicBezTo>
                    <a:cubicBezTo>
                      <a:pt x="79" y="29"/>
                      <a:pt x="78" y="31"/>
                      <a:pt x="76" y="33"/>
                    </a:cubicBezTo>
                    <a:cubicBezTo>
                      <a:pt x="74" y="34"/>
                      <a:pt x="72" y="36"/>
                      <a:pt x="70" y="37"/>
                    </a:cubicBezTo>
                    <a:cubicBezTo>
                      <a:pt x="67" y="38"/>
                      <a:pt x="65" y="38"/>
                      <a:pt x="62" y="38"/>
                    </a:cubicBezTo>
                    <a:cubicBezTo>
                      <a:pt x="59" y="38"/>
                      <a:pt x="56" y="38"/>
                      <a:pt x="54" y="37"/>
                    </a:cubicBezTo>
                    <a:cubicBezTo>
                      <a:pt x="52" y="36"/>
                      <a:pt x="49" y="34"/>
                      <a:pt x="48" y="33"/>
                    </a:cubicBezTo>
                    <a:cubicBezTo>
                      <a:pt x="46" y="31"/>
                      <a:pt x="45" y="29"/>
                      <a:pt x="44" y="27"/>
                    </a:cubicBezTo>
                    <a:cubicBezTo>
                      <a:pt x="43" y="24"/>
                      <a:pt x="42" y="22"/>
                      <a:pt x="42" y="20"/>
                    </a:cubicBezTo>
                    <a:cubicBezTo>
                      <a:pt x="42" y="17"/>
                      <a:pt x="43" y="14"/>
                      <a:pt x="44" y="12"/>
                    </a:cubicBezTo>
                    <a:cubicBezTo>
                      <a:pt x="45" y="10"/>
                      <a:pt x="46" y="8"/>
                      <a:pt x="48" y="6"/>
                    </a:cubicBezTo>
                    <a:cubicBezTo>
                      <a:pt x="50" y="4"/>
                      <a:pt x="52" y="3"/>
                      <a:pt x="54" y="2"/>
                    </a:cubicBezTo>
                    <a:cubicBezTo>
                      <a:pt x="56" y="1"/>
                      <a:pt x="59" y="0"/>
                      <a:pt x="62" y="0"/>
                    </a:cubicBezTo>
                    <a:cubicBezTo>
                      <a:pt x="65" y="0"/>
                      <a:pt x="67" y="1"/>
                      <a:pt x="70" y="2"/>
                    </a:cubicBezTo>
                    <a:cubicBezTo>
                      <a:pt x="72" y="3"/>
                      <a:pt x="74" y="4"/>
                      <a:pt x="76" y="6"/>
                    </a:cubicBezTo>
                    <a:cubicBezTo>
                      <a:pt x="78" y="8"/>
                      <a:pt x="79" y="10"/>
                      <a:pt x="80" y="12"/>
                    </a:cubicBezTo>
                    <a:cubicBezTo>
                      <a:pt x="81" y="14"/>
                      <a:pt x="82" y="17"/>
                      <a:pt x="82"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08" name="Freeform 28"/>
              <p:cNvSpPr>
                <a:spLocks noEditPoints="1"/>
              </p:cNvSpPr>
              <p:nvPr/>
            </p:nvSpPr>
            <p:spPr bwMode="black">
              <a:xfrm>
                <a:off x="8183732" y="5629302"/>
                <a:ext cx="104732"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6"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5" y="200"/>
                      <a:pt x="81" y="200"/>
                      <a:pt x="77" y="200"/>
                    </a:cubicBezTo>
                    <a:cubicBezTo>
                      <a:pt x="67" y="200"/>
                      <a:pt x="60" y="198"/>
                      <a:pt x="56"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93" name="Group 92"/>
            <p:cNvGrpSpPr/>
            <p:nvPr/>
          </p:nvGrpSpPr>
          <p:grpSpPr bwMode="black">
            <a:xfrm>
              <a:off x="8252119" y="4202088"/>
              <a:ext cx="763040" cy="190659"/>
              <a:chOff x="4872260" y="5575584"/>
              <a:chExt cx="765942" cy="198016"/>
            </a:xfrm>
            <a:grpFill/>
            <a:effectLst/>
          </p:grpSpPr>
          <p:sp>
            <p:nvSpPr>
              <p:cNvPr id="296" name="Freeform 30"/>
              <p:cNvSpPr>
                <a:spLocks noEditPoints="1"/>
              </p:cNvSpPr>
              <p:nvPr/>
            </p:nvSpPr>
            <p:spPr bwMode="black">
              <a:xfrm>
                <a:off x="4872260" y="5578313"/>
                <a:ext cx="145392" cy="181255"/>
              </a:xfrm>
              <a:custGeom>
                <a:avLst/>
                <a:gdLst/>
                <a:ahLst/>
                <a:cxnLst>
                  <a:cxn ang="0">
                    <a:pos x="131" y="197"/>
                  </a:cxn>
                  <a:cxn ang="0">
                    <a:pos x="131" y="144"/>
                  </a:cxn>
                  <a:cxn ang="0">
                    <a:pos x="27" y="144"/>
                  </a:cxn>
                  <a:cxn ang="0">
                    <a:pos x="27" y="197"/>
                  </a:cxn>
                  <a:cxn ang="0">
                    <a:pos x="0" y="197"/>
                  </a:cxn>
                  <a:cxn ang="0">
                    <a:pos x="0" y="118"/>
                  </a:cxn>
                  <a:cxn ang="0">
                    <a:pos x="13" y="118"/>
                  </a:cxn>
                  <a:cxn ang="0">
                    <a:pos x="38" y="65"/>
                  </a:cxn>
                  <a:cxn ang="0">
                    <a:pos x="48" y="0"/>
                  </a:cxn>
                  <a:cxn ang="0">
                    <a:pos x="135" y="0"/>
                  </a:cxn>
                  <a:cxn ang="0">
                    <a:pos x="135" y="118"/>
                  </a:cxn>
                  <a:cxn ang="0">
                    <a:pos x="158" y="118"/>
                  </a:cxn>
                  <a:cxn ang="0">
                    <a:pos x="158" y="197"/>
                  </a:cxn>
                  <a:cxn ang="0">
                    <a:pos x="131" y="197"/>
                  </a:cxn>
                  <a:cxn ang="0">
                    <a:pos x="103" y="26"/>
                  </a:cxn>
                  <a:cxn ang="0">
                    <a:pos x="73" y="26"/>
                  </a:cxn>
                  <a:cxn ang="0">
                    <a:pos x="65" y="74"/>
                  </a:cxn>
                  <a:cxn ang="0">
                    <a:pos x="46" y="118"/>
                  </a:cxn>
                  <a:cxn ang="0">
                    <a:pos x="103" y="118"/>
                  </a:cxn>
                  <a:cxn ang="0">
                    <a:pos x="103" y="26"/>
                  </a:cxn>
                </a:cxnLst>
                <a:rect l="0" t="0" r="r" b="b"/>
                <a:pathLst>
                  <a:path w="158" h="197">
                    <a:moveTo>
                      <a:pt x="131" y="197"/>
                    </a:moveTo>
                    <a:cubicBezTo>
                      <a:pt x="131" y="144"/>
                      <a:pt x="131" y="144"/>
                      <a:pt x="131" y="144"/>
                    </a:cubicBezTo>
                    <a:cubicBezTo>
                      <a:pt x="27" y="144"/>
                      <a:pt x="27" y="144"/>
                      <a:pt x="27" y="144"/>
                    </a:cubicBezTo>
                    <a:cubicBezTo>
                      <a:pt x="27" y="197"/>
                      <a:pt x="27" y="197"/>
                      <a:pt x="27" y="197"/>
                    </a:cubicBezTo>
                    <a:cubicBezTo>
                      <a:pt x="0" y="197"/>
                      <a:pt x="0" y="197"/>
                      <a:pt x="0" y="197"/>
                    </a:cubicBezTo>
                    <a:cubicBezTo>
                      <a:pt x="0" y="118"/>
                      <a:pt x="0" y="118"/>
                      <a:pt x="0" y="118"/>
                    </a:cubicBezTo>
                    <a:cubicBezTo>
                      <a:pt x="13" y="118"/>
                      <a:pt x="13" y="118"/>
                      <a:pt x="13" y="118"/>
                    </a:cubicBezTo>
                    <a:cubicBezTo>
                      <a:pt x="23" y="102"/>
                      <a:pt x="32" y="84"/>
                      <a:pt x="38" y="65"/>
                    </a:cubicBezTo>
                    <a:cubicBezTo>
                      <a:pt x="43" y="45"/>
                      <a:pt x="47" y="24"/>
                      <a:pt x="48" y="0"/>
                    </a:cubicBezTo>
                    <a:cubicBezTo>
                      <a:pt x="135" y="0"/>
                      <a:pt x="135" y="0"/>
                      <a:pt x="135" y="0"/>
                    </a:cubicBezTo>
                    <a:cubicBezTo>
                      <a:pt x="135" y="118"/>
                      <a:pt x="135" y="118"/>
                      <a:pt x="135" y="118"/>
                    </a:cubicBezTo>
                    <a:cubicBezTo>
                      <a:pt x="158" y="118"/>
                      <a:pt x="158" y="118"/>
                      <a:pt x="158" y="118"/>
                    </a:cubicBezTo>
                    <a:cubicBezTo>
                      <a:pt x="158" y="197"/>
                      <a:pt x="158" y="197"/>
                      <a:pt x="158" y="197"/>
                    </a:cubicBezTo>
                    <a:lnTo>
                      <a:pt x="131" y="197"/>
                    </a:lnTo>
                    <a:close/>
                    <a:moveTo>
                      <a:pt x="103" y="26"/>
                    </a:moveTo>
                    <a:cubicBezTo>
                      <a:pt x="73" y="26"/>
                      <a:pt x="73" y="26"/>
                      <a:pt x="73" y="26"/>
                    </a:cubicBezTo>
                    <a:cubicBezTo>
                      <a:pt x="72" y="43"/>
                      <a:pt x="69" y="59"/>
                      <a:pt x="65" y="74"/>
                    </a:cubicBezTo>
                    <a:cubicBezTo>
                      <a:pt x="61" y="89"/>
                      <a:pt x="54" y="104"/>
                      <a:pt x="46" y="118"/>
                    </a:cubicBezTo>
                    <a:cubicBezTo>
                      <a:pt x="103" y="118"/>
                      <a:pt x="103" y="118"/>
                      <a:pt x="103" y="118"/>
                    </a:cubicBezTo>
                    <a:lnTo>
                      <a:pt x="103" y="26"/>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97" name="Freeform 31"/>
              <p:cNvSpPr>
                <a:spLocks noEditPoints="1"/>
              </p:cNvSpPr>
              <p:nvPr/>
            </p:nvSpPr>
            <p:spPr bwMode="black">
              <a:xfrm>
                <a:off x="5025838" y="5578313"/>
                <a:ext cx="116158" cy="132530"/>
              </a:xfrm>
              <a:custGeom>
                <a:avLst/>
                <a:gdLst/>
                <a:ahLst/>
                <a:cxnLst>
                  <a:cxn ang="0">
                    <a:pos x="93" y="144"/>
                  </a:cxn>
                  <a:cxn ang="0">
                    <a:pos x="93" y="90"/>
                  </a:cxn>
                  <a:cxn ang="0">
                    <a:pos x="77" y="90"/>
                  </a:cxn>
                  <a:cxn ang="0">
                    <a:pos x="70" y="90"/>
                  </a:cxn>
                  <a:cxn ang="0">
                    <a:pos x="63" y="93"/>
                  </a:cxn>
                  <a:cxn ang="0">
                    <a:pos x="56" y="99"/>
                  </a:cxn>
                  <a:cxn ang="0">
                    <a:pos x="50" y="110"/>
                  </a:cxn>
                  <a:cxn ang="0">
                    <a:pos x="36" y="144"/>
                  </a:cxn>
                  <a:cxn ang="0">
                    <a:pos x="0" y="144"/>
                  </a:cxn>
                  <a:cxn ang="0">
                    <a:pos x="17" y="106"/>
                  </a:cxn>
                  <a:cxn ang="0">
                    <a:pos x="28" y="90"/>
                  </a:cxn>
                  <a:cxn ang="0">
                    <a:pos x="45" y="80"/>
                  </a:cxn>
                  <a:cxn ang="0">
                    <a:pos x="18" y="68"/>
                  </a:cxn>
                  <a:cxn ang="0">
                    <a:pos x="9" y="42"/>
                  </a:cxn>
                  <a:cxn ang="0">
                    <a:pos x="12" y="26"/>
                  </a:cxn>
                  <a:cxn ang="0">
                    <a:pos x="22" y="13"/>
                  </a:cxn>
                  <a:cxn ang="0">
                    <a:pos x="39" y="4"/>
                  </a:cxn>
                  <a:cxn ang="0">
                    <a:pos x="66" y="0"/>
                  </a:cxn>
                  <a:cxn ang="0">
                    <a:pos x="126" y="0"/>
                  </a:cxn>
                  <a:cxn ang="0">
                    <a:pos x="126" y="144"/>
                  </a:cxn>
                  <a:cxn ang="0">
                    <a:pos x="93" y="144"/>
                  </a:cxn>
                  <a:cxn ang="0">
                    <a:pos x="93" y="24"/>
                  </a:cxn>
                  <a:cxn ang="0">
                    <a:pos x="71" y="24"/>
                  </a:cxn>
                  <a:cxn ang="0">
                    <a:pos x="50" y="29"/>
                  </a:cxn>
                  <a:cxn ang="0">
                    <a:pos x="43" y="45"/>
                  </a:cxn>
                  <a:cxn ang="0">
                    <a:pos x="50" y="62"/>
                  </a:cxn>
                  <a:cxn ang="0">
                    <a:pos x="71" y="67"/>
                  </a:cxn>
                  <a:cxn ang="0">
                    <a:pos x="93" y="67"/>
                  </a:cxn>
                  <a:cxn ang="0">
                    <a:pos x="93" y="24"/>
                  </a:cxn>
                </a:cxnLst>
                <a:rect l="0" t="0" r="r" b="b"/>
                <a:pathLst>
                  <a:path w="126" h="144">
                    <a:moveTo>
                      <a:pt x="93" y="144"/>
                    </a:moveTo>
                    <a:cubicBezTo>
                      <a:pt x="93" y="90"/>
                      <a:pt x="93" y="90"/>
                      <a:pt x="93" y="90"/>
                    </a:cubicBezTo>
                    <a:cubicBezTo>
                      <a:pt x="77" y="90"/>
                      <a:pt x="77" y="90"/>
                      <a:pt x="77" y="90"/>
                    </a:cubicBezTo>
                    <a:cubicBezTo>
                      <a:pt x="75" y="90"/>
                      <a:pt x="73" y="90"/>
                      <a:pt x="70" y="90"/>
                    </a:cubicBezTo>
                    <a:cubicBezTo>
                      <a:pt x="68" y="91"/>
                      <a:pt x="65" y="92"/>
                      <a:pt x="63" y="93"/>
                    </a:cubicBezTo>
                    <a:cubicBezTo>
                      <a:pt x="61" y="95"/>
                      <a:pt x="58" y="97"/>
                      <a:pt x="56" y="99"/>
                    </a:cubicBezTo>
                    <a:cubicBezTo>
                      <a:pt x="54" y="102"/>
                      <a:pt x="52" y="106"/>
                      <a:pt x="50" y="110"/>
                    </a:cubicBezTo>
                    <a:cubicBezTo>
                      <a:pt x="36" y="144"/>
                      <a:pt x="36" y="144"/>
                      <a:pt x="36" y="144"/>
                    </a:cubicBezTo>
                    <a:cubicBezTo>
                      <a:pt x="0" y="144"/>
                      <a:pt x="0" y="144"/>
                      <a:pt x="0" y="144"/>
                    </a:cubicBezTo>
                    <a:cubicBezTo>
                      <a:pt x="17" y="106"/>
                      <a:pt x="17" y="106"/>
                      <a:pt x="17" y="106"/>
                    </a:cubicBezTo>
                    <a:cubicBezTo>
                      <a:pt x="20" y="99"/>
                      <a:pt x="24" y="94"/>
                      <a:pt x="28" y="90"/>
                    </a:cubicBezTo>
                    <a:cubicBezTo>
                      <a:pt x="32" y="86"/>
                      <a:pt x="38" y="82"/>
                      <a:pt x="45" y="80"/>
                    </a:cubicBezTo>
                    <a:cubicBezTo>
                      <a:pt x="33" y="79"/>
                      <a:pt x="24" y="74"/>
                      <a:pt x="18" y="68"/>
                    </a:cubicBezTo>
                    <a:cubicBezTo>
                      <a:pt x="12" y="61"/>
                      <a:pt x="9" y="53"/>
                      <a:pt x="9" y="42"/>
                    </a:cubicBezTo>
                    <a:cubicBezTo>
                      <a:pt x="9" y="36"/>
                      <a:pt x="10" y="31"/>
                      <a:pt x="12" y="26"/>
                    </a:cubicBezTo>
                    <a:cubicBezTo>
                      <a:pt x="14" y="21"/>
                      <a:pt x="18" y="17"/>
                      <a:pt x="22" y="13"/>
                    </a:cubicBezTo>
                    <a:cubicBezTo>
                      <a:pt x="27" y="9"/>
                      <a:pt x="32" y="6"/>
                      <a:pt x="39" y="4"/>
                    </a:cubicBezTo>
                    <a:cubicBezTo>
                      <a:pt x="47" y="1"/>
                      <a:pt x="55" y="0"/>
                      <a:pt x="66" y="0"/>
                    </a:cubicBezTo>
                    <a:cubicBezTo>
                      <a:pt x="126" y="0"/>
                      <a:pt x="126" y="0"/>
                      <a:pt x="126" y="0"/>
                    </a:cubicBezTo>
                    <a:cubicBezTo>
                      <a:pt x="126" y="144"/>
                      <a:pt x="126" y="144"/>
                      <a:pt x="126" y="144"/>
                    </a:cubicBezTo>
                    <a:lnTo>
                      <a:pt x="93" y="144"/>
                    </a:lnTo>
                    <a:close/>
                    <a:moveTo>
                      <a:pt x="93" y="24"/>
                    </a:moveTo>
                    <a:cubicBezTo>
                      <a:pt x="71" y="24"/>
                      <a:pt x="71" y="24"/>
                      <a:pt x="71" y="24"/>
                    </a:cubicBezTo>
                    <a:cubicBezTo>
                      <a:pt x="61" y="24"/>
                      <a:pt x="54" y="25"/>
                      <a:pt x="50" y="29"/>
                    </a:cubicBezTo>
                    <a:cubicBezTo>
                      <a:pt x="45" y="32"/>
                      <a:pt x="43" y="38"/>
                      <a:pt x="43" y="45"/>
                    </a:cubicBezTo>
                    <a:cubicBezTo>
                      <a:pt x="43" y="53"/>
                      <a:pt x="45" y="58"/>
                      <a:pt x="50" y="62"/>
                    </a:cubicBezTo>
                    <a:cubicBezTo>
                      <a:pt x="55" y="66"/>
                      <a:pt x="62" y="67"/>
                      <a:pt x="71" y="67"/>
                    </a:cubicBezTo>
                    <a:cubicBezTo>
                      <a:pt x="93" y="67"/>
                      <a:pt x="93" y="67"/>
                      <a:pt x="93" y="67"/>
                    </a:cubicBezTo>
                    <a:lnTo>
                      <a:pt x="93" y="2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98" name="Freeform 32"/>
              <p:cNvSpPr>
                <a:spLocks/>
              </p:cNvSpPr>
              <p:nvPr/>
            </p:nvSpPr>
            <p:spPr bwMode="black">
              <a:xfrm>
                <a:off x="5177078" y="5578313"/>
                <a:ext cx="121615" cy="132530"/>
              </a:xfrm>
              <a:custGeom>
                <a:avLst/>
                <a:gdLst/>
                <a:ahLst/>
                <a:cxnLst>
                  <a:cxn ang="0">
                    <a:pos x="210" y="340"/>
                  </a:cxn>
                  <a:cxn ang="0">
                    <a:pos x="78" y="177"/>
                  </a:cxn>
                  <a:cxn ang="0">
                    <a:pos x="75" y="177"/>
                  </a:cxn>
                  <a:cxn ang="0">
                    <a:pos x="75" y="340"/>
                  </a:cxn>
                  <a:cxn ang="0">
                    <a:pos x="0" y="340"/>
                  </a:cxn>
                  <a:cxn ang="0">
                    <a:pos x="0" y="0"/>
                  </a:cxn>
                  <a:cxn ang="0">
                    <a:pos x="75" y="0"/>
                  </a:cxn>
                  <a:cxn ang="0">
                    <a:pos x="75" y="156"/>
                  </a:cxn>
                  <a:cxn ang="0">
                    <a:pos x="78" y="156"/>
                  </a:cxn>
                  <a:cxn ang="0">
                    <a:pos x="203" y="0"/>
                  </a:cxn>
                  <a:cxn ang="0">
                    <a:pos x="300" y="0"/>
                  </a:cxn>
                  <a:cxn ang="0">
                    <a:pos x="156" y="163"/>
                  </a:cxn>
                  <a:cxn ang="0">
                    <a:pos x="312" y="340"/>
                  </a:cxn>
                  <a:cxn ang="0">
                    <a:pos x="210" y="340"/>
                  </a:cxn>
                </a:cxnLst>
                <a:rect l="0" t="0" r="r" b="b"/>
                <a:pathLst>
                  <a:path w="312" h="340">
                    <a:moveTo>
                      <a:pt x="210" y="340"/>
                    </a:moveTo>
                    <a:lnTo>
                      <a:pt x="78" y="177"/>
                    </a:lnTo>
                    <a:lnTo>
                      <a:pt x="75" y="177"/>
                    </a:lnTo>
                    <a:lnTo>
                      <a:pt x="75" y="340"/>
                    </a:lnTo>
                    <a:lnTo>
                      <a:pt x="0" y="340"/>
                    </a:lnTo>
                    <a:lnTo>
                      <a:pt x="0" y="0"/>
                    </a:lnTo>
                    <a:lnTo>
                      <a:pt x="75" y="0"/>
                    </a:lnTo>
                    <a:lnTo>
                      <a:pt x="75" y="156"/>
                    </a:lnTo>
                    <a:lnTo>
                      <a:pt x="78" y="156"/>
                    </a:lnTo>
                    <a:lnTo>
                      <a:pt x="203" y="0"/>
                    </a:lnTo>
                    <a:lnTo>
                      <a:pt x="300" y="0"/>
                    </a:lnTo>
                    <a:lnTo>
                      <a:pt x="156" y="163"/>
                    </a:lnTo>
                    <a:lnTo>
                      <a:pt x="312" y="340"/>
                    </a:lnTo>
                    <a:lnTo>
                      <a:pt x="210" y="34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99" name="Freeform 33"/>
              <p:cNvSpPr>
                <a:spLocks/>
              </p:cNvSpPr>
              <p:nvPr/>
            </p:nvSpPr>
            <p:spPr bwMode="black">
              <a:xfrm>
                <a:off x="5292846" y="5578313"/>
                <a:ext cx="133699" cy="195287"/>
              </a:xfrm>
              <a:custGeom>
                <a:avLst/>
                <a:gdLst/>
                <a:ahLst/>
                <a:cxnLst>
                  <a:cxn ang="0">
                    <a:pos x="83" y="161"/>
                  </a:cxn>
                  <a:cxn ang="0">
                    <a:pos x="59" y="200"/>
                  </a:cxn>
                  <a:cxn ang="0">
                    <a:pos x="26" y="212"/>
                  </a:cxn>
                  <a:cxn ang="0">
                    <a:pos x="16" y="211"/>
                  </a:cxn>
                  <a:cxn ang="0">
                    <a:pos x="6" y="209"/>
                  </a:cxn>
                  <a:cxn ang="0">
                    <a:pos x="6" y="182"/>
                  </a:cxn>
                  <a:cxn ang="0">
                    <a:pos x="14" y="184"/>
                  </a:cxn>
                  <a:cxn ang="0">
                    <a:pos x="22" y="185"/>
                  </a:cxn>
                  <a:cxn ang="0">
                    <a:pos x="36" y="181"/>
                  </a:cxn>
                  <a:cxn ang="0">
                    <a:pos x="47" y="167"/>
                  </a:cxn>
                  <a:cxn ang="0">
                    <a:pos x="57" y="144"/>
                  </a:cxn>
                  <a:cxn ang="0">
                    <a:pos x="0" y="0"/>
                  </a:cxn>
                  <a:cxn ang="0">
                    <a:pos x="36" y="0"/>
                  </a:cxn>
                  <a:cxn ang="0">
                    <a:pos x="70" y="102"/>
                  </a:cxn>
                  <a:cxn ang="0">
                    <a:pos x="72" y="109"/>
                  </a:cxn>
                  <a:cxn ang="0">
                    <a:pos x="73" y="115"/>
                  </a:cxn>
                  <a:cxn ang="0">
                    <a:pos x="74" y="115"/>
                  </a:cxn>
                  <a:cxn ang="0">
                    <a:pos x="75" y="109"/>
                  </a:cxn>
                  <a:cxn ang="0">
                    <a:pos x="77" y="102"/>
                  </a:cxn>
                  <a:cxn ang="0">
                    <a:pos x="112" y="0"/>
                  </a:cxn>
                  <a:cxn ang="0">
                    <a:pos x="145" y="0"/>
                  </a:cxn>
                  <a:cxn ang="0">
                    <a:pos x="83" y="161"/>
                  </a:cxn>
                </a:cxnLst>
                <a:rect l="0" t="0" r="r" b="b"/>
                <a:pathLst>
                  <a:path w="145" h="212">
                    <a:moveTo>
                      <a:pt x="83" y="161"/>
                    </a:moveTo>
                    <a:cubicBezTo>
                      <a:pt x="76" y="179"/>
                      <a:pt x="68" y="192"/>
                      <a:pt x="59" y="200"/>
                    </a:cubicBezTo>
                    <a:cubicBezTo>
                      <a:pt x="49" y="208"/>
                      <a:pt x="38" y="212"/>
                      <a:pt x="26" y="212"/>
                    </a:cubicBezTo>
                    <a:cubicBezTo>
                      <a:pt x="23" y="212"/>
                      <a:pt x="20" y="212"/>
                      <a:pt x="16" y="211"/>
                    </a:cubicBezTo>
                    <a:cubicBezTo>
                      <a:pt x="12" y="211"/>
                      <a:pt x="9" y="210"/>
                      <a:pt x="6" y="209"/>
                    </a:cubicBezTo>
                    <a:cubicBezTo>
                      <a:pt x="6" y="182"/>
                      <a:pt x="6" y="182"/>
                      <a:pt x="6" y="182"/>
                    </a:cubicBezTo>
                    <a:cubicBezTo>
                      <a:pt x="8" y="183"/>
                      <a:pt x="11" y="184"/>
                      <a:pt x="14" y="184"/>
                    </a:cubicBezTo>
                    <a:cubicBezTo>
                      <a:pt x="17" y="185"/>
                      <a:pt x="20" y="185"/>
                      <a:pt x="22" y="185"/>
                    </a:cubicBezTo>
                    <a:cubicBezTo>
                      <a:pt x="27" y="185"/>
                      <a:pt x="32" y="184"/>
                      <a:pt x="36" y="181"/>
                    </a:cubicBezTo>
                    <a:cubicBezTo>
                      <a:pt x="41" y="178"/>
                      <a:pt x="45" y="174"/>
                      <a:pt x="47" y="167"/>
                    </a:cubicBezTo>
                    <a:cubicBezTo>
                      <a:pt x="57" y="144"/>
                      <a:pt x="57" y="144"/>
                      <a:pt x="57" y="144"/>
                    </a:cubicBezTo>
                    <a:cubicBezTo>
                      <a:pt x="0" y="0"/>
                      <a:pt x="0" y="0"/>
                      <a:pt x="0" y="0"/>
                    </a:cubicBezTo>
                    <a:cubicBezTo>
                      <a:pt x="36" y="0"/>
                      <a:pt x="36" y="0"/>
                      <a:pt x="36" y="0"/>
                    </a:cubicBezTo>
                    <a:cubicBezTo>
                      <a:pt x="70" y="102"/>
                      <a:pt x="70" y="102"/>
                      <a:pt x="70" y="102"/>
                    </a:cubicBezTo>
                    <a:cubicBezTo>
                      <a:pt x="71" y="104"/>
                      <a:pt x="71" y="106"/>
                      <a:pt x="72" y="109"/>
                    </a:cubicBezTo>
                    <a:cubicBezTo>
                      <a:pt x="72" y="112"/>
                      <a:pt x="73" y="114"/>
                      <a:pt x="73" y="115"/>
                    </a:cubicBezTo>
                    <a:cubicBezTo>
                      <a:pt x="74" y="115"/>
                      <a:pt x="74" y="115"/>
                      <a:pt x="74" y="115"/>
                    </a:cubicBezTo>
                    <a:cubicBezTo>
                      <a:pt x="74" y="114"/>
                      <a:pt x="75" y="112"/>
                      <a:pt x="75" y="109"/>
                    </a:cubicBezTo>
                    <a:cubicBezTo>
                      <a:pt x="76" y="107"/>
                      <a:pt x="76" y="104"/>
                      <a:pt x="77" y="102"/>
                    </a:cubicBezTo>
                    <a:cubicBezTo>
                      <a:pt x="112" y="0"/>
                      <a:pt x="112" y="0"/>
                      <a:pt x="112" y="0"/>
                    </a:cubicBezTo>
                    <a:cubicBezTo>
                      <a:pt x="145" y="0"/>
                      <a:pt x="145" y="0"/>
                      <a:pt x="145" y="0"/>
                    </a:cubicBezTo>
                    <a:lnTo>
                      <a:pt x="83" y="16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00" name="Freeform 34"/>
              <p:cNvSpPr>
                <a:spLocks noEditPoints="1"/>
              </p:cNvSpPr>
              <p:nvPr/>
            </p:nvSpPr>
            <p:spPr bwMode="black">
              <a:xfrm>
                <a:off x="5442137" y="5575584"/>
                <a:ext cx="196065" cy="138767"/>
              </a:xfrm>
              <a:custGeom>
                <a:avLst/>
                <a:gdLst/>
                <a:ahLst/>
                <a:cxnLst>
                  <a:cxn ang="0">
                    <a:pos x="213" y="74"/>
                  </a:cxn>
                  <a:cxn ang="0">
                    <a:pos x="208" y="106"/>
                  </a:cxn>
                  <a:cxn ang="0">
                    <a:pos x="194" y="130"/>
                  </a:cxn>
                  <a:cxn ang="0">
                    <a:pos x="171" y="145"/>
                  </a:cxn>
                  <a:cxn ang="0">
                    <a:pos x="140" y="151"/>
                  </a:cxn>
                  <a:cxn ang="0">
                    <a:pos x="112" y="146"/>
                  </a:cxn>
                  <a:cxn ang="0">
                    <a:pos x="90" y="133"/>
                  </a:cxn>
                  <a:cxn ang="0">
                    <a:pos x="76" y="112"/>
                  </a:cxn>
                  <a:cxn ang="0">
                    <a:pos x="70" y="85"/>
                  </a:cxn>
                  <a:cxn ang="0">
                    <a:pos x="32" y="85"/>
                  </a:cxn>
                  <a:cxn ang="0">
                    <a:pos x="32" y="147"/>
                  </a:cxn>
                  <a:cxn ang="0">
                    <a:pos x="0" y="147"/>
                  </a:cxn>
                  <a:cxn ang="0">
                    <a:pos x="0" y="3"/>
                  </a:cxn>
                  <a:cxn ang="0">
                    <a:pos x="32" y="3"/>
                  </a:cxn>
                  <a:cxn ang="0">
                    <a:pos x="32" y="59"/>
                  </a:cxn>
                  <a:cxn ang="0">
                    <a:pos x="71" y="59"/>
                  </a:cxn>
                  <a:cxn ang="0">
                    <a:pos x="79" y="33"/>
                  </a:cxn>
                  <a:cxn ang="0">
                    <a:pos x="95" y="15"/>
                  </a:cxn>
                  <a:cxn ang="0">
                    <a:pos x="117" y="4"/>
                  </a:cxn>
                  <a:cxn ang="0">
                    <a:pos x="144" y="0"/>
                  </a:cxn>
                  <a:cxn ang="0">
                    <a:pos x="174" y="5"/>
                  </a:cxn>
                  <a:cxn ang="0">
                    <a:pos x="196" y="20"/>
                  </a:cxn>
                  <a:cxn ang="0">
                    <a:pos x="209" y="44"/>
                  </a:cxn>
                  <a:cxn ang="0">
                    <a:pos x="213" y="74"/>
                  </a:cxn>
                  <a:cxn ang="0">
                    <a:pos x="179" y="75"/>
                  </a:cxn>
                  <a:cxn ang="0">
                    <a:pos x="170" y="39"/>
                  </a:cxn>
                  <a:cxn ang="0">
                    <a:pos x="142" y="26"/>
                  </a:cxn>
                  <a:cxn ang="0">
                    <a:pos x="126" y="29"/>
                  </a:cxn>
                  <a:cxn ang="0">
                    <a:pos x="114" y="38"/>
                  </a:cxn>
                  <a:cxn ang="0">
                    <a:pos x="106" y="54"/>
                  </a:cxn>
                  <a:cxn ang="0">
                    <a:pos x="103" y="76"/>
                  </a:cxn>
                  <a:cxn ang="0">
                    <a:pos x="106" y="97"/>
                  </a:cxn>
                  <a:cxn ang="0">
                    <a:pos x="114" y="112"/>
                  </a:cxn>
                  <a:cxn ang="0">
                    <a:pos x="126" y="121"/>
                  </a:cxn>
                  <a:cxn ang="0">
                    <a:pos x="142" y="124"/>
                  </a:cxn>
                  <a:cxn ang="0">
                    <a:pos x="170" y="112"/>
                  </a:cxn>
                  <a:cxn ang="0">
                    <a:pos x="179" y="75"/>
                  </a:cxn>
                </a:cxnLst>
                <a:rect l="0" t="0" r="r" b="b"/>
                <a:pathLst>
                  <a:path w="213" h="151">
                    <a:moveTo>
                      <a:pt x="213" y="74"/>
                    </a:moveTo>
                    <a:cubicBezTo>
                      <a:pt x="213" y="86"/>
                      <a:pt x="211" y="96"/>
                      <a:pt x="208" y="106"/>
                    </a:cubicBezTo>
                    <a:cubicBezTo>
                      <a:pt x="205" y="115"/>
                      <a:pt x="200" y="124"/>
                      <a:pt x="194" y="130"/>
                    </a:cubicBezTo>
                    <a:cubicBezTo>
                      <a:pt x="187" y="137"/>
                      <a:pt x="180" y="142"/>
                      <a:pt x="171" y="145"/>
                    </a:cubicBezTo>
                    <a:cubicBezTo>
                      <a:pt x="162" y="149"/>
                      <a:pt x="151" y="151"/>
                      <a:pt x="140" y="151"/>
                    </a:cubicBezTo>
                    <a:cubicBezTo>
                      <a:pt x="130" y="151"/>
                      <a:pt x="120" y="149"/>
                      <a:pt x="112" y="146"/>
                    </a:cubicBezTo>
                    <a:cubicBezTo>
                      <a:pt x="103" y="143"/>
                      <a:pt x="96" y="139"/>
                      <a:pt x="90" y="133"/>
                    </a:cubicBezTo>
                    <a:cubicBezTo>
                      <a:pt x="84" y="127"/>
                      <a:pt x="80" y="121"/>
                      <a:pt x="76" y="112"/>
                    </a:cubicBezTo>
                    <a:cubicBezTo>
                      <a:pt x="73" y="104"/>
                      <a:pt x="71" y="95"/>
                      <a:pt x="70" y="85"/>
                    </a:cubicBezTo>
                    <a:cubicBezTo>
                      <a:pt x="32" y="85"/>
                      <a:pt x="32" y="85"/>
                      <a:pt x="32" y="85"/>
                    </a:cubicBezTo>
                    <a:cubicBezTo>
                      <a:pt x="32" y="147"/>
                      <a:pt x="32" y="147"/>
                      <a:pt x="32" y="147"/>
                    </a:cubicBezTo>
                    <a:cubicBezTo>
                      <a:pt x="0" y="147"/>
                      <a:pt x="0" y="147"/>
                      <a:pt x="0" y="147"/>
                    </a:cubicBezTo>
                    <a:cubicBezTo>
                      <a:pt x="0" y="3"/>
                      <a:pt x="0" y="3"/>
                      <a:pt x="0" y="3"/>
                    </a:cubicBezTo>
                    <a:cubicBezTo>
                      <a:pt x="32" y="3"/>
                      <a:pt x="32" y="3"/>
                      <a:pt x="32" y="3"/>
                    </a:cubicBezTo>
                    <a:cubicBezTo>
                      <a:pt x="32" y="59"/>
                      <a:pt x="32" y="59"/>
                      <a:pt x="32" y="59"/>
                    </a:cubicBezTo>
                    <a:cubicBezTo>
                      <a:pt x="71" y="59"/>
                      <a:pt x="71" y="59"/>
                      <a:pt x="71" y="59"/>
                    </a:cubicBezTo>
                    <a:cubicBezTo>
                      <a:pt x="72" y="49"/>
                      <a:pt x="75" y="41"/>
                      <a:pt x="79" y="33"/>
                    </a:cubicBezTo>
                    <a:cubicBezTo>
                      <a:pt x="83" y="26"/>
                      <a:pt x="89" y="20"/>
                      <a:pt x="95" y="15"/>
                    </a:cubicBezTo>
                    <a:cubicBezTo>
                      <a:pt x="101" y="10"/>
                      <a:pt x="108" y="6"/>
                      <a:pt x="117" y="4"/>
                    </a:cubicBezTo>
                    <a:cubicBezTo>
                      <a:pt x="125" y="1"/>
                      <a:pt x="134" y="0"/>
                      <a:pt x="144" y="0"/>
                    </a:cubicBezTo>
                    <a:cubicBezTo>
                      <a:pt x="155" y="0"/>
                      <a:pt x="165" y="2"/>
                      <a:pt x="174" y="5"/>
                    </a:cubicBezTo>
                    <a:cubicBezTo>
                      <a:pt x="183" y="9"/>
                      <a:pt x="190" y="14"/>
                      <a:pt x="196" y="20"/>
                    </a:cubicBezTo>
                    <a:cubicBezTo>
                      <a:pt x="202" y="27"/>
                      <a:pt x="206" y="35"/>
                      <a:pt x="209" y="44"/>
                    </a:cubicBezTo>
                    <a:cubicBezTo>
                      <a:pt x="212" y="53"/>
                      <a:pt x="213" y="63"/>
                      <a:pt x="213" y="74"/>
                    </a:cubicBezTo>
                    <a:close/>
                    <a:moveTo>
                      <a:pt x="179" y="75"/>
                    </a:moveTo>
                    <a:cubicBezTo>
                      <a:pt x="179" y="59"/>
                      <a:pt x="176" y="47"/>
                      <a:pt x="170" y="39"/>
                    </a:cubicBezTo>
                    <a:cubicBezTo>
                      <a:pt x="164" y="30"/>
                      <a:pt x="154" y="26"/>
                      <a:pt x="142" y="26"/>
                    </a:cubicBezTo>
                    <a:cubicBezTo>
                      <a:pt x="136" y="26"/>
                      <a:pt x="131" y="27"/>
                      <a:pt x="126" y="29"/>
                    </a:cubicBezTo>
                    <a:cubicBezTo>
                      <a:pt x="121" y="31"/>
                      <a:pt x="117" y="34"/>
                      <a:pt x="114" y="38"/>
                    </a:cubicBezTo>
                    <a:cubicBezTo>
                      <a:pt x="110" y="42"/>
                      <a:pt x="108" y="48"/>
                      <a:pt x="106" y="54"/>
                    </a:cubicBezTo>
                    <a:cubicBezTo>
                      <a:pt x="104" y="60"/>
                      <a:pt x="103" y="67"/>
                      <a:pt x="103" y="76"/>
                    </a:cubicBezTo>
                    <a:cubicBezTo>
                      <a:pt x="103" y="84"/>
                      <a:pt x="104" y="91"/>
                      <a:pt x="106" y="97"/>
                    </a:cubicBezTo>
                    <a:cubicBezTo>
                      <a:pt x="108" y="103"/>
                      <a:pt x="110" y="108"/>
                      <a:pt x="114" y="112"/>
                    </a:cubicBezTo>
                    <a:cubicBezTo>
                      <a:pt x="117" y="116"/>
                      <a:pt x="121" y="119"/>
                      <a:pt x="126" y="121"/>
                    </a:cubicBezTo>
                    <a:cubicBezTo>
                      <a:pt x="131" y="123"/>
                      <a:pt x="136" y="124"/>
                      <a:pt x="142" y="124"/>
                    </a:cubicBezTo>
                    <a:cubicBezTo>
                      <a:pt x="155" y="124"/>
                      <a:pt x="164" y="120"/>
                      <a:pt x="170" y="112"/>
                    </a:cubicBezTo>
                    <a:cubicBezTo>
                      <a:pt x="176" y="103"/>
                      <a:pt x="179" y="91"/>
                      <a:pt x="179"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94" name="Group 93"/>
            <p:cNvGrpSpPr/>
            <p:nvPr/>
          </p:nvGrpSpPr>
          <p:grpSpPr bwMode="black">
            <a:xfrm>
              <a:off x="6830647" y="4234091"/>
              <a:ext cx="1055000" cy="158656"/>
              <a:chOff x="6018781" y="5575586"/>
              <a:chExt cx="1059017" cy="164779"/>
            </a:xfrm>
            <a:grpFill/>
            <a:effectLst/>
          </p:grpSpPr>
          <p:sp>
            <p:nvSpPr>
              <p:cNvPr id="288" name="Freeform 17"/>
              <p:cNvSpPr>
                <a:spLocks noEditPoints="1"/>
              </p:cNvSpPr>
              <p:nvPr/>
            </p:nvSpPr>
            <p:spPr bwMode="black">
              <a:xfrm>
                <a:off x="6018781" y="5584901"/>
                <a:ext cx="128804" cy="152573"/>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8"/>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8"/>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8"/>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89" name="Freeform 18"/>
              <p:cNvSpPr>
                <a:spLocks noEditPoints="1"/>
              </p:cNvSpPr>
              <p:nvPr/>
            </p:nvSpPr>
            <p:spPr bwMode="black">
              <a:xfrm>
                <a:off x="6159148" y="5625694"/>
                <a:ext cx="91865" cy="11467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0"/>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2"/>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7"/>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90" name="Freeform 19"/>
              <p:cNvSpPr>
                <a:spLocks/>
              </p:cNvSpPr>
              <p:nvPr/>
            </p:nvSpPr>
            <p:spPr bwMode="black">
              <a:xfrm>
                <a:off x="6274461" y="5625694"/>
                <a:ext cx="96362" cy="111780"/>
              </a:xfrm>
              <a:custGeom>
                <a:avLst/>
                <a:gdLst/>
                <a:ahLst/>
                <a:cxnLst>
                  <a:cxn ang="0">
                    <a:pos x="95" y="147"/>
                  </a:cxn>
                  <a:cxn ang="0">
                    <a:pos x="95" y="66"/>
                  </a:cxn>
                  <a:cxn ang="0">
                    <a:pos x="88" y="36"/>
                  </a:cxn>
                  <a:cxn ang="0">
                    <a:pos x="66" y="26"/>
                  </a:cxn>
                  <a:cxn ang="0">
                    <a:pos x="53" y="29"/>
                  </a:cxn>
                  <a:cxn ang="0">
                    <a:pos x="42" y="37"/>
                  </a:cxn>
                  <a:cxn ang="0">
                    <a:pos x="35" y="50"/>
                  </a:cxn>
                  <a:cxn ang="0">
                    <a:pos x="32" y="65"/>
                  </a:cxn>
                  <a:cxn ang="0">
                    <a:pos x="32" y="147"/>
                  </a:cxn>
                  <a:cxn ang="0">
                    <a:pos x="0" y="147"/>
                  </a:cxn>
                  <a:cxn ang="0">
                    <a:pos x="0" y="3"/>
                  </a:cxn>
                  <a:cxn ang="0">
                    <a:pos x="32" y="3"/>
                  </a:cxn>
                  <a:cxn ang="0">
                    <a:pos x="32" y="26"/>
                  </a:cxn>
                  <a:cxn ang="0">
                    <a:pos x="33" y="26"/>
                  </a:cxn>
                  <a:cxn ang="0">
                    <a:pos x="53" y="6"/>
                  </a:cxn>
                  <a:cxn ang="0">
                    <a:pos x="79" y="0"/>
                  </a:cxn>
                  <a:cxn ang="0">
                    <a:pos x="115" y="14"/>
                  </a:cxn>
                  <a:cxn ang="0">
                    <a:pos x="127" y="59"/>
                  </a:cxn>
                  <a:cxn ang="0">
                    <a:pos x="127" y="147"/>
                  </a:cxn>
                  <a:cxn ang="0">
                    <a:pos x="95" y="147"/>
                  </a:cxn>
                </a:cxnLst>
                <a:rect l="0" t="0" r="r" b="b"/>
                <a:pathLst>
                  <a:path w="127" h="147">
                    <a:moveTo>
                      <a:pt x="95" y="147"/>
                    </a:moveTo>
                    <a:cubicBezTo>
                      <a:pt x="95" y="66"/>
                      <a:pt x="95" y="66"/>
                      <a:pt x="95" y="66"/>
                    </a:cubicBezTo>
                    <a:cubicBezTo>
                      <a:pt x="95" y="53"/>
                      <a:pt x="93" y="43"/>
                      <a:pt x="88" y="36"/>
                    </a:cubicBezTo>
                    <a:cubicBezTo>
                      <a:pt x="84" y="30"/>
                      <a:pt x="76" y="26"/>
                      <a:pt x="66" y="26"/>
                    </a:cubicBezTo>
                    <a:cubicBezTo>
                      <a:pt x="61" y="26"/>
                      <a:pt x="57" y="27"/>
                      <a:pt x="53" y="29"/>
                    </a:cubicBezTo>
                    <a:cubicBezTo>
                      <a:pt x="49" y="31"/>
                      <a:pt x="45" y="34"/>
                      <a:pt x="42" y="37"/>
                    </a:cubicBezTo>
                    <a:cubicBezTo>
                      <a:pt x="39" y="41"/>
                      <a:pt x="36" y="45"/>
                      <a:pt x="35" y="50"/>
                    </a:cubicBezTo>
                    <a:cubicBezTo>
                      <a:pt x="33" y="54"/>
                      <a:pt x="32" y="60"/>
                      <a:pt x="32" y="65"/>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9" y="17"/>
                      <a:pt x="45" y="10"/>
                      <a:pt x="53" y="6"/>
                    </a:cubicBezTo>
                    <a:cubicBezTo>
                      <a:pt x="61" y="2"/>
                      <a:pt x="70" y="0"/>
                      <a:pt x="79" y="0"/>
                    </a:cubicBezTo>
                    <a:cubicBezTo>
                      <a:pt x="95" y="0"/>
                      <a:pt x="106" y="5"/>
                      <a:pt x="115" y="14"/>
                    </a:cubicBezTo>
                    <a:cubicBezTo>
                      <a:pt x="123" y="24"/>
                      <a:pt x="127" y="39"/>
                      <a:pt x="127" y="59"/>
                    </a:cubicBezTo>
                    <a:cubicBezTo>
                      <a:pt x="127" y="147"/>
                      <a:pt x="127" y="147"/>
                      <a:pt x="127" y="147"/>
                    </a:cubicBezTo>
                    <a:lnTo>
                      <a:pt x="95"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91" name="Freeform 20"/>
              <p:cNvSpPr>
                <a:spLocks/>
              </p:cNvSpPr>
              <p:nvPr/>
            </p:nvSpPr>
            <p:spPr bwMode="black">
              <a:xfrm>
                <a:off x="6397483" y="5575586"/>
                <a:ext cx="99895" cy="161888"/>
              </a:xfrm>
              <a:custGeom>
                <a:avLst/>
                <a:gdLst/>
                <a:ahLst/>
                <a:cxnLst>
                  <a:cxn ang="0">
                    <a:pos x="210" y="504"/>
                  </a:cxn>
                  <a:cxn ang="0">
                    <a:pos x="77" y="341"/>
                  </a:cxn>
                  <a:cxn ang="0">
                    <a:pos x="75" y="341"/>
                  </a:cxn>
                  <a:cxn ang="0">
                    <a:pos x="75" y="504"/>
                  </a:cxn>
                  <a:cxn ang="0">
                    <a:pos x="0" y="504"/>
                  </a:cxn>
                  <a:cxn ang="0">
                    <a:pos x="0" y="0"/>
                  </a:cxn>
                  <a:cxn ang="0">
                    <a:pos x="75" y="0"/>
                  </a:cxn>
                  <a:cxn ang="0">
                    <a:pos x="75" y="319"/>
                  </a:cxn>
                  <a:cxn ang="0">
                    <a:pos x="77" y="319"/>
                  </a:cxn>
                  <a:cxn ang="0">
                    <a:pos x="203" y="163"/>
                  </a:cxn>
                  <a:cxn ang="0">
                    <a:pos x="302" y="163"/>
                  </a:cxn>
                  <a:cxn ang="0">
                    <a:pos x="155" y="326"/>
                  </a:cxn>
                  <a:cxn ang="0">
                    <a:pos x="311" y="504"/>
                  </a:cxn>
                  <a:cxn ang="0">
                    <a:pos x="210" y="504"/>
                  </a:cxn>
                </a:cxnLst>
                <a:rect l="0" t="0" r="r" b="b"/>
                <a:pathLst>
                  <a:path w="311" h="504">
                    <a:moveTo>
                      <a:pt x="210" y="504"/>
                    </a:moveTo>
                    <a:lnTo>
                      <a:pt x="77" y="341"/>
                    </a:lnTo>
                    <a:lnTo>
                      <a:pt x="75" y="341"/>
                    </a:lnTo>
                    <a:lnTo>
                      <a:pt x="75" y="504"/>
                    </a:lnTo>
                    <a:lnTo>
                      <a:pt x="0" y="504"/>
                    </a:lnTo>
                    <a:lnTo>
                      <a:pt x="0" y="0"/>
                    </a:lnTo>
                    <a:lnTo>
                      <a:pt x="75" y="0"/>
                    </a:lnTo>
                    <a:lnTo>
                      <a:pt x="75" y="319"/>
                    </a:lnTo>
                    <a:lnTo>
                      <a:pt x="77" y="319"/>
                    </a:lnTo>
                    <a:lnTo>
                      <a:pt x="203" y="163"/>
                    </a:lnTo>
                    <a:lnTo>
                      <a:pt x="302" y="163"/>
                    </a:lnTo>
                    <a:lnTo>
                      <a:pt x="155" y="326"/>
                    </a:lnTo>
                    <a:lnTo>
                      <a:pt x="311" y="504"/>
                    </a:lnTo>
                    <a:lnTo>
                      <a:pt x="210" y="50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92" name="Freeform 21"/>
              <p:cNvSpPr>
                <a:spLocks/>
              </p:cNvSpPr>
              <p:nvPr/>
            </p:nvSpPr>
            <p:spPr bwMode="black">
              <a:xfrm>
                <a:off x="6561298" y="5627943"/>
                <a:ext cx="97004" cy="112422"/>
              </a:xfrm>
              <a:custGeom>
                <a:avLst/>
                <a:gdLst/>
                <a:ahLst/>
                <a:cxnLst>
                  <a:cxn ang="0">
                    <a:pos x="95" y="144"/>
                  </a:cxn>
                  <a:cxn ang="0">
                    <a:pos x="95" y="123"/>
                  </a:cxn>
                  <a:cxn ang="0">
                    <a:pos x="95" y="123"/>
                  </a:cxn>
                  <a:cxn ang="0">
                    <a:pos x="87" y="132"/>
                  </a:cxn>
                  <a:cxn ang="0">
                    <a:pos x="78" y="140"/>
                  </a:cxn>
                  <a:cxn ang="0">
                    <a:pos x="66" y="146"/>
                  </a:cxn>
                  <a:cxn ang="0">
                    <a:pos x="51" y="148"/>
                  </a:cxn>
                  <a:cxn ang="0">
                    <a:pos x="13" y="133"/>
                  </a:cxn>
                  <a:cxn ang="0">
                    <a:pos x="0" y="88"/>
                  </a:cxn>
                  <a:cxn ang="0">
                    <a:pos x="0" y="0"/>
                  </a:cxn>
                  <a:cxn ang="0">
                    <a:pos x="33" y="0"/>
                  </a:cxn>
                  <a:cxn ang="0">
                    <a:pos x="33" y="83"/>
                  </a:cxn>
                  <a:cxn ang="0">
                    <a:pos x="35" y="101"/>
                  </a:cxn>
                  <a:cxn ang="0">
                    <a:pos x="41" y="113"/>
                  </a:cxn>
                  <a:cxn ang="0">
                    <a:pos x="50" y="119"/>
                  </a:cxn>
                  <a:cxn ang="0">
                    <a:pos x="63" y="121"/>
                  </a:cxn>
                  <a:cxn ang="0">
                    <a:pos x="75" y="119"/>
                  </a:cxn>
                  <a:cxn ang="0">
                    <a:pos x="86" y="111"/>
                  </a:cxn>
                  <a:cxn ang="0">
                    <a:pos x="93" y="99"/>
                  </a:cxn>
                  <a:cxn ang="0">
                    <a:pos x="95" y="83"/>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2"/>
                      <a:pt x="0" y="107"/>
                      <a:pt x="0" y="88"/>
                    </a:cubicBezTo>
                    <a:cubicBezTo>
                      <a:pt x="0" y="0"/>
                      <a:pt x="0" y="0"/>
                      <a:pt x="0" y="0"/>
                    </a:cubicBezTo>
                    <a:cubicBezTo>
                      <a:pt x="33" y="0"/>
                      <a:pt x="33" y="0"/>
                      <a:pt x="33" y="0"/>
                    </a:cubicBezTo>
                    <a:cubicBezTo>
                      <a:pt x="33" y="83"/>
                      <a:pt x="33" y="83"/>
                      <a:pt x="33" y="83"/>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99"/>
                    </a:cubicBezTo>
                    <a:cubicBezTo>
                      <a:pt x="94" y="95"/>
                      <a:pt x="95" y="89"/>
                      <a:pt x="95" y="83"/>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93" name="Freeform 22"/>
              <p:cNvSpPr>
                <a:spLocks/>
              </p:cNvSpPr>
              <p:nvPr/>
            </p:nvSpPr>
            <p:spPr bwMode="black">
              <a:xfrm>
                <a:off x="6727362" y="5584901"/>
                <a:ext cx="207821" cy="152573"/>
              </a:xfrm>
              <a:custGeom>
                <a:avLst/>
                <a:gdLst/>
                <a:ahLst/>
                <a:cxnLst>
                  <a:cxn ang="0">
                    <a:pos x="219" y="201"/>
                  </a:cxn>
                  <a:cxn ang="0">
                    <a:pos x="179" y="201"/>
                  </a:cxn>
                  <a:cxn ang="0">
                    <a:pos x="142" y="61"/>
                  </a:cxn>
                  <a:cxn ang="0">
                    <a:pos x="140" y="56"/>
                  </a:cxn>
                  <a:cxn ang="0">
                    <a:pos x="140" y="50"/>
                  </a:cxn>
                  <a:cxn ang="0">
                    <a:pos x="139" y="45"/>
                  </a:cxn>
                  <a:cxn ang="0">
                    <a:pos x="138" y="39"/>
                  </a:cxn>
                  <a:cxn ang="0">
                    <a:pos x="138" y="39"/>
                  </a:cxn>
                  <a:cxn ang="0">
                    <a:pos x="137" y="45"/>
                  </a:cxn>
                  <a:cxn ang="0">
                    <a:pos x="136" y="50"/>
                  </a:cxn>
                  <a:cxn ang="0">
                    <a:pos x="135" y="56"/>
                  </a:cxn>
                  <a:cxn ang="0">
                    <a:pos x="134" y="61"/>
                  </a:cxn>
                  <a:cxn ang="0">
                    <a:pos x="97" y="201"/>
                  </a:cxn>
                  <a:cxn ang="0">
                    <a:pos x="57" y="201"/>
                  </a:cxn>
                  <a:cxn ang="0">
                    <a:pos x="0" y="0"/>
                  </a:cxn>
                  <a:cxn ang="0">
                    <a:pos x="37" y="0"/>
                  </a:cxn>
                  <a:cxn ang="0">
                    <a:pos x="74" y="146"/>
                  </a:cxn>
                  <a:cxn ang="0">
                    <a:pos x="75" y="151"/>
                  </a:cxn>
                  <a:cxn ang="0">
                    <a:pos x="76" y="157"/>
                  </a:cxn>
                  <a:cxn ang="0">
                    <a:pos x="76" y="162"/>
                  </a:cxn>
                  <a:cxn ang="0">
                    <a:pos x="77" y="167"/>
                  </a:cxn>
                  <a:cxn ang="0">
                    <a:pos x="78" y="167"/>
                  </a:cxn>
                  <a:cxn ang="0">
                    <a:pos x="78" y="163"/>
                  </a:cxn>
                  <a:cxn ang="0">
                    <a:pos x="79" y="157"/>
                  </a:cxn>
                  <a:cxn ang="0">
                    <a:pos x="80" y="151"/>
                  </a:cxn>
                  <a:cxn ang="0">
                    <a:pos x="81" y="145"/>
                  </a:cxn>
                  <a:cxn ang="0">
                    <a:pos x="122" y="0"/>
                  </a:cxn>
                  <a:cxn ang="0">
                    <a:pos x="158" y="0"/>
                  </a:cxn>
                  <a:cxn ang="0">
                    <a:pos x="196" y="147"/>
                  </a:cxn>
                  <a:cxn ang="0">
                    <a:pos x="198" y="157"/>
                  </a:cxn>
                  <a:cxn ang="0">
                    <a:pos x="199" y="167"/>
                  </a:cxn>
                  <a:cxn ang="0">
                    <a:pos x="200" y="167"/>
                  </a:cxn>
                  <a:cxn ang="0">
                    <a:pos x="200" y="162"/>
                  </a:cxn>
                  <a:cxn ang="0">
                    <a:pos x="201" y="156"/>
                  </a:cxn>
                  <a:cxn ang="0">
                    <a:pos x="202" y="151"/>
                  </a:cxn>
                  <a:cxn ang="0">
                    <a:pos x="203" y="146"/>
                  </a:cxn>
                  <a:cxn ang="0">
                    <a:pos x="239" y="0"/>
                  </a:cxn>
                  <a:cxn ang="0">
                    <a:pos x="274" y="0"/>
                  </a:cxn>
                  <a:cxn ang="0">
                    <a:pos x="219" y="201"/>
                  </a:cxn>
                </a:cxnLst>
                <a:rect l="0" t="0" r="r" b="b"/>
                <a:pathLst>
                  <a:path w="274" h="201">
                    <a:moveTo>
                      <a:pt x="219" y="201"/>
                    </a:moveTo>
                    <a:cubicBezTo>
                      <a:pt x="179" y="201"/>
                      <a:pt x="179" y="201"/>
                      <a:pt x="179" y="201"/>
                    </a:cubicBezTo>
                    <a:cubicBezTo>
                      <a:pt x="142" y="61"/>
                      <a:pt x="142" y="61"/>
                      <a:pt x="142" y="61"/>
                    </a:cubicBezTo>
                    <a:cubicBezTo>
                      <a:pt x="141" y="59"/>
                      <a:pt x="141" y="58"/>
                      <a:pt x="140" y="56"/>
                    </a:cubicBezTo>
                    <a:cubicBezTo>
                      <a:pt x="140" y="54"/>
                      <a:pt x="140" y="52"/>
                      <a:pt x="140" y="50"/>
                    </a:cubicBezTo>
                    <a:cubicBezTo>
                      <a:pt x="139" y="48"/>
                      <a:pt x="139" y="47"/>
                      <a:pt x="139" y="45"/>
                    </a:cubicBezTo>
                    <a:cubicBezTo>
                      <a:pt x="139" y="43"/>
                      <a:pt x="138" y="41"/>
                      <a:pt x="138" y="39"/>
                    </a:cubicBezTo>
                    <a:cubicBezTo>
                      <a:pt x="138" y="39"/>
                      <a:pt x="138" y="39"/>
                      <a:pt x="138" y="39"/>
                    </a:cubicBezTo>
                    <a:cubicBezTo>
                      <a:pt x="138" y="41"/>
                      <a:pt x="137" y="43"/>
                      <a:pt x="137" y="45"/>
                    </a:cubicBezTo>
                    <a:cubicBezTo>
                      <a:pt x="137" y="47"/>
                      <a:pt x="137" y="48"/>
                      <a:pt x="136" y="50"/>
                    </a:cubicBezTo>
                    <a:cubicBezTo>
                      <a:pt x="136" y="52"/>
                      <a:pt x="136" y="54"/>
                      <a:pt x="135" y="56"/>
                    </a:cubicBezTo>
                    <a:cubicBezTo>
                      <a:pt x="135" y="58"/>
                      <a:pt x="135" y="59"/>
                      <a:pt x="134" y="61"/>
                    </a:cubicBezTo>
                    <a:cubicBezTo>
                      <a:pt x="97" y="201"/>
                      <a:pt x="97" y="201"/>
                      <a:pt x="97" y="201"/>
                    </a:cubicBezTo>
                    <a:cubicBezTo>
                      <a:pt x="57" y="201"/>
                      <a:pt x="57" y="201"/>
                      <a:pt x="57" y="201"/>
                    </a:cubicBezTo>
                    <a:cubicBezTo>
                      <a:pt x="0" y="0"/>
                      <a:pt x="0" y="0"/>
                      <a:pt x="0" y="0"/>
                    </a:cubicBezTo>
                    <a:cubicBezTo>
                      <a:pt x="37" y="0"/>
                      <a:pt x="37" y="0"/>
                      <a:pt x="37" y="0"/>
                    </a:cubicBezTo>
                    <a:cubicBezTo>
                      <a:pt x="74" y="146"/>
                      <a:pt x="74" y="146"/>
                      <a:pt x="74" y="146"/>
                    </a:cubicBezTo>
                    <a:cubicBezTo>
                      <a:pt x="74" y="147"/>
                      <a:pt x="75" y="149"/>
                      <a:pt x="75" y="151"/>
                    </a:cubicBezTo>
                    <a:cubicBezTo>
                      <a:pt x="75" y="153"/>
                      <a:pt x="76" y="155"/>
                      <a:pt x="76" y="157"/>
                    </a:cubicBezTo>
                    <a:cubicBezTo>
                      <a:pt x="76" y="159"/>
                      <a:pt x="76" y="161"/>
                      <a:pt x="76" y="162"/>
                    </a:cubicBezTo>
                    <a:cubicBezTo>
                      <a:pt x="77" y="164"/>
                      <a:pt x="77" y="166"/>
                      <a:pt x="77" y="167"/>
                    </a:cubicBezTo>
                    <a:cubicBezTo>
                      <a:pt x="78" y="167"/>
                      <a:pt x="78" y="167"/>
                      <a:pt x="78" y="167"/>
                    </a:cubicBezTo>
                    <a:cubicBezTo>
                      <a:pt x="78" y="166"/>
                      <a:pt x="78" y="164"/>
                      <a:pt x="78" y="163"/>
                    </a:cubicBezTo>
                    <a:cubicBezTo>
                      <a:pt x="78" y="161"/>
                      <a:pt x="79" y="159"/>
                      <a:pt x="79" y="157"/>
                    </a:cubicBezTo>
                    <a:cubicBezTo>
                      <a:pt x="79" y="155"/>
                      <a:pt x="80" y="153"/>
                      <a:pt x="80" y="151"/>
                    </a:cubicBezTo>
                    <a:cubicBezTo>
                      <a:pt x="81" y="149"/>
                      <a:pt x="81" y="147"/>
                      <a:pt x="81" y="145"/>
                    </a:cubicBezTo>
                    <a:cubicBezTo>
                      <a:pt x="122" y="0"/>
                      <a:pt x="122" y="0"/>
                      <a:pt x="122" y="0"/>
                    </a:cubicBezTo>
                    <a:cubicBezTo>
                      <a:pt x="158" y="0"/>
                      <a:pt x="158" y="0"/>
                      <a:pt x="158" y="0"/>
                    </a:cubicBezTo>
                    <a:cubicBezTo>
                      <a:pt x="196" y="147"/>
                      <a:pt x="196" y="147"/>
                      <a:pt x="196" y="147"/>
                    </a:cubicBezTo>
                    <a:cubicBezTo>
                      <a:pt x="197" y="150"/>
                      <a:pt x="198" y="153"/>
                      <a:pt x="198" y="157"/>
                    </a:cubicBezTo>
                    <a:cubicBezTo>
                      <a:pt x="199" y="160"/>
                      <a:pt x="199" y="164"/>
                      <a:pt x="199" y="167"/>
                    </a:cubicBezTo>
                    <a:cubicBezTo>
                      <a:pt x="200" y="167"/>
                      <a:pt x="200" y="167"/>
                      <a:pt x="200" y="167"/>
                    </a:cubicBezTo>
                    <a:cubicBezTo>
                      <a:pt x="200" y="166"/>
                      <a:pt x="200" y="164"/>
                      <a:pt x="200" y="162"/>
                    </a:cubicBezTo>
                    <a:cubicBezTo>
                      <a:pt x="201" y="160"/>
                      <a:pt x="201" y="158"/>
                      <a:pt x="201" y="156"/>
                    </a:cubicBezTo>
                    <a:cubicBezTo>
                      <a:pt x="201" y="155"/>
                      <a:pt x="202" y="153"/>
                      <a:pt x="202" y="151"/>
                    </a:cubicBezTo>
                    <a:cubicBezTo>
                      <a:pt x="202" y="149"/>
                      <a:pt x="202" y="148"/>
                      <a:pt x="203" y="146"/>
                    </a:cubicBezTo>
                    <a:cubicBezTo>
                      <a:pt x="239" y="0"/>
                      <a:pt x="239" y="0"/>
                      <a:pt x="239" y="0"/>
                    </a:cubicBezTo>
                    <a:cubicBezTo>
                      <a:pt x="274" y="0"/>
                      <a:pt x="274" y="0"/>
                      <a:pt x="274" y="0"/>
                    </a:cubicBezTo>
                    <a:lnTo>
                      <a:pt x="21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94" name="Freeform 23"/>
              <p:cNvSpPr>
                <a:spLocks noEditPoints="1"/>
              </p:cNvSpPr>
              <p:nvPr/>
            </p:nvSpPr>
            <p:spPr bwMode="black">
              <a:xfrm>
                <a:off x="6934540" y="5625694"/>
                <a:ext cx="99253" cy="114671"/>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2" y="149"/>
                      <a:pt x="86" y="149"/>
                    </a:cubicBezTo>
                    <a:cubicBezTo>
                      <a:pt x="81" y="150"/>
                      <a:pt x="75" y="151"/>
                      <a:pt x="69" y="151"/>
                    </a:cubicBezTo>
                    <a:cubicBezTo>
                      <a:pt x="58" y="151"/>
                      <a:pt x="48" y="149"/>
                      <a:pt x="40" y="146"/>
                    </a:cubicBezTo>
                    <a:cubicBezTo>
                      <a:pt x="32" y="143"/>
                      <a:pt x="24" y="138"/>
                      <a:pt x="18"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95" name="Rectangle 24"/>
              <p:cNvSpPr>
                <a:spLocks noChangeArrowheads="1"/>
              </p:cNvSpPr>
              <p:nvPr/>
            </p:nvSpPr>
            <p:spPr bwMode="black">
              <a:xfrm>
                <a:off x="7052744" y="5575586"/>
                <a:ext cx="25054" cy="161888"/>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95" name="Group 94"/>
            <p:cNvGrpSpPr/>
            <p:nvPr/>
          </p:nvGrpSpPr>
          <p:grpSpPr bwMode="black">
            <a:xfrm>
              <a:off x="5303914" y="2606000"/>
              <a:ext cx="1045751" cy="163878"/>
              <a:chOff x="891368" y="5611897"/>
              <a:chExt cx="1049730" cy="170204"/>
            </a:xfrm>
            <a:grpFill/>
            <a:effectLst/>
          </p:grpSpPr>
          <p:sp>
            <p:nvSpPr>
              <p:cNvPr id="279" name="Freeform 32"/>
              <p:cNvSpPr>
                <a:spLocks/>
              </p:cNvSpPr>
              <p:nvPr/>
            </p:nvSpPr>
            <p:spPr bwMode="black">
              <a:xfrm>
                <a:off x="891368" y="5618377"/>
                <a:ext cx="93741" cy="163724"/>
              </a:xfrm>
              <a:custGeom>
                <a:avLst/>
                <a:gdLst/>
                <a:ahLst/>
                <a:cxnLst>
                  <a:cxn ang="0">
                    <a:pos x="120" y="152"/>
                  </a:cxn>
                  <a:cxn ang="0">
                    <a:pos x="116" y="173"/>
                  </a:cxn>
                  <a:cxn ang="0">
                    <a:pos x="104" y="191"/>
                  </a:cxn>
                  <a:cxn ang="0">
                    <a:pos x="82" y="204"/>
                  </a:cxn>
                  <a:cxn ang="0">
                    <a:pos x="48" y="209"/>
                  </a:cxn>
                  <a:cxn ang="0">
                    <a:pos x="35" y="208"/>
                  </a:cxn>
                  <a:cxn ang="0">
                    <a:pos x="21" y="205"/>
                  </a:cxn>
                  <a:cxn ang="0">
                    <a:pos x="9" y="201"/>
                  </a:cxn>
                  <a:cxn ang="0">
                    <a:pos x="0" y="197"/>
                  </a:cxn>
                  <a:cxn ang="0">
                    <a:pos x="0" y="160"/>
                  </a:cxn>
                  <a:cxn ang="0">
                    <a:pos x="12" y="169"/>
                  </a:cxn>
                  <a:cxn ang="0">
                    <a:pos x="25" y="175"/>
                  </a:cxn>
                  <a:cxn ang="0">
                    <a:pos x="39" y="179"/>
                  </a:cxn>
                  <a:cxn ang="0">
                    <a:pos x="52" y="180"/>
                  </a:cxn>
                  <a:cxn ang="0">
                    <a:pos x="68" y="178"/>
                  </a:cxn>
                  <a:cxn ang="0">
                    <a:pos x="78" y="172"/>
                  </a:cxn>
                  <a:cxn ang="0">
                    <a:pos x="83" y="164"/>
                  </a:cxn>
                  <a:cxn ang="0">
                    <a:pos x="84" y="155"/>
                  </a:cxn>
                  <a:cxn ang="0">
                    <a:pos x="82" y="145"/>
                  </a:cxn>
                  <a:cxn ang="0">
                    <a:pos x="75" y="135"/>
                  </a:cxn>
                  <a:cxn ang="0">
                    <a:pos x="63" y="125"/>
                  </a:cxn>
                  <a:cxn ang="0">
                    <a:pos x="45" y="115"/>
                  </a:cxn>
                  <a:cxn ang="0">
                    <a:pos x="23" y="101"/>
                  </a:cxn>
                  <a:cxn ang="0">
                    <a:pos x="9" y="87"/>
                  </a:cxn>
                  <a:cxn ang="0">
                    <a:pos x="2" y="73"/>
                  </a:cxn>
                  <a:cxn ang="0">
                    <a:pos x="0" y="57"/>
                  </a:cxn>
                  <a:cxn ang="0">
                    <a:pos x="4" y="34"/>
                  </a:cxn>
                  <a:cxn ang="0">
                    <a:pos x="18" y="16"/>
                  </a:cxn>
                  <a:cxn ang="0">
                    <a:pos x="40" y="5"/>
                  </a:cxn>
                  <a:cxn ang="0">
                    <a:pos x="68" y="0"/>
                  </a:cxn>
                  <a:cxn ang="0">
                    <a:pos x="81" y="1"/>
                  </a:cxn>
                  <a:cxn ang="0">
                    <a:pos x="94" y="3"/>
                  </a:cxn>
                  <a:cxn ang="0">
                    <a:pos x="104" y="6"/>
                  </a:cxn>
                  <a:cxn ang="0">
                    <a:pos x="112" y="8"/>
                  </a:cxn>
                  <a:cxn ang="0">
                    <a:pos x="112" y="43"/>
                  </a:cxn>
                  <a:cxn ang="0">
                    <a:pos x="102" y="37"/>
                  </a:cxn>
                  <a:cxn ang="0">
                    <a:pos x="92" y="33"/>
                  </a:cxn>
                  <a:cxn ang="0">
                    <a:pos x="80" y="30"/>
                  </a:cxn>
                  <a:cxn ang="0">
                    <a:pos x="68" y="29"/>
                  </a:cxn>
                  <a:cxn ang="0">
                    <a:pos x="54" y="31"/>
                  </a:cxn>
                  <a:cxn ang="0">
                    <a:pos x="44" y="36"/>
                  </a:cxn>
                  <a:cxn ang="0">
                    <a:pos x="38" y="44"/>
                  </a:cxn>
                  <a:cxn ang="0">
                    <a:pos x="35" y="54"/>
                  </a:cxn>
                  <a:cxn ang="0">
                    <a:pos x="37" y="65"/>
                  </a:cxn>
                  <a:cxn ang="0">
                    <a:pos x="43" y="74"/>
                  </a:cxn>
                  <a:cxn ang="0">
                    <a:pos x="54" y="83"/>
                  </a:cxn>
                  <a:cxn ang="0">
                    <a:pos x="70" y="92"/>
                  </a:cxn>
                  <a:cxn ang="0">
                    <a:pos x="92" y="105"/>
                  </a:cxn>
                  <a:cxn ang="0">
                    <a:pos x="107" y="119"/>
                  </a:cxn>
                  <a:cxn ang="0">
                    <a:pos x="117" y="134"/>
                  </a:cxn>
                  <a:cxn ang="0">
                    <a:pos x="120" y="152"/>
                  </a:cxn>
                </a:cxnLst>
                <a:rect l="0" t="0" r="r" b="b"/>
                <a:pathLst>
                  <a:path w="120" h="209">
                    <a:moveTo>
                      <a:pt x="120" y="152"/>
                    </a:moveTo>
                    <a:cubicBezTo>
                      <a:pt x="120" y="159"/>
                      <a:pt x="119" y="166"/>
                      <a:pt x="116" y="173"/>
                    </a:cubicBezTo>
                    <a:cubicBezTo>
                      <a:pt x="114" y="180"/>
                      <a:pt x="110" y="186"/>
                      <a:pt x="104" y="191"/>
                    </a:cubicBezTo>
                    <a:cubicBezTo>
                      <a:pt x="98" y="196"/>
                      <a:pt x="91" y="201"/>
                      <a:pt x="82" y="204"/>
                    </a:cubicBezTo>
                    <a:cubicBezTo>
                      <a:pt x="73" y="207"/>
                      <a:pt x="62" y="209"/>
                      <a:pt x="48" y="209"/>
                    </a:cubicBezTo>
                    <a:cubicBezTo>
                      <a:pt x="44" y="209"/>
                      <a:pt x="40" y="208"/>
                      <a:pt x="35" y="208"/>
                    </a:cubicBezTo>
                    <a:cubicBezTo>
                      <a:pt x="30" y="207"/>
                      <a:pt x="26" y="206"/>
                      <a:pt x="21" y="205"/>
                    </a:cubicBezTo>
                    <a:cubicBezTo>
                      <a:pt x="17" y="204"/>
                      <a:pt x="13" y="203"/>
                      <a:pt x="9" y="201"/>
                    </a:cubicBezTo>
                    <a:cubicBezTo>
                      <a:pt x="6" y="200"/>
                      <a:pt x="3" y="198"/>
                      <a:pt x="0" y="197"/>
                    </a:cubicBezTo>
                    <a:cubicBezTo>
                      <a:pt x="0" y="160"/>
                      <a:pt x="0" y="160"/>
                      <a:pt x="0" y="160"/>
                    </a:cubicBezTo>
                    <a:cubicBezTo>
                      <a:pt x="4" y="163"/>
                      <a:pt x="7" y="166"/>
                      <a:pt x="12" y="169"/>
                    </a:cubicBezTo>
                    <a:cubicBezTo>
                      <a:pt x="16" y="171"/>
                      <a:pt x="20" y="173"/>
                      <a:pt x="25" y="175"/>
                    </a:cubicBezTo>
                    <a:cubicBezTo>
                      <a:pt x="30" y="177"/>
                      <a:pt x="34" y="178"/>
                      <a:pt x="39" y="179"/>
                    </a:cubicBezTo>
                    <a:cubicBezTo>
                      <a:pt x="43" y="180"/>
                      <a:pt x="48" y="180"/>
                      <a:pt x="52" y="180"/>
                    </a:cubicBezTo>
                    <a:cubicBezTo>
                      <a:pt x="58" y="180"/>
                      <a:pt x="64" y="179"/>
                      <a:pt x="68" y="178"/>
                    </a:cubicBezTo>
                    <a:cubicBezTo>
                      <a:pt x="72" y="176"/>
                      <a:pt x="76" y="174"/>
                      <a:pt x="78" y="172"/>
                    </a:cubicBezTo>
                    <a:cubicBezTo>
                      <a:pt x="80" y="170"/>
                      <a:pt x="82" y="167"/>
                      <a:pt x="83" y="164"/>
                    </a:cubicBezTo>
                    <a:cubicBezTo>
                      <a:pt x="84" y="161"/>
                      <a:pt x="84" y="158"/>
                      <a:pt x="84" y="155"/>
                    </a:cubicBezTo>
                    <a:cubicBezTo>
                      <a:pt x="84" y="151"/>
                      <a:pt x="84" y="148"/>
                      <a:pt x="82" y="145"/>
                    </a:cubicBezTo>
                    <a:cubicBezTo>
                      <a:pt x="81" y="141"/>
                      <a:pt x="78" y="138"/>
                      <a:pt x="75" y="135"/>
                    </a:cubicBezTo>
                    <a:cubicBezTo>
                      <a:pt x="72" y="132"/>
                      <a:pt x="68" y="129"/>
                      <a:pt x="63" y="125"/>
                    </a:cubicBezTo>
                    <a:cubicBezTo>
                      <a:pt x="58" y="122"/>
                      <a:pt x="52" y="119"/>
                      <a:pt x="45" y="115"/>
                    </a:cubicBezTo>
                    <a:cubicBezTo>
                      <a:pt x="36" y="110"/>
                      <a:pt x="29" y="106"/>
                      <a:pt x="23" y="101"/>
                    </a:cubicBezTo>
                    <a:cubicBezTo>
                      <a:pt x="17" y="97"/>
                      <a:pt x="13" y="92"/>
                      <a:pt x="9" y="87"/>
                    </a:cubicBezTo>
                    <a:cubicBezTo>
                      <a:pt x="6" y="83"/>
                      <a:pt x="3" y="78"/>
                      <a:pt x="2" y="73"/>
                    </a:cubicBezTo>
                    <a:cubicBezTo>
                      <a:pt x="0" y="68"/>
                      <a:pt x="0" y="62"/>
                      <a:pt x="0" y="57"/>
                    </a:cubicBezTo>
                    <a:cubicBezTo>
                      <a:pt x="0" y="49"/>
                      <a:pt x="1" y="41"/>
                      <a:pt x="4" y="34"/>
                    </a:cubicBezTo>
                    <a:cubicBezTo>
                      <a:pt x="8" y="27"/>
                      <a:pt x="12" y="21"/>
                      <a:pt x="18" y="16"/>
                    </a:cubicBezTo>
                    <a:cubicBezTo>
                      <a:pt x="24" y="11"/>
                      <a:pt x="31" y="7"/>
                      <a:pt x="40" y="5"/>
                    </a:cubicBezTo>
                    <a:cubicBezTo>
                      <a:pt x="48" y="2"/>
                      <a:pt x="58" y="0"/>
                      <a:pt x="68" y="0"/>
                    </a:cubicBezTo>
                    <a:cubicBezTo>
                      <a:pt x="72" y="0"/>
                      <a:pt x="77" y="1"/>
                      <a:pt x="81" y="1"/>
                    </a:cubicBezTo>
                    <a:cubicBezTo>
                      <a:pt x="86" y="2"/>
                      <a:pt x="90" y="2"/>
                      <a:pt x="94" y="3"/>
                    </a:cubicBezTo>
                    <a:cubicBezTo>
                      <a:pt x="98" y="4"/>
                      <a:pt x="101" y="5"/>
                      <a:pt x="104" y="6"/>
                    </a:cubicBezTo>
                    <a:cubicBezTo>
                      <a:pt x="108" y="6"/>
                      <a:pt x="110" y="7"/>
                      <a:pt x="112" y="8"/>
                    </a:cubicBezTo>
                    <a:cubicBezTo>
                      <a:pt x="112" y="43"/>
                      <a:pt x="112" y="43"/>
                      <a:pt x="112" y="43"/>
                    </a:cubicBezTo>
                    <a:cubicBezTo>
                      <a:pt x="109" y="41"/>
                      <a:pt x="106" y="39"/>
                      <a:pt x="102" y="37"/>
                    </a:cubicBezTo>
                    <a:cubicBezTo>
                      <a:pt x="99" y="35"/>
                      <a:pt x="95" y="34"/>
                      <a:pt x="92" y="33"/>
                    </a:cubicBezTo>
                    <a:cubicBezTo>
                      <a:pt x="88" y="31"/>
                      <a:pt x="84" y="31"/>
                      <a:pt x="80" y="30"/>
                    </a:cubicBezTo>
                    <a:cubicBezTo>
                      <a:pt x="76" y="29"/>
                      <a:pt x="72" y="29"/>
                      <a:pt x="68" y="29"/>
                    </a:cubicBezTo>
                    <a:cubicBezTo>
                      <a:pt x="63" y="29"/>
                      <a:pt x="58" y="30"/>
                      <a:pt x="54" y="31"/>
                    </a:cubicBezTo>
                    <a:cubicBezTo>
                      <a:pt x="50" y="32"/>
                      <a:pt x="47" y="34"/>
                      <a:pt x="44" y="36"/>
                    </a:cubicBezTo>
                    <a:cubicBezTo>
                      <a:pt x="41" y="38"/>
                      <a:pt x="39" y="41"/>
                      <a:pt x="38" y="44"/>
                    </a:cubicBezTo>
                    <a:cubicBezTo>
                      <a:pt x="36" y="47"/>
                      <a:pt x="35" y="51"/>
                      <a:pt x="35" y="54"/>
                    </a:cubicBezTo>
                    <a:cubicBezTo>
                      <a:pt x="35" y="58"/>
                      <a:pt x="36" y="62"/>
                      <a:pt x="37" y="65"/>
                    </a:cubicBezTo>
                    <a:cubicBezTo>
                      <a:pt x="38" y="68"/>
                      <a:pt x="40" y="71"/>
                      <a:pt x="43" y="74"/>
                    </a:cubicBezTo>
                    <a:cubicBezTo>
                      <a:pt x="46" y="77"/>
                      <a:pt x="49" y="80"/>
                      <a:pt x="54" y="83"/>
                    </a:cubicBezTo>
                    <a:cubicBezTo>
                      <a:pt x="58" y="86"/>
                      <a:pt x="64" y="89"/>
                      <a:pt x="70" y="92"/>
                    </a:cubicBezTo>
                    <a:cubicBezTo>
                      <a:pt x="78" y="96"/>
                      <a:pt x="86" y="101"/>
                      <a:pt x="92" y="105"/>
                    </a:cubicBezTo>
                    <a:cubicBezTo>
                      <a:pt x="98" y="109"/>
                      <a:pt x="103" y="114"/>
                      <a:pt x="107" y="119"/>
                    </a:cubicBezTo>
                    <a:cubicBezTo>
                      <a:pt x="112" y="123"/>
                      <a:pt x="115" y="129"/>
                      <a:pt x="117" y="134"/>
                    </a:cubicBezTo>
                    <a:cubicBezTo>
                      <a:pt x="119" y="139"/>
                      <a:pt x="120" y="145"/>
                      <a:pt x="120" y="15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80" name="Freeform 33"/>
              <p:cNvSpPr>
                <a:spLocks noEditPoints="1"/>
              </p:cNvSpPr>
              <p:nvPr/>
            </p:nvSpPr>
            <p:spPr bwMode="black">
              <a:xfrm>
                <a:off x="99677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5"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81" name="Rectangle 34"/>
              <p:cNvSpPr>
                <a:spLocks noChangeArrowheads="1"/>
              </p:cNvSpPr>
              <p:nvPr/>
            </p:nvSpPr>
            <p:spPr bwMode="black">
              <a:xfrm>
                <a:off x="1115570" y="5611897"/>
                <a:ext cx="25055" cy="167180"/>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82" name="Freeform 35"/>
              <p:cNvSpPr>
                <a:spLocks noEditPoints="1"/>
              </p:cNvSpPr>
              <p:nvPr/>
            </p:nvSpPr>
            <p:spPr bwMode="black">
              <a:xfrm>
                <a:off x="1160928" y="5663736"/>
                <a:ext cx="93741" cy="118365"/>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7"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2"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83" name="Freeform 36"/>
              <p:cNvSpPr>
                <a:spLocks/>
              </p:cNvSpPr>
              <p:nvPr/>
            </p:nvSpPr>
            <p:spPr bwMode="black">
              <a:xfrm>
                <a:off x="1279293" y="5663736"/>
                <a:ext cx="168043" cy="115341"/>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4" y="66"/>
                  </a:cxn>
                  <a:cxn ang="0">
                    <a:pos x="124" y="147"/>
                  </a:cxn>
                  <a:cxn ang="0">
                    <a:pos x="91" y="147"/>
                  </a:cxn>
                  <a:cxn ang="0">
                    <a:pos x="91" y="63"/>
                  </a:cxn>
                  <a:cxn ang="0">
                    <a:pos x="89" y="46"/>
                  </a:cxn>
                  <a:cxn ang="0">
                    <a:pos x="84" y="35"/>
                  </a:cxn>
                  <a:cxn ang="0">
                    <a:pos x="75"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3" y="2"/>
                  </a:cxn>
                  <a:cxn ang="0">
                    <a:pos x="104" y="7"/>
                  </a:cxn>
                  <a:cxn ang="0">
                    <a:pos x="114"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4" y="61"/>
                      <a:pt x="124" y="66"/>
                    </a:cubicBezTo>
                    <a:cubicBezTo>
                      <a:pt x="124" y="147"/>
                      <a:pt x="124" y="147"/>
                      <a:pt x="124" y="147"/>
                    </a:cubicBezTo>
                    <a:cubicBezTo>
                      <a:pt x="91" y="147"/>
                      <a:pt x="91" y="147"/>
                      <a:pt x="91" y="147"/>
                    </a:cubicBezTo>
                    <a:cubicBezTo>
                      <a:pt x="91" y="63"/>
                      <a:pt x="91" y="63"/>
                      <a:pt x="91" y="63"/>
                    </a:cubicBezTo>
                    <a:cubicBezTo>
                      <a:pt x="91" y="56"/>
                      <a:pt x="91" y="51"/>
                      <a:pt x="89" y="46"/>
                    </a:cubicBezTo>
                    <a:cubicBezTo>
                      <a:pt x="88" y="41"/>
                      <a:pt x="86" y="38"/>
                      <a:pt x="84" y="35"/>
                    </a:cubicBezTo>
                    <a:cubicBezTo>
                      <a:pt x="81" y="32"/>
                      <a:pt x="78" y="30"/>
                      <a:pt x="75" y="28"/>
                    </a:cubicBezTo>
                    <a:cubicBezTo>
                      <a:pt x="71" y="27"/>
                      <a:pt x="67" y="26"/>
                      <a:pt x="63" y="26"/>
                    </a:cubicBezTo>
                    <a:cubicBezTo>
                      <a:pt x="59" y="26"/>
                      <a:pt x="55" y="27"/>
                      <a:pt x="51" y="29"/>
                    </a:cubicBezTo>
                    <a:cubicBezTo>
                      <a:pt x="47" y="31"/>
                      <a:pt x="44" y="34"/>
                      <a:pt x="41" y="37"/>
                    </a:cubicBezTo>
                    <a:cubicBezTo>
                      <a:pt x="39" y="41"/>
                      <a:pt x="37" y="45"/>
                      <a:pt x="35" y="50"/>
                    </a:cubicBezTo>
                    <a:cubicBezTo>
                      <a:pt x="34"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3" y="2"/>
                    </a:cubicBezTo>
                    <a:cubicBezTo>
                      <a:pt x="97" y="3"/>
                      <a:pt x="101" y="5"/>
                      <a:pt x="104" y="7"/>
                    </a:cubicBezTo>
                    <a:cubicBezTo>
                      <a:pt x="108" y="10"/>
                      <a:pt x="111" y="13"/>
                      <a:pt x="114"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84" name="Freeform 37"/>
              <p:cNvSpPr>
                <a:spLocks noEditPoints="1"/>
              </p:cNvSpPr>
              <p:nvPr/>
            </p:nvSpPr>
            <p:spPr bwMode="black">
              <a:xfrm>
                <a:off x="146418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85" name="Freeform 38"/>
              <p:cNvSpPr>
                <a:spLocks/>
              </p:cNvSpPr>
              <p:nvPr/>
            </p:nvSpPr>
            <p:spPr bwMode="black">
              <a:xfrm>
                <a:off x="1571316" y="5632201"/>
                <a:ext cx="71278" cy="149900"/>
              </a:xfrm>
              <a:custGeom>
                <a:avLst/>
                <a:gdLst/>
                <a:ahLst/>
                <a:cxnLst>
                  <a:cxn ang="0">
                    <a:pos x="86" y="188"/>
                  </a:cxn>
                  <a:cxn ang="0">
                    <a:pos x="80" y="189"/>
                  </a:cxn>
                  <a:cxn ang="0">
                    <a:pos x="73" y="190"/>
                  </a:cxn>
                  <a:cxn ang="0">
                    <a:pos x="66" y="191"/>
                  </a:cxn>
                  <a:cxn ang="0">
                    <a:pos x="34" y="179"/>
                  </a:cxn>
                  <a:cxn ang="0">
                    <a:pos x="23" y="145"/>
                  </a:cxn>
                  <a:cxn ang="0">
                    <a:pos x="23" y="69"/>
                  </a:cxn>
                  <a:cxn ang="0">
                    <a:pos x="0" y="69"/>
                  </a:cxn>
                  <a:cxn ang="0">
                    <a:pos x="0" y="43"/>
                  </a:cxn>
                  <a:cxn ang="0">
                    <a:pos x="23" y="43"/>
                  </a:cxn>
                  <a:cxn ang="0">
                    <a:pos x="23" y="10"/>
                  </a:cxn>
                  <a:cxn ang="0">
                    <a:pos x="56" y="0"/>
                  </a:cxn>
                  <a:cxn ang="0">
                    <a:pos x="56" y="43"/>
                  </a:cxn>
                  <a:cxn ang="0">
                    <a:pos x="91" y="43"/>
                  </a:cxn>
                  <a:cxn ang="0">
                    <a:pos x="91" y="69"/>
                  </a:cxn>
                  <a:cxn ang="0">
                    <a:pos x="56" y="69"/>
                  </a:cxn>
                  <a:cxn ang="0">
                    <a:pos x="56" y="139"/>
                  </a:cxn>
                  <a:cxn ang="0">
                    <a:pos x="61" y="158"/>
                  </a:cxn>
                  <a:cxn ang="0">
                    <a:pos x="76" y="164"/>
                  </a:cxn>
                  <a:cxn ang="0">
                    <a:pos x="83"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3" y="160"/>
                      <a:pt x="23" y="145"/>
                    </a:cubicBezTo>
                    <a:cubicBezTo>
                      <a:pt x="23" y="69"/>
                      <a:pt x="23" y="69"/>
                      <a:pt x="23" y="69"/>
                    </a:cubicBezTo>
                    <a:cubicBezTo>
                      <a:pt x="0" y="69"/>
                      <a:pt x="0" y="69"/>
                      <a:pt x="0" y="69"/>
                    </a:cubicBezTo>
                    <a:cubicBezTo>
                      <a:pt x="0" y="43"/>
                      <a:pt x="0" y="43"/>
                      <a:pt x="0" y="43"/>
                    </a:cubicBezTo>
                    <a:cubicBezTo>
                      <a:pt x="23" y="43"/>
                      <a:pt x="23" y="43"/>
                      <a:pt x="23" y="43"/>
                    </a:cubicBezTo>
                    <a:cubicBezTo>
                      <a:pt x="23" y="10"/>
                      <a:pt x="23" y="10"/>
                      <a:pt x="23"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3"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86" name="Freeform 39"/>
              <p:cNvSpPr>
                <a:spLocks noEditPoints="1"/>
              </p:cNvSpPr>
              <p:nvPr/>
            </p:nvSpPr>
            <p:spPr bwMode="black">
              <a:xfrm>
                <a:off x="1721648" y="5621401"/>
                <a:ext cx="104541" cy="157676"/>
              </a:xfrm>
              <a:custGeom>
                <a:avLst/>
                <a:gdLst/>
                <a:ahLst/>
                <a:cxnLst>
                  <a:cxn ang="0">
                    <a:pos x="134" y="62"/>
                  </a:cxn>
                  <a:cxn ang="0">
                    <a:pos x="129" y="88"/>
                  </a:cxn>
                  <a:cxn ang="0">
                    <a:pos x="114" y="109"/>
                  </a:cxn>
                  <a:cxn ang="0">
                    <a:pos x="90" y="123"/>
                  </a:cxn>
                  <a:cxn ang="0">
                    <a:pos x="57" y="129"/>
                  </a:cxn>
                  <a:cxn ang="0">
                    <a:pos x="33" y="129"/>
                  </a:cxn>
                  <a:cxn ang="0">
                    <a:pos x="33" y="201"/>
                  </a:cxn>
                  <a:cxn ang="0">
                    <a:pos x="0" y="201"/>
                  </a:cxn>
                  <a:cxn ang="0">
                    <a:pos x="0" y="0"/>
                  </a:cxn>
                  <a:cxn ang="0">
                    <a:pos x="62" y="0"/>
                  </a:cxn>
                  <a:cxn ang="0">
                    <a:pos x="93" y="4"/>
                  </a:cxn>
                  <a:cxn ang="0">
                    <a:pos x="116" y="17"/>
                  </a:cxn>
                  <a:cxn ang="0">
                    <a:pos x="129" y="36"/>
                  </a:cxn>
                  <a:cxn ang="0">
                    <a:pos x="134" y="62"/>
                  </a:cxn>
                  <a:cxn ang="0">
                    <a:pos x="99" y="63"/>
                  </a:cxn>
                  <a:cxn ang="0">
                    <a:pos x="96" y="49"/>
                  </a:cxn>
                  <a:cxn ang="0">
                    <a:pos x="88" y="38"/>
                  </a:cxn>
                  <a:cxn ang="0">
                    <a:pos x="75" y="30"/>
                  </a:cxn>
                  <a:cxn ang="0">
                    <a:pos x="56" y="28"/>
                  </a:cxn>
                  <a:cxn ang="0">
                    <a:pos x="33" y="28"/>
                  </a:cxn>
                  <a:cxn ang="0">
                    <a:pos x="33" y="100"/>
                  </a:cxn>
                  <a:cxn ang="0">
                    <a:pos x="54" y="100"/>
                  </a:cxn>
                  <a:cxn ang="0">
                    <a:pos x="87" y="91"/>
                  </a:cxn>
                  <a:cxn ang="0">
                    <a:pos x="99" y="63"/>
                  </a:cxn>
                </a:cxnLst>
                <a:rect l="0" t="0" r="r" b="b"/>
                <a:pathLst>
                  <a:path w="134" h="201">
                    <a:moveTo>
                      <a:pt x="134" y="62"/>
                    </a:moveTo>
                    <a:cubicBezTo>
                      <a:pt x="134" y="71"/>
                      <a:pt x="132" y="80"/>
                      <a:pt x="129" y="88"/>
                    </a:cubicBezTo>
                    <a:cubicBezTo>
                      <a:pt x="125" y="96"/>
                      <a:pt x="120" y="103"/>
                      <a:pt x="114" y="109"/>
                    </a:cubicBezTo>
                    <a:cubicBezTo>
                      <a:pt x="107" y="115"/>
                      <a:pt x="99" y="120"/>
                      <a:pt x="90" y="123"/>
                    </a:cubicBezTo>
                    <a:cubicBezTo>
                      <a:pt x="80" y="127"/>
                      <a:pt x="69" y="129"/>
                      <a:pt x="57" y="129"/>
                    </a:cubicBezTo>
                    <a:cubicBezTo>
                      <a:pt x="33" y="129"/>
                      <a:pt x="33" y="129"/>
                      <a:pt x="33" y="129"/>
                    </a:cubicBezTo>
                    <a:cubicBezTo>
                      <a:pt x="33" y="201"/>
                      <a:pt x="33" y="201"/>
                      <a:pt x="33" y="201"/>
                    </a:cubicBezTo>
                    <a:cubicBezTo>
                      <a:pt x="0" y="201"/>
                      <a:pt x="0" y="201"/>
                      <a:pt x="0" y="201"/>
                    </a:cubicBezTo>
                    <a:cubicBezTo>
                      <a:pt x="0" y="0"/>
                      <a:pt x="0" y="0"/>
                      <a:pt x="0" y="0"/>
                    </a:cubicBezTo>
                    <a:cubicBezTo>
                      <a:pt x="62" y="0"/>
                      <a:pt x="62" y="0"/>
                      <a:pt x="62" y="0"/>
                    </a:cubicBezTo>
                    <a:cubicBezTo>
                      <a:pt x="74" y="0"/>
                      <a:pt x="84" y="1"/>
                      <a:pt x="93" y="4"/>
                    </a:cubicBezTo>
                    <a:cubicBezTo>
                      <a:pt x="102" y="7"/>
                      <a:pt x="110" y="11"/>
                      <a:pt x="116" y="17"/>
                    </a:cubicBezTo>
                    <a:cubicBezTo>
                      <a:pt x="122" y="22"/>
                      <a:pt x="126" y="29"/>
                      <a:pt x="129" y="36"/>
                    </a:cubicBezTo>
                    <a:cubicBezTo>
                      <a:pt x="132" y="44"/>
                      <a:pt x="134" y="53"/>
                      <a:pt x="134" y="62"/>
                    </a:cubicBezTo>
                    <a:close/>
                    <a:moveTo>
                      <a:pt x="99" y="63"/>
                    </a:moveTo>
                    <a:cubicBezTo>
                      <a:pt x="99" y="58"/>
                      <a:pt x="98" y="53"/>
                      <a:pt x="96" y="49"/>
                    </a:cubicBezTo>
                    <a:cubicBezTo>
                      <a:pt x="94" y="44"/>
                      <a:pt x="92" y="41"/>
                      <a:pt x="88" y="38"/>
                    </a:cubicBezTo>
                    <a:cubicBezTo>
                      <a:pt x="85" y="34"/>
                      <a:pt x="80" y="32"/>
                      <a:pt x="75" y="30"/>
                    </a:cubicBezTo>
                    <a:cubicBezTo>
                      <a:pt x="69" y="29"/>
                      <a:pt x="63" y="28"/>
                      <a:pt x="56" y="28"/>
                    </a:cubicBezTo>
                    <a:cubicBezTo>
                      <a:pt x="33" y="28"/>
                      <a:pt x="33" y="28"/>
                      <a:pt x="33" y="28"/>
                    </a:cubicBezTo>
                    <a:cubicBezTo>
                      <a:pt x="33" y="100"/>
                      <a:pt x="33" y="100"/>
                      <a:pt x="33" y="100"/>
                    </a:cubicBezTo>
                    <a:cubicBezTo>
                      <a:pt x="54" y="100"/>
                      <a:pt x="54" y="100"/>
                      <a:pt x="54" y="100"/>
                    </a:cubicBezTo>
                    <a:cubicBezTo>
                      <a:pt x="68" y="100"/>
                      <a:pt x="79" y="97"/>
                      <a:pt x="87" y="91"/>
                    </a:cubicBezTo>
                    <a:cubicBezTo>
                      <a:pt x="95" y="85"/>
                      <a:pt x="99" y="76"/>
                      <a:pt x="99" y="6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87" name="Freeform 40"/>
              <p:cNvSpPr>
                <a:spLocks noEditPoints="1"/>
              </p:cNvSpPr>
              <p:nvPr/>
            </p:nvSpPr>
            <p:spPr bwMode="black">
              <a:xfrm>
                <a:off x="1825757" y="5663736"/>
                <a:ext cx="115341" cy="118365"/>
              </a:xfrm>
              <a:custGeom>
                <a:avLst/>
                <a:gdLst/>
                <a:ahLst/>
                <a:cxnLst>
                  <a:cxn ang="0">
                    <a:pos x="148" y="74"/>
                  </a:cxn>
                  <a:cxn ang="0">
                    <a:pos x="142" y="106"/>
                  </a:cxn>
                  <a:cxn ang="0">
                    <a:pos x="127" y="130"/>
                  </a:cxn>
                  <a:cxn ang="0">
                    <a:pos x="103" y="145"/>
                  </a:cxn>
                  <a:cxn ang="0">
                    <a:pos x="73"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2" y="106"/>
                    </a:cubicBezTo>
                    <a:cubicBezTo>
                      <a:pt x="139" y="115"/>
                      <a:pt x="134" y="124"/>
                      <a:pt x="127" y="130"/>
                    </a:cubicBezTo>
                    <a:cubicBezTo>
                      <a:pt x="120" y="137"/>
                      <a:pt x="113" y="142"/>
                      <a:pt x="103" y="145"/>
                    </a:cubicBezTo>
                    <a:cubicBezTo>
                      <a:pt x="94" y="149"/>
                      <a:pt x="84" y="151"/>
                      <a:pt x="73"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5"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7" y="26"/>
                      <a:pt x="74" y="26"/>
                    </a:cubicBezTo>
                    <a:cubicBezTo>
                      <a:pt x="68" y="26"/>
                      <a:pt x="63" y="27"/>
                      <a:pt x="58" y="29"/>
                    </a:cubicBezTo>
                    <a:cubicBezTo>
                      <a:pt x="53" y="31"/>
                      <a:pt x="49" y="34"/>
                      <a:pt x="45" y="38"/>
                    </a:cubicBezTo>
                    <a:cubicBezTo>
                      <a:pt x="42" y="42"/>
                      <a:pt x="39" y="48"/>
                      <a:pt x="37" y="54"/>
                    </a:cubicBezTo>
                    <a:cubicBezTo>
                      <a:pt x="35" y="60"/>
                      <a:pt x="34" y="67"/>
                      <a:pt x="34" y="76"/>
                    </a:cubicBezTo>
                    <a:cubicBezTo>
                      <a:pt x="34" y="84"/>
                      <a:pt x="35" y="91"/>
                      <a:pt x="37" y="97"/>
                    </a:cubicBezTo>
                    <a:cubicBezTo>
                      <a:pt x="39" y="103"/>
                      <a:pt x="41" y="108"/>
                      <a:pt x="45" y="112"/>
                    </a:cubicBezTo>
                    <a:cubicBezTo>
                      <a:pt x="49" y="116"/>
                      <a:pt x="53" y="119"/>
                      <a:pt x="58" y="121"/>
                    </a:cubicBezTo>
                    <a:cubicBezTo>
                      <a:pt x="63" y="123"/>
                      <a:pt x="69" y="124"/>
                      <a:pt x="75" y="124"/>
                    </a:cubicBezTo>
                    <a:cubicBezTo>
                      <a:pt x="87" y="124"/>
                      <a:pt x="97" y="120"/>
                      <a:pt x="104" y="112"/>
                    </a:cubicBezTo>
                    <a:cubicBezTo>
                      <a:pt x="111" y="103"/>
                      <a:pt x="114" y="91"/>
                      <a:pt x="114"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96" name="Group 95"/>
            <p:cNvGrpSpPr/>
            <p:nvPr/>
          </p:nvGrpSpPr>
          <p:grpSpPr bwMode="black">
            <a:xfrm>
              <a:off x="5346669" y="3661883"/>
              <a:ext cx="910106" cy="212267"/>
              <a:chOff x="9053746" y="4958394"/>
              <a:chExt cx="913569" cy="220459"/>
            </a:xfrm>
            <a:grpFill/>
            <a:effectLst/>
          </p:grpSpPr>
          <p:sp>
            <p:nvSpPr>
              <p:cNvPr id="271" name="Freeform 25"/>
              <p:cNvSpPr>
                <a:spLocks noEditPoints="1"/>
              </p:cNvSpPr>
              <p:nvPr/>
            </p:nvSpPr>
            <p:spPr bwMode="black">
              <a:xfrm>
                <a:off x="9053746" y="4965666"/>
                <a:ext cx="150719" cy="162948"/>
              </a:xfrm>
              <a:custGeom>
                <a:avLst/>
                <a:gdLst/>
                <a:ahLst/>
                <a:cxnLst>
                  <a:cxn ang="0">
                    <a:pos x="193" y="103"/>
                  </a:cxn>
                  <a:cxn ang="0">
                    <a:pos x="186" y="146"/>
                  </a:cxn>
                  <a:cxn ang="0">
                    <a:pos x="166" y="180"/>
                  </a:cxn>
                  <a:cxn ang="0">
                    <a:pos x="135" y="201"/>
                  </a:cxn>
                  <a:cxn ang="0">
                    <a:pos x="95" y="209"/>
                  </a:cxn>
                  <a:cxn ang="0">
                    <a:pos x="56" y="201"/>
                  </a:cxn>
                  <a:cxn ang="0">
                    <a:pos x="26" y="180"/>
                  </a:cxn>
                  <a:cxn ang="0">
                    <a:pos x="7" y="148"/>
                  </a:cxn>
                  <a:cxn ang="0">
                    <a:pos x="0" y="107"/>
                  </a:cxn>
                  <a:cxn ang="0">
                    <a:pos x="6" y="64"/>
                  </a:cxn>
                  <a:cxn ang="0">
                    <a:pos x="25" y="31"/>
                  </a:cxn>
                  <a:cxn ang="0">
                    <a:pos x="56" y="8"/>
                  </a:cxn>
                  <a:cxn ang="0">
                    <a:pos x="99" y="0"/>
                  </a:cxn>
                  <a:cxn ang="0">
                    <a:pos x="137" y="8"/>
                  </a:cxn>
                  <a:cxn ang="0">
                    <a:pos x="167" y="28"/>
                  </a:cxn>
                  <a:cxn ang="0">
                    <a:pos x="186" y="61"/>
                  </a:cxn>
                  <a:cxn ang="0">
                    <a:pos x="193" y="103"/>
                  </a:cxn>
                  <a:cxn ang="0">
                    <a:pos x="158" y="106"/>
                  </a:cxn>
                  <a:cxn ang="0">
                    <a:pos x="153" y="73"/>
                  </a:cxn>
                  <a:cxn ang="0">
                    <a:pos x="141" y="49"/>
                  </a:cxn>
                  <a:cxn ang="0">
                    <a:pos x="122" y="35"/>
                  </a:cxn>
                  <a:cxn ang="0">
                    <a:pos x="97" y="30"/>
                  </a:cxn>
                  <a:cxn ang="0">
                    <a:pos x="71" y="36"/>
                  </a:cxn>
                  <a:cxn ang="0">
                    <a:pos x="52" y="51"/>
                  </a:cxn>
                  <a:cxn ang="0">
                    <a:pos x="40" y="74"/>
                  </a:cxn>
                  <a:cxn ang="0">
                    <a:pos x="35" y="104"/>
                  </a:cxn>
                  <a:cxn ang="0">
                    <a:pos x="40" y="136"/>
                  </a:cxn>
                  <a:cxn ang="0">
                    <a:pos x="53" y="159"/>
                  </a:cxn>
                  <a:cxn ang="0">
                    <a:pos x="72" y="174"/>
                  </a:cxn>
                  <a:cxn ang="0">
                    <a:pos x="96" y="179"/>
                  </a:cxn>
                  <a:cxn ang="0">
                    <a:pos x="121" y="174"/>
                  </a:cxn>
                  <a:cxn ang="0">
                    <a:pos x="140" y="160"/>
                  </a:cxn>
                  <a:cxn ang="0">
                    <a:pos x="153" y="137"/>
                  </a:cxn>
                  <a:cxn ang="0">
                    <a:pos x="158" y="106"/>
                  </a:cxn>
                </a:cxnLst>
                <a:rect l="0" t="0" r="r" b="b"/>
                <a:pathLst>
                  <a:path w="193" h="209">
                    <a:moveTo>
                      <a:pt x="193" y="103"/>
                    </a:moveTo>
                    <a:cubicBezTo>
                      <a:pt x="193" y="119"/>
                      <a:pt x="191" y="133"/>
                      <a:pt x="186" y="146"/>
                    </a:cubicBezTo>
                    <a:cubicBezTo>
                      <a:pt x="181" y="159"/>
                      <a:pt x="175" y="171"/>
                      <a:pt x="166" y="180"/>
                    </a:cubicBezTo>
                    <a:cubicBezTo>
                      <a:pt x="158" y="189"/>
                      <a:pt x="147" y="196"/>
                      <a:pt x="135" y="201"/>
                    </a:cubicBezTo>
                    <a:cubicBezTo>
                      <a:pt x="123" y="206"/>
                      <a:pt x="110" y="209"/>
                      <a:pt x="95" y="209"/>
                    </a:cubicBezTo>
                    <a:cubicBezTo>
                      <a:pt x="81" y="209"/>
                      <a:pt x="68" y="206"/>
                      <a:pt x="56" y="201"/>
                    </a:cubicBezTo>
                    <a:cubicBezTo>
                      <a:pt x="44" y="196"/>
                      <a:pt x="34" y="189"/>
                      <a:pt x="26" y="180"/>
                    </a:cubicBezTo>
                    <a:cubicBezTo>
                      <a:pt x="18" y="172"/>
                      <a:pt x="11" y="161"/>
                      <a:pt x="7" y="148"/>
                    </a:cubicBezTo>
                    <a:cubicBezTo>
                      <a:pt x="2" y="136"/>
                      <a:pt x="0" y="122"/>
                      <a:pt x="0" y="107"/>
                    </a:cubicBezTo>
                    <a:cubicBezTo>
                      <a:pt x="0" y="92"/>
                      <a:pt x="2" y="77"/>
                      <a:pt x="6" y="64"/>
                    </a:cubicBezTo>
                    <a:cubicBezTo>
                      <a:pt x="11" y="51"/>
                      <a:pt x="17" y="40"/>
                      <a:pt x="25" y="31"/>
                    </a:cubicBezTo>
                    <a:cubicBezTo>
                      <a:pt x="34" y="21"/>
                      <a:pt x="44" y="14"/>
                      <a:pt x="56" y="8"/>
                    </a:cubicBezTo>
                    <a:cubicBezTo>
                      <a:pt x="69" y="3"/>
                      <a:pt x="83" y="0"/>
                      <a:pt x="99" y="0"/>
                    </a:cubicBezTo>
                    <a:cubicBezTo>
                      <a:pt x="113" y="0"/>
                      <a:pt x="125" y="3"/>
                      <a:pt x="137" y="8"/>
                    </a:cubicBezTo>
                    <a:cubicBezTo>
                      <a:pt x="149" y="13"/>
                      <a:pt x="159" y="19"/>
                      <a:pt x="167" y="28"/>
                    </a:cubicBezTo>
                    <a:cubicBezTo>
                      <a:pt x="175" y="37"/>
                      <a:pt x="182" y="48"/>
                      <a:pt x="186" y="61"/>
                    </a:cubicBezTo>
                    <a:cubicBezTo>
                      <a:pt x="191" y="73"/>
                      <a:pt x="193" y="87"/>
                      <a:pt x="193" y="103"/>
                    </a:cubicBezTo>
                    <a:close/>
                    <a:moveTo>
                      <a:pt x="158" y="106"/>
                    </a:moveTo>
                    <a:cubicBezTo>
                      <a:pt x="158" y="93"/>
                      <a:pt x="156" y="82"/>
                      <a:pt x="153" y="73"/>
                    </a:cubicBezTo>
                    <a:cubicBezTo>
                      <a:pt x="150" y="63"/>
                      <a:pt x="146" y="56"/>
                      <a:pt x="141" y="49"/>
                    </a:cubicBezTo>
                    <a:cubicBezTo>
                      <a:pt x="136" y="43"/>
                      <a:pt x="129" y="38"/>
                      <a:pt x="122" y="35"/>
                    </a:cubicBezTo>
                    <a:cubicBezTo>
                      <a:pt x="115" y="32"/>
                      <a:pt x="106" y="30"/>
                      <a:pt x="97" y="30"/>
                    </a:cubicBezTo>
                    <a:cubicBezTo>
                      <a:pt x="88" y="30"/>
                      <a:pt x="79" y="32"/>
                      <a:pt x="71" y="36"/>
                    </a:cubicBezTo>
                    <a:cubicBezTo>
                      <a:pt x="64" y="39"/>
                      <a:pt x="57" y="44"/>
                      <a:pt x="52" y="51"/>
                    </a:cubicBezTo>
                    <a:cubicBezTo>
                      <a:pt x="47" y="57"/>
                      <a:pt x="42" y="65"/>
                      <a:pt x="40" y="74"/>
                    </a:cubicBezTo>
                    <a:cubicBezTo>
                      <a:pt x="37" y="84"/>
                      <a:pt x="35" y="94"/>
                      <a:pt x="35" y="104"/>
                    </a:cubicBezTo>
                    <a:cubicBezTo>
                      <a:pt x="35" y="116"/>
                      <a:pt x="37" y="127"/>
                      <a:pt x="40" y="136"/>
                    </a:cubicBezTo>
                    <a:cubicBezTo>
                      <a:pt x="43" y="145"/>
                      <a:pt x="47" y="153"/>
                      <a:pt x="53" y="159"/>
                    </a:cubicBezTo>
                    <a:cubicBezTo>
                      <a:pt x="58" y="166"/>
                      <a:pt x="64" y="171"/>
                      <a:pt x="72" y="174"/>
                    </a:cubicBezTo>
                    <a:cubicBezTo>
                      <a:pt x="79" y="177"/>
                      <a:pt x="87" y="179"/>
                      <a:pt x="96" y="179"/>
                    </a:cubicBezTo>
                    <a:cubicBezTo>
                      <a:pt x="105" y="179"/>
                      <a:pt x="113" y="177"/>
                      <a:pt x="121" y="174"/>
                    </a:cubicBezTo>
                    <a:cubicBezTo>
                      <a:pt x="128" y="171"/>
                      <a:pt x="135" y="167"/>
                      <a:pt x="140" y="160"/>
                    </a:cubicBezTo>
                    <a:cubicBezTo>
                      <a:pt x="146" y="154"/>
                      <a:pt x="150" y="147"/>
                      <a:pt x="153" y="137"/>
                    </a:cubicBezTo>
                    <a:cubicBezTo>
                      <a:pt x="156" y="128"/>
                      <a:pt x="158" y="118"/>
                      <a:pt x="158"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72" name="Freeform 26"/>
              <p:cNvSpPr>
                <a:spLocks noEditPoints="1"/>
              </p:cNvSpPr>
              <p:nvPr/>
            </p:nvSpPr>
            <p:spPr bwMode="black">
              <a:xfrm>
                <a:off x="9226280" y="4959385"/>
                <a:ext cx="108412" cy="169228"/>
              </a:xfrm>
              <a:custGeom>
                <a:avLst/>
                <a:gdLst/>
                <a:ahLst/>
                <a:cxnLst>
                  <a:cxn ang="0">
                    <a:pos x="139" y="137"/>
                  </a:cxn>
                  <a:cxn ang="0">
                    <a:pos x="135" y="169"/>
                  </a:cxn>
                  <a:cxn ang="0">
                    <a:pos x="122" y="194"/>
                  </a:cxn>
                  <a:cxn ang="0">
                    <a:pos x="102" y="211"/>
                  </a:cxn>
                  <a:cxn ang="0">
                    <a:pos x="74" y="217"/>
                  </a:cxn>
                  <a:cxn ang="0">
                    <a:pos x="60" y="215"/>
                  </a:cxn>
                  <a:cxn ang="0">
                    <a:pos x="49" y="211"/>
                  </a:cxn>
                  <a:cxn ang="0">
                    <a:pos x="40" y="204"/>
                  </a:cxn>
                  <a:cxn ang="0">
                    <a:pos x="33" y="195"/>
                  </a:cxn>
                  <a:cxn ang="0">
                    <a:pos x="32" y="195"/>
                  </a:cxn>
                  <a:cxn ang="0">
                    <a:pos x="32" y="213"/>
                  </a:cxn>
                  <a:cxn ang="0">
                    <a:pos x="0" y="213"/>
                  </a:cxn>
                  <a:cxn ang="0">
                    <a:pos x="0" y="0"/>
                  </a:cxn>
                  <a:cxn ang="0">
                    <a:pos x="32" y="0"/>
                  </a:cxn>
                  <a:cxn ang="0">
                    <a:pos x="32" y="92"/>
                  </a:cxn>
                  <a:cxn ang="0">
                    <a:pos x="33" y="92"/>
                  </a:cxn>
                  <a:cxn ang="0">
                    <a:pos x="41" y="82"/>
                  </a:cxn>
                  <a:cxn ang="0">
                    <a:pos x="52" y="73"/>
                  </a:cxn>
                  <a:cxn ang="0">
                    <a:pos x="65" y="68"/>
                  </a:cxn>
                  <a:cxn ang="0">
                    <a:pos x="80" y="66"/>
                  </a:cxn>
                  <a:cxn ang="0">
                    <a:pos x="107" y="72"/>
                  </a:cxn>
                  <a:cxn ang="0">
                    <a:pos x="125" y="87"/>
                  </a:cxn>
                  <a:cxn ang="0">
                    <a:pos x="136" y="110"/>
                  </a:cxn>
                  <a:cxn ang="0">
                    <a:pos x="139" y="137"/>
                  </a:cxn>
                  <a:cxn ang="0">
                    <a:pos x="106" y="137"/>
                  </a:cxn>
                  <a:cxn ang="0">
                    <a:pos x="103" y="118"/>
                  </a:cxn>
                  <a:cxn ang="0">
                    <a:pos x="96" y="104"/>
                  </a:cxn>
                  <a:cxn ang="0">
                    <a:pos x="85" y="95"/>
                  </a:cxn>
                  <a:cxn ang="0">
                    <a:pos x="70" y="92"/>
                  </a:cxn>
                  <a:cxn ang="0">
                    <a:pos x="54" y="95"/>
                  </a:cxn>
                  <a:cxn ang="0">
                    <a:pos x="42" y="104"/>
                  </a:cxn>
                  <a:cxn ang="0">
                    <a:pos x="35" y="118"/>
                  </a:cxn>
                  <a:cxn ang="0">
                    <a:pos x="32" y="135"/>
                  </a:cxn>
                  <a:cxn ang="0">
                    <a:pos x="32" y="154"/>
                  </a:cxn>
                  <a:cxn ang="0">
                    <a:pos x="34" y="168"/>
                  </a:cxn>
                  <a:cxn ang="0">
                    <a:pos x="42" y="180"/>
                  </a:cxn>
                  <a:cxn ang="0">
                    <a:pos x="53" y="187"/>
                  </a:cxn>
                  <a:cxn ang="0">
                    <a:pos x="67" y="190"/>
                  </a:cxn>
                  <a:cxn ang="0">
                    <a:pos x="83" y="187"/>
                  </a:cxn>
                  <a:cxn ang="0">
                    <a:pos x="95" y="177"/>
                  </a:cxn>
                  <a:cxn ang="0">
                    <a:pos x="103" y="160"/>
                  </a:cxn>
                  <a:cxn ang="0">
                    <a:pos x="106" y="137"/>
                  </a:cxn>
                </a:cxnLst>
                <a:rect l="0" t="0" r="r" b="b"/>
                <a:pathLst>
                  <a:path w="139" h="217">
                    <a:moveTo>
                      <a:pt x="139" y="137"/>
                    </a:moveTo>
                    <a:cubicBezTo>
                      <a:pt x="139" y="149"/>
                      <a:pt x="138" y="159"/>
                      <a:pt x="135" y="169"/>
                    </a:cubicBezTo>
                    <a:cubicBezTo>
                      <a:pt x="132" y="179"/>
                      <a:pt x="128" y="187"/>
                      <a:pt x="122" y="194"/>
                    </a:cubicBezTo>
                    <a:cubicBezTo>
                      <a:pt x="117" y="201"/>
                      <a:pt x="110" y="207"/>
                      <a:pt x="102" y="211"/>
                    </a:cubicBezTo>
                    <a:cubicBezTo>
                      <a:pt x="94" y="215"/>
                      <a:pt x="84" y="217"/>
                      <a:pt x="74" y="217"/>
                    </a:cubicBezTo>
                    <a:cubicBezTo>
                      <a:pt x="69" y="217"/>
                      <a:pt x="64" y="216"/>
                      <a:pt x="60" y="215"/>
                    </a:cubicBezTo>
                    <a:cubicBezTo>
                      <a:pt x="56" y="214"/>
                      <a:pt x="52" y="212"/>
                      <a:pt x="49" y="211"/>
                    </a:cubicBezTo>
                    <a:cubicBezTo>
                      <a:pt x="45" y="209"/>
                      <a:pt x="42" y="206"/>
                      <a:pt x="40" y="204"/>
                    </a:cubicBezTo>
                    <a:cubicBezTo>
                      <a:pt x="37" y="201"/>
                      <a:pt x="35" y="198"/>
                      <a:pt x="33" y="195"/>
                    </a:cubicBezTo>
                    <a:cubicBezTo>
                      <a:pt x="32" y="195"/>
                      <a:pt x="32" y="195"/>
                      <a:pt x="32" y="195"/>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5"/>
                      <a:pt x="41" y="82"/>
                    </a:cubicBezTo>
                    <a:cubicBezTo>
                      <a:pt x="44" y="78"/>
                      <a:pt x="48" y="76"/>
                      <a:pt x="52" y="73"/>
                    </a:cubicBezTo>
                    <a:cubicBezTo>
                      <a:pt x="56" y="71"/>
                      <a:pt x="60" y="69"/>
                      <a:pt x="65" y="68"/>
                    </a:cubicBezTo>
                    <a:cubicBezTo>
                      <a:pt x="69" y="67"/>
                      <a:pt x="75" y="66"/>
                      <a:pt x="80" y="66"/>
                    </a:cubicBezTo>
                    <a:cubicBezTo>
                      <a:pt x="91" y="66"/>
                      <a:pt x="100" y="68"/>
                      <a:pt x="107" y="72"/>
                    </a:cubicBezTo>
                    <a:cubicBezTo>
                      <a:pt x="114" y="75"/>
                      <a:pt x="121" y="81"/>
                      <a:pt x="125" y="87"/>
                    </a:cubicBezTo>
                    <a:cubicBezTo>
                      <a:pt x="130" y="94"/>
                      <a:pt x="134" y="101"/>
                      <a:pt x="136" y="110"/>
                    </a:cubicBezTo>
                    <a:cubicBezTo>
                      <a:pt x="138" y="119"/>
                      <a:pt x="139" y="128"/>
                      <a:pt x="139" y="137"/>
                    </a:cubicBezTo>
                    <a:close/>
                    <a:moveTo>
                      <a:pt x="106" y="137"/>
                    </a:moveTo>
                    <a:cubicBezTo>
                      <a:pt x="106" y="130"/>
                      <a:pt x="105" y="124"/>
                      <a:pt x="103" y="118"/>
                    </a:cubicBezTo>
                    <a:cubicBezTo>
                      <a:pt x="102" y="113"/>
                      <a:pt x="99" y="108"/>
                      <a:pt x="96" y="104"/>
                    </a:cubicBezTo>
                    <a:cubicBezTo>
                      <a:pt x="93" y="101"/>
                      <a:pt x="89" y="98"/>
                      <a:pt x="85" y="95"/>
                    </a:cubicBezTo>
                    <a:cubicBezTo>
                      <a:pt x="81" y="93"/>
                      <a:pt x="75" y="92"/>
                      <a:pt x="70" y="92"/>
                    </a:cubicBezTo>
                    <a:cubicBezTo>
                      <a:pt x="64" y="92"/>
                      <a:pt x="59" y="93"/>
                      <a:pt x="54" y="95"/>
                    </a:cubicBezTo>
                    <a:cubicBezTo>
                      <a:pt x="50" y="98"/>
                      <a:pt x="46" y="100"/>
                      <a:pt x="42" y="104"/>
                    </a:cubicBezTo>
                    <a:cubicBezTo>
                      <a:pt x="39" y="108"/>
                      <a:pt x="36" y="112"/>
                      <a:pt x="35" y="118"/>
                    </a:cubicBezTo>
                    <a:cubicBezTo>
                      <a:pt x="33" y="123"/>
                      <a:pt x="32" y="129"/>
                      <a:pt x="32" y="135"/>
                    </a:cubicBezTo>
                    <a:cubicBezTo>
                      <a:pt x="32" y="154"/>
                      <a:pt x="32" y="154"/>
                      <a:pt x="32" y="154"/>
                    </a:cubicBezTo>
                    <a:cubicBezTo>
                      <a:pt x="32" y="159"/>
                      <a:pt x="33" y="164"/>
                      <a:pt x="34" y="168"/>
                    </a:cubicBezTo>
                    <a:cubicBezTo>
                      <a:pt x="36" y="172"/>
                      <a:pt x="39" y="176"/>
                      <a:pt x="42" y="180"/>
                    </a:cubicBezTo>
                    <a:cubicBezTo>
                      <a:pt x="45" y="183"/>
                      <a:pt x="48" y="185"/>
                      <a:pt x="53" y="187"/>
                    </a:cubicBezTo>
                    <a:cubicBezTo>
                      <a:pt x="57" y="189"/>
                      <a:pt x="62" y="190"/>
                      <a:pt x="67" y="190"/>
                    </a:cubicBezTo>
                    <a:cubicBezTo>
                      <a:pt x="73" y="190"/>
                      <a:pt x="78" y="189"/>
                      <a:pt x="83" y="187"/>
                    </a:cubicBezTo>
                    <a:cubicBezTo>
                      <a:pt x="88" y="185"/>
                      <a:pt x="92" y="181"/>
                      <a:pt x="95" y="177"/>
                    </a:cubicBezTo>
                    <a:cubicBezTo>
                      <a:pt x="99" y="172"/>
                      <a:pt x="101" y="167"/>
                      <a:pt x="103" y="160"/>
                    </a:cubicBezTo>
                    <a:cubicBezTo>
                      <a:pt x="105" y="153"/>
                      <a:pt x="106" y="146"/>
                      <a:pt x="106" y="13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73" name="Freeform 27"/>
              <p:cNvSpPr>
                <a:spLocks/>
              </p:cNvSpPr>
              <p:nvPr/>
            </p:nvSpPr>
            <p:spPr bwMode="black">
              <a:xfrm>
                <a:off x="9356837" y="5011608"/>
                <a:ext cx="64783" cy="114031"/>
              </a:xfrm>
              <a:custGeom>
                <a:avLst/>
                <a:gdLst/>
                <a:ahLst/>
                <a:cxnLst>
                  <a:cxn ang="0">
                    <a:pos x="79" y="32"/>
                  </a:cxn>
                  <a:cxn ang="0">
                    <a:pos x="75" y="31"/>
                  </a:cxn>
                  <a:cxn ang="0">
                    <a:pos x="69" y="29"/>
                  </a:cxn>
                  <a:cxn ang="0">
                    <a:pos x="64" y="29"/>
                  </a:cxn>
                  <a:cxn ang="0">
                    <a:pos x="52" y="32"/>
                  </a:cxn>
                  <a:cxn ang="0">
                    <a:pos x="42" y="41"/>
                  </a:cxn>
                  <a:cxn ang="0">
                    <a:pos x="35" y="54"/>
                  </a:cxn>
                  <a:cxn ang="0">
                    <a:pos x="32" y="73"/>
                  </a:cxn>
                  <a:cxn ang="0">
                    <a:pos x="32" y="146"/>
                  </a:cxn>
                  <a:cxn ang="0">
                    <a:pos x="0" y="146"/>
                  </a:cxn>
                  <a:cxn ang="0">
                    <a:pos x="0" y="2"/>
                  </a:cxn>
                  <a:cxn ang="0">
                    <a:pos x="32" y="2"/>
                  </a:cxn>
                  <a:cxn ang="0">
                    <a:pos x="32" y="30"/>
                  </a:cxn>
                  <a:cxn ang="0">
                    <a:pos x="33" y="30"/>
                  </a:cxn>
                  <a:cxn ang="0">
                    <a:pos x="40" y="17"/>
                  </a:cxn>
                  <a:cxn ang="0">
                    <a:pos x="49"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5" y="31"/>
                    </a:cubicBezTo>
                    <a:cubicBezTo>
                      <a:pt x="73" y="30"/>
                      <a:pt x="71" y="30"/>
                      <a:pt x="69" y="29"/>
                    </a:cubicBezTo>
                    <a:cubicBezTo>
                      <a:pt x="68" y="29"/>
                      <a:pt x="66" y="29"/>
                      <a:pt x="64" y="29"/>
                    </a:cubicBezTo>
                    <a:cubicBezTo>
                      <a:pt x="60" y="29"/>
                      <a:pt x="55" y="30"/>
                      <a:pt x="52" y="32"/>
                    </a:cubicBezTo>
                    <a:cubicBezTo>
                      <a:pt x="48" y="34"/>
                      <a:pt x="44" y="37"/>
                      <a:pt x="42" y="41"/>
                    </a:cubicBezTo>
                    <a:cubicBezTo>
                      <a:pt x="39" y="44"/>
                      <a:pt x="37"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9" y="7"/>
                    </a:cubicBezTo>
                    <a:cubicBezTo>
                      <a:pt x="52" y="5"/>
                      <a:pt x="55" y="3"/>
                      <a:pt x="59" y="2"/>
                    </a:cubicBezTo>
                    <a:cubicBezTo>
                      <a:pt x="62" y="0"/>
                      <a:pt x="66" y="0"/>
                      <a:pt x="70" y="0"/>
                    </a:cubicBezTo>
                    <a:cubicBezTo>
                      <a:pt x="72" y="0"/>
                      <a:pt x="75"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74" name="Freeform 28"/>
              <p:cNvSpPr>
                <a:spLocks noEditPoints="1"/>
              </p:cNvSpPr>
              <p:nvPr/>
            </p:nvSpPr>
            <p:spPr bwMode="black">
              <a:xfrm>
                <a:off x="9432527" y="4958394"/>
                <a:ext cx="31069" cy="16724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75" name="Freeform 29"/>
              <p:cNvSpPr>
                <a:spLocks noEditPoints="1"/>
              </p:cNvSpPr>
              <p:nvPr/>
            </p:nvSpPr>
            <p:spPr bwMode="black">
              <a:xfrm>
                <a:off x="9481775" y="5010947"/>
                <a:ext cx="109073" cy="167906"/>
              </a:xfrm>
              <a:custGeom>
                <a:avLst/>
                <a:gdLst/>
                <a:ahLst/>
                <a:cxnLst>
                  <a:cxn ang="0">
                    <a:pos x="135" y="166"/>
                  </a:cxn>
                  <a:cxn ang="0">
                    <a:pos x="121" y="192"/>
                  </a:cxn>
                  <a:cxn ang="0">
                    <a:pos x="96" y="209"/>
                  </a:cxn>
                  <a:cxn ang="0">
                    <a:pos x="59" y="215"/>
                  </a:cxn>
                  <a:cxn ang="0">
                    <a:pos x="44" y="214"/>
                  </a:cxn>
                  <a:cxn ang="0">
                    <a:pos x="31" y="212"/>
                  </a:cxn>
                  <a:cxn ang="0">
                    <a:pos x="20" y="209"/>
                  </a:cxn>
                  <a:cxn ang="0">
                    <a:pos x="11" y="206"/>
                  </a:cxn>
                  <a:cxn ang="0">
                    <a:pos x="11" y="175"/>
                  </a:cxn>
                  <a:cxn ang="0">
                    <a:pos x="21" y="180"/>
                  </a:cxn>
                  <a:cxn ang="0">
                    <a:pos x="32" y="184"/>
                  </a:cxn>
                  <a:cxn ang="0">
                    <a:pos x="45" y="187"/>
                  </a:cxn>
                  <a:cxn ang="0">
                    <a:pos x="58" y="189"/>
                  </a:cxn>
                  <a:cxn ang="0">
                    <a:pos x="81" y="185"/>
                  </a:cxn>
                  <a:cxn ang="0">
                    <a:pos x="96" y="174"/>
                  </a:cxn>
                  <a:cxn ang="0">
                    <a:pos x="105" y="158"/>
                  </a:cxn>
                  <a:cxn ang="0">
                    <a:pos x="108" y="138"/>
                  </a:cxn>
                  <a:cxn ang="0">
                    <a:pos x="108" y="124"/>
                  </a:cxn>
                  <a:cxn ang="0">
                    <a:pos x="107" y="124"/>
                  </a:cxn>
                  <a:cxn ang="0">
                    <a:pos x="88" y="144"/>
                  </a:cxn>
                  <a:cxn ang="0">
                    <a:pos x="60" y="151"/>
                  </a:cxn>
                  <a:cxn ang="0">
                    <a:pos x="35" y="146"/>
                  </a:cxn>
                  <a:cxn ang="0">
                    <a:pos x="16" y="131"/>
                  </a:cxn>
                  <a:cxn ang="0">
                    <a:pos x="4" y="109"/>
                  </a:cxn>
                  <a:cxn ang="0">
                    <a:pos x="0" y="80"/>
                  </a:cxn>
                  <a:cxn ang="0">
                    <a:pos x="5" y="47"/>
                  </a:cxn>
                  <a:cxn ang="0">
                    <a:pos x="18" y="22"/>
                  </a:cxn>
                  <a:cxn ang="0">
                    <a:pos x="39" y="5"/>
                  </a:cxn>
                  <a:cxn ang="0">
                    <a:pos x="66" y="0"/>
                  </a:cxn>
                  <a:cxn ang="0">
                    <a:pos x="91" y="6"/>
                  </a:cxn>
                  <a:cxn ang="0">
                    <a:pos x="107" y="21"/>
                  </a:cxn>
                  <a:cxn ang="0">
                    <a:pos x="108" y="21"/>
                  </a:cxn>
                  <a:cxn ang="0">
                    <a:pos x="108" y="3"/>
                  </a:cxn>
                  <a:cxn ang="0">
                    <a:pos x="140" y="3"/>
                  </a:cxn>
                  <a:cxn ang="0">
                    <a:pos x="140" y="134"/>
                  </a:cxn>
                  <a:cxn ang="0">
                    <a:pos x="135" y="166"/>
                  </a:cxn>
                  <a:cxn ang="0">
                    <a:pos x="108" y="63"/>
                  </a:cxn>
                  <a:cxn ang="0">
                    <a:pos x="105" y="49"/>
                  </a:cxn>
                  <a:cxn ang="0">
                    <a:pos x="98" y="37"/>
                  </a:cxn>
                  <a:cxn ang="0">
                    <a:pos x="87" y="29"/>
                  </a:cxn>
                  <a:cxn ang="0">
                    <a:pos x="73" y="26"/>
                  </a:cxn>
                  <a:cxn ang="0">
                    <a:pos x="57" y="30"/>
                  </a:cxn>
                  <a:cxn ang="0">
                    <a:pos x="44" y="39"/>
                  </a:cxn>
                  <a:cxn ang="0">
                    <a:pos x="37" y="56"/>
                  </a:cxn>
                  <a:cxn ang="0">
                    <a:pos x="34" y="79"/>
                  </a:cxn>
                  <a:cxn ang="0">
                    <a:pos x="36" y="97"/>
                  </a:cxn>
                  <a:cxn ang="0">
                    <a:pos x="43" y="111"/>
                  </a:cxn>
                  <a:cxn ang="0">
                    <a:pos x="55" y="121"/>
                  </a:cxn>
                  <a:cxn ang="0">
                    <a:pos x="70" y="124"/>
                  </a:cxn>
                  <a:cxn ang="0">
                    <a:pos x="85" y="121"/>
                  </a:cxn>
                  <a:cxn ang="0">
                    <a:pos x="97" y="112"/>
                  </a:cxn>
                  <a:cxn ang="0">
                    <a:pos x="105" y="98"/>
                  </a:cxn>
                  <a:cxn ang="0">
                    <a:pos x="108" y="80"/>
                  </a:cxn>
                  <a:cxn ang="0">
                    <a:pos x="108" y="63"/>
                  </a:cxn>
                </a:cxnLst>
                <a:rect l="0" t="0" r="r" b="b"/>
                <a:pathLst>
                  <a:path w="140" h="215">
                    <a:moveTo>
                      <a:pt x="135" y="166"/>
                    </a:moveTo>
                    <a:cubicBezTo>
                      <a:pt x="132" y="176"/>
                      <a:pt x="127" y="185"/>
                      <a:pt x="121" y="192"/>
                    </a:cubicBezTo>
                    <a:cubicBezTo>
                      <a:pt x="114" y="199"/>
                      <a:pt x="106" y="205"/>
                      <a:pt x="96" y="209"/>
                    </a:cubicBezTo>
                    <a:cubicBezTo>
                      <a:pt x="85" y="213"/>
                      <a:pt x="73" y="215"/>
                      <a:pt x="59" y="215"/>
                    </a:cubicBezTo>
                    <a:cubicBezTo>
                      <a:pt x="54" y="215"/>
                      <a:pt x="49" y="214"/>
                      <a:pt x="44" y="214"/>
                    </a:cubicBezTo>
                    <a:cubicBezTo>
                      <a:pt x="39" y="213"/>
                      <a:pt x="35" y="213"/>
                      <a:pt x="31" y="212"/>
                    </a:cubicBezTo>
                    <a:cubicBezTo>
                      <a:pt x="26" y="211"/>
                      <a:pt x="23" y="210"/>
                      <a:pt x="20" y="209"/>
                    </a:cubicBezTo>
                    <a:cubicBezTo>
                      <a:pt x="16" y="208"/>
                      <a:pt x="14" y="207"/>
                      <a:pt x="11" y="206"/>
                    </a:cubicBezTo>
                    <a:cubicBezTo>
                      <a:pt x="11" y="175"/>
                      <a:pt x="11" y="175"/>
                      <a:pt x="11" y="175"/>
                    </a:cubicBezTo>
                    <a:cubicBezTo>
                      <a:pt x="15" y="177"/>
                      <a:pt x="18" y="178"/>
                      <a:pt x="21" y="180"/>
                    </a:cubicBezTo>
                    <a:cubicBezTo>
                      <a:pt x="25" y="182"/>
                      <a:pt x="28" y="183"/>
                      <a:pt x="32" y="184"/>
                    </a:cubicBezTo>
                    <a:cubicBezTo>
                      <a:pt x="36" y="186"/>
                      <a:pt x="40" y="187"/>
                      <a:pt x="45" y="187"/>
                    </a:cubicBezTo>
                    <a:cubicBezTo>
                      <a:pt x="49" y="188"/>
                      <a:pt x="54" y="189"/>
                      <a:pt x="58" y="189"/>
                    </a:cubicBezTo>
                    <a:cubicBezTo>
                      <a:pt x="67" y="189"/>
                      <a:pt x="75" y="187"/>
                      <a:pt x="81" y="185"/>
                    </a:cubicBezTo>
                    <a:cubicBezTo>
                      <a:pt x="87" y="182"/>
                      <a:pt x="92" y="179"/>
                      <a:pt x="96" y="174"/>
                    </a:cubicBezTo>
                    <a:cubicBezTo>
                      <a:pt x="100" y="170"/>
                      <a:pt x="103" y="164"/>
                      <a:pt x="105" y="158"/>
                    </a:cubicBezTo>
                    <a:cubicBezTo>
                      <a:pt x="107" y="152"/>
                      <a:pt x="108" y="145"/>
                      <a:pt x="108" y="138"/>
                    </a:cubicBezTo>
                    <a:cubicBezTo>
                      <a:pt x="108" y="124"/>
                      <a:pt x="108" y="124"/>
                      <a:pt x="108" y="124"/>
                    </a:cubicBezTo>
                    <a:cubicBezTo>
                      <a:pt x="107" y="124"/>
                      <a:pt x="107" y="124"/>
                      <a:pt x="107" y="124"/>
                    </a:cubicBezTo>
                    <a:cubicBezTo>
                      <a:pt x="102" y="133"/>
                      <a:pt x="96" y="139"/>
                      <a:pt x="88" y="144"/>
                    </a:cubicBezTo>
                    <a:cubicBezTo>
                      <a:pt x="81" y="148"/>
                      <a:pt x="71" y="151"/>
                      <a:pt x="60" y="151"/>
                    </a:cubicBezTo>
                    <a:cubicBezTo>
                      <a:pt x="51" y="151"/>
                      <a:pt x="43" y="149"/>
                      <a:pt x="35" y="146"/>
                    </a:cubicBezTo>
                    <a:cubicBezTo>
                      <a:pt x="28" y="142"/>
                      <a:pt x="22" y="137"/>
                      <a:pt x="16" y="131"/>
                    </a:cubicBezTo>
                    <a:cubicBezTo>
                      <a:pt x="11" y="125"/>
                      <a:pt x="7" y="118"/>
                      <a:pt x="4" y="109"/>
                    </a:cubicBezTo>
                    <a:cubicBezTo>
                      <a:pt x="2" y="100"/>
                      <a:pt x="0" y="91"/>
                      <a:pt x="0" y="80"/>
                    </a:cubicBezTo>
                    <a:cubicBezTo>
                      <a:pt x="0" y="68"/>
                      <a:pt x="2" y="57"/>
                      <a:pt x="5" y="47"/>
                    </a:cubicBezTo>
                    <a:cubicBezTo>
                      <a:pt x="8" y="37"/>
                      <a:pt x="12" y="29"/>
                      <a:pt x="18" y="22"/>
                    </a:cubicBezTo>
                    <a:cubicBezTo>
                      <a:pt x="24" y="15"/>
                      <a:pt x="31" y="9"/>
                      <a:pt x="39" y="5"/>
                    </a:cubicBezTo>
                    <a:cubicBezTo>
                      <a:pt x="47" y="2"/>
                      <a:pt x="56" y="0"/>
                      <a:pt x="66" y="0"/>
                    </a:cubicBezTo>
                    <a:cubicBezTo>
                      <a:pt x="76" y="0"/>
                      <a:pt x="84" y="2"/>
                      <a:pt x="91" y="6"/>
                    </a:cubicBezTo>
                    <a:cubicBezTo>
                      <a:pt x="98" y="10"/>
                      <a:pt x="103" y="15"/>
                      <a:pt x="107" y="21"/>
                    </a:cubicBezTo>
                    <a:cubicBezTo>
                      <a:pt x="108" y="21"/>
                      <a:pt x="108" y="21"/>
                      <a:pt x="108" y="21"/>
                    </a:cubicBezTo>
                    <a:cubicBezTo>
                      <a:pt x="108" y="3"/>
                      <a:pt x="108" y="3"/>
                      <a:pt x="108" y="3"/>
                    </a:cubicBezTo>
                    <a:cubicBezTo>
                      <a:pt x="140" y="3"/>
                      <a:pt x="140" y="3"/>
                      <a:pt x="140" y="3"/>
                    </a:cubicBezTo>
                    <a:cubicBezTo>
                      <a:pt x="140" y="134"/>
                      <a:pt x="140" y="134"/>
                      <a:pt x="140" y="134"/>
                    </a:cubicBezTo>
                    <a:cubicBezTo>
                      <a:pt x="140" y="145"/>
                      <a:pt x="138" y="156"/>
                      <a:pt x="135" y="166"/>
                    </a:cubicBezTo>
                    <a:close/>
                    <a:moveTo>
                      <a:pt x="108" y="63"/>
                    </a:moveTo>
                    <a:cubicBezTo>
                      <a:pt x="108" y="59"/>
                      <a:pt x="107" y="54"/>
                      <a:pt x="105" y="49"/>
                    </a:cubicBezTo>
                    <a:cubicBezTo>
                      <a:pt x="103" y="45"/>
                      <a:pt x="101" y="41"/>
                      <a:pt x="98" y="37"/>
                    </a:cubicBezTo>
                    <a:cubicBezTo>
                      <a:pt x="95" y="34"/>
                      <a:pt x="91" y="31"/>
                      <a:pt x="87" y="29"/>
                    </a:cubicBezTo>
                    <a:cubicBezTo>
                      <a:pt x="83" y="27"/>
                      <a:pt x="78" y="26"/>
                      <a:pt x="73" y="26"/>
                    </a:cubicBezTo>
                    <a:cubicBezTo>
                      <a:pt x="67" y="26"/>
                      <a:pt x="61" y="27"/>
                      <a:pt x="57" y="30"/>
                    </a:cubicBezTo>
                    <a:cubicBezTo>
                      <a:pt x="52" y="32"/>
                      <a:pt x="48" y="35"/>
                      <a:pt x="44" y="39"/>
                    </a:cubicBezTo>
                    <a:cubicBezTo>
                      <a:pt x="41" y="44"/>
                      <a:pt x="39" y="49"/>
                      <a:pt x="37" y="56"/>
                    </a:cubicBezTo>
                    <a:cubicBezTo>
                      <a:pt x="35" y="62"/>
                      <a:pt x="34" y="70"/>
                      <a:pt x="34" y="79"/>
                    </a:cubicBezTo>
                    <a:cubicBezTo>
                      <a:pt x="34" y="85"/>
                      <a:pt x="35" y="91"/>
                      <a:pt x="36" y="97"/>
                    </a:cubicBezTo>
                    <a:cubicBezTo>
                      <a:pt x="38" y="102"/>
                      <a:pt x="40" y="107"/>
                      <a:pt x="43" y="111"/>
                    </a:cubicBezTo>
                    <a:cubicBezTo>
                      <a:pt x="46" y="115"/>
                      <a:pt x="50" y="118"/>
                      <a:pt x="55" y="121"/>
                    </a:cubicBezTo>
                    <a:cubicBezTo>
                      <a:pt x="59" y="123"/>
                      <a:pt x="64" y="124"/>
                      <a:pt x="70" y="124"/>
                    </a:cubicBezTo>
                    <a:cubicBezTo>
                      <a:pt x="75" y="124"/>
                      <a:pt x="80" y="123"/>
                      <a:pt x="85" y="121"/>
                    </a:cubicBezTo>
                    <a:cubicBezTo>
                      <a:pt x="90" y="119"/>
                      <a:pt x="94" y="116"/>
                      <a:pt x="97" y="112"/>
                    </a:cubicBezTo>
                    <a:cubicBezTo>
                      <a:pt x="100" y="108"/>
                      <a:pt x="103" y="104"/>
                      <a:pt x="105" y="98"/>
                    </a:cubicBezTo>
                    <a:cubicBezTo>
                      <a:pt x="107" y="93"/>
                      <a:pt x="108" y="86"/>
                      <a:pt x="108" y="80"/>
                    </a:cubicBezTo>
                    <a:lnTo>
                      <a:pt x="108" y="6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76" name="Freeform 30"/>
              <p:cNvSpPr>
                <a:spLocks noEditPoints="1"/>
              </p:cNvSpPr>
              <p:nvPr/>
            </p:nvSpPr>
            <p:spPr bwMode="black">
              <a:xfrm>
                <a:off x="9611340" y="5010947"/>
                <a:ext cx="93538" cy="11766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77" name="Freeform 31"/>
              <p:cNvSpPr>
                <a:spLocks noEditPoints="1"/>
              </p:cNvSpPr>
              <p:nvPr/>
            </p:nvSpPr>
            <p:spPr bwMode="black">
              <a:xfrm>
                <a:off x="9721405" y="4959385"/>
                <a:ext cx="109073" cy="169228"/>
              </a:xfrm>
              <a:custGeom>
                <a:avLst/>
                <a:gdLst/>
                <a:ahLst/>
                <a:cxnLst>
                  <a:cxn ang="0">
                    <a:pos x="107" y="213"/>
                  </a:cxn>
                  <a:cxn ang="0">
                    <a:pos x="107" y="191"/>
                  </a:cxn>
                  <a:cxn ang="0">
                    <a:pos x="107" y="191"/>
                  </a:cxn>
                  <a:cxn ang="0">
                    <a:pos x="98" y="201"/>
                  </a:cxn>
                  <a:cxn ang="0">
                    <a:pos x="88" y="210"/>
                  </a:cxn>
                  <a:cxn ang="0">
                    <a:pos x="75" y="215"/>
                  </a:cxn>
                  <a:cxn ang="0">
                    <a:pos x="59" y="217"/>
                  </a:cxn>
                  <a:cxn ang="0">
                    <a:pos x="36" y="212"/>
                  </a:cxn>
                  <a:cxn ang="0">
                    <a:pos x="17" y="198"/>
                  </a:cxn>
                  <a:cxn ang="0">
                    <a:pos x="4" y="176"/>
                  </a:cxn>
                  <a:cxn ang="0">
                    <a:pos x="0" y="145"/>
                  </a:cxn>
                  <a:cxn ang="0">
                    <a:pos x="5" y="112"/>
                  </a:cxn>
                  <a:cxn ang="0">
                    <a:pos x="18" y="87"/>
                  </a:cxn>
                  <a:cxn ang="0">
                    <a:pos x="39" y="71"/>
                  </a:cxn>
                  <a:cxn ang="0">
                    <a:pos x="66" y="66"/>
                  </a:cxn>
                  <a:cxn ang="0">
                    <a:pos x="80" y="67"/>
                  </a:cxn>
                  <a:cxn ang="0">
                    <a:pos x="91" y="72"/>
                  </a:cxn>
                  <a:cxn ang="0">
                    <a:pos x="100" y="79"/>
                  </a:cxn>
                  <a:cxn ang="0">
                    <a:pos x="107" y="87"/>
                  </a:cxn>
                  <a:cxn ang="0">
                    <a:pos x="107" y="87"/>
                  </a:cxn>
                  <a:cxn ang="0">
                    <a:pos x="107" y="0"/>
                  </a:cxn>
                  <a:cxn ang="0">
                    <a:pos x="140" y="0"/>
                  </a:cxn>
                  <a:cxn ang="0">
                    <a:pos x="140" y="213"/>
                  </a:cxn>
                  <a:cxn ang="0">
                    <a:pos x="107" y="213"/>
                  </a:cxn>
                  <a:cxn ang="0">
                    <a:pos x="107" y="129"/>
                  </a:cxn>
                  <a:cxn ang="0">
                    <a:pos x="105" y="115"/>
                  </a:cxn>
                  <a:cxn ang="0">
                    <a:pos x="97" y="103"/>
                  </a:cxn>
                  <a:cxn ang="0">
                    <a:pos x="86" y="95"/>
                  </a:cxn>
                  <a:cxn ang="0">
                    <a:pos x="72" y="92"/>
                  </a:cxn>
                  <a:cxn ang="0">
                    <a:pos x="55" y="96"/>
                  </a:cxn>
                  <a:cxn ang="0">
                    <a:pos x="43" y="106"/>
                  </a:cxn>
                  <a:cxn ang="0">
                    <a:pos x="36" y="123"/>
                  </a:cxn>
                  <a:cxn ang="0">
                    <a:pos x="34" y="144"/>
                  </a:cxn>
                  <a:cxn ang="0">
                    <a:pos x="36" y="164"/>
                  </a:cxn>
                  <a:cxn ang="0">
                    <a:pos x="44" y="179"/>
                  </a:cxn>
                  <a:cxn ang="0">
                    <a:pos x="56" y="187"/>
                  </a:cxn>
                  <a:cxn ang="0">
                    <a:pos x="70" y="190"/>
                  </a:cxn>
                  <a:cxn ang="0">
                    <a:pos x="85" y="187"/>
                  </a:cxn>
                  <a:cxn ang="0">
                    <a:pos x="96" y="178"/>
                  </a:cxn>
                  <a:cxn ang="0">
                    <a:pos x="104" y="164"/>
                  </a:cxn>
                  <a:cxn ang="0">
                    <a:pos x="107" y="145"/>
                  </a:cxn>
                  <a:cxn ang="0">
                    <a:pos x="107" y="129"/>
                  </a:cxn>
                </a:cxnLst>
                <a:rect l="0" t="0" r="r" b="b"/>
                <a:pathLst>
                  <a:path w="140" h="217">
                    <a:moveTo>
                      <a:pt x="107" y="213"/>
                    </a:moveTo>
                    <a:cubicBezTo>
                      <a:pt x="107" y="191"/>
                      <a:pt x="107" y="191"/>
                      <a:pt x="107" y="191"/>
                    </a:cubicBezTo>
                    <a:cubicBezTo>
                      <a:pt x="107" y="191"/>
                      <a:pt x="107" y="191"/>
                      <a:pt x="107" y="191"/>
                    </a:cubicBezTo>
                    <a:cubicBezTo>
                      <a:pt x="104" y="195"/>
                      <a:pt x="102" y="198"/>
                      <a:pt x="98" y="201"/>
                    </a:cubicBezTo>
                    <a:cubicBezTo>
                      <a:pt x="95" y="205"/>
                      <a:pt x="92" y="207"/>
                      <a:pt x="88" y="210"/>
                    </a:cubicBezTo>
                    <a:cubicBezTo>
                      <a:pt x="84" y="212"/>
                      <a:pt x="80" y="214"/>
                      <a:pt x="75" y="215"/>
                    </a:cubicBezTo>
                    <a:cubicBezTo>
                      <a:pt x="70" y="216"/>
                      <a:pt x="65" y="217"/>
                      <a:pt x="59" y="217"/>
                    </a:cubicBezTo>
                    <a:cubicBezTo>
                      <a:pt x="51" y="217"/>
                      <a:pt x="43" y="215"/>
                      <a:pt x="36" y="212"/>
                    </a:cubicBezTo>
                    <a:cubicBezTo>
                      <a:pt x="28" y="209"/>
                      <a:pt x="22" y="204"/>
                      <a:pt x="17" y="198"/>
                    </a:cubicBezTo>
                    <a:cubicBezTo>
                      <a:pt x="11" y="192"/>
                      <a:pt x="7" y="185"/>
                      <a:pt x="4" y="176"/>
                    </a:cubicBezTo>
                    <a:cubicBezTo>
                      <a:pt x="1" y="167"/>
                      <a:pt x="0" y="156"/>
                      <a:pt x="0" y="145"/>
                    </a:cubicBezTo>
                    <a:cubicBezTo>
                      <a:pt x="0" y="133"/>
                      <a:pt x="1" y="122"/>
                      <a:pt x="5" y="112"/>
                    </a:cubicBezTo>
                    <a:cubicBezTo>
                      <a:pt x="8" y="102"/>
                      <a:pt x="12" y="94"/>
                      <a:pt x="18" y="87"/>
                    </a:cubicBezTo>
                    <a:cubicBezTo>
                      <a:pt x="24" y="80"/>
                      <a:pt x="31" y="75"/>
                      <a:pt x="39" y="71"/>
                    </a:cubicBezTo>
                    <a:cubicBezTo>
                      <a:pt x="47" y="68"/>
                      <a:pt x="56" y="66"/>
                      <a:pt x="66" y="66"/>
                    </a:cubicBezTo>
                    <a:cubicBezTo>
                      <a:pt x="71" y="66"/>
                      <a:pt x="75" y="66"/>
                      <a:pt x="80" y="67"/>
                    </a:cubicBezTo>
                    <a:cubicBezTo>
                      <a:pt x="84" y="69"/>
                      <a:pt x="88" y="70"/>
                      <a:pt x="91" y="72"/>
                    </a:cubicBezTo>
                    <a:cubicBezTo>
                      <a:pt x="94" y="74"/>
                      <a:pt x="97" y="76"/>
                      <a:pt x="100" y="79"/>
                    </a:cubicBezTo>
                    <a:cubicBezTo>
                      <a:pt x="103" y="81"/>
                      <a:pt x="105" y="84"/>
                      <a:pt x="107" y="87"/>
                    </a:cubicBezTo>
                    <a:cubicBezTo>
                      <a:pt x="107" y="87"/>
                      <a:pt x="107" y="87"/>
                      <a:pt x="107" y="87"/>
                    </a:cubicBezTo>
                    <a:cubicBezTo>
                      <a:pt x="107" y="0"/>
                      <a:pt x="107" y="0"/>
                      <a:pt x="107" y="0"/>
                    </a:cubicBezTo>
                    <a:cubicBezTo>
                      <a:pt x="140" y="0"/>
                      <a:pt x="140" y="0"/>
                      <a:pt x="140" y="0"/>
                    </a:cubicBezTo>
                    <a:cubicBezTo>
                      <a:pt x="140" y="213"/>
                      <a:pt x="140" y="213"/>
                      <a:pt x="140" y="213"/>
                    </a:cubicBezTo>
                    <a:lnTo>
                      <a:pt x="107" y="213"/>
                    </a:lnTo>
                    <a:close/>
                    <a:moveTo>
                      <a:pt x="107" y="129"/>
                    </a:moveTo>
                    <a:cubicBezTo>
                      <a:pt x="107" y="124"/>
                      <a:pt x="106" y="119"/>
                      <a:pt x="105" y="115"/>
                    </a:cubicBezTo>
                    <a:cubicBezTo>
                      <a:pt x="103" y="110"/>
                      <a:pt x="100" y="106"/>
                      <a:pt x="97" y="103"/>
                    </a:cubicBezTo>
                    <a:cubicBezTo>
                      <a:pt x="94" y="100"/>
                      <a:pt x="90" y="97"/>
                      <a:pt x="86" y="95"/>
                    </a:cubicBezTo>
                    <a:cubicBezTo>
                      <a:pt x="82" y="93"/>
                      <a:pt x="77" y="92"/>
                      <a:pt x="72" y="92"/>
                    </a:cubicBezTo>
                    <a:cubicBezTo>
                      <a:pt x="66" y="92"/>
                      <a:pt x="60" y="94"/>
                      <a:pt x="55" y="96"/>
                    </a:cubicBezTo>
                    <a:cubicBezTo>
                      <a:pt x="50" y="98"/>
                      <a:pt x="46" y="102"/>
                      <a:pt x="43" y="106"/>
                    </a:cubicBezTo>
                    <a:cubicBezTo>
                      <a:pt x="40" y="111"/>
                      <a:pt x="37" y="116"/>
                      <a:pt x="36" y="123"/>
                    </a:cubicBezTo>
                    <a:cubicBezTo>
                      <a:pt x="34" y="129"/>
                      <a:pt x="34" y="136"/>
                      <a:pt x="34" y="144"/>
                    </a:cubicBezTo>
                    <a:cubicBezTo>
                      <a:pt x="34" y="152"/>
                      <a:pt x="34" y="158"/>
                      <a:pt x="36" y="164"/>
                    </a:cubicBezTo>
                    <a:cubicBezTo>
                      <a:pt x="38" y="170"/>
                      <a:pt x="41" y="175"/>
                      <a:pt x="44" y="179"/>
                    </a:cubicBezTo>
                    <a:cubicBezTo>
                      <a:pt x="47" y="182"/>
                      <a:pt x="51" y="185"/>
                      <a:pt x="56" y="187"/>
                    </a:cubicBezTo>
                    <a:cubicBezTo>
                      <a:pt x="60" y="189"/>
                      <a:pt x="65" y="190"/>
                      <a:pt x="70" y="190"/>
                    </a:cubicBezTo>
                    <a:cubicBezTo>
                      <a:pt x="75" y="190"/>
                      <a:pt x="80" y="189"/>
                      <a:pt x="85" y="187"/>
                    </a:cubicBezTo>
                    <a:cubicBezTo>
                      <a:pt x="89" y="185"/>
                      <a:pt x="93" y="182"/>
                      <a:pt x="96" y="178"/>
                    </a:cubicBezTo>
                    <a:cubicBezTo>
                      <a:pt x="100" y="174"/>
                      <a:pt x="102" y="170"/>
                      <a:pt x="104" y="164"/>
                    </a:cubicBezTo>
                    <a:cubicBezTo>
                      <a:pt x="106" y="158"/>
                      <a:pt x="107" y="152"/>
                      <a:pt x="107" y="145"/>
                    </a:cubicBezTo>
                    <a:lnTo>
                      <a:pt x="107" y="12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78" name="Freeform 32"/>
              <p:cNvSpPr>
                <a:spLocks noEditPoints="1"/>
              </p:cNvSpPr>
              <p:nvPr/>
            </p:nvSpPr>
            <p:spPr bwMode="black">
              <a:xfrm>
                <a:off x="9851632" y="5010947"/>
                <a:ext cx="115683" cy="117666"/>
              </a:xfrm>
              <a:custGeom>
                <a:avLst/>
                <a:gdLst/>
                <a:ahLst/>
                <a:cxnLst>
                  <a:cxn ang="0">
                    <a:pos x="148" y="74"/>
                  </a:cxn>
                  <a:cxn ang="0">
                    <a:pos x="143" y="106"/>
                  </a:cxn>
                  <a:cxn ang="0">
                    <a:pos x="127" y="130"/>
                  </a:cxn>
                  <a:cxn ang="0">
                    <a:pos x="104" y="145"/>
                  </a:cxn>
                  <a:cxn ang="0">
                    <a:pos x="73" y="151"/>
                  </a:cxn>
                  <a:cxn ang="0">
                    <a:pos x="43" y="145"/>
                  </a:cxn>
                  <a:cxn ang="0">
                    <a:pos x="20" y="131"/>
                  </a:cxn>
                  <a:cxn ang="0">
                    <a:pos x="5" y="107"/>
                  </a:cxn>
                  <a:cxn ang="0">
                    <a:pos x="0" y="77"/>
                  </a:cxn>
                  <a:cxn ang="0">
                    <a:pos x="6" y="44"/>
                  </a:cxn>
                  <a:cxn ang="0">
                    <a:pos x="21" y="19"/>
                  </a:cxn>
                  <a:cxn ang="0">
                    <a:pos x="46" y="5"/>
                  </a:cxn>
                  <a:cxn ang="0">
                    <a:pos x="76" y="0"/>
                  </a:cxn>
                  <a:cxn ang="0">
                    <a:pos x="107" y="5"/>
                  </a:cxn>
                  <a:cxn ang="0">
                    <a:pos x="130" y="20"/>
                  </a:cxn>
                  <a:cxn ang="0">
                    <a:pos x="143" y="44"/>
                  </a:cxn>
                  <a:cxn ang="0">
                    <a:pos x="148" y="74"/>
                  </a:cxn>
                  <a:cxn ang="0">
                    <a:pos x="114" y="75"/>
                  </a:cxn>
                  <a:cxn ang="0">
                    <a:pos x="104" y="39"/>
                  </a:cxn>
                  <a:cxn ang="0">
                    <a:pos x="75" y="26"/>
                  </a:cxn>
                  <a:cxn ang="0">
                    <a:pos x="58" y="29"/>
                  </a:cxn>
                  <a:cxn ang="0">
                    <a:pos x="46"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3" y="106"/>
                    </a:cubicBezTo>
                    <a:cubicBezTo>
                      <a:pt x="139" y="115"/>
                      <a:pt x="134" y="124"/>
                      <a:pt x="127"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3" y="124"/>
                      <a:pt x="9" y="117"/>
                      <a:pt x="5" y="107"/>
                    </a:cubicBezTo>
                    <a:cubicBezTo>
                      <a:pt x="2" y="98"/>
                      <a:pt x="0" y="88"/>
                      <a:pt x="0" y="77"/>
                    </a:cubicBezTo>
                    <a:cubicBezTo>
                      <a:pt x="0" y="64"/>
                      <a:pt x="2" y="53"/>
                      <a:pt x="6" y="44"/>
                    </a:cubicBezTo>
                    <a:cubicBezTo>
                      <a:pt x="10" y="34"/>
                      <a:pt x="15" y="26"/>
                      <a:pt x="21" y="19"/>
                    </a:cubicBezTo>
                    <a:cubicBezTo>
                      <a:pt x="28" y="13"/>
                      <a:pt x="36" y="8"/>
                      <a:pt x="46" y="5"/>
                    </a:cubicBezTo>
                    <a:cubicBezTo>
                      <a:pt x="55" y="1"/>
                      <a:pt x="65" y="0"/>
                      <a:pt x="76" y="0"/>
                    </a:cubicBezTo>
                    <a:cubicBezTo>
                      <a:pt x="88" y="0"/>
                      <a:pt x="98" y="2"/>
                      <a:pt x="107" y="5"/>
                    </a:cubicBezTo>
                    <a:cubicBezTo>
                      <a:pt x="116" y="9"/>
                      <a:pt x="124" y="14"/>
                      <a:pt x="130" y="20"/>
                    </a:cubicBezTo>
                    <a:cubicBezTo>
                      <a:pt x="136" y="27"/>
                      <a:pt x="140" y="35"/>
                      <a:pt x="143" y="44"/>
                    </a:cubicBezTo>
                    <a:cubicBezTo>
                      <a:pt x="147" y="53"/>
                      <a:pt x="148" y="63"/>
                      <a:pt x="148" y="74"/>
                    </a:cubicBezTo>
                    <a:close/>
                    <a:moveTo>
                      <a:pt x="114" y="75"/>
                    </a:moveTo>
                    <a:cubicBezTo>
                      <a:pt x="114" y="59"/>
                      <a:pt x="111" y="47"/>
                      <a:pt x="104" y="39"/>
                    </a:cubicBezTo>
                    <a:cubicBezTo>
                      <a:pt x="97" y="31"/>
                      <a:pt x="87" y="26"/>
                      <a:pt x="75" y="26"/>
                    </a:cubicBezTo>
                    <a:cubicBezTo>
                      <a:pt x="69" y="26"/>
                      <a:pt x="63" y="27"/>
                      <a:pt x="58"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5" y="112"/>
                    </a:cubicBezTo>
                    <a:cubicBezTo>
                      <a:pt x="49" y="116"/>
                      <a:pt x="53" y="119"/>
                      <a:pt x="58" y="121"/>
                    </a:cubicBezTo>
                    <a:cubicBezTo>
                      <a:pt x="63" y="123"/>
                      <a:pt x="69" y="124"/>
                      <a:pt x="75" y="124"/>
                    </a:cubicBezTo>
                    <a:cubicBezTo>
                      <a:pt x="88" y="124"/>
                      <a:pt x="98" y="120"/>
                      <a:pt x="104" y="112"/>
                    </a:cubicBezTo>
                    <a:cubicBezTo>
                      <a:pt x="111" y="103"/>
                      <a:pt x="114" y="91"/>
                      <a:pt x="114"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97" name="Group 96"/>
            <p:cNvGrpSpPr/>
            <p:nvPr/>
          </p:nvGrpSpPr>
          <p:grpSpPr bwMode="black">
            <a:xfrm>
              <a:off x="5454168" y="4709776"/>
              <a:ext cx="863041" cy="174483"/>
              <a:chOff x="5513886" y="4978012"/>
              <a:chExt cx="866327" cy="181218"/>
            </a:xfrm>
            <a:grpFill/>
            <a:effectLst/>
          </p:grpSpPr>
          <p:sp>
            <p:nvSpPr>
              <p:cNvPr id="264" name="Freeform 29"/>
              <p:cNvSpPr>
                <a:spLocks/>
              </p:cNvSpPr>
              <p:nvPr/>
            </p:nvSpPr>
            <p:spPr bwMode="black">
              <a:xfrm>
                <a:off x="5513886" y="5034213"/>
                <a:ext cx="92520" cy="125017"/>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8"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0" y="151"/>
                      <a:pt x="51" y="149"/>
                      <a:pt x="42" y="145"/>
                    </a:cubicBezTo>
                    <a:cubicBezTo>
                      <a:pt x="33" y="142"/>
                      <a:pt x="25"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1"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7" y="34"/>
                      <a:pt x="102" y="32"/>
                      <a:pt x="97" y="30"/>
                    </a:cubicBezTo>
                    <a:cubicBezTo>
                      <a:pt x="91" y="27"/>
                      <a:pt x="85" y="26"/>
                      <a:pt x="79" y="26"/>
                    </a:cubicBezTo>
                    <a:cubicBezTo>
                      <a:pt x="73" y="26"/>
                      <a:pt x="67" y="27"/>
                      <a:pt x="61" y="30"/>
                    </a:cubicBezTo>
                    <a:cubicBezTo>
                      <a:pt x="56" y="32"/>
                      <a:pt x="51" y="35"/>
                      <a:pt x="47" y="39"/>
                    </a:cubicBezTo>
                    <a:cubicBezTo>
                      <a:pt x="43" y="44"/>
                      <a:pt x="39" y="49"/>
                      <a:pt x="37" y="55"/>
                    </a:cubicBezTo>
                    <a:cubicBezTo>
                      <a:pt x="35" y="61"/>
                      <a:pt x="34" y="68"/>
                      <a:pt x="34" y="76"/>
                    </a:cubicBezTo>
                    <a:cubicBezTo>
                      <a:pt x="34" y="84"/>
                      <a:pt x="35" y="90"/>
                      <a:pt x="37" y="96"/>
                    </a:cubicBezTo>
                    <a:cubicBezTo>
                      <a:pt x="39" y="102"/>
                      <a:pt x="42" y="107"/>
                      <a:pt x="46" y="111"/>
                    </a:cubicBezTo>
                    <a:cubicBezTo>
                      <a:pt x="49" y="115"/>
                      <a:pt x="54" y="119"/>
                      <a:pt x="60" y="121"/>
                    </a:cubicBezTo>
                    <a:cubicBezTo>
                      <a:pt x="65" y="123"/>
                      <a:pt x="71" y="124"/>
                      <a:pt x="78"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65" name="Freeform 30"/>
              <p:cNvSpPr>
                <a:spLocks/>
              </p:cNvSpPr>
              <p:nvPr/>
            </p:nvSpPr>
            <p:spPr bwMode="black">
              <a:xfrm>
                <a:off x="5629728" y="5036889"/>
                <a:ext cx="105901" cy="119283"/>
              </a:xfrm>
              <a:custGeom>
                <a:avLst/>
                <a:gdLst/>
                <a:ahLst/>
                <a:cxnLst>
                  <a:cxn ang="0">
                    <a:pos x="208" y="312"/>
                  </a:cxn>
                  <a:cxn ang="0">
                    <a:pos x="208" y="56"/>
                  </a:cxn>
                  <a:cxn ang="0">
                    <a:pos x="69" y="56"/>
                  </a:cxn>
                  <a:cxn ang="0">
                    <a:pos x="69" y="312"/>
                  </a:cxn>
                  <a:cxn ang="0">
                    <a:pos x="0" y="312"/>
                  </a:cxn>
                  <a:cxn ang="0">
                    <a:pos x="0" y="0"/>
                  </a:cxn>
                  <a:cxn ang="0">
                    <a:pos x="277" y="0"/>
                  </a:cxn>
                  <a:cxn ang="0">
                    <a:pos x="277" y="312"/>
                  </a:cxn>
                  <a:cxn ang="0">
                    <a:pos x="208" y="312"/>
                  </a:cxn>
                </a:cxnLst>
                <a:rect l="0" t="0" r="r" b="b"/>
                <a:pathLst>
                  <a:path w="277" h="312">
                    <a:moveTo>
                      <a:pt x="208" y="312"/>
                    </a:moveTo>
                    <a:lnTo>
                      <a:pt x="208" y="56"/>
                    </a:lnTo>
                    <a:lnTo>
                      <a:pt x="69" y="56"/>
                    </a:lnTo>
                    <a:lnTo>
                      <a:pt x="69" y="312"/>
                    </a:lnTo>
                    <a:lnTo>
                      <a:pt x="0" y="312"/>
                    </a:lnTo>
                    <a:lnTo>
                      <a:pt x="0" y="0"/>
                    </a:lnTo>
                    <a:lnTo>
                      <a:pt x="277" y="0"/>
                    </a:lnTo>
                    <a:lnTo>
                      <a:pt x="277" y="312"/>
                    </a:lnTo>
                    <a:lnTo>
                      <a:pt x="208" y="312"/>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66" name="Freeform 31"/>
              <p:cNvSpPr>
                <a:spLocks noEditPoints="1"/>
              </p:cNvSpPr>
              <p:nvPr/>
            </p:nvSpPr>
            <p:spPr bwMode="black">
              <a:xfrm>
                <a:off x="5757421" y="5034213"/>
                <a:ext cx="100167" cy="125017"/>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1"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67" name="Freeform 32"/>
              <p:cNvSpPr>
                <a:spLocks/>
              </p:cNvSpPr>
              <p:nvPr/>
            </p:nvSpPr>
            <p:spPr bwMode="black">
              <a:xfrm>
                <a:off x="5874027" y="5034213"/>
                <a:ext cx="92903" cy="125017"/>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1"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2"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68" name="Freeform 551"/>
              <p:cNvSpPr>
                <a:spLocks/>
              </p:cNvSpPr>
              <p:nvPr/>
            </p:nvSpPr>
            <p:spPr bwMode="black">
              <a:xfrm>
                <a:off x="5989869" y="5036889"/>
                <a:ext cx="110107" cy="119283"/>
              </a:xfrm>
              <a:custGeom>
                <a:avLst/>
                <a:gdLst/>
                <a:ahLst/>
                <a:cxnLst>
                  <a:cxn ang="0">
                    <a:pos x="102" y="144"/>
                  </a:cxn>
                  <a:cxn ang="0">
                    <a:pos x="102" y="42"/>
                  </a:cxn>
                  <a:cxn ang="0">
                    <a:pos x="99" y="47"/>
                  </a:cxn>
                  <a:cxn ang="0">
                    <a:pos x="95" y="53"/>
                  </a:cxn>
                  <a:cxn ang="0">
                    <a:pos x="28" y="144"/>
                  </a:cxn>
                  <a:cxn ang="0">
                    <a:pos x="0" y="144"/>
                  </a:cxn>
                  <a:cxn ang="0">
                    <a:pos x="0" y="0"/>
                  </a:cxn>
                  <a:cxn ang="0">
                    <a:pos x="31" y="0"/>
                  </a:cxn>
                  <a:cxn ang="0">
                    <a:pos x="31" y="100"/>
                  </a:cxn>
                  <a:cxn ang="0">
                    <a:pos x="34" y="95"/>
                  </a:cxn>
                  <a:cxn ang="0">
                    <a:pos x="37" y="90"/>
                  </a:cxn>
                  <a:cxn ang="0">
                    <a:pos x="103" y="0"/>
                  </a:cxn>
                  <a:cxn ang="0">
                    <a:pos x="133" y="0"/>
                  </a:cxn>
                  <a:cxn ang="0">
                    <a:pos x="133" y="144"/>
                  </a:cxn>
                  <a:cxn ang="0">
                    <a:pos x="102" y="144"/>
                  </a:cxn>
                </a:cxnLst>
                <a:rect l="0" t="0" r="r" b="b"/>
                <a:pathLst>
                  <a:path w="133" h="144">
                    <a:moveTo>
                      <a:pt x="102" y="144"/>
                    </a:moveTo>
                    <a:cubicBezTo>
                      <a:pt x="102" y="42"/>
                      <a:pt x="102" y="42"/>
                      <a:pt x="102" y="42"/>
                    </a:cubicBezTo>
                    <a:cubicBezTo>
                      <a:pt x="101" y="43"/>
                      <a:pt x="100" y="45"/>
                      <a:pt x="99" y="47"/>
                    </a:cubicBezTo>
                    <a:cubicBezTo>
                      <a:pt x="97" y="50"/>
                      <a:pt x="96" y="51"/>
                      <a:pt x="95" y="53"/>
                    </a:cubicBezTo>
                    <a:cubicBezTo>
                      <a:pt x="28" y="144"/>
                      <a:pt x="28" y="144"/>
                      <a:pt x="28" y="144"/>
                    </a:cubicBezTo>
                    <a:cubicBezTo>
                      <a:pt x="0" y="144"/>
                      <a:pt x="0" y="144"/>
                      <a:pt x="0" y="144"/>
                    </a:cubicBezTo>
                    <a:cubicBezTo>
                      <a:pt x="0" y="0"/>
                      <a:pt x="0" y="0"/>
                      <a:pt x="0" y="0"/>
                    </a:cubicBezTo>
                    <a:cubicBezTo>
                      <a:pt x="31" y="0"/>
                      <a:pt x="31" y="0"/>
                      <a:pt x="31" y="0"/>
                    </a:cubicBezTo>
                    <a:cubicBezTo>
                      <a:pt x="31" y="100"/>
                      <a:pt x="31" y="100"/>
                      <a:pt x="31" y="100"/>
                    </a:cubicBezTo>
                    <a:cubicBezTo>
                      <a:pt x="32" y="99"/>
                      <a:pt x="33" y="97"/>
                      <a:pt x="34" y="95"/>
                    </a:cubicBezTo>
                    <a:cubicBezTo>
                      <a:pt x="35" y="93"/>
                      <a:pt x="36" y="91"/>
                      <a:pt x="37" y="90"/>
                    </a:cubicBezTo>
                    <a:cubicBezTo>
                      <a:pt x="103" y="0"/>
                      <a:pt x="103" y="0"/>
                      <a:pt x="103" y="0"/>
                    </a:cubicBezTo>
                    <a:cubicBezTo>
                      <a:pt x="133" y="0"/>
                      <a:pt x="133" y="0"/>
                      <a:pt x="133" y="0"/>
                    </a:cubicBezTo>
                    <a:cubicBezTo>
                      <a:pt x="133" y="144"/>
                      <a:pt x="133" y="144"/>
                      <a:pt x="133" y="144"/>
                    </a:cubicBezTo>
                    <a:lnTo>
                      <a:pt x="102"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69" name="Freeform 552"/>
              <p:cNvSpPr>
                <a:spLocks noEditPoints="1"/>
              </p:cNvSpPr>
              <p:nvPr/>
            </p:nvSpPr>
            <p:spPr bwMode="black">
              <a:xfrm>
                <a:off x="6124826" y="4978012"/>
                <a:ext cx="118518" cy="181218"/>
              </a:xfrm>
              <a:custGeom>
                <a:avLst/>
                <a:gdLst/>
                <a:ahLst/>
                <a:cxnLst>
                  <a:cxn ang="0">
                    <a:pos x="143" y="143"/>
                  </a:cxn>
                  <a:cxn ang="0">
                    <a:pos x="142" y="161"/>
                  </a:cxn>
                  <a:cxn ang="0">
                    <a:pos x="136" y="179"/>
                  </a:cxn>
                  <a:cxn ang="0">
                    <a:pos x="127" y="195"/>
                  </a:cxn>
                  <a:cxn ang="0">
                    <a:pos x="113" y="207"/>
                  </a:cxn>
                  <a:cxn ang="0">
                    <a:pos x="94" y="216"/>
                  </a:cxn>
                  <a:cxn ang="0">
                    <a:pos x="71" y="219"/>
                  </a:cxn>
                  <a:cxn ang="0">
                    <a:pos x="40" y="212"/>
                  </a:cxn>
                  <a:cxn ang="0">
                    <a:pos x="17" y="194"/>
                  </a:cxn>
                  <a:cxn ang="0">
                    <a:pos x="4" y="165"/>
                  </a:cxn>
                  <a:cxn ang="0">
                    <a:pos x="0" y="127"/>
                  </a:cxn>
                  <a:cxn ang="0">
                    <a:pos x="3" y="88"/>
                  </a:cxn>
                  <a:cxn ang="0">
                    <a:pos x="11" y="58"/>
                  </a:cxn>
                  <a:cxn ang="0">
                    <a:pos x="24" y="36"/>
                  </a:cxn>
                  <a:cxn ang="0">
                    <a:pos x="42" y="22"/>
                  </a:cxn>
                  <a:cxn ang="0">
                    <a:pos x="58" y="16"/>
                  </a:cxn>
                  <a:cxn ang="0">
                    <a:pos x="76" y="12"/>
                  </a:cxn>
                  <a:cxn ang="0">
                    <a:pos x="94" y="10"/>
                  </a:cxn>
                  <a:cxn ang="0">
                    <a:pos x="108" y="7"/>
                  </a:cxn>
                  <a:cxn ang="0">
                    <a:pos x="119" y="4"/>
                  </a:cxn>
                  <a:cxn ang="0">
                    <a:pos x="128" y="0"/>
                  </a:cxn>
                  <a:cxn ang="0">
                    <a:pos x="128" y="28"/>
                  </a:cxn>
                  <a:cxn ang="0">
                    <a:pos x="120" y="32"/>
                  </a:cxn>
                  <a:cxn ang="0">
                    <a:pos x="111" y="35"/>
                  </a:cxn>
                  <a:cxn ang="0">
                    <a:pos x="97" y="37"/>
                  </a:cxn>
                  <a:cxn ang="0">
                    <a:pos x="82" y="39"/>
                  </a:cxn>
                  <a:cxn ang="0">
                    <a:pos x="68" y="41"/>
                  </a:cxn>
                  <a:cxn ang="0">
                    <a:pos x="56" y="45"/>
                  </a:cxn>
                  <a:cxn ang="0">
                    <a:pos x="48" y="52"/>
                  </a:cxn>
                  <a:cxn ang="0">
                    <a:pos x="41" y="62"/>
                  </a:cxn>
                  <a:cxn ang="0">
                    <a:pos x="37" y="76"/>
                  </a:cxn>
                  <a:cxn ang="0">
                    <a:pos x="34" y="96"/>
                  </a:cxn>
                  <a:cxn ang="0">
                    <a:pos x="35" y="96"/>
                  </a:cxn>
                  <a:cxn ang="0">
                    <a:pos x="43" y="86"/>
                  </a:cxn>
                  <a:cxn ang="0">
                    <a:pos x="54" y="79"/>
                  </a:cxn>
                  <a:cxn ang="0">
                    <a:pos x="67" y="73"/>
                  </a:cxn>
                  <a:cxn ang="0">
                    <a:pos x="82" y="71"/>
                  </a:cxn>
                  <a:cxn ang="0">
                    <a:pos x="110" y="77"/>
                  </a:cxn>
                  <a:cxn ang="0">
                    <a:pos x="129" y="93"/>
                  </a:cxn>
                  <a:cxn ang="0">
                    <a:pos x="140" y="115"/>
                  </a:cxn>
                  <a:cxn ang="0">
                    <a:pos x="143" y="143"/>
                  </a:cxn>
                  <a:cxn ang="0">
                    <a:pos x="110" y="144"/>
                  </a:cxn>
                  <a:cxn ang="0">
                    <a:pos x="100" y="109"/>
                  </a:cxn>
                  <a:cxn ang="0">
                    <a:pos x="73" y="97"/>
                  </a:cxn>
                  <a:cxn ang="0">
                    <a:pos x="60" y="98"/>
                  </a:cxn>
                  <a:cxn ang="0">
                    <a:pos x="50" y="103"/>
                  </a:cxn>
                  <a:cxn ang="0">
                    <a:pos x="41" y="111"/>
                  </a:cxn>
                  <a:cxn ang="0">
                    <a:pos x="34" y="120"/>
                  </a:cxn>
                  <a:cxn ang="0">
                    <a:pos x="34" y="124"/>
                  </a:cxn>
                  <a:cxn ang="0">
                    <a:pos x="34" y="128"/>
                  </a:cxn>
                  <a:cxn ang="0">
                    <a:pos x="34" y="133"/>
                  </a:cxn>
                  <a:cxn ang="0">
                    <a:pos x="34" y="138"/>
                  </a:cxn>
                  <a:cxn ang="0">
                    <a:pos x="36" y="159"/>
                  </a:cxn>
                  <a:cxn ang="0">
                    <a:pos x="43" y="176"/>
                  </a:cxn>
                  <a:cxn ang="0">
                    <a:pos x="55" y="188"/>
                  </a:cxn>
                  <a:cxn ang="0">
                    <a:pos x="72" y="192"/>
                  </a:cxn>
                  <a:cxn ang="0">
                    <a:pos x="89" y="189"/>
                  </a:cxn>
                  <a:cxn ang="0">
                    <a:pos x="100" y="178"/>
                  </a:cxn>
                  <a:cxn ang="0">
                    <a:pos x="107" y="163"/>
                  </a:cxn>
                  <a:cxn ang="0">
                    <a:pos x="110" y="144"/>
                  </a:cxn>
                </a:cxnLst>
                <a:rect l="0" t="0" r="r" b="b"/>
                <a:pathLst>
                  <a:path w="143" h="219">
                    <a:moveTo>
                      <a:pt x="143" y="143"/>
                    </a:moveTo>
                    <a:cubicBezTo>
                      <a:pt x="143" y="149"/>
                      <a:pt x="143" y="155"/>
                      <a:pt x="142" y="161"/>
                    </a:cubicBezTo>
                    <a:cubicBezTo>
                      <a:pt x="140" y="167"/>
                      <a:pt x="139" y="173"/>
                      <a:pt x="136" y="179"/>
                    </a:cubicBezTo>
                    <a:cubicBezTo>
                      <a:pt x="134" y="184"/>
                      <a:pt x="130" y="190"/>
                      <a:pt x="127" y="195"/>
                    </a:cubicBezTo>
                    <a:cubicBezTo>
                      <a:pt x="123" y="199"/>
                      <a:pt x="118" y="204"/>
                      <a:pt x="113" y="207"/>
                    </a:cubicBezTo>
                    <a:cubicBezTo>
                      <a:pt x="107" y="211"/>
                      <a:pt x="101" y="214"/>
                      <a:pt x="94" y="216"/>
                    </a:cubicBezTo>
                    <a:cubicBezTo>
                      <a:pt x="88" y="218"/>
                      <a:pt x="80" y="219"/>
                      <a:pt x="71" y="219"/>
                    </a:cubicBezTo>
                    <a:cubicBezTo>
                      <a:pt x="59" y="219"/>
                      <a:pt x="48" y="217"/>
                      <a:pt x="40" y="212"/>
                    </a:cubicBezTo>
                    <a:cubicBezTo>
                      <a:pt x="31" y="208"/>
                      <a:pt x="23" y="202"/>
                      <a:pt x="17" y="194"/>
                    </a:cubicBezTo>
                    <a:cubicBezTo>
                      <a:pt x="11" y="186"/>
                      <a:pt x="7" y="176"/>
                      <a:pt x="4" y="165"/>
                    </a:cubicBezTo>
                    <a:cubicBezTo>
                      <a:pt x="1" y="154"/>
                      <a:pt x="0" y="141"/>
                      <a:pt x="0" y="127"/>
                    </a:cubicBezTo>
                    <a:cubicBezTo>
                      <a:pt x="0" y="113"/>
                      <a:pt x="1" y="100"/>
                      <a:pt x="3" y="88"/>
                    </a:cubicBezTo>
                    <a:cubicBezTo>
                      <a:pt x="5" y="77"/>
                      <a:pt x="7" y="67"/>
                      <a:pt x="11" y="58"/>
                    </a:cubicBezTo>
                    <a:cubicBezTo>
                      <a:pt x="14" y="49"/>
                      <a:pt x="19" y="42"/>
                      <a:pt x="24" y="36"/>
                    </a:cubicBezTo>
                    <a:cubicBezTo>
                      <a:pt x="29" y="30"/>
                      <a:pt x="35" y="25"/>
                      <a:pt x="42" y="22"/>
                    </a:cubicBezTo>
                    <a:cubicBezTo>
                      <a:pt x="47" y="20"/>
                      <a:pt x="52" y="18"/>
                      <a:pt x="58" y="16"/>
                    </a:cubicBezTo>
                    <a:cubicBezTo>
                      <a:pt x="64" y="15"/>
                      <a:pt x="70" y="13"/>
                      <a:pt x="76" y="12"/>
                    </a:cubicBezTo>
                    <a:cubicBezTo>
                      <a:pt x="82" y="11"/>
                      <a:pt x="88" y="10"/>
                      <a:pt x="94" y="10"/>
                    </a:cubicBezTo>
                    <a:cubicBezTo>
                      <a:pt x="99" y="9"/>
                      <a:pt x="104" y="8"/>
                      <a:pt x="108" y="7"/>
                    </a:cubicBezTo>
                    <a:cubicBezTo>
                      <a:pt x="112" y="6"/>
                      <a:pt x="115" y="5"/>
                      <a:pt x="119" y="4"/>
                    </a:cubicBezTo>
                    <a:cubicBezTo>
                      <a:pt x="123" y="3"/>
                      <a:pt x="126" y="2"/>
                      <a:pt x="128" y="0"/>
                    </a:cubicBezTo>
                    <a:cubicBezTo>
                      <a:pt x="128" y="28"/>
                      <a:pt x="128" y="28"/>
                      <a:pt x="128" y="28"/>
                    </a:cubicBezTo>
                    <a:cubicBezTo>
                      <a:pt x="126" y="29"/>
                      <a:pt x="123" y="31"/>
                      <a:pt x="120" y="32"/>
                    </a:cubicBezTo>
                    <a:cubicBezTo>
                      <a:pt x="117" y="33"/>
                      <a:pt x="114" y="34"/>
                      <a:pt x="111" y="35"/>
                    </a:cubicBezTo>
                    <a:cubicBezTo>
                      <a:pt x="107" y="36"/>
                      <a:pt x="103" y="36"/>
                      <a:pt x="97" y="37"/>
                    </a:cubicBezTo>
                    <a:cubicBezTo>
                      <a:pt x="92" y="37"/>
                      <a:pt x="87" y="38"/>
                      <a:pt x="82" y="39"/>
                    </a:cubicBezTo>
                    <a:cubicBezTo>
                      <a:pt x="77" y="39"/>
                      <a:pt x="72" y="40"/>
                      <a:pt x="68" y="41"/>
                    </a:cubicBezTo>
                    <a:cubicBezTo>
                      <a:pt x="63" y="42"/>
                      <a:pt x="59" y="44"/>
                      <a:pt x="56" y="45"/>
                    </a:cubicBezTo>
                    <a:cubicBezTo>
                      <a:pt x="53" y="47"/>
                      <a:pt x="50" y="49"/>
                      <a:pt x="48" y="52"/>
                    </a:cubicBezTo>
                    <a:cubicBezTo>
                      <a:pt x="45" y="55"/>
                      <a:pt x="43" y="58"/>
                      <a:pt x="41" y="62"/>
                    </a:cubicBezTo>
                    <a:cubicBezTo>
                      <a:pt x="40" y="66"/>
                      <a:pt x="38" y="70"/>
                      <a:pt x="37" y="76"/>
                    </a:cubicBezTo>
                    <a:cubicBezTo>
                      <a:pt x="36" y="81"/>
                      <a:pt x="35" y="88"/>
                      <a:pt x="34" y="96"/>
                    </a:cubicBezTo>
                    <a:cubicBezTo>
                      <a:pt x="35" y="96"/>
                      <a:pt x="35" y="96"/>
                      <a:pt x="35" y="96"/>
                    </a:cubicBezTo>
                    <a:cubicBezTo>
                      <a:pt x="37" y="92"/>
                      <a:pt x="40" y="89"/>
                      <a:pt x="43" y="86"/>
                    </a:cubicBezTo>
                    <a:cubicBezTo>
                      <a:pt x="46" y="83"/>
                      <a:pt x="50" y="81"/>
                      <a:pt x="54" y="79"/>
                    </a:cubicBezTo>
                    <a:cubicBezTo>
                      <a:pt x="58" y="76"/>
                      <a:pt x="62" y="75"/>
                      <a:pt x="67" y="73"/>
                    </a:cubicBezTo>
                    <a:cubicBezTo>
                      <a:pt x="72" y="72"/>
                      <a:pt x="77" y="71"/>
                      <a:pt x="82" y="71"/>
                    </a:cubicBezTo>
                    <a:cubicBezTo>
                      <a:pt x="93" y="71"/>
                      <a:pt x="102" y="73"/>
                      <a:pt x="110" y="77"/>
                    </a:cubicBezTo>
                    <a:cubicBezTo>
                      <a:pt x="118" y="81"/>
                      <a:pt x="124" y="86"/>
                      <a:pt x="129" y="93"/>
                    </a:cubicBezTo>
                    <a:cubicBezTo>
                      <a:pt x="134" y="99"/>
                      <a:pt x="138" y="107"/>
                      <a:pt x="140" y="115"/>
                    </a:cubicBezTo>
                    <a:cubicBezTo>
                      <a:pt x="142" y="124"/>
                      <a:pt x="143" y="133"/>
                      <a:pt x="143" y="143"/>
                    </a:cubicBezTo>
                    <a:close/>
                    <a:moveTo>
                      <a:pt x="110" y="144"/>
                    </a:moveTo>
                    <a:cubicBezTo>
                      <a:pt x="110" y="129"/>
                      <a:pt x="107" y="117"/>
                      <a:pt x="100" y="109"/>
                    </a:cubicBezTo>
                    <a:cubicBezTo>
                      <a:pt x="94" y="101"/>
                      <a:pt x="85" y="97"/>
                      <a:pt x="73" y="97"/>
                    </a:cubicBezTo>
                    <a:cubicBezTo>
                      <a:pt x="68" y="97"/>
                      <a:pt x="64" y="97"/>
                      <a:pt x="60" y="98"/>
                    </a:cubicBezTo>
                    <a:cubicBezTo>
                      <a:pt x="57" y="100"/>
                      <a:pt x="53" y="101"/>
                      <a:pt x="50" y="103"/>
                    </a:cubicBezTo>
                    <a:cubicBezTo>
                      <a:pt x="46" y="105"/>
                      <a:pt x="43" y="108"/>
                      <a:pt x="41" y="111"/>
                    </a:cubicBezTo>
                    <a:cubicBezTo>
                      <a:pt x="38" y="113"/>
                      <a:pt x="36" y="117"/>
                      <a:pt x="34" y="120"/>
                    </a:cubicBezTo>
                    <a:cubicBezTo>
                      <a:pt x="34" y="121"/>
                      <a:pt x="34" y="122"/>
                      <a:pt x="34" y="124"/>
                    </a:cubicBezTo>
                    <a:cubicBezTo>
                      <a:pt x="34" y="125"/>
                      <a:pt x="34" y="127"/>
                      <a:pt x="34" y="128"/>
                    </a:cubicBezTo>
                    <a:cubicBezTo>
                      <a:pt x="34" y="130"/>
                      <a:pt x="34" y="132"/>
                      <a:pt x="34" y="133"/>
                    </a:cubicBezTo>
                    <a:cubicBezTo>
                      <a:pt x="34" y="135"/>
                      <a:pt x="34" y="137"/>
                      <a:pt x="34" y="138"/>
                    </a:cubicBezTo>
                    <a:cubicBezTo>
                      <a:pt x="34" y="146"/>
                      <a:pt x="35" y="153"/>
                      <a:pt x="36" y="159"/>
                    </a:cubicBezTo>
                    <a:cubicBezTo>
                      <a:pt x="38" y="166"/>
                      <a:pt x="40" y="171"/>
                      <a:pt x="43" y="176"/>
                    </a:cubicBezTo>
                    <a:cubicBezTo>
                      <a:pt x="46" y="181"/>
                      <a:pt x="50" y="185"/>
                      <a:pt x="55" y="188"/>
                    </a:cubicBezTo>
                    <a:cubicBezTo>
                      <a:pt x="60" y="191"/>
                      <a:pt x="66" y="192"/>
                      <a:pt x="72" y="192"/>
                    </a:cubicBezTo>
                    <a:cubicBezTo>
                      <a:pt x="79" y="192"/>
                      <a:pt x="84" y="191"/>
                      <a:pt x="89" y="189"/>
                    </a:cubicBezTo>
                    <a:cubicBezTo>
                      <a:pt x="93" y="186"/>
                      <a:pt x="97" y="183"/>
                      <a:pt x="100" y="178"/>
                    </a:cubicBezTo>
                    <a:cubicBezTo>
                      <a:pt x="103" y="174"/>
                      <a:pt x="106" y="169"/>
                      <a:pt x="107" y="163"/>
                    </a:cubicBezTo>
                    <a:cubicBezTo>
                      <a:pt x="109" y="157"/>
                      <a:pt x="110" y="151"/>
                      <a:pt x="110" y="14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70" name="Freeform 553"/>
              <p:cNvSpPr>
                <a:spLocks noEditPoints="1"/>
              </p:cNvSpPr>
              <p:nvPr/>
            </p:nvSpPr>
            <p:spPr bwMode="black">
              <a:xfrm>
                <a:off x="6257490" y="5034213"/>
                <a:ext cx="122723" cy="125017"/>
              </a:xfrm>
              <a:custGeom>
                <a:avLst/>
                <a:gdLst/>
                <a:ahLst/>
                <a:cxnLst>
                  <a:cxn ang="0">
                    <a:pos x="148" y="74"/>
                  </a:cxn>
                  <a:cxn ang="0">
                    <a:pos x="143" y="106"/>
                  </a:cxn>
                  <a:cxn ang="0">
                    <a:pos x="128" y="130"/>
                  </a:cxn>
                  <a:cxn ang="0">
                    <a:pos x="104" y="145"/>
                  </a:cxn>
                  <a:cxn ang="0">
                    <a:pos x="73" y="151"/>
                  </a:cxn>
                  <a:cxn ang="0">
                    <a:pos x="43" y="145"/>
                  </a:cxn>
                  <a:cxn ang="0">
                    <a:pos x="20" y="131"/>
                  </a:cxn>
                  <a:cxn ang="0">
                    <a:pos x="5" y="107"/>
                  </a:cxn>
                  <a:cxn ang="0">
                    <a:pos x="0" y="77"/>
                  </a:cxn>
                  <a:cxn ang="0">
                    <a:pos x="6" y="44"/>
                  </a:cxn>
                  <a:cxn ang="0">
                    <a:pos x="22" y="19"/>
                  </a:cxn>
                  <a:cxn ang="0">
                    <a:pos x="46" y="5"/>
                  </a:cxn>
                  <a:cxn ang="0">
                    <a:pos x="77" y="0"/>
                  </a:cxn>
                  <a:cxn ang="0">
                    <a:pos x="107" y="5"/>
                  </a:cxn>
                  <a:cxn ang="0">
                    <a:pos x="130" y="20"/>
                  </a:cxn>
                  <a:cxn ang="0">
                    <a:pos x="144" y="44"/>
                  </a:cxn>
                  <a:cxn ang="0">
                    <a:pos x="148" y="74"/>
                  </a:cxn>
                  <a:cxn ang="0">
                    <a:pos x="115" y="75"/>
                  </a:cxn>
                  <a:cxn ang="0">
                    <a:pos x="104" y="39"/>
                  </a:cxn>
                  <a:cxn ang="0">
                    <a:pos x="75" y="26"/>
                  </a:cxn>
                  <a:cxn ang="0">
                    <a:pos x="59" y="29"/>
                  </a:cxn>
                  <a:cxn ang="0">
                    <a:pos x="46" y="38"/>
                  </a:cxn>
                  <a:cxn ang="0">
                    <a:pos x="37" y="54"/>
                  </a:cxn>
                  <a:cxn ang="0">
                    <a:pos x="34" y="76"/>
                  </a:cxn>
                  <a:cxn ang="0">
                    <a:pos x="37" y="97"/>
                  </a:cxn>
                  <a:cxn ang="0">
                    <a:pos x="46" y="112"/>
                  </a:cxn>
                  <a:cxn ang="0">
                    <a:pos x="59" y="121"/>
                  </a:cxn>
                  <a:cxn ang="0">
                    <a:pos x="75" y="124"/>
                  </a:cxn>
                  <a:cxn ang="0">
                    <a:pos x="104" y="112"/>
                  </a:cxn>
                  <a:cxn ang="0">
                    <a:pos x="115" y="75"/>
                  </a:cxn>
                </a:cxnLst>
                <a:rect l="0" t="0" r="r" b="b"/>
                <a:pathLst>
                  <a:path w="148" h="151">
                    <a:moveTo>
                      <a:pt x="148" y="74"/>
                    </a:moveTo>
                    <a:cubicBezTo>
                      <a:pt x="148" y="86"/>
                      <a:pt x="146" y="96"/>
                      <a:pt x="143" y="106"/>
                    </a:cubicBezTo>
                    <a:cubicBezTo>
                      <a:pt x="139" y="115"/>
                      <a:pt x="134" y="124"/>
                      <a:pt x="128"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4" y="124"/>
                      <a:pt x="9" y="117"/>
                      <a:pt x="5" y="107"/>
                    </a:cubicBezTo>
                    <a:cubicBezTo>
                      <a:pt x="2" y="98"/>
                      <a:pt x="0" y="88"/>
                      <a:pt x="0" y="77"/>
                    </a:cubicBezTo>
                    <a:cubicBezTo>
                      <a:pt x="0" y="64"/>
                      <a:pt x="2" y="53"/>
                      <a:pt x="6" y="44"/>
                    </a:cubicBezTo>
                    <a:cubicBezTo>
                      <a:pt x="10" y="34"/>
                      <a:pt x="15" y="26"/>
                      <a:pt x="22" y="19"/>
                    </a:cubicBezTo>
                    <a:cubicBezTo>
                      <a:pt x="28" y="13"/>
                      <a:pt x="36" y="8"/>
                      <a:pt x="46" y="5"/>
                    </a:cubicBezTo>
                    <a:cubicBezTo>
                      <a:pt x="55" y="1"/>
                      <a:pt x="65" y="0"/>
                      <a:pt x="77" y="0"/>
                    </a:cubicBezTo>
                    <a:cubicBezTo>
                      <a:pt x="88" y="0"/>
                      <a:pt x="98" y="2"/>
                      <a:pt x="107" y="5"/>
                    </a:cubicBezTo>
                    <a:cubicBezTo>
                      <a:pt x="116" y="9"/>
                      <a:pt x="124" y="14"/>
                      <a:pt x="130" y="20"/>
                    </a:cubicBezTo>
                    <a:cubicBezTo>
                      <a:pt x="136" y="27"/>
                      <a:pt x="141" y="35"/>
                      <a:pt x="144" y="44"/>
                    </a:cubicBezTo>
                    <a:cubicBezTo>
                      <a:pt x="147" y="53"/>
                      <a:pt x="148" y="63"/>
                      <a:pt x="148" y="74"/>
                    </a:cubicBezTo>
                    <a:close/>
                    <a:moveTo>
                      <a:pt x="115" y="75"/>
                    </a:moveTo>
                    <a:cubicBezTo>
                      <a:pt x="115" y="59"/>
                      <a:pt x="111" y="47"/>
                      <a:pt x="104" y="39"/>
                    </a:cubicBezTo>
                    <a:cubicBezTo>
                      <a:pt x="97" y="31"/>
                      <a:pt x="87" y="26"/>
                      <a:pt x="75" y="26"/>
                    </a:cubicBezTo>
                    <a:cubicBezTo>
                      <a:pt x="69" y="26"/>
                      <a:pt x="64" y="27"/>
                      <a:pt x="59"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6" y="112"/>
                    </a:cubicBezTo>
                    <a:cubicBezTo>
                      <a:pt x="49" y="116"/>
                      <a:pt x="54" y="119"/>
                      <a:pt x="59" y="121"/>
                    </a:cubicBezTo>
                    <a:cubicBezTo>
                      <a:pt x="64" y="123"/>
                      <a:pt x="69" y="124"/>
                      <a:pt x="75" y="124"/>
                    </a:cubicBezTo>
                    <a:cubicBezTo>
                      <a:pt x="88" y="124"/>
                      <a:pt x="98" y="120"/>
                      <a:pt x="104" y="112"/>
                    </a:cubicBezTo>
                    <a:cubicBezTo>
                      <a:pt x="111" y="103"/>
                      <a:pt x="115" y="91"/>
                      <a:pt x="115"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98" name="Group 97"/>
            <p:cNvGrpSpPr/>
            <p:nvPr/>
          </p:nvGrpSpPr>
          <p:grpSpPr bwMode="black">
            <a:xfrm>
              <a:off x="6825952" y="4717686"/>
              <a:ext cx="575837" cy="158662"/>
              <a:chOff x="4664767" y="4986232"/>
              <a:chExt cx="578026" cy="164783"/>
            </a:xfrm>
            <a:grpFill/>
            <a:effectLst/>
          </p:grpSpPr>
          <p:sp>
            <p:nvSpPr>
              <p:cNvPr id="259" name="Freeform 22"/>
              <p:cNvSpPr>
                <a:spLocks noEditPoints="1"/>
              </p:cNvSpPr>
              <p:nvPr/>
            </p:nvSpPr>
            <p:spPr bwMode="black">
              <a:xfrm>
                <a:off x="4664767" y="4995244"/>
                <a:ext cx="129380" cy="152875"/>
              </a:xfrm>
              <a:custGeom>
                <a:avLst/>
                <a:gdLst/>
                <a:ahLst/>
                <a:cxnLst>
                  <a:cxn ang="0">
                    <a:pos x="170" y="98"/>
                  </a:cxn>
                  <a:cxn ang="0">
                    <a:pos x="163" y="140"/>
                  </a:cxn>
                  <a:cxn ang="0">
                    <a:pos x="140"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0"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60" name="Freeform 23"/>
              <p:cNvSpPr>
                <a:spLocks noEditPoints="1"/>
              </p:cNvSpPr>
              <p:nvPr/>
            </p:nvSpPr>
            <p:spPr bwMode="black">
              <a:xfrm>
                <a:off x="4806377" y="5036439"/>
                <a:ext cx="91081" cy="11457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8"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61" name="Freeform 24"/>
              <p:cNvSpPr>
                <a:spLocks/>
              </p:cNvSpPr>
              <p:nvPr/>
            </p:nvSpPr>
            <p:spPr bwMode="black">
              <a:xfrm>
                <a:off x="4921274" y="5036439"/>
                <a:ext cx="97196" cy="111679"/>
              </a:xfrm>
              <a:custGeom>
                <a:avLst/>
                <a:gdLst/>
                <a:ahLst/>
                <a:cxnLst>
                  <a:cxn ang="0">
                    <a:pos x="96" y="147"/>
                  </a:cxn>
                  <a:cxn ang="0">
                    <a:pos x="96" y="66"/>
                  </a:cxn>
                  <a:cxn ang="0">
                    <a:pos x="89" y="36"/>
                  </a:cxn>
                  <a:cxn ang="0">
                    <a:pos x="67" y="26"/>
                  </a:cxn>
                  <a:cxn ang="0">
                    <a:pos x="53" y="29"/>
                  </a:cxn>
                  <a:cxn ang="0">
                    <a:pos x="43"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6" y="147"/>
                  </a:cxn>
                </a:cxnLst>
                <a:rect l="0" t="0" r="r" b="b"/>
                <a:pathLst>
                  <a:path w="128" h="147">
                    <a:moveTo>
                      <a:pt x="96" y="147"/>
                    </a:moveTo>
                    <a:cubicBezTo>
                      <a:pt x="96" y="66"/>
                      <a:pt x="96" y="66"/>
                      <a:pt x="96" y="66"/>
                    </a:cubicBezTo>
                    <a:cubicBezTo>
                      <a:pt x="96" y="53"/>
                      <a:pt x="93" y="43"/>
                      <a:pt x="89" y="36"/>
                    </a:cubicBezTo>
                    <a:cubicBezTo>
                      <a:pt x="84" y="30"/>
                      <a:pt x="77" y="26"/>
                      <a:pt x="67" y="26"/>
                    </a:cubicBezTo>
                    <a:cubicBezTo>
                      <a:pt x="62" y="26"/>
                      <a:pt x="58" y="27"/>
                      <a:pt x="53" y="29"/>
                    </a:cubicBezTo>
                    <a:cubicBezTo>
                      <a:pt x="49" y="31"/>
                      <a:pt x="46" y="34"/>
                      <a:pt x="43" y="37"/>
                    </a:cubicBezTo>
                    <a:cubicBezTo>
                      <a:pt x="40"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2" y="2"/>
                      <a:pt x="70" y="0"/>
                      <a:pt x="80" y="0"/>
                    </a:cubicBezTo>
                    <a:cubicBezTo>
                      <a:pt x="95" y="0"/>
                      <a:pt x="107" y="5"/>
                      <a:pt x="115" y="14"/>
                    </a:cubicBezTo>
                    <a:cubicBezTo>
                      <a:pt x="124" y="24"/>
                      <a:pt x="128" y="39"/>
                      <a:pt x="128" y="59"/>
                    </a:cubicBezTo>
                    <a:cubicBezTo>
                      <a:pt x="128" y="147"/>
                      <a:pt x="128" y="147"/>
                      <a:pt x="128" y="147"/>
                    </a:cubicBezTo>
                    <a:lnTo>
                      <a:pt x="96"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62" name="Freeform 25"/>
              <p:cNvSpPr>
                <a:spLocks/>
              </p:cNvSpPr>
              <p:nvPr/>
            </p:nvSpPr>
            <p:spPr bwMode="black">
              <a:xfrm>
                <a:off x="5045183" y="4986232"/>
                <a:ext cx="100093" cy="1618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63" name="Freeform 26"/>
              <p:cNvSpPr>
                <a:spLocks noEditPoints="1"/>
              </p:cNvSpPr>
              <p:nvPr/>
            </p:nvSpPr>
            <p:spPr bwMode="black">
              <a:xfrm>
                <a:off x="5142379" y="5036439"/>
                <a:ext cx="100414" cy="114576"/>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99" name="Group 98"/>
            <p:cNvGrpSpPr/>
            <p:nvPr/>
          </p:nvGrpSpPr>
          <p:grpSpPr bwMode="black">
            <a:xfrm>
              <a:off x="8833844" y="5267952"/>
              <a:ext cx="995956" cy="189523"/>
              <a:chOff x="1502088" y="4970205"/>
              <a:chExt cx="999744" cy="196837"/>
            </a:xfrm>
            <a:grpFill/>
            <a:effectLst/>
          </p:grpSpPr>
          <p:sp>
            <p:nvSpPr>
              <p:cNvPr id="254" name="Freeform 19"/>
              <p:cNvSpPr>
                <a:spLocks noEditPoints="1"/>
              </p:cNvSpPr>
              <p:nvPr/>
            </p:nvSpPr>
            <p:spPr bwMode="black">
              <a:xfrm>
                <a:off x="1502088" y="4971731"/>
                <a:ext cx="187376" cy="193785"/>
              </a:xfrm>
              <a:custGeom>
                <a:avLst/>
                <a:gdLst/>
                <a:ahLst/>
                <a:cxnLst>
                  <a:cxn ang="0">
                    <a:pos x="42" y="55"/>
                  </a:cxn>
                  <a:cxn ang="0">
                    <a:pos x="23" y="52"/>
                  </a:cxn>
                  <a:cxn ang="0">
                    <a:pos x="20" y="42"/>
                  </a:cxn>
                  <a:cxn ang="0">
                    <a:pos x="101" y="42"/>
                  </a:cxn>
                  <a:cxn ang="0">
                    <a:pos x="108" y="40"/>
                  </a:cxn>
                  <a:cxn ang="0">
                    <a:pos x="122" y="39"/>
                  </a:cxn>
                  <a:cxn ang="0">
                    <a:pos x="132" y="49"/>
                  </a:cxn>
                  <a:cxn ang="0">
                    <a:pos x="129" y="54"/>
                  </a:cxn>
                  <a:cxn ang="0">
                    <a:pos x="13" y="168"/>
                  </a:cxn>
                  <a:cxn ang="0">
                    <a:pos x="11" y="162"/>
                  </a:cxn>
                  <a:cxn ang="0">
                    <a:pos x="108" y="49"/>
                  </a:cxn>
                  <a:cxn ang="0">
                    <a:pos x="47" y="54"/>
                  </a:cxn>
                  <a:cxn ang="0">
                    <a:pos x="59" y="172"/>
                  </a:cxn>
                  <a:cxn ang="0">
                    <a:pos x="61" y="165"/>
                  </a:cxn>
                  <a:cxn ang="0">
                    <a:pos x="97" y="169"/>
                  </a:cxn>
                  <a:cxn ang="0">
                    <a:pos x="179" y="167"/>
                  </a:cxn>
                  <a:cxn ang="0">
                    <a:pos x="187" y="165"/>
                  </a:cxn>
                  <a:cxn ang="0">
                    <a:pos x="206" y="168"/>
                  </a:cxn>
                  <a:cxn ang="0">
                    <a:pos x="204" y="175"/>
                  </a:cxn>
                  <a:cxn ang="0">
                    <a:pos x="194" y="212"/>
                  </a:cxn>
                  <a:cxn ang="0">
                    <a:pos x="200" y="239"/>
                  </a:cxn>
                  <a:cxn ang="0">
                    <a:pos x="202" y="247"/>
                  </a:cxn>
                  <a:cxn ang="0">
                    <a:pos x="96" y="249"/>
                  </a:cxn>
                  <a:cxn ang="0">
                    <a:pos x="80" y="252"/>
                  </a:cxn>
                  <a:cxn ang="0">
                    <a:pos x="71" y="177"/>
                  </a:cxn>
                  <a:cxn ang="0">
                    <a:pos x="161" y="241"/>
                  </a:cxn>
                  <a:cxn ang="0">
                    <a:pos x="172" y="239"/>
                  </a:cxn>
                  <a:cxn ang="0">
                    <a:pos x="182" y="176"/>
                  </a:cxn>
                  <a:cxn ang="0">
                    <a:pos x="98" y="177"/>
                  </a:cxn>
                  <a:cxn ang="0">
                    <a:pos x="95" y="181"/>
                  </a:cxn>
                  <a:cxn ang="0">
                    <a:pos x="96" y="242"/>
                  </a:cxn>
                  <a:cxn ang="0">
                    <a:pos x="157" y="8"/>
                  </a:cxn>
                  <a:cxn ang="0">
                    <a:pos x="164" y="0"/>
                  </a:cxn>
                  <a:cxn ang="0">
                    <a:pos x="199" y="10"/>
                  </a:cxn>
                  <a:cxn ang="0">
                    <a:pos x="203" y="19"/>
                  </a:cxn>
                  <a:cxn ang="0">
                    <a:pos x="202" y="102"/>
                  </a:cxn>
                  <a:cxn ang="0">
                    <a:pos x="225" y="101"/>
                  </a:cxn>
                  <a:cxn ang="0">
                    <a:pos x="233" y="95"/>
                  </a:cxn>
                  <a:cxn ang="0">
                    <a:pos x="256" y="99"/>
                  </a:cxn>
                  <a:cxn ang="0">
                    <a:pos x="258" y="108"/>
                  </a:cxn>
                  <a:cxn ang="0">
                    <a:pos x="202" y="110"/>
                  </a:cxn>
                  <a:cxn ang="0">
                    <a:pos x="197" y="142"/>
                  </a:cxn>
                  <a:cxn ang="0">
                    <a:pos x="186" y="151"/>
                  </a:cxn>
                  <a:cxn ang="0">
                    <a:pos x="184" y="26"/>
                  </a:cxn>
                </a:cxnLst>
                <a:rect l="0" t="0" r="r" b="b"/>
                <a:pathLst>
                  <a:path w="260" h="269">
                    <a:moveTo>
                      <a:pt x="47" y="54"/>
                    </a:moveTo>
                    <a:cubicBezTo>
                      <a:pt x="45" y="54"/>
                      <a:pt x="44" y="55"/>
                      <a:pt x="42" y="55"/>
                    </a:cubicBezTo>
                    <a:cubicBezTo>
                      <a:pt x="40" y="57"/>
                      <a:pt x="38" y="57"/>
                      <a:pt x="36" y="57"/>
                    </a:cubicBezTo>
                    <a:cubicBezTo>
                      <a:pt x="33" y="57"/>
                      <a:pt x="29" y="55"/>
                      <a:pt x="23" y="52"/>
                    </a:cubicBezTo>
                    <a:cubicBezTo>
                      <a:pt x="15" y="48"/>
                      <a:pt x="11" y="45"/>
                      <a:pt x="11" y="43"/>
                    </a:cubicBezTo>
                    <a:cubicBezTo>
                      <a:pt x="11" y="41"/>
                      <a:pt x="14" y="41"/>
                      <a:pt x="20" y="42"/>
                    </a:cubicBezTo>
                    <a:cubicBezTo>
                      <a:pt x="32" y="43"/>
                      <a:pt x="45" y="44"/>
                      <a:pt x="58" y="43"/>
                    </a:cubicBezTo>
                    <a:cubicBezTo>
                      <a:pt x="68" y="43"/>
                      <a:pt x="82" y="43"/>
                      <a:pt x="101" y="42"/>
                    </a:cubicBezTo>
                    <a:cubicBezTo>
                      <a:pt x="103" y="42"/>
                      <a:pt x="104" y="42"/>
                      <a:pt x="105" y="41"/>
                    </a:cubicBezTo>
                    <a:cubicBezTo>
                      <a:pt x="106" y="41"/>
                      <a:pt x="107" y="41"/>
                      <a:pt x="108" y="40"/>
                    </a:cubicBezTo>
                    <a:cubicBezTo>
                      <a:pt x="110" y="40"/>
                      <a:pt x="111" y="39"/>
                      <a:pt x="113" y="39"/>
                    </a:cubicBezTo>
                    <a:cubicBezTo>
                      <a:pt x="115" y="39"/>
                      <a:pt x="118" y="39"/>
                      <a:pt x="122" y="39"/>
                    </a:cubicBezTo>
                    <a:cubicBezTo>
                      <a:pt x="130" y="40"/>
                      <a:pt x="135" y="41"/>
                      <a:pt x="136" y="43"/>
                    </a:cubicBezTo>
                    <a:cubicBezTo>
                      <a:pt x="136" y="44"/>
                      <a:pt x="135" y="46"/>
                      <a:pt x="132" y="49"/>
                    </a:cubicBezTo>
                    <a:cubicBezTo>
                      <a:pt x="131" y="51"/>
                      <a:pt x="131" y="51"/>
                      <a:pt x="130" y="52"/>
                    </a:cubicBezTo>
                    <a:cubicBezTo>
                      <a:pt x="129" y="53"/>
                      <a:pt x="129" y="54"/>
                      <a:pt x="129" y="54"/>
                    </a:cubicBezTo>
                    <a:cubicBezTo>
                      <a:pt x="114" y="79"/>
                      <a:pt x="98" y="100"/>
                      <a:pt x="81" y="118"/>
                    </a:cubicBezTo>
                    <a:cubicBezTo>
                      <a:pt x="62" y="137"/>
                      <a:pt x="39" y="154"/>
                      <a:pt x="13" y="168"/>
                    </a:cubicBezTo>
                    <a:cubicBezTo>
                      <a:pt x="5" y="172"/>
                      <a:pt x="1" y="174"/>
                      <a:pt x="0" y="172"/>
                    </a:cubicBezTo>
                    <a:cubicBezTo>
                      <a:pt x="0" y="171"/>
                      <a:pt x="3" y="168"/>
                      <a:pt x="11" y="162"/>
                    </a:cubicBezTo>
                    <a:cubicBezTo>
                      <a:pt x="35" y="146"/>
                      <a:pt x="54" y="128"/>
                      <a:pt x="70" y="110"/>
                    </a:cubicBezTo>
                    <a:cubicBezTo>
                      <a:pt x="86" y="91"/>
                      <a:pt x="99" y="71"/>
                      <a:pt x="108" y="49"/>
                    </a:cubicBezTo>
                    <a:cubicBezTo>
                      <a:pt x="53" y="52"/>
                      <a:pt x="53" y="52"/>
                      <a:pt x="53" y="52"/>
                    </a:cubicBezTo>
                    <a:cubicBezTo>
                      <a:pt x="51" y="52"/>
                      <a:pt x="49" y="53"/>
                      <a:pt x="47" y="54"/>
                    </a:cubicBezTo>
                    <a:close/>
                    <a:moveTo>
                      <a:pt x="71" y="177"/>
                    </a:moveTo>
                    <a:cubicBezTo>
                      <a:pt x="69" y="176"/>
                      <a:pt x="65" y="174"/>
                      <a:pt x="59" y="172"/>
                    </a:cubicBezTo>
                    <a:cubicBezTo>
                      <a:pt x="55" y="171"/>
                      <a:pt x="53" y="169"/>
                      <a:pt x="53" y="168"/>
                    </a:cubicBezTo>
                    <a:cubicBezTo>
                      <a:pt x="52" y="167"/>
                      <a:pt x="55" y="166"/>
                      <a:pt x="61" y="165"/>
                    </a:cubicBezTo>
                    <a:cubicBezTo>
                      <a:pt x="67" y="165"/>
                      <a:pt x="74" y="165"/>
                      <a:pt x="82" y="166"/>
                    </a:cubicBezTo>
                    <a:cubicBezTo>
                      <a:pt x="89" y="167"/>
                      <a:pt x="94" y="168"/>
                      <a:pt x="97" y="169"/>
                    </a:cubicBezTo>
                    <a:cubicBezTo>
                      <a:pt x="176" y="168"/>
                      <a:pt x="176" y="168"/>
                      <a:pt x="176" y="168"/>
                    </a:cubicBezTo>
                    <a:cubicBezTo>
                      <a:pt x="177" y="167"/>
                      <a:pt x="178" y="167"/>
                      <a:pt x="179" y="167"/>
                    </a:cubicBezTo>
                    <a:cubicBezTo>
                      <a:pt x="180" y="167"/>
                      <a:pt x="181" y="166"/>
                      <a:pt x="182" y="166"/>
                    </a:cubicBezTo>
                    <a:cubicBezTo>
                      <a:pt x="184" y="165"/>
                      <a:pt x="186" y="165"/>
                      <a:pt x="187" y="165"/>
                    </a:cubicBezTo>
                    <a:cubicBezTo>
                      <a:pt x="190" y="164"/>
                      <a:pt x="192" y="165"/>
                      <a:pt x="196" y="165"/>
                    </a:cubicBezTo>
                    <a:cubicBezTo>
                      <a:pt x="202" y="166"/>
                      <a:pt x="205" y="167"/>
                      <a:pt x="206" y="168"/>
                    </a:cubicBezTo>
                    <a:cubicBezTo>
                      <a:pt x="207" y="169"/>
                      <a:pt x="206" y="171"/>
                      <a:pt x="205" y="173"/>
                    </a:cubicBezTo>
                    <a:cubicBezTo>
                      <a:pt x="204" y="174"/>
                      <a:pt x="204" y="175"/>
                      <a:pt x="204" y="175"/>
                    </a:cubicBezTo>
                    <a:cubicBezTo>
                      <a:pt x="203" y="176"/>
                      <a:pt x="203" y="176"/>
                      <a:pt x="203" y="177"/>
                    </a:cubicBezTo>
                    <a:cubicBezTo>
                      <a:pt x="200" y="187"/>
                      <a:pt x="197" y="199"/>
                      <a:pt x="194" y="212"/>
                    </a:cubicBezTo>
                    <a:cubicBezTo>
                      <a:pt x="192" y="224"/>
                      <a:pt x="190" y="232"/>
                      <a:pt x="189" y="237"/>
                    </a:cubicBezTo>
                    <a:cubicBezTo>
                      <a:pt x="194" y="237"/>
                      <a:pt x="197" y="238"/>
                      <a:pt x="200" y="239"/>
                    </a:cubicBezTo>
                    <a:cubicBezTo>
                      <a:pt x="202" y="241"/>
                      <a:pt x="203" y="242"/>
                      <a:pt x="204" y="243"/>
                    </a:cubicBezTo>
                    <a:cubicBezTo>
                      <a:pt x="204" y="245"/>
                      <a:pt x="203" y="246"/>
                      <a:pt x="202" y="247"/>
                    </a:cubicBezTo>
                    <a:cubicBezTo>
                      <a:pt x="200" y="249"/>
                      <a:pt x="198" y="249"/>
                      <a:pt x="195" y="249"/>
                    </a:cubicBezTo>
                    <a:cubicBezTo>
                      <a:pt x="96" y="249"/>
                      <a:pt x="96" y="249"/>
                      <a:pt x="96" y="249"/>
                    </a:cubicBezTo>
                    <a:cubicBezTo>
                      <a:pt x="94" y="261"/>
                      <a:pt x="91" y="267"/>
                      <a:pt x="87" y="268"/>
                    </a:cubicBezTo>
                    <a:cubicBezTo>
                      <a:pt x="83" y="269"/>
                      <a:pt x="80" y="263"/>
                      <a:pt x="80" y="252"/>
                    </a:cubicBezTo>
                    <a:cubicBezTo>
                      <a:pt x="77" y="185"/>
                      <a:pt x="77" y="185"/>
                      <a:pt x="77" y="185"/>
                    </a:cubicBezTo>
                    <a:cubicBezTo>
                      <a:pt x="76" y="182"/>
                      <a:pt x="74" y="179"/>
                      <a:pt x="71" y="177"/>
                    </a:cubicBezTo>
                    <a:close/>
                    <a:moveTo>
                      <a:pt x="96" y="242"/>
                    </a:moveTo>
                    <a:cubicBezTo>
                      <a:pt x="161" y="241"/>
                      <a:pt x="161" y="241"/>
                      <a:pt x="161" y="241"/>
                    </a:cubicBezTo>
                    <a:cubicBezTo>
                      <a:pt x="164" y="241"/>
                      <a:pt x="166" y="240"/>
                      <a:pt x="168" y="240"/>
                    </a:cubicBezTo>
                    <a:cubicBezTo>
                      <a:pt x="169" y="240"/>
                      <a:pt x="170" y="240"/>
                      <a:pt x="172" y="239"/>
                    </a:cubicBezTo>
                    <a:cubicBezTo>
                      <a:pt x="179" y="237"/>
                      <a:pt x="179" y="237"/>
                      <a:pt x="179" y="237"/>
                    </a:cubicBezTo>
                    <a:cubicBezTo>
                      <a:pt x="182" y="176"/>
                      <a:pt x="182" y="176"/>
                      <a:pt x="182" y="176"/>
                    </a:cubicBezTo>
                    <a:cubicBezTo>
                      <a:pt x="99" y="177"/>
                      <a:pt x="99" y="177"/>
                      <a:pt x="99" y="177"/>
                    </a:cubicBezTo>
                    <a:cubicBezTo>
                      <a:pt x="98" y="177"/>
                      <a:pt x="98" y="177"/>
                      <a:pt x="98" y="177"/>
                    </a:cubicBezTo>
                    <a:cubicBezTo>
                      <a:pt x="97" y="178"/>
                      <a:pt x="96" y="179"/>
                      <a:pt x="96" y="179"/>
                    </a:cubicBezTo>
                    <a:cubicBezTo>
                      <a:pt x="95" y="179"/>
                      <a:pt x="95" y="180"/>
                      <a:pt x="95" y="181"/>
                    </a:cubicBezTo>
                    <a:cubicBezTo>
                      <a:pt x="95" y="194"/>
                      <a:pt x="95" y="194"/>
                      <a:pt x="95" y="194"/>
                    </a:cubicBezTo>
                    <a:lnTo>
                      <a:pt x="96" y="242"/>
                    </a:lnTo>
                    <a:close/>
                    <a:moveTo>
                      <a:pt x="176" y="17"/>
                    </a:moveTo>
                    <a:cubicBezTo>
                      <a:pt x="172" y="14"/>
                      <a:pt x="166" y="11"/>
                      <a:pt x="157" y="8"/>
                    </a:cubicBezTo>
                    <a:cubicBezTo>
                      <a:pt x="152" y="6"/>
                      <a:pt x="151" y="4"/>
                      <a:pt x="152" y="3"/>
                    </a:cubicBezTo>
                    <a:cubicBezTo>
                      <a:pt x="154" y="2"/>
                      <a:pt x="157" y="1"/>
                      <a:pt x="164" y="0"/>
                    </a:cubicBezTo>
                    <a:cubicBezTo>
                      <a:pt x="174" y="2"/>
                      <a:pt x="182" y="4"/>
                      <a:pt x="188" y="5"/>
                    </a:cubicBezTo>
                    <a:cubicBezTo>
                      <a:pt x="193" y="7"/>
                      <a:pt x="197" y="8"/>
                      <a:pt x="199" y="10"/>
                    </a:cubicBezTo>
                    <a:cubicBezTo>
                      <a:pt x="202" y="11"/>
                      <a:pt x="203" y="12"/>
                      <a:pt x="203" y="14"/>
                    </a:cubicBezTo>
                    <a:cubicBezTo>
                      <a:pt x="204" y="15"/>
                      <a:pt x="204" y="17"/>
                      <a:pt x="203" y="19"/>
                    </a:cubicBezTo>
                    <a:cubicBezTo>
                      <a:pt x="203" y="24"/>
                      <a:pt x="203" y="24"/>
                      <a:pt x="203" y="24"/>
                    </a:cubicBezTo>
                    <a:cubicBezTo>
                      <a:pt x="202" y="102"/>
                      <a:pt x="202" y="102"/>
                      <a:pt x="202" y="102"/>
                    </a:cubicBezTo>
                    <a:cubicBezTo>
                      <a:pt x="220" y="102"/>
                      <a:pt x="220" y="102"/>
                      <a:pt x="220" y="102"/>
                    </a:cubicBezTo>
                    <a:cubicBezTo>
                      <a:pt x="222" y="102"/>
                      <a:pt x="223" y="101"/>
                      <a:pt x="225" y="101"/>
                    </a:cubicBezTo>
                    <a:cubicBezTo>
                      <a:pt x="226" y="100"/>
                      <a:pt x="227" y="99"/>
                      <a:pt x="228" y="99"/>
                    </a:cubicBezTo>
                    <a:cubicBezTo>
                      <a:pt x="230" y="97"/>
                      <a:pt x="232" y="96"/>
                      <a:pt x="233" y="95"/>
                    </a:cubicBezTo>
                    <a:cubicBezTo>
                      <a:pt x="236" y="95"/>
                      <a:pt x="240" y="95"/>
                      <a:pt x="245" y="95"/>
                    </a:cubicBezTo>
                    <a:cubicBezTo>
                      <a:pt x="250" y="96"/>
                      <a:pt x="253" y="97"/>
                      <a:pt x="256" y="99"/>
                    </a:cubicBezTo>
                    <a:cubicBezTo>
                      <a:pt x="258" y="100"/>
                      <a:pt x="260" y="102"/>
                      <a:pt x="260" y="104"/>
                    </a:cubicBezTo>
                    <a:cubicBezTo>
                      <a:pt x="260" y="105"/>
                      <a:pt x="259" y="107"/>
                      <a:pt x="258" y="108"/>
                    </a:cubicBezTo>
                    <a:cubicBezTo>
                      <a:pt x="256" y="109"/>
                      <a:pt x="253" y="110"/>
                      <a:pt x="250" y="110"/>
                    </a:cubicBezTo>
                    <a:cubicBezTo>
                      <a:pt x="202" y="110"/>
                      <a:pt x="202" y="110"/>
                      <a:pt x="202" y="110"/>
                    </a:cubicBezTo>
                    <a:cubicBezTo>
                      <a:pt x="202" y="120"/>
                      <a:pt x="202" y="120"/>
                      <a:pt x="202" y="120"/>
                    </a:cubicBezTo>
                    <a:cubicBezTo>
                      <a:pt x="201" y="129"/>
                      <a:pt x="199" y="136"/>
                      <a:pt x="197" y="142"/>
                    </a:cubicBezTo>
                    <a:cubicBezTo>
                      <a:pt x="195" y="148"/>
                      <a:pt x="193" y="151"/>
                      <a:pt x="191" y="153"/>
                    </a:cubicBezTo>
                    <a:cubicBezTo>
                      <a:pt x="189" y="155"/>
                      <a:pt x="187" y="154"/>
                      <a:pt x="186" y="151"/>
                    </a:cubicBezTo>
                    <a:cubicBezTo>
                      <a:pt x="185" y="147"/>
                      <a:pt x="184" y="141"/>
                      <a:pt x="184" y="133"/>
                    </a:cubicBezTo>
                    <a:cubicBezTo>
                      <a:pt x="184" y="26"/>
                      <a:pt x="184" y="26"/>
                      <a:pt x="184" y="26"/>
                    </a:cubicBezTo>
                    <a:cubicBezTo>
                      <a:pt x="184" y="23"/>
                      <a:pt x="181" y="20"/>
                      <a:pt x="176"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55" name="Freeform 20"/>
              <p:cNvSpPr>
                <a:spLocks noEditPoints="1"/>
              </p:cNvSpPr>
              <p:nvPr/>
            </p:nvSpPr>
            <p:spPr bwMode="black">
              <a:xfrm>
                <a:off x="1695262" y="4970205"/>
                <a:ext cx="195921" cy="195311"/>
              </a:xfrm>
              <a:custGeom>
                <a:avLst/>
                <a:gdLst/>
                <a:ahLst/>
                <a:cxnLst>
                  <a:cxn ang="0">
                    <a:pos x="86" y="53"/>
                  </a:cxn>
                  <a:cxn ang="0">
                    <a:pos x="75" y="43"/>
                  </a:cxn>
                  <a:cxn ang="0">
                    <a:pos x="71" y="35"/>
                  </a:cxn>
                  <a:cxn ang="0">
                    <a:pos x="85" y="37"/>
                  </a:cxn>
                  <a:cxn ang="0">
                    <a:pos x="111" y="52"/>
                  </a:cxn>
                  <a:cxn ang="0">
                    <a:pos x="111" y="63"/>
                  </a:cxn>
                  <a:cxn ang="0">
                    <a:pos x="104" y="75"/>
                  </a:cxn>
                  <a:cxn ang="0">
                    <a:pos x="96" y="90"/>
                  </a:cxn>
                  <a:cxn ang="0">
                    <a:pos x="91" y="100"/>
                  </a:cxn>
                  <a:cxn ang="0">
                    <a:pos x="104" y="116"/>
                  </a:cxn>
                  <a:cxn ang="0">
                    <a:pos x="122" y="132"/>
                  </a:cxn>
                  <a:cxn ang="0">
                    <a:pos x="130" y="138"/>
                  </a:cxn>
                  <a:cxn ang="0">
                    <a:pos x="138" y="144"/>
                  </a:cxn>
                  <a:cxn ang="0">
                    <a:pos x="147" y="159"/>
                  </a:cxn>
                  <a:cxn ang="0">
                    <a:pos x="150" y="171"/>
                  </a:cxn>
                  <a:cxn ang="0">
                    <a:pos x="149" y="179"/>
                  </a:cxn>
                  <a:cxn ang="0">
                    <a:pos x="144" y="181"/>
                  </a:cxn>
                  <a:cxn ang="0">
                    <a:pos x="139" y="178"/>
                  </a:cxn>
                  <a:cxn ang="0">
                    <a:pos x="118" y="150"/>
                  </a:cxn>
                  <a:cxn ang="0">
                    <a:pos x="86" y="108"/>
                  </a:cxn>
                  <a:cxn ang="0">
                    <a:pos x="50" y="151"/>
                  </a:cxn>
                  <a:cxn ang="0">
                    <a:pos x="10" y="185"/>
                  </a:cxn>
                  <a:cxn ang="0">
                    <a:pos x="1" y="189"/>
                  </a:cxn>
                  <a:cxn ang="0">
                    <a:pos x="6" y="182"/>
                  </a:cxn>
                  <a:cxn ang="0">
                    <a:pos x="51" y="131"/>
                  </a:cxn>
                  <a:cxn ang="0">
                    <a:pos x="89" y="61"/>
                  </a:cxn>
                  <a:cxn ang="0">
                    <a:pos x="89" y="59"/>
                  </a:cxn>
                  <a:cxn ang="0">
                    <a:pos x="86" y="53"/>
                  </a:cxn>
                  <a:cxn ang="0">
                    <a:pos x="190" y="20"/>
                  </a:cxn>
                  <a:cxn ang="0">
                    <a:pos x="171" y="8"/>
                  </a:cxn>
                  <a:cxn ang="0">
                    <a:pos x="164" y="3"/>
                  </a:cxn>
                  <a:cxn ang="0">
                    <a:pos x="174" y="0"/>
                  </a:cxn>
                  <a:cxn ang="0">
                    <a:pos x="191" y="4"/>
                  </a:cxn>
                  <a:cxn ang="0">
                    <a:pos x="206" y="8"/>
                  </a:cxn>
                  <a:cxn ang="0">
                    <a:pos x="215" y="14"/>
                  </a:cxn>
                  <a:cxn ang="0">
                    <a:pos x="215" y="21"/>
                  </a:cxn>
                  <a:cxn ang="0">
                    <a:pos x="215" y="25"/>
                  </a:cxn>
                  <a:cxn ang="0">
                    <a:pos x="215" y="138"/>
                  </a:cxn>
                  <a:cxn ang="0">
                    <a:pos x="219" y="138"/>
                  </a:cxn>
                  <a:cxn ang="0">
                    <a:pos x="226" y="138"/>
                  </a:cxn>
                  <a:cxn ang="0">
                    <a:pos x="232" y="136"/>
                  </a:cxn>
                  <a:cxn ang="0">
                    <a:pos x="236" y="134"/>
                  </a:cxn>
                  <a:cxn ang="0">
                    <a:pos x="243" y="131"/>
                  </a:cxn>
                  <a:cxn ang="0">
                    <a:pos x="260" y="131"/>
                  </a:cxn>
                  <a:cxn ang="0">
                    <a:pos x="269" y="133"/>
                  </a:cxn>
                  <a:cxn ang="0">
                    <a:pos x="272" y="138"/>
                  </a:cxn>
                  <a:cxn ang="0">
                    <a:pos x="270" y="144"/>
                  </a:cxn>
                  <a:cxn ang="0">
                    <a:pos x="264" y="146"/>
                  </a:cxn>
                  <a:cxn ang="0">
                    <a:pos x="215" y="147"/>
                  </a:cxn>
                  <a:cxn ang="0">
                    <a:pos x="215" y="209"/>
                  </a:cxn>
                  <a:cxn ang="0">
                    <a:pos x="213" y="242"/>
                  </a:cxn>
                  <a:cxn ang="0">
                    <a:pos x="209" y="261"/>
                  </a:cxn>
                  <a:cxn ang="0">
                    <a:pos x="201" y="271"/>
                  </a:cxn>
                  <a:cxn ang="0">
                    <a:pos x="197" y="258"/>
                  </a:cxn>
                  <a:cxn ang="0">
                    <a:pos x="197" y="29"/>
                  </a:cxn>
                  <a:cxn ang="0">
                    <a:pos x="190" y="20"/>
                  </a:cxn>
                </a:cxnLst>
                <a:rect l="0" t="0" r="r" b="b"/>
                <a:pathLst>
                  <a:path w="272" h="271">
                    <a:moveTo>
                      <a:pt x="86" y="53"/>
                    </a:moveTo>
                    <a:cubicBezTo>
                      <a:pt x="84" y="50"/>
                      <a:pt x="80" y="47"/>
                      <a:pt x="75" y="43"/>
                    </a:cubicBezTo>
                    <a:cubicBezTo>
                      <a:pt x="70" y="39"/>
                      <a:pt x="68" y="36"/>
                      <a:pt x="71" y="35"/>
                    </a:cubicBezTo>
                    <a:cubicBezTo>
                      <a:pt x="73" y="34"/>
                      <a:pt x="78" y="35"/>
                      <a:pt x="85" y="37"/>
                    </a:cubicBezTo>
                    <a:cubicBezTo>
                      <a:pt x="100" y="43"/>
                      <a:pt x="108" y="48"/>
                      <a:pt x="111" y="52"/>
                    </a:cubicBezTo>
                    <a:cubicBezTo>
                      <a:pt x="113" y="54"/>
                      <a:pt x="113" y="58"/>
                      <a:pt x="111" y="63"/>
                    </a:cubicBezTo>
                    <a:cubicBezTo>
                      <a:pt x="109" y="66"/>
                      <a:pt x="107" y="70"/>
                      <a:pt x="104" y="75"/>
                    </a:cubicBezTo>
                    <a:cubicBezTo>
                      <a:pt x="103" y="78"/>
                      <a:pt x="100" y="84"/>
                      <a:pt x="96" y="90"/>
                    </a:cubicBezTo>
                    <a:cubicBezTo>
                      <a:pt x="91" y="100"/>
                      <a:pt x="91" y="100"/>
                      <a:pt x="91" y="100"/>
                    </a:cubicBezTo>
                    <a:cubicBezTo>
                      <a:pt x="94" y="105"/>
                      <a:pt x="98" y="111"/>
                      <a:pt x="104" y="116"/>
                    </a:cubicBezTo>
                    <a:cubicBezTo>
                      <a:pt x="108" y="120"/>
                      <a:pt x="114" y="126"/>
                      <a:pt x="122" y="132"/>
                    </a:cubicBezTo>
                    <a:cubicBezTo>
                      <a:pt x="130" y="138"/>
                      <a:pt x="130" y="138"/>
                      <a:pt x="130" y="138"/>
                    </a:cubicBezTo>
                    <a:cubicBezTo>
                      <a:pt x="133" y="140"/>
                      <a:pt x="136" y="142"/>
                      <a:pt x="138" y="144"/>
                    </a:cubicBezTo>
                    <a:cubicBezTo>
                      <a:pt x="140" y="147"/>
                      <a:pt x="143" y="152"/>
                      <a:pt x="147" y="159"/>
                    </a:cubicBezTo>
                    <a:cubicBezTo>
                      <a:pt x="149" y="163"/>
                      <a:pt x="150" y="167"/>
                      <a:pt x="150" y="171"/>
                    </a:cubicBezTo>
                    <a:cubicBezTo>
                      <a:pt x="151" y="174"/>
                      <a:pt x="150" y="177"/>
                      <a:pt x="149" y="179"/>
                    </a:cubicBezTo>
                    <a:cubicBezTo>
                      <a:pt x="148" y="180"/>
                      <a:pt x="146" y="181"/>
                      <a:pt x="144" y="181"/>
                    </a:cubicBezTo>
                    <a:cubicBezTo>
                      <a:pt x="143" y="181"/>
                      <a:pt x="141" y="180"/>
                      <a:pt x="139" y="178"/>
                    </a:cubicBezTo>
                    <a:cubicBezTo>
                      <a:pt x="118" y="150"/>
                      <a:pt x="118" y="150"/>
                      <a:pt x="118" y="150"/>
                    </a:cubicBezTo>
                    <a:cubicBezTo>
                      <a:pt x="86" y="108"/>
                      <a:pt x="86" y="108"/>
                      <a:pt x="86" y="108"/>
                    </a:cubicBezTo>
                    <a:cubicBezTo>
                      <a:pt x="76" y="123"/>
                      <a:pt x="64" y="137"/>
                      <a:pt x="50" y="151"/>
                    </a:cubicBezTo>
                    <a:cubicBezTo>
                      <a:pt x="37" y="164"/>
                      <a:pt x="24" y="176"/>
                      <a:pt x="10" y="185"/>
                    </a:cubicBezTo>
                    <a:cubicBezTo>
                      <a:pt x="5" y="188"/>
                      <a:pt x="2" y="190"/>
                      <a:pt x="1" y="189"/>
                    </a:cubicBezTo>
                    <a:cubicBezTo>
                      <a:pt x="0" y="188"/>
                      <a:pt x="2" y="185"/>
                      <a:pt x="6" y="182"/>
                    </a:cubicBezTo>
                    <a:cubicBezTo>
                      <a:pt x="22" y="167"/>
                      <a:pt x="37" y="151"/>
                      <a:pt x="51" y="131"/>
                    </a:cubicBezTo>
                    <a:cubicBezTo>
                      <a:pt x="69" y="107"/>
                      <a:pt x="81" y="83"/>
                      <a:pt x="89" y="61"/>
                    </a:cubicBezTo>
                    <a:cubicBezTo>
                      <a:pt x="89" y="59"/>
                      <a:pt x="89" y="59"/>
                      <a:pt x="89" y="59"/>
                    </a:cubicBezTo>
                    <a:cubicBezTo>
                      <a:pt x="89" y="57"/>
                      <a:pt x="87" y="55"/>
                      <a:pt x="86" y="53"/>
                    </a:cubicBezTo>
                    <a:close/>
                    <a:moveTo>
                      <a:pt x="190" y="20"/>
                    </a:moveTo>
                    <a:cubicBezTo>
                      <a:pt x="186" y="17"/>
                      <a:pt x="180" y="13"/>
                      <a:pt x="171" y="8"/>
                    </a:cubicBezTo>
                    <a:cubicBezTo>
                      <a:pt x="166" y="6"/>
                      <a:pt x="164" y="4"/>
                      <a:pt x="164" y="3"/>
                    </a:cubicBezTo>
                    <a:cubicBezTo>
                      <a:pt x="164" y="1"/>
                      <a:pt x="168" y="0"/>
                      <a:pt x="174" y="0"/>
                    </a:cubicBezTo>
                    <a:cubicBezTo>
                      <a:pt x="179" y="1"/>
                      <a:pt x="185" y="2"/>
                      <a:pt x="191" y="4"/>
                    </a:cubicBezTo>
                    <a:cubicBezTo>
                      <a:pt x="195" y="5"/>
                      <a:pt x="200" y="6"/>
                      <a:pt x="206" y="8"/>
                    </a:cubicBezTo>
                    <a:cubicBezTo>
                      <a:pt x="211" y="10"/>
                      <a:pt x="213" y="12"/>
                      <a:pt x="215" y="14"/>
                    </a:cubicBezTo>
                    <a:cubicBezTo>
                      <a:pt x="215" y="16"/>
                      <a:pt x="216" y="18"/>
                      <a:pt x="215" y="21"/>
                    </a:cubicBezTo>
                    <a:cubicBezTo>
                      <a:pt x="215" y="25"/>
                      <a:pt x="215" y="25"/>
                      <a:pt x="215" y="25"/>
                    </a:cubicBezTo>
                    <a:cubicBezTo>
                      <a:pt x="215" y="138"/>
                      <a:pt x="215" y="138"/>
                      <a:pt x="215" y="138"/>
                    </a:cubicBezTo>
                    <a:cubicBezTo>
                      <a:pt x="219" y="138"/>
                      <a:pt x="219" y="138"/>
                      <a:pt x="219" y="138"/>
                    </a:cubicBezTo>
                    <a:cubicBezTo>
                      <a:pt x="226" y="138"/>
                      <a:pt x="226" y="138"/>
                      <a:pt x="226" y="138"/>
                    </a:cubicBezTo>
                    <a:cubicBezTo>
                      <a:pt x="228" y="137"/>
                      <a:pt x="230" y="137"/>
                      <a:pt x="232" y="136"/>
                    </a:cubicBezTo>
                    <a:cubicBezTo>
                      <a:pt x="233" y="136"/>
                      <a:pt x="234" y="135"/>
                      <a:pt x="236" y="134"/>
                    </a:cubicBezTo>
                    <a:cubicBezTo>
                      <a:pt x="238" y="132"/>
                      <a:pt x="241" y="132"/>
                      <a:pt x="243" y="131"/>
                    </a:cubicBezTo>
                    <a:cubicBezTo>
                      <a:pt x="247" y="130"/>
                      <a:pt x="253" y="130"/>
                      <a:pt x="260" y="131"/>
                    </a:cubicBezTo>
                    <a:cubicBezTo>
                      <a:pt x="264" y="131"/>
                      <a:pt x="267" y="132"/>
                      <a:pt x="269" y="133"/>
                    </a:cubicBezTo>
                    <a:cubicBezTo>
                      <a:pt x="271" y="135"/>
                      <a:pt x="272" y="136"/>
                      <a:pt x="272" y="138"/>
                    </a:cubicBezTo>
                    <a:cubicBezTo>
                      <a:pt x="272" y="140"/>
                      <a:pt x="271" y="142"/>
                      <a:pt x="270" y="144"/>
                    </a:cubicBezTo>
                    <a:cubicBezTo>
                      <a:pt x="268" y="145"/>
                      <a:pt x="266" y="146"/>
                      <a:pt x="264" y="146"/>
                    </a:cubicBezTo>
                    <a:cubicBezTo>
                      <a:pt x="215" y="147"/>
                      <a:pt x="215" y="147"/>
                      <a:pt x="215" y="147"/>
                    </a:cubicBezTo>
                    <a:cubicBezTo>
                      <a:pt x="215" y="209"/>
                      <a:pt x="215" y="209"/>
                      <a:pt x="215" y="209"/>
                    </a:cubicBezTo>
                    <a:cubicBezTo>
                      <a:pt x="214" y="222"/>
                      <a:pt x="214" y="233"/>
                      <a:pt x="213" y="242"/>
                    </a:cubicBezTo>
                    <a:cubicBezTo>
                      <a:pt x="212" y="248"/>
                      <a:pt x="211" y="255"/>
                      <a:pt x="209" y="261"/>
                    </a:cubicBezTo>
                    <a:cubicBezTo>
                      <a:pt x="206" y="267"/>
                      <a:pt x="204" y="270"/>
                      <a:pt x="201" y="271"/>
                    </a:cubicBezTo>
                    <a:cubicBezTo>
                      <a:pt x="199" y="271"/>
                      <a:pt x="197" y="267"/>
                      <a:pt x="197" y="258"/>
                    </a:cubicBezTo>
                    <a:cubicBezTo>
                      <a:pt x="197" y="29"/>
                      <a:pt x="197" y="29"/>
                      <a:pt x="197" y="29"/>
                    </a:cubicBezTo>
                    <a:cubicBezTo>
                      <a:pt x="197" y="26"/>
                      <a:pt x="195" y="23"/>
                      <a:pt x="190"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56" name="Freeform 21"/>
              <p:cNvSpPr>
                <a:spLocks noEditPoints="1"/>
              </p:cNvSpPr>
              <p:nvPr/>
            </p:nvSpPr>
            <p:spPr bwMode="black">
              <a:xfrm>
                <a:off x="1909188" y="4970205"/>
                <a:ext cx="186765" cy="196837"/>
              </a:xfrm>
              <a:custGeom>
                <a:avLst/>
                <a:gdLst/>
                <a:ahLst/>
                <a:cxnLst>
                  <a:cxn ang="0">
                    <a:pos x="125" y="47"/>
                  </a:cxn>
                  <a:cxn ang="0">
                    <a:pos x="145" y="44"/>
                  </a:cxn>
                  <a:cxn ang="0">
                    <a:pos x="161" y="51"/>
                  </a:cxn>
                  <a:cxn ang="0">
                    <a:pos x="149" y="58"/>
                  </a:cxn>
                  <a:cxn ang="0">
                    <a:pos x="84" y="60"/>
                  </a:cxn>
                  <a:cxn ang="0">
                    <a:pos x="89" y="73"/>
                  </a:cxn>
                  <a:cxn ang="0">
                    <a:pos x="89" y="77"/>
                  </a:cxn>
                  <a:cxn ang="0">
                    <a:pos x="134" y="119"/>
                  </a:cxn>
                  <a:cxn ang="0">
                    <a:pos x="83" y="156"/>
                  </a:cxn>
                  <a:cxn ang="0">
                    <a:pos x="29" y="119"/>
                  </a:cxn>
                  <a:cxn ang="0">
                    <a:pos x="75" y="76"/>
                  </a:cxn>
                  <a:cxn ang="0">
                    <a:pos x="74" y="61"/>
                  </a:cxn>
                  <a:cxn ang="0">
                    <a:pos x="38" y="64"/>
                  </a:cxn>
                  <a:cxn ang="0">
                    <a:pos x="32" y="66"/>
                  </a:cxn>
                  <a:cxn ang="0">
                    <a:pos x="7" y="58"/>
                  </a:cxn>
                  <a:cxn ang="0">
                    <a:pos x="10" y="51"/>
                  </a:cxn>
                  <a:cxn ang="0">
                    <a:pos x="109" y="52"/>
                  </a:cxn>
                  <a:cxn ang="0">
                    <a:pos x="121" y="49"/>
                  </a:cxn>
                  <a:cxn ang="0">
                    <a:pos x="44" y="17"/>
                  </a:cxn>
                  <a:cxn ang="0">
                    <a:pos x="50" y="12"/>
                  </a:cxn>
                  <a:cxn ang="0">
                    <a:pos x="102" y="14"/>
                  </a:cxn>
                  <a:cxn ang="0">
                    <a:pos x="114" y="21"/>
                  </a:cxn>
                  <a:cxn ang="0">
                    <a:pos x="99" y="28"/>
                  </a:cxn>
                  <a:cxn ang="0">
                    <a:pos x="56" y="25"/>
                  </a:cxn>
                  <a:cxn ang="0">
                    <a:pos x="45" y="114"/>
                  </a:cxn>
                  <a:cxn ang="0">
                    <a:pos x="82" y="144"/>
                  </a:cxn>
                  <a:cxn ang="0">
                    <a:pos x="118" y="114"/>
                  </a:cxn>
                  <a:cxn ang="0">
                    <a:pos x="82" y="85"/>
                  </a:cxn>
                  <a:cxn ang="0">
                    <a:pos x="80" y="182"/>
                  </a:cxn>
                  <a:cxn ang="0">
                    <a:pos x="58" y="172"/>
                  </a:cxn>
                  <a:cxn ang="0">
                    <a:pos x="98" y="173"/>
                  </a:cxn>
                  <a:cxn ang="0">
                    <a:pos x="102" y="182"/>
                  </a:cxn>
                  <a:cxn ang="0">
                    <a:pos x="182" y="197"/>
                  </a:cxn>
                  <a:cxn ang="0">
                    <a:pos x="178" y="169"/>
                  </a:cxn>
                  <a:cxn ang="0">
                    <a:pos x="159" y="159"/>
                  </a:cxn>
                  <a:cxn ang="0">
                    <a:pos x="197" y="161"/>
                  </a:cxn>
                  <a:cxn ang="0">
                    <a:pos x="199" y="172"/>
                  </a:cxn>
                  <a:cxn ang="0">
                    <a:pos x="199" y="230"/>
                  </a:cxn>
                  <a:cxn ang="0">
                    <a:pos x="188" y="270"/>
                  </a:cxn>
                  <a:cxn ang="0">
                    <a:pos x="101" y="254"/>
                  </a:cxn>
                  <a:cxn ang="0">
                    <a:pos x="85" y="261"/>
                  </a:cxn>
                  <a:cxn ang="0">
                    <a:pos x="85" y="189"/>
                  </a:cxn>
                  <a:cxn ang="0">
                    <a:pos x="102" y="246"/>
                  </a:cxn>
                  <a:cxn ang="0">
                    <a:pos x="182" y="205"/>
                  </a:cxn>
                  <a:cxn ang="0">
                    <a:pos x="102" y="246"/>
                  </a:cxn>
                  <a:cxn ang="0">
                    <a:pos x="161" y="8"/>
                  </a:cxn>
                  <a:cxn ang="0">
                    <a:pos x="165" y="0"/>
                  </a:cxn>
                  <a:cxn ang="0">
                    <a:pos x="184" y="4"/>
                  </a:cxn>
                  <a:cxn ang="0">
                    <a:pos x="201" y="12"/>
                  </a:cxn>
                  <a:cxn ang="0">
                    <a:pos x="201" y="23"/>
                  </a:cxn>
                  <a:cxn ang="0">
                    <a:pos x="213" y="103"/>
                  </a:cxn>
                  <a:cxn ang="0">
                    <a:pos x="222" y="99"/>
                  </a:cxn>
                  <a:cxn ang="0">
                    <a:pos x="248" y="95"/>
                  </a:cxn>
                  <a:cxn ang="0">
                    <a:pos x="259" y="103"/>
                  </a:cxn>
                  <a:cxn ang="0">
                    <a:pos x="251" y="110"/>
                  </a:cxn>
                  <a:cxn ang="0">
                    <a:pos x="199" y="127"/>
                  </a:cxn>
                  <a:cxn ang="0">
                    <a:pos x="187" y="151"/>
                  </a:cxn>
                  <a:cxn ang="0">
                    <a:pos x="183" y="26"/>
                  </a:cxn>
                </a:cxnLst>
                <a:rect l="0" t="0" r="r" b="b"/>
                <a:pathLst>
                  <a:path w="259" h="273">
                    <a:moveTo>
                      <a:pt x="121" y="49"/>
                    </a:moveTo>
                    <a:cubicBezTo>
                      <a:pt x="122" y="49"/>
                      <a:pt x="123" y="48"/>
                      <a:pt x="125" y="47"/>
                    </a:cubicBezTo>
                    <a:cubicBezTo>
                      <a:pt x="127" y="46"/>
                      <a:pt x="129" y="45"/>
                      <a:pt x="131" y="45"/>
                    </a:cubicBezTo>
                    <a:cubicBezTo>
                      <a:pt x="134" y="44"/>
                      <a:pt x="139" y="44"/>
                      <a:pt x="145" y="44"/>
                    </a:cubicBezTo>
                    <a:cubicBezTo>
                      <a:pt x="150" y="44"/>
                      <a:pt x="154" y="44"/>
                      <a:pt x="156" y="46"/>
                    </a:cubicBezTo>
                    <a:cubicBezTo>
                      <a:pt x="159" y="47"/>
                      <a:pt x="161" y="49"/>
                      <a:pt x="161" y="51"/>
                    </a:cubicBezTo>
                    <a:cubicBezTo>
                      <a:pt x="161" y="52"/>
                      <a:pt x="160" y="54"/>
                      <a:pt x="158" y="55"/>
                    </a:cubicBezTo>
                    <a:cubicBezTo>
                      <a:pt x="155" y="57"/>
                      <a:pt x="152" y="58"/>
                      <a:pt x="149" y="58"/>
                    </a:cubicBezTo>
                    <a:cubicBezTo>
                      <a:pt x="137" y="58"/>
                      <a:pt x="125" y="58"/>
                      <a:pt x="113" y="59"/>
                    </a:cubicBezTo>
                    <a:cubicBezTo>
                      <a:pt x="102" y="59"/>
                      <a:pt x="92" y="60"/>
                      <a:pt x="84" y="60"/>
                    </a:cubicBezTo>
                    <a:cubicBezTo>
                      <a:pt x="87" y="63"/>
                      <a:pt x="89" y="65"/>
                      <a:pt x="90" y="68"/>
                    </a:cubicBezTo>
                    <a:cubicBezTo>
                      <a:pt x="90" y="69"/>
                      <a:pt x="90" y="71"/>
                      <a:pt x="89" y="73"/>
                    </a:cubicBezTo>
                    <a:cubicBezTo>
                      <a:pt x="89" y="73"/>
                      <a:pt x="89" y="74"/>
                      <a:pt x="89" y="75"/>
                    </a:cubicBezTo>
                    <a:cubicBezTo>
                      <a:pt x="89" y="75"/>
                      <a:pt x="89" y="76"/>
                      <a:pt x="89" y="77"/>
                    </a:cubicBezTo>
                    <a:cubicBezTo>
                      <a:pt x="105" y="78"/>
                      <a:pt x="117" y="84"/>
                      <a:pt x="125" y="92"/>
                    </a:cubicBezTo>
                    <a:cubicBezTo>
                      <a:pt x="132" y="100"/>
                      <a:pt x="135" y="109"/>
                      <a:pt x="134" y="119"/>
                    </a:cubicBezTo>
                    <a:cubicBezTo>
                      <a:pt x="133" y="129"/>
                      <a:pt x="128" y="137"/>
                      <a:pt x="119" y="144"/>
                    </a:cubicBezTo>
                    <a:cubicBezTo>
                      <a:pt x="110" y="152"/>
                      <a:pt x="98" y="156"/>
                      <a:pt x="83" y="156"/>
                    </a:cubicBezTo>
                    <a:cubicBezTo>
                      <a:pt x="67" y="156"/>
                      <a:pt x="55" y="152"/>
                      <a:pt x="44" y="144"/>
                    </a:cubicBezTo>
                    <a:cubicBezTo>
                      <a:pt x="35" y="137"/>
                      <a:pt x="30" y="129"/>
                      <a:pt x="29" y="119"/>
                    </a:cubicBezTo>
                    <a:cubicBezTo>
                      <a:pt x="28" y="109"/>
                      <a:pt x="31" y="100"/>
                      <a:pt x="38" y="92"/>
                    </a:cubicBezTo>
                    <a:cubicBezTo>
                      <a:pt x="47" y="83"/>
                      <a:pt x="59" y="78"/>
                      <a:pt x="75" y="76"/>
                    </a:cubicBezTo>
                    <a:cubicBezTo>
                      <a:pt x="78" y="74"/>
                      <a:pt x="79" y="72"/>
                      <a:pt x="78" y="69"/>
                    </a:cubicBezTo>
                    <a:cubicBezTo>
                      <a:pt x="78" y="67"/>
                      <a:pt x="76" y="64"/>
                      <a:pt x="74" y="61"/>
                    </a:cubicBezTo>
                    <a:cubicBezTo>
                      <a:pt x="68" y="61"/>
                      <a:pt x="63" y="61"/>
                      <a:pt x="58" y="62"/>
                    </a:cubicBezTo>
                    <a:cubicBezTo>
                      <a:pt x="52" y="62"/>
                      <a:pt x="45" y="63"/>
                      <a:pt x="38" y="64"/>
                    </a:cubicBezTo>
                    <a:cubicBezTo>
                      <a:pt x="37" y="64"/>
                      <a:pt x="35" y="64"/>
                      <a:pt x="34" y="65"/>
                    </a:cubicBezTo>
                    <a:cubicBezTo>
                      <a:pt x="34" y="65"/>
                      <a:pt x="33" y="65"/>
                      <a:pt x="32" y="66"/>
                    </a:cubicBezTo>
                    <a:cubicBezTo>
                      <a:pt x="30" y="67"/>
                      <a:pt x="27" y="67"/>
                      <a:pt x="25" y="67"/>
                    </a:cubicBezTo>
                    <a:cubicBezTo>
                      <a:pt x="21" y="66"/>
                      <a:pt x="15" y="63"/>
                      <a:pt x="7" y="58"/>
                    </a:cubicBezTo>
                    <a:cubicBezTo>
                      <a:pt x="2" y="55"/>
                      <a:pt x="0" y="53"/>
                      <a:pt x="0" y="52"/>
                    </a:cubicBezTo>
                    <a:cubicBezTo>
                      <a:pt x="1" y="50"/>
                      <a:pt x="4" y="50"/>
                      <a:pt x="10" y="51"/>
                    </a:cubicBezTo>
                    <a:cubicBezTo>
                      <a:pt x="23" y="53"/>
                      <a:pt x="36" y="54"/>
                      <a:pt x="51" y="54"/>
                    </a:cubicBezTo>
                    <a:cubicBezTo>
                      <a:pt x="65" y="54"/>
                      <a:pt x="85" y="54"/>
                      <a:pt x="109" y="52"/>
                    </a:cubicBezTo>
                    <a:cubicBezTo>
                      <a:pt x="113" y="51"/>
                      <a:pt x="113" y="51"/>
                      <a:pt x="113" y="51"/>
                    </a:cubicBezTo>
                    <a:cubicBezTo>
                      <a:pt x="116" y="51"/>
                      <a:pt x="118" y="50"/>
                      <a:pt x="121" y="49"/>
                    </a:cubicBezTo>
                    <a:close/>
                    <a:moveTo>
                      <a:pt x="56" y="25"/>
                    </a:moveTo>
                    <a:cubicBezTo>
                      <a:pt x="52" y="23"/>
                      <a:pt x="48" y="20"/>
                      <a:pt x="44" y="17"/>
                    </a:cubicBezTo>
                    <a:cubicBezTo>
                      <a:pt x="42" y="15"/>
                      <a:pt x="40" y="13"/>
                      <a:pt x="41" y="12"/>
                    </a:cubicBezTo>
                    <a:cubicBezTo>
                      <a:pt x="41" y="11"/>
                      <a:pt x="45" y="11"/>
                      <a:pt x="50" y="12"/>
                    </a:cubicBezTo>
                    <a:cubicBezTo>
                      <a:pt x="57" y="13"/>
                      <a:pt x="63" y="14"/>
                      <a:pt x="68" y="14"/>
                    </a:cubicBezTo>
                    <a:cubicBezTo>
                      <a:pt x="76" y="14"/>
                      <a:pt x="87" y="14"/>
                      <a:pt x="102" y="14"/>
                    </a:cubicBezTo>
                    <a:cubicBezTo>
                      <a:pt x="106" y="14"/>
                      <a:pt x="109" y="15"/>
                      <a:pt x="112" y="17"/>
                    </a:cubicBezTo>
                    <a:cubicBezTo>
                      <a:pt x="114" y="18"/>
                      <a:pt x="115" y="19"/>
                      <a:pt x="114" y="21"/>
                    </a:cubicBezTo>
                    <a:cubicBezTo>
                      <a:pt x="114" y="23"/>
                      <a:pt x="113" y="24"/>
                      <a:pt x="110" y="26"/>
                    </a:cubicBezTo>
                    <a:cubicBezTo>
                      <a:pt x="108" y="27"/>
                      <a:pt x="104" y="28"/>
                      <a:pt x="99" y="28"/>
                    </a:cubicBezTo>
                    <a:cubicBezTo>
                      <a:pt x="65" y="29"/>
                      <a:pt x="65" y="29"/>
                      <a:pt x="65" y="29"/>
                    </a:cubicBezTo>
                    <a:cubicBezTo>
                      <a:pt x="63" y="29"/>
                      <a:pt x="60" y="27"/>
                      <a:pt x="56" y="25"/>
                    </a:cubicBezTo>
                    <a:close/>
                    <a:moveTo>
                      <a:pt x="55" y="94"/>
                    </a:moveTo>
                    <a:cubicBezTo>
                      <a:pt x="48" y="99"/>
                      <a:pt x="45" y="106"/>
                      <a:pt x="45" y="114"/>
                    </a:cubicBezTo>
                    <a:cubicBezTo>
                      <a:pt x="45" y="122"/>
                      <a:pt x="48" y="129"/>
                      <a:pt x="55" y="135"/>
                    </a:cubicBezTo>
                    <a:cubicBezTo>
                      <a:pt x="61" y="141"/>
                      <a:pt x="70" y="144"/>
                      <a:pt x="82" y="144"/>
                    </a:cubicBezTo>
                    <a:cubicBezTo>
                      <a:pt x="93" y="144"/>
                      <a:pt x="103" y="141"/>
                      <a:pt x="109" y="135"/>
                    </a:cubicBezTo>
                    <a:cubicBezTo>
                      <a:pt x="115" y="129"/>
                      <a:pt x="118" y="122"/>
                      <a:pt x="118" y="114"/>
                    </a:cubicBezTo>
                    <a:cubicBezTo>
                      <a:pt x="118" y="106"/>
                      <a:pt x="115" y="99"/>
                      <a:pt x="109" y="94"/>
                    </a:cubicBezTo>
                    <a:cubicBezTo>
                      <a:pt x="103" y="88"/>
                      <a:pt x="93" y="85"/>
                      <a:pt x="82" y="85"/>
                    </a:cubicBezTo>
                    <a:cubicBezTo>
                      <a:pt x="70" y="85"/>
                      <a:pt x="61" y="88"/>
                      <a:pt x="55" y="94"/>
                    </a:cubicBezTo>
                    <a:close/>
                    <a:moveTo>
                      <a:pt x="80" y="182"/>
                    </a:moveTo>
                    <a:cubicBezTo>
                      <a:pt x="77" y="180"/>
                      <a:pt x="73" y="178"/>
                      <a:pt x="66" y="176"/>
                    </a:cubicBezTo>
                    <a:cubicBezTo>
                      <a:pt x="61" y="175"/>
                      <a:pt x="58" y="173"/>
                      <a:pt x="58" y="172"/>
                    </a:cubicBezTo>
                    <a:cubicBezTo>
                      <a:pt x="58" y="170"/>
                      <a:pt x="61" y="169"/>
                      <a:pt x="67" y="168"/>
                    </a:cubicBezTo>
                    <a:cubicBezTo>
                      <a:pt x="83" y="169"/>
                      <a:pt x="94" y="170"/>
                      <a:pt x="98" y="173"/>
                    </a:cubicBezTo>
                    <a:cubicBezTo>
                      <a:pt x="101" y="175"/>
                      <a:pt x="102" y="177"/>
                      <a:pt x="102" y="180"/>
                    </a:cubicBezTo>
                    <a:cubicBezTo>
                      <a:pt x="102" y="182"/>
                      <a:pt x="102" y="182"/>
                      <a:pt x="102" y="182"/>
                    </a:cubicBezTo>
                    <a:cubicBezTo>
                      <a:pt x="102" y="198"/>
                      <a:pt x="102" y="198"/>
                      <a:pt x="102" y="198"/>
                    </a:cubicBezTo>
                    <a:cubicBezTo>
                      <a:pt x="182" y="197"/>
                      <a:pt x="182" y="197"/>
                      <a:pt x="182" y="197"/>
                    </a:cubicBezTo>
                    <a:cubicBezTo>
                      <a:pt x="182" y="175"/>
                      <a:pt x="182" y="175"/>
                      <a:pt x="182" y="175"/>
                    </a:cubicBezTo>
                    <a:cubicBezTo>
                      <a:pt x="182" y="173"/>
                      <a:pt x="181" y="171"/>
                      <a:pt x="178" y="169"/>
                    </a:cubicBezTo>
                    <a:cubicBezTo>
                      <a:pt x="175" y="167"/>
                      <a:pt x="172" y="166"/>
                      <a:pt x="167" y="164"/>
                    </a:cubicBezTo>
                    <a:cubicBezTo>
                      <a:pt x="161" y="162"/>
                      <a:pt x="159" y="161"/>
                      <a:pt x="159" y="159"/>
                    </a:cubicBezTo>
                    <a:cubicBezTo>
                      <a:pt x="159" y="157"/>
                      <a:pt x="162" y="156"/>
                      <a:pt x="170" y="156"/>
                    </a:cubicBezTo>
                    <a:cubicBezTo>
                      <a:pt x="184" y="157"/>
                      <a:pt x="193" y="159"/>
                      <a:pt x="197" y="161"/>
                    </a:cubicBezTo>
                    <a:cubicBezTo>
                      <a:pt x="199" y="163"/>
                      <a:pt x="200" y="165"/>
                      <a:pt x="200" y="169"/>
                    </a:cubicBezTo>
                    <a:cubicBezTo>
                      <a:pt x="199" y="172"/>
                      <a:pt x="199" y="172"/>
                      <a:pt x="199" y="172"/>
                    </a:cubicBezTo>
                    <a:cubicBezTo>
                      <a:pt x="199" y="180"/>
                      <a:pt x="199" y="180"/>
                      <a:pt x="199" y="180"/>
                    </a:cubicBezTo>
                    <a:cubicBezTo>
                      <a:pt x="199" y="204"/>
                      <a:pt x="199" y="221"/>
                      <a:pt x="199" y="230"/>
                    </a:cubicBezTo>
                    <a:cubicBezTo>
                      <a:pt x="198" y="244"/>
                      <a:pt x="197" y="254"/>
                      <a:pt x="196" y="260"/>
                    </a:cubicBezTo>
                    <a:cubicBezTo>
                      <a:pt x="193" y="266"/>
                      <a:pt x="190" y="269"/>
                      <a:pt x="188" y="270"/>
                    </a:cubicBezTo>
                    <a:cubicBezTo>
                      <a:pt x="184" y="270"/>
                      <a:pt x="183" y="264"/>
                      <a:pt x="182" y="253"/>
                    </a:cubicBezTo>
                    <a:cubicBezTo>
                      <a:pt x="101" y="254"/>
                      <a:pt x="101" y="254"/>
                      <a:pt x="101" y="254"/>
                    </a:cubicBezTo>
                    <a:cubicBezTo>
                      <a:pt x="98" y="263"/>
                      <a:pt x="95" y="268"/>
                      <a:pt x="92" y="270"/>
                    </a:cubicBezTo>
                    <a:cubicBezTo>
                      <a:pt x="88" y="273"/>
                      <a:pt x="86" y="269"/>
                      <a:pt x="85" y="261"/>
                    </a:cubicBezTo>
                    <a:cubicBezTo>
                      <a:pt x="85" y="190"/>
                      <a:pt x="85" y="190"/>
                      <a:pt x="85" y="190"/>
                    </a:cubicBezTo>
                    <a:cubicBezTo>
                      <a:pt x="85" y="189"/>
                      <a:pt x="85" y="189"/>
                      <a:pt x="85" y="189"/>
                    </a:cubicBezTo>
                    <a:cubicBezTo>
                      <a:pt x="85" y="186"/>
                      <a:pt x="83" y="184"/>
                      <a:pt x="80" y="182"/>
                    </a:cubicBezTo>
                    <a:close/>
                    <a:moveTo>
                      <a:pt x="102" y="246"/>
                    </a:moveTo>
                    <a:cubicBezTo>
                      <a:pt x="182" y="245"/>
                      <a:pt x="182" y="245"/>
                      <a:pt x="182" y="245"/>
                    </a:cubicBezTo>
                    <a:cubicBezTo>
                      <a:pt x="182" y="205"/>
                      <a:pt x="182" y="205"/>
                      <a:pt x="182" y="205"/>
                    </a:cubicBezTo>
                    <a:cubicBezTo>
                      <a:pt x="102" y="206"/>
                      <a:pt x="102" y="206"/>
                      <a:pt x="102" y="206"/>
                    </a:cubicBezTo>
                    <a:lnTo>
                      <a:pt x="102" y="246"/>
                    </a:lnTo>
                    <a:close/>
                    <a:moveTo>
                      <a:pt x="177" y="17"/>
                    </a:moveTo>
                    <a:cubicBezTo>
                      <a:pt x="173" y="14"/>
                      <a:pt x="168" y="11"/>
                      <a:pt x="161" y="8"/>
                    </a:cubicBezTo>
                    <a:cubicBezTo>
                      <a:pt x="156" y="6"/>
                      <a:pt x="154" y="5"/>
                      <a:pt x="155" y="3"/>
                    </a:cubicBezTo>
                    <a:cubicBezTo>
                      <a:pt x="155" y="1"/>
                      <a:pt x="158" y="0"/>
                      <a:pt x="165" y="0"/>
                    </a:cubicBezTo>
                    <a:cubicBezTo>
                      <a:pt x="168" y="0"/>
                      <a:pt x="171" y="1"/>
                      <a:pt x="175" y="2"/>
                    </a:cubicBezTo>
                    <a:cubicBezTo>
                      <a:pt x="177" y="2"/>
                      <a:pt x="180" y="3"/>
                      <a:pt x="184" y="4"/>
                    </a:cubicBezTo>
                    <a:cubicBezTo>
                      <a:pt x="192" y="6"/>
                      <a:pt x="192" y="6"/>
                      <a:pt x="192" y="6"/>
                    </a:cubicBezTo>
                    <a:cubicBezTo>
                      <a:pt x="197" y="8"/>
                      <a:pt x="200" y="10"/>
                      <a:pt x="201" y="12"/>
                    </a:cubicBezTo>
                    <a:cubicBezTo>
                      <a:pt x="202" y="13"/>
                      <a:pt x="202" y="15"/>
                      <a:pt x="201" y="17"/>
                    </a:cubicBezTo>
                    <a:cubicBezTo>
                      <a:pt x="201" y="23"/>
                      <a:pt x="201" y="23"/>
                      <a:pt x="201" y="23"/>
                    </a:cubicBezTo>
                    <a:cubicBezTo>
                      <a:pt x="201" y="104"/>
                      <a:pt x="201" y="104"/>
                      <a:pt x="201" y="104"/>
                    </a:cubicBezTo>
                    <a:cubicBezTo>
                      <a:pt x="213" y="103"/>
                      <a:pt x="213" y="103"/>
                      <a:pt x="213" y="103"/>
                    </a:cubicBezTo>
                    <a:cubicBezTo>
                      <a:pt x="215" y="103"/>
                      <a:pt x="217" y="102"/>
                      <a:pt x="219" y="101"/>
                    </a:cubicBezTo>
                    <a:cubicBezTo>
                      <a:pt x="220" y="101"/>
                      <a:pt x="221" y="100"/>
                      <a:pt x="222" y="99"/>
                    </a:cubicBezTo>
                    <a:cubicBezTo>
                      <a:pt x="225" y="97"/>
                      <a:pt x="227" y="96"/>
                      <a:pt x="230" y="95"/>
                    </a:cubicBezTo>
                    <a:cubicBezTo>
                      <a:pt x="234" y="95"/>
                      <a:pt x="240" y="95"/>
                      <a:pt x="248" y="95"/>
                    </a:cubicBezTo>
                    <a:cubicBezTo>
                      <a:pt x="251" y="95"/>
                      <a:pt x="254" y="96"/>
                      <a:pt x="256" y="97"/>
                    </a:cubicBezTo>
                    <a:cubicBezTo>
                      <a:pt x="258" y="99"/>
                      <a:pt x="259" y="101"/>
                      <a:pt x="259" y="103"/>
                    </a:cubicBezTo>
                    <a:cubicBezTo>
                      <a:pt x="259" y="105"/>
                      <a:pt x="258" y="106"/>
                      <a:pt x="256" y="108"/>
                    </a:cubicBezTo>
                    <a:cubicBezTo>
                      <a:pt x="255" y="109"/>
                      <a:pt x="253" y="110"/>
                      <a:pt x="251" y="110"/>
                    </a:cubicBezTo>
                    <a:cubicBezTo>
                      <a:pt x="201" y="111"/>
                      <a:pt x="201" y="111"/>
                      <a:pt x="201" y="111"/>
                    </a:cubicBezTo>
                    <a:cubicBezTo>
                      <a:pt x="200" y="116"/>
                      <a:pt x="200" y="121"/>
                      <a:pt x="199" y="127"/>
                    </a:cubicBezTo>
                    <a:cubicBezTo>
                      <a:pt x="198" y="132"/>
                      <a:pt x="197" y="137"/>
                      <a:pt x="196" y="141"/>
                    </a:cubicBezTo>
                    <a:cubicBezTo>
                      <a:pt x="193" y="147"/>
                      <a:pt x="190" y="150"/>
                      <a:pt x="187" y="151"/>
                    </a:cubicBezTo>
                    <a:cubicBezTo>
                      <a:pt x="185" y="151"/>
                      <a:pt x="183" y="147"/>
                      <a:pt x="183" y="138"/>
                    </a:cubicBezTo>
                    <a:cubicBezTo>
                      <a:pt x="183" y="26"/>
                      <a:pt x="183" y="26"/>
                      <a:pt x="183" y="26"/>
                    </a:cubicBezTo>
                    <a:cubicBezTo>
                      <a:pt x="183" y="24"/>
                      <a:pt x="181" y="21"/>
                      <a:pt x="177"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57" name="Freeform 22"/>
              <p:cNvSpPr>
                <a:spLocks/>
              </p:cNvSpPr>
              <p:nvPr/>
            </p:nvSpPr>
            <p:spPr bwMode="black">
              <a:xfrm>
                <a:off x="2113958" y="4971120"/>
                <a:ext cx="152891" cy="193785"/>
              </a:xfrm>
              <a:custGeom>
                <a:avLst/>
                <a:gdLst/>
                <a:ahLst/>
                <a:cxnLst>
                  <a:cxn ang="0">
                    <a:pos x="24" y="65"/>
                  </a:cxn>
                  <a:cxn ang="0">
                    <a:pos x="7" y="61"/>
                  </a:cxn>
                  <a:cxn ang="0">
                    <a:pos x="0" y="57"/>
                  </a:cxn>
                  <a:cxn ang="0">
                    <a:pos x="10" y="53"/>
                  </a:cxn>
                  <a:cxn ang="0">
                    <a:pos x="30" y="53"/>
                  </a:cxn>
                  <a:cxn ang="0">
                    <a:pos x="45" y="55"/>
                  </a:cxn>
                  <a:cxn ang="0">
                    <a:pos x="52" y="57"/>
                  </a:cxn>
                  <a:cxn ang="0">
                    <a:pos x="52" y="63"/>
                  </a:cxn>
                  <a:cxn ang="0">
                    <a:pos x="52" y="69"/>
                  </a:cxn>
                  <a:cxn ang="0">
                    <a:pos x="51" y="156"/>
                  </a:cxn>
                  <a:cxn ang="0">
                    <a:pos x="53" y="164"/>
                  </a:cxn>
                  <a:cxn ang="0">
                    <a:pos x="65" y="165"/>
                  </a:cxn>
                  <a:cxn ang="0">
                    <a:pos x="131" y="155"/>
                  </a:cxn>
                  <a:cxn ang="0">
                    <a:pos x="193" y="137"/>
                  </a:cxn>
                  <a:cxn ang="0">
                    <a:pos x="193" y="25"/>
                  </a:cxn>
                  <a:cxn ang="0">
                    <a:pos x="184" y="17"/>
                  </a:cxn>
                  <a:cxn ang="0">
                    <a:pos x="164" y="8"/>
                  </a:cxn>
                  <a:cxn ang="0">
                    <a:pos x="158" y="3"/>
                  </a:cxn>
                  <a:cxn ang="0">
                    <a:pos x="166" y="0"/>
                  </a:cxn>
                  <a:cxn ang="0">
                    <a:pos x="188" y="3"/>
                  </a:cxn>
                  <a:cxn ang="0">
                    <a:pos x="205" y="9"/>
                  </a:cxn>
                  <a:cxn ang="0">
                    <a:pos x="211" y="13"/>
                  </a:cxn>
                  <a:cxn ang="0">
                    <a:pos x="212" y="18"/>
                  </a:cxn>
                  <a:cxn ang="0">
                    <a:pos x="212" y="23"/>
                  </a:cxn>
                  <a:cxn ang="0">
                    <a:pos x="210" y="198"/>
                  </a:cxn>
                  <a:cxn ang="0">
                    <a:pos x="209" y="237"/>
                  </a:cxn>
                  <a:cxn ang="0">
                    <a:pos x="205" y="261"/>
                  </a:cxn>
                  <a:cxn ang="0">
                    <a:pos x="197" y="269"/>
                  </a:cxn>
                  <a:cxn ang="0">
                    <a:pos x="193" y="257"/>
                  </a:cxn>
                  <a:cxn ang="0">
                    <a:pos x="193" y="143"/>
                  </a:cxn>
                  <a:cxn ang="0">
                    <a:pos x="130" y="166"/>
                  </a:cxn>
                  <a:cxn ang="0">
                    <a:pos x="49" y="185"/>
                  </a:cxn>
                  <a:cxn ang="0">
                    <a:pos x="38" y="180"/>
                  </a:cxn>
                  <a:cxn ang="0">
                    <a:pos x="34" y="167"/>
                  </a:cxn>
                  <a:cxn ang="0">
                    <a:pos x="33" y="73"/>
                  </a:cxn>
                  <a:cxn ang="0">
                    <a:pos x="24" y="65"/>
                  </a:cxn>
                </a:cxnLst>
                <a:rect l="0" t="0" r="r" b="b"/>
                <a:pathLst>
                  <a:path w="212" h="269">
                    <a:moveTo>
                      <a:pt x="24" y="65"/>
                    </a:moveTo>
                    <a:cubicBezTo>
                      <a:pt x="20" y="64"/>
                      <a:pt x="15" y="62"/>
                      <a:pt x="7" y="61"/>
                    </a:cubicBezTo>
                    <a:cubicBezTo>
                      <a:pt x="3" y="60"/>
                      <a:pt x="0" y="59"/>
                      <a:pt x="0" y="57"/>
                    </a:cubicBezTo>
                    <a:cubicBezTo>
                      <a:pt x="0" y="55"/>
                      <a:pt x="3" y="54"/>
                      <a:pt x="10" y="53"/>
                    </a:cubicBezTo>
                    <a:cubicBezTo>
                      <a:pt x="18" y="53"/>
                      <a:pt x="24" y="53"/>
                      <a:pt x="30" y="53"/>
                    </a:cubicBezTo>
                    <a:cubicBezTo>
                      <a:pt x="35" y="53"/>
                      <a:pt x="40" y="54"/>
                      <a:pt x="45" y="55"/>
                    </a:cubicBezTo>
                    <a:cubicBezTo>
                      <a:pt x="49" y="55"/>
                      <a:pt x="51" y="56"/>
                      <a:pt x="52" y="57"/>
                    </a:cubicBezTo>
                    <a:cubicBezTo>
                      <a:pt x="52" y="58"/>
                      <a:pt x="52" y="60"/>
                      <a:pt x="52" y="63"/>
                    </a:cubicBezTo>
                    <a:cubicBezTo>
                      <a:pt x="52" y="69"/>
                      <a:pt x="52" y="69"/>
                      <a:pt x="52" y="69"/>
                    </a:cubicBezTo>
                    <a:cubicBezTo>
                      <a:pt x="51" y="156"/>
                      <a:pt x="51" y="156"/>
                      <a:pt x="51" y="156"/>
                    </a:cubicBezTo>
                    <a:cubicBezTo>
                      <a:pt x="51" y="160"/>
                      <a:pt x="52" y="163"/>
                      <a:pt x="53" y="164"/>
                    </a:cubicBezTo>
                    <a:cubicBezTo>
                      <a:pt x="54" y="165"/>
                      <a:pt x="59" y="165"/>
                      <a:pt x="65" y="165"/>
                    </a:cubicBezTo>
                    <a:cubicBezTo>
                      <a:pt x="84" y="164"/>
                      <a:pt x="106" y="160"/>
                      <a:pt x="131" y="155"/>
                    </a:cubicBezTo>
                    <a:cubicBezTo>
                      <a:pt x="160" y="150"/>
                      <a:pt x="180" y="143"/>
                      <a:pt x="193" y="137"/>
                    </a:cubicBezTo>
                    <a:cubicBezTo>
                      <a:pt x="193" y="25"/>
                      <a:pt x="193" y="25"/>
                      <a:pt x="193" y="25"/>
                    </a:cubicBezTo>
                    <a:cubicBezTo>
                      <a:pt x="193" y="24"/>
                      <a:pt x="190" y="21"/>
                      <a:pt x="184" y="17"/>
                    </a:cubicBezTo>
                    <a:cubicBezTo>
                      <a:pt x="177" y="13"/>
                      <a:pt x="171" y="10"/>
                      <a:pt x="164" y="8"/>
                    </a:cubicBezTo>
                    <a:cubicBezTo>
                      <a:pt x="160" y="6"/>
                      <a:pt x="158" y="5"/>
                      <a:pt x="158" y="3"/>
                    </a:cubicBezTo>
                    <a:cubicBezTo>
                      <a:pt x="158" y="1"/>
                      <a:pt x="161" y="0"/>
                      <a:pt x="166" y="0"/>
                    </a:cubicBezTo>
                    <a:cubicBezTo>
                      <a:pt x="171" y="0"/>
                      <a:pt x="179" y="1"/>
                      <a:pt x="188" y="3"/>
                    </a:cubicBezTo>
                    <a:cubicBezTo>
                      <a:pt x="197" y="6"/>
                      <a:pt x="203" y="7"/>
                      <a:pt x="205" y="9"/>
                    </a:cubicBezTo>
                    <a:cubicBezTo>
                      <a:pt x="209" y="10"/>
                      <a:pt x="211" y="12"/>
                      <a:pt x="211" y="13"/>
                    </a:cubicBezTo>
                    <a:cubicBezTo>
                      <a:pt x="212" y="14"/>
                      <a:pt x="212" y="16"/>
                      <a:pt x="212" y="18"/>
                    </a:cubicBezTo>
                    <a:cubicBezTo>
                      <a:pt x="212" y="23"/>
                      <a:pt x="212" y="23"/>
                      <a:pt x="212" y="23"/>
                    </a:cubicBezTo>
                    <a:cubicBezTo>
                      <a:pt x="210" y="198"/>
                      <a:pt x="210" y="198"/>
                      <a:pt x="210" y="198"/>
                    </a:cubicBezTo>
                    <a:cubicBezTo>
                      <a:pt x="210" y="215"/>
                      <a:pt x="209" y="228"/>
                      <a:pt x="209" y="237"/>
                    </a:cubicBezTo>
                    <a:cubicBezTo>
                      <a:pt x="208" y="247"/>
                      <a:pt x="206" y="255"/>
                      <a:pt x="205" y="261"/>
                    </a:cubicBezTo>
                    <a:cubicBezTo>
                      <a:pt x="202" y="267"/>
                      <a:pt x="199" y="269"/>
                      <a:pt x="197" y="269"/>
                    </a:cubicBezTo>
                    <a:cubicBezTo>
                      <a:pt x="194" y="268"/>
                      <a:pt x="193" y="264"/>
                      <a:pt x="193" y="257"/>
                    </a:cubicBezTo>
                    <a:cubicBezTo>
                      <a:pt x="193" y="143"/>
                      <a:pt x="193" y="143"/>
                      <a:pt x="193" y="143"/>
                    </a:cubicBezTo>
                    <a:cubicBezTo>
                      <a:pt x="180" y="150"/>
                      <a:pt x="159" y="158"/>
                      <a:pt x="130" y="166"/>
                    </a:cubicBezTo>
                    <a:cubicBezTo>
                      <a:pt x="101" y="175"/>
                      <a:pt x="74" y="181"/>
                      <a:pt x="49" y="185"/>
                    </a:cubicBezTo>
                    <a:cubicBezTo>
                      <a:pt x="44" y="186"/>
                      <a:pt x="41" y="184"/>
                      <a:pt x="38" y="180"/>
                    </a:cubicBezTo>
                    <a:cubicBezTo>
                      <a:pt x="35" y="177"/>
                      <a:pt x="34" y="172"/>
                      <a:pt x="34" y="167"/>
                    </a:cubicBezTo>
                    <a:cubicBezTo>
                      <a:pt x="33" y="73"/>
                      <a:pt x="33" y="73"/>
                      <a:pt x="33" y="73"/>
                    </a:cubicBezTo>
                    <a:cubicBezTo>
                      <a:pt x="33" y="70"/>
                      <a:pt x="30" y="68"/>
                      <a:pt x="24" y="6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58" name="Freeform 23"/>
              <p:cNvSpPr>
                <a:spLocks/>
              </p:cNvSpPr>
              <p:nvPr/>
            </p:nvSpPr>
            <p:spPr bwMode="black">
              <a:xfrm>
                <a:off x="2314456" y="4970205"/>
                <a:ext cx="187376" cy="194701"/>
              </a:xfrm>
              <a:custGeom>
                <a:avLst/>
                <a:gdLst/>
                <a:ahLst/>
                <a:cxnLst>
                  <a:cxn ang="0">
                    <a:pos x="21" y="66"/>
                  </a:cxn>
                  <a:cxn ang="0">
                    <a:pos x="7" y="60"/>
                  </a:cxn>
                  <a:cxn ang="0">
                    <a:pos x="4" y="59"/>
                  </a:cxn>
                  <a:cxn ang="0">
                    <a:pos x="0" y="56"/>
                  </a:cxn>
                  <a:cxn ang="0">
                    <a:pos x="9" y="53"/>
                  </a:cxn>
                  <a:cxn ang="0">
                    <a:pos x="32" y="54"/>
                  </a:cxn>
                  <a:cxn ang="0">
                    <a:pos x="51" y="58"/>
                  </a:cxn>
                  <a:cxn ang="0">
                    <a:pos x="75" y="58"/>
                  </a:cxn>
                  <a:cxn ang="0">
                    <a:pos x="95" y="56"/>
                  </a:cxn>
                  <a:cxn ang="0">
                    <a:pos x="102" y="54"/>
                  </a:cxn>
                  <a:cxn ang="0">
                    <a:pos x="106" y="52"/>
                  </a:cxn>
                  <a:cxn ang="0">
                    <a:pos x="115" y="48"/>
                  </a:cxn>
                  <a:cxn ang="0">
                    <a:pos x="134" y="48"/>
                  </a:cxn>
                  <a:cxn ang="0">
                    <a:pos x="145" y="54"/>
                  </a:cxn>
                  <a:cxn ang="0">
                    <a:pos x="136" y="62"/>
                  </a:cxn>
                  <a:cxn ang="0">
                    <a:pos x="90" y="64"/>
                  </a:cxn>
                  <a:cxn ang="0">
                    <a:pos x="53" y="65"/>
                  </a:cxn>
                  <a:cxn ang="0">
                    <a:pos x="51" y="65"/>
                  </a:cxn>
                  <a:cxn ang="0">
                    <a:pos x="48" y="65"/>
                  </a:cxn>
                  <a:cxn ang="0">
                    <a:pos x="47" y="69"/>
                  </a:cxn>
                  <a:cxn ang="0">
                    <a:pos x="46" y="120"/>
                  </a:cxn>
                  <a:cxn ang="0">
                    <a:pos x="47" y="164"/>
                  </a:cxn>
                  <a:cxn ang="0">
                    <a:pos x="50" y="172"/>
                  </a:cxn>
                  <a:cxn ang="0">
                    <a:pos x="60" y="173"/>
                  </a:cxn>
                  <a:cxn ang="0">
                    <a:pos x="123" y="160"/>
                  </a:cxn>
                  <a:cxn ang="0">
                    <a:pos x="183" y="139"/>
                  </a:cxn>
                  <a:cxn ang="0">
                    <a:pos x="183" y="25"/>
                  </a:cxn>
                  <a:cxn ang="0">
                    <a:pos x="175" y="17"/>
                  </a:cxn>
                  <a:cxn ang="0">
                    <a:pos x="156" y="8"/>
                  </a:cxn>
                  <a:cxn ang="0">
                    <a:pos x="149" y="4"/>
                  </a:cxn>
                  <a:cxn ang="0">
                    <a:pos x="159" y="0"/>
                  </a:cxn>
                  <a:cxn ang="0">
                    <a:pos x="179" y="3"/>
                  </a:cxn>
                  <a:cxn ang="0">
                    <a:pos x="197" y="8"/>
                  </a:cxn>
                  <a:cxn ang="0">
                    <a:pos x="202" y="12"/>
                  </a:cxn>
                  <a:cxn ang="0">
                    <a:pos x="202" y="17"/>
                  </a:cxn>
                  <a:cxn ang="0">
                    <a:pos x="201" y="22"/>
                  </a:cxn>
                  <a:cxn ang="0">
                    <a:pos x="201" y="134"/>
                  </a:cxn>
                  <a:cxn ang="0">
                    <a:pos x="213" y="134"/>
                  </a:cxn>
                  <a:cxn ang="0">
                    <a:pos x="223" y="132"/>
                  </a:cxn>
                  <a:cxn ang="0">
                    <a:pos x="228" y="129"/>
                  </a:cxn>
                  <a:cxn ang="0">
                    <a:pos x="234" y="127"/>
                  </a:cxn>
                  <a:cxn ang="0">
                    <a:pos x="248" y="126"/>
                  </a:cxn>
                  <a:cxn ang="0">
                    <a:pos x="257" y="128"/>
                  </a:cxn>
                  <a:cxn ang="0">
                    <a:pos x="260" y="133"/>
                  </a:cxn>
                  <a:cxn ang="0">
                    <a:pos x="258" y="138"/>
                  </a:cxn>
                  <a:cxn ang="0">
                    <a:pos x="251" y="141"/>
                  </a:cxn>
                  <a:cxn ang="0">
                    <a:pos x="201" y="142"/>
                  </a:cxn>
                  <a:cxn ang="0">
                    <a:pos x="201" y="193"/>
                  </a:cxn>
                  <a:cxn ang="0">
                    <a:pos x="199" y="242"/>
                  </a:cxn>
                  <a:cxn ang="0">
                    <a:pos x="194" y="264"/>
                  </a:cxn>
                  <a:cxn ang="0">
                    <a:pos x="187" y="269"/>
                  </a:cxn>
                  <a:cxn ang="0">
                    <a:pos x="183" y="257"/>
                  </a:cxn>
                  <a:cxn ang="0">
                    <a:pos x="183" y="145"/>
                  </a:cxn>
                  <a:cxn ang="0">
                    <a:pos x="114" y="173"/>
                  </a:cxn>
                  <a:cxn ang="0">
                    <a:pos x="43" y="189"/>
                  </a:cxn>
                  <a:cxn ang="0">
                    <a:pos x="34" y="182"/>
                  </a:cxn>
                  <a:cxn ang="0">
                    <a:pos x="29" y="166"/>
                  </a:cxn>
                  <a:cxn ang="0">
                    <a:pos x="28" y="74"/>
                  </a:cxn>
                  <a:cxn ang="0">
                    <a:pos x="21" y="66"/>
                  </a:cxn>
                </a:cxnLst>
                <a:rect l="0" t="0" r="r" b="b"/>
                <a:pathLst>
                  <a:path w="260" h="270">
                    <a:moveTo>
                      <a:pt x="21" y="66"/>
                    </a:moveTo>
                    <a:cubicBezTo>
                      <a:pt x="19" y="65"/>
                      <a:pt x="14" y="63"/>
                      <a:pt x="7" y="60"/>
                    </a:cubicBezTo>
                    <a:cubicBezTo>
                      <a:pt x="4" y="59"/>
                      <a:pt x="4" y="59"/>
                      <a:pt x="4" y="59"/>
                    </a:cubicBezTo>
                    <a:cubicBezTo>
                      <a:pt x="1" y="59"/>
                      <a:pt x="0" y="58"/>
                      <a:pt x="0" y="56"/>
                    </a:cubicBezTo>
                    <a:cubicBezTo>
                      <a:pt x="1" y="55"/>
                      <a:pt x="4" y="54"/>
                      <a:pt x="9" y="53"/>
                    </a:cubicBezTo>
                    <a:cubicBezTo>
                      <a:pt x="16" y="53"/>
                      <a:pt x="24" y="53"/>
                      <a:pt x="32" y="54"/>
                    </a:cubicBezTo>
                    <a:cubicBezTo>
                      <a:pt x="39" y="55"/>
                      <a:pt x="46" y="57"/>
                      <a:pt x="51" y="58"/>
                    </a:cubicBezTo>
                    <a:cubicBezTo>
                      <a:pt x="59" y="58"/>
                      <a:pt x="67" y="58"/>
                      <a:pt x="75" y="58"/>
                    </a:cubicBezTo>
                    <a:cubicBezTo>
                      <a:pt x="83" y="57"/>
                      <a:pt x="90" y="57"/>
                      <a:pt x="95" y="56"/>
                    </a:cubicBezTo>
                    <a:cubicBezTo>
                      <a:pt x="97" y="56"/>
                      <a:pt x="100" y="55"/>
                      <a:pt x="102" y="54"/>
                    </a:cubicBezTo>
                    <a:cubicBezTo>
                      <a:pt x="103" y="54"/>
                      <a:pt x="105" y="53"/>
                      <a:pt x="106" y="52"/>
                    </a:cubicBezTo>
                    <a:cubicBezTo>
                      <a:pt x="109" y="50"/>
                      <a:pt x="112" y="49"/>
                      <a:pt x="115" y="48"/>
                    </a:cubicBezTo>
                    <a:cubicBezTo>
                      <a:pt x="119" y="47"/>
                      <a:pt x="126" y="47"/>
                      <a:pt x="134" y="48"/>
                    </a:cubicBezTo>
                    <a:cubicBezTo>
                      <a:pt x="141" y="48"/>
                      <a:pt x="144" y="50"/>
                      <a:pt x="145" y="54"/>
                    </a:cubicBezTo>
                    <a:cubicBezTo>
                      <a:pt x="145" y="59"/>
                      <a:pt x="142" y="61"/>
                      <a:pt x="136" y="62"/>
                    </a:cubicBezTo>
                    <a:cubicBezTo>
                      <a:pt x="115" y="63"/>
                      <a:pt x="100" y="64"/>
                      <a:pt x="90" y="64"/>
                    </a:cubicBezTo>
                    <a:cubicBezTo>
                      <a:pt x="74" y="65"/>
                      <a:pt x="62" y="65"/>
                      <a:pt x="53" y="65"/>
                    </a:cubicBezTo>
                    <a:cubicBezTo>
                      <a:pt x="51" y="65"/>
                      <a:pt x="51" y="65"/>
                      <a:pt x="51" y="65"/>
                    </a:cubicBezTo>
                    <a:cubicBezTo>
                      <a:pt x="49" y="65"/>
                      <a:pt x="48" y="65"/>
                      <a:pt x="48" y="65"/>
                    </a:cubicBezTo>
                    <a:cubicBezTo>
                      <a:pt x="48" y="66"/>
                      <a:pt x="47" y="67"/>
                      <a:pt x="47" y="69"/>
                    </a:cubicBezTo>
                    <a:cubicBezTo>
                      <a:pt x="47" y="84"/>
                      <a:pt x="47" y="101"/>
                      <a:pt x="46" y="120"/>
                    </a:cubicBezTo>
                    <a:cubicBezTo>
                      <a:pt x="46" y="146"/>
                      <a:pt x="46" y="160"/>
                      <a:pt x="47" y="164"/>
                    </a:cubicBezTo>
                    <a:cubicBezTo>
                      <a:pt x="47" y="168"/>
                      <a:pt x="48" y="171"/>
                      <a:pt x="50" y="172"/>
                    </a:cubicBezTo>
                    <a:cubicBezTo>
                      <a:pt x="51" y="173"/>
                      <a:pt x="55" y="173"/>
                      <a:pt x="60" y="173"/>
                    </a:cubicBezTo>
                    <a:cubicBezTo>
                      <a:pt x="82" y="169"/>
                      <a:pt x="103" y="165"/>
                      <a:pt x="123" y="160"/>
                    </a:cubicBezTo>
                    <a:cubicBezTo>
                      <a:pt x="149" y="153"/>
                      <a:pt x="169" y="147"/>
                      <a:pt x="183" y="139"/>
                    </a:cubicBezTo>
                    <a:cubicBezTo>
                      <a:pt x="183" y="25"/>
                      <a:pt x="183" y="25"/>
                      <a:pt x="183" y="25"/>
                    </a:cubicBezTo>
                    <a:cubicBezTo>
                      <a:pt x="183" y="23"/>
                      <a:pt x="180" y="20"/>
                      <a:pt x="175" y="17"/>
                    </a:cubicBezTo>
                    <a:cubicBezTo>
                      <a:pt x="171" y="15"/>
                      <a:pt x="164" y="12"/>
                      <a:pt x="156" y="8"/>
                    </a:cubicBezTo>
                    <a:cubicBezTo>
                      <a:pt x="151" y="7"/>
                      <a:pt x="149" y="5"/>
                      <a:pt x="149" y="4"/>
                    </a:cubicBezTo>
                    <a:cubicBezTo>
                      <a:pt x="149" y="2"/>
                      <a:pt x="152" y="1"/>
                      <a:pt x="159" y="0"/>
                    </a:cubicBezTo>
                    <a:cubicBezTo>
                      <a:pt x="166" y="0"/>
                      <a:pt x="172" y="1"/>
                      <a:pt x="179" y="3"/>
                    </a:cubicBezTo>
                    <a:cubicBezTo>
                      <a:pt x="184" y="4"/>
                      <a:pt x="190" y="6"/>
                      <a:pt x="197" y="8"/>
                    </a:cubicBezTo>
                    <a:cubicBezTo>
                      <a:pt x="200" y="9"/>
                      <a:pt x="201" y="10"/>
                      <a:pt x="202" y="12"/>
                    </a:cubicBezTo>
                    <a:cubicBezTo>
                      <a:pt x="202" y="13"/>
                      <a:pt x="202" y="14"/>
                      <a:pt x="202" y="17"/>
                    </a:cubicBezTo>
                    <a:cubicBezTo>
                      <a:pt x="201" y="22"/>
                      <a:pt x="201" y="22"/>
                      <a:pt x="201" y="22"/>
                    </a:cubicBezTo>
                    <a:cubicBezTo>
                      <a:pt x="201" y="134"/>
                      <a:pt x="201" y="134"/>
                      <a:pt x="201" y="134"/>
                    </a:cubicBezTo>
                    <a:cubicBezTo>
                      <a:pt x="213" y="134"/>
                      <a:pt x="213" y="134"/>
                      <a:pt x="213" y="134"/>
                    </a:cubicBezTo>
                    <a:cubicBezTo>
                      <a:pt x="217" y="134"/>
                      <a:pt x="220" y="133"/>
                      <a:pt x="223" y="132"/>
                    </a:cubicBezTo>
                    <a:cubicBezTo>
                      <a:pt x="224" y="131"/>
                      <a:pt x="226" y="131"/>
                      <a:pt x="228" y="129"/>
                    </a:cubicBezTo>
                    <a:cubicBezTo>
                      <a:pt x="230" y="128"/>
                      <a:pt x="232" y="127"/>
                      <a:pt x="234" y="127"/>
                    </a:cubicBezTo>
                    <a:cubicBezTo>
                      <a:pt x="237" y="126"/>
                      <a:pt x="242" y="126"/>
                      <a:pt x="248" y="126"/>
                    </a:cubicBezTo>
                    <a:cubicBezTo>
                      <a:pt x="252" y="126"/>
                      <a:pt x="254" y="127"/>
                      <a:pt x="257" y="128"/>
                    </a:cubicBezTo>
                    <a:cubicBezTo>
                      <a:pt x="259" y="130"/>
                      <a:pt x="260" y="132"/>
                      <a:pt x="260" y="133"/>
                    </a:cubicBezTo>
                    <a:cubicBezTo>
                      <a:pt x="260" y="135"/>
                      <a:pt x="260" y="137"/>
                      <a:pt x="258" y="138"/>
                    </a:cubicBezTo>
                    <a:cubicBezTo>
                      <a:pt x="256" y="140"/>
                      <a:pt x="254" y="141"/>
                      <a:pt x="251" y="141"/>
                    </a:cubicBezTo>
                    <a:cubicBezTo>
                      <a:pt x="201" y="142"/>
                      <a:pt x="201" y="142"/>
                      <a:pt x="201" y="142"/>
                    </a:cubicBezTo>
                    <a:cubicBezTo>
                      <a:pt x="201" y="193"/>
                      <a:pt x="201" y="193"/>
                      <a:pt x="201" y="193"/>
                    </a:cubicBezTo>
                    <a:cubicBezTo>
                      <a:pt x="201" y="217"/>
                      <a:pt x="200" y="233"/>
                      <a:pt x="199" y="242"/>
                    </a:cubicBezTo>
                    <a:cubicBezTo>
                      <a:pt x="198" y="250"/>
                      <a:pt x="197" y="258"/>
                      <a:pt x="194" y="264"/>
                    </a:cubicBezTo>
                    <a:cubicBezTo>
                      <a:pt x="191" y="269"/>
                      <a:pt x="189" y="270"/>
                      <a:pt x="187" y="269"/>
                    </a:cubicBezTo>
                    <a:cubicBezTo>
                      <a:pt x="185" y="268"/>
                      <a:pt x="184" y="264"/>
                      <a:pt x="183" y="257"/>
                    </a:cubicBezTo>
                    <a:cubicBezTo>
                      <a:pt x="183" y="145"/>
                      <a:pt x="183" y="145"/>
                      <a:pt x="183" y="145"/>
                    </a:cubicBezTo>
                    <a:cubicBezTo>
                      <a:pt x="166" y="155"/>
                      <a:pt x="142" y="164"/>
                      <a:pt x="114" y="173"/>
                    </a:cubicBezTo>
                    <a:cubicBezTo>
                      <a:pt x="83" y="183"/>
                      <a:pt x="59" y="188"/>
                      <a:pt x="43" y="189"/>
                    </a:cubicBezTo>
                    <a:cubicBezTo>
                      <a:pt x="40" y="189"/>
                      <a:pt x="37" y="187"/>
                      <a:pt x="34" y="182"/>
                    </a:cubicBezTo>
                    <a:cubicBezTo>
                      <a:pt x="31" y="177"/>
                      <a:pt x="29" y="172"/>
                      <a:pt x="29" y="166"/>
                    </a:cubicBezTo>
                    <a:cubicBezTo>
                      <a:pt x="28" y="74"/>
                      <a:pt x="28" y="74"/>
                      <a:pt x="28" y="74"/>
                    </a:cubicBezTo>
                    <a:cubicBezTo>
                      <a:pt x="27" y="71"/>
                      <a:pt x="25" y="68"/>
                      <a:pt x="21" y="6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00" name="Group 99"/>
            <p:cNvGrpSpPr/>
            <p:nvPr/>
          </p:nvGrpSpPr>
          <p:grpSpPr bwMode="black">
            <a:xfrm>
              <a:off x="6458672" y="3621951"/>
              <a:ext cx="757652" cy="292130"/>
              <a:chOff x="6651306" y="4916921"/>
              <a:chExt cx="760536" cy="303406"/>
            </a:xfrm>
            <a:grpFill/>
            <a:effectLst/>
          </p:grpSpPr>
          <p:sp>
            <p:nvSpPr>
              <p:cNvPr id="249" name="Freeform 18"/>
              <p:cNvSpPr>
                <a:spLocks/>
              </p:cNvSpPr>
              <p:nvPr/>
            </p:nvSpPr>
            <p:spPr bwMode="black">
              <a:xfrm>
                <a:off x="7311516" y="4916921"/>
                <a:ext cx="48005" cy="50163"/>
              </a:xfrm>
              <a:custGeom>
                <a:avLst/>
                <a:gdLst/>
                <a:ahLst/>
                <a:cxnLst>
                  <a:cxn ang="0">
                    <a:pos x="30" y="0"/>
                  </a:cxn>
                  <a:cxn ang="0">
                    <a:pos x="92" y="28"/>
                  </a:cxn>
                  <a:cxn ang="0">
                    <a:pos x="59" y="96"/>
                  </a:cxn>
                  <a:cxn ang="0">
                    <a:pos x="0" y="63"/>
                  </a:cxn>
                  <a:cxn ang="0">
                    <a:pos x="30" y="0"/>
                  </a:cxn>
                </a:cxnLst>
                <a:rect l="0" t="0" r="r" b="b"/>
                <a:pathLst>
                  <a:path w="92" h="96">
                    <a:moveTo>
                      <a:pt x="30" y="0"/>
                    </a:moveTo>
                    <a:cubicBezTo>
                      <a:pt x="51" y="9"/>
                      <a:pt x="71" y="19"/>
                      <a:pt x="92" y="28"/>
                    </a:cubicBezTo>
                    <a:cubicBezTo>
                      <a:pt x="81" y="51"/>
                      <a:pt x="70" y="73"/>
                      <a:pt x="59" y="96"/>
                    </a:cubicBezTo>
                    <a:cubicBezTo>
                      <a:pt x="39" y="85"/>
                      <a:pt x="19" y="74"/>
                      <a:pt x="0" y="63"/>
                    </a:cubicBezTo>
                    <a:cubicBezTo>
                      <a:pt x="10" y="42"/>
                      <a:pt x="20" y="21"/>
                      <a:pt x="30"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50" name="Freeform 19"/>
              <p:cNvSpPr>
                <a:spLocks/>
              </p:cNvSpPr>
              <p:nvPr/>
            </p:nvSpPr>
            <p:spPr bwMode="black">
              <a:xfrm>
                <a:off x="6871106" y="4935800"/>
                <a:ext cx="540736" cy="284527"/>
              </a:xfrm>
              <a:custGeom>
                <a:avLst/>
                <a:gdLst/>
                <a:ahLst/>
                <a:cxnLst>
                  <a:cxn ang="0">
                    <a:pos x="741" y="202"/>
                  </a:cxn>
                  <a:cxn ang="0">
                    <a:pos x="762" y="204"/>
                  </a:cxn>
                  <a:cxn ang="0">
                    <a:pos x="837" y="294"/>
                  </a:cxn>
                  <a:cxn ang="0">
                    <a:pos x="898" y="284"/>
                  </a:cxn>
                  <a:cxn ang="0">
                    <a:pos x="946" y="202"/>
                  </a:cxn>
                  <a:cxn ang="0">
                    <a:pos x="944" y="280"/>
                  </a:cxn>
                  <a:cxn ang="0">
                    <a:pos x="998" y="294"/>
                  </a:cxn>
                  <a:cxn ang="0">
                    <a:pos x="998" y="284"/>
                  </a:cxn>
                  <a:cxn ang="0">
                    <a:pos x="985" y="232"/>
                  </a:cxn>
                  <a:cxn ang="0">
                    <a:pos x="1017" y="184"/>
                  </a:cxn>
                  <a:cxn ang="0">
                    <a:pos x="1021" y="186"/>
                  </a:cxn>
                  <a:cxn ang="0">
                    <a:pos x="1034" y="382"/>
                  </a:cxn>
                  <a:cxn ang="0">
                    <a:pos x="931" y="361"/>
                  </a:cxn>
                  <a:cxn ang="0">
                    <a:pos x="766" y="374"/>
                  </a:cxn>
                  <a:cxn ang="0">
                    <a:pos x="741" y="336"/>
                  </a:cxn>
                  <a:cxn ang="0">
                    <a:pos x="695" y="376"/>
                  </a:cxn>
                  <a:cxn ang="0">
                    <a:pos x="453" y="273"/>
                  </a:cxn>
                  <a:cxn ang="0">
                    <a:pos x="451" y="273"/>
                  </a:cxn>
                  <a:cxn ang="0">
                    <a:pos x="282" y="382"/>
                  </a:cxn>
                  <a:cxn ang="0">
                    <a:pos x="121" y="524"/>
                  </a:cxn>
                  <a:cxn ang="0">
                    <a:pos x="0" y="457"/>
                  </a:cxn>
                  <a:cxn ang="0">
                    <a:pos x="4" y="449"/>
                  </a:cxn>
                  <a:cxn ang="0">
                    <a:pos x="9" y="436"/>
                  </a:cxn>
                  <a:cxn ang="0">
                    <a:pos x="111" y="467"/>
                  </a:cxn>
                  <a:cxn ang="0">
                    <a:pos x="253" y="349"/>
                  </a:cxn>
                  <a:cxn ang="0">
                    <a:pos x="219" y="261"/>
                  </a:cxn>
                  <a:cxn ang="0">
                    <a:pos x="236" y="175"/>
                  </a:cxn>
                  <a:cxn ang="0">
                    <a:pos x="240" y="177"/>
                  </a:cxn>
                  <a:cxn ang="0">
                    <a:pos x="282" y="294"/>
                  </a:cxn>
                  <a:cxn ang="0">
                    <a:pos x="418" y="275"/>
                  </a:cxn>
                  <a:cxn ang="0">
                    <a:pos x="422" y="253"/>
                  </a:cxn>
                  <a:cxn ang="0">
                    <a:pos x="387" y="217"/>
                  </a:cxn>
                  <a:cxn ang="0">
                    <a:pos x="332" y="104"/>
                  </a:cxn>
                  <a:cxn ang="0">
                    <a:pos x="526" y="0"/>
                  </a:cxn>
                  <a:cxn ang="0">
                    <a:pos x="526" y="79"/>
                  </a:cxn>
                  <a:cxn ang="0">
                    <a:pos x="395" y="129"/>
                  </a:cxn>
                  <a:cxn ang="0">
                    <a:pos x="397" y="144"/>
                  </a:cxn>
                  <a:cxn ang="0">
                    <a:pos x="578" y="294"/>
                  </a:cxn>
                  <a:cxn ang="0">
                    <a:pos x="629" y="294"/>
                  </a:cxn>
                  <a:cxn ang="0">
                    <a:pos x="741" y="202"/>
                  </a:cxn>
                </a:cxnLst>
                <a:rect l="0" t="0" r="r" b="b"/>
                <a:pathLst>
                  <a:path w="1035" h="544">
                    <a:moveTo>
                      <a:pt x="741" y="202"/>
                    </a:moveTo>
                    <a:cubicBezTo>
                      <a:pt x="748" y="202"/>
                      <a:pt x="755" y="203"/>
                      <a:pt x="762" y="204"/>
                    </a:cubicBezTo>
                    <a:cubicBezTo>
                      <a:pt x="760" y="276"/>
                      <a:pt x="761" y="294"/>
                      <a:pt x="837" y="294"/>
                    </a:cubicBezTo>
                    <a:cubicBezTo>
                      <a:pt x="861" y="294"/>
                      <a:pt x="884" y="294"/>
                      <a:pt x="898" y="284"/>
                    </a:cubicBezTo>
                    <a:cubicBezTo>
                      <a:pt x="926" y="265"/>
                      <a:pt x="909" y="227"/>
                      <a:pt x="946" y="202"/>
                    </a:cubicBezTo>
                    <a:cubicBezTo>
                      <a:pt x="946" y="228"/>
                      <a:pt x="945" y="254"/>
                      <a:pt x="944" y="280"/>
                    </a:cubicBezTo>
                    <a:cubicBezTo>
                      <a:pt x="962" y="285"/>
                      <a:pt x="980" y="289"/>
                      <a:pt x="998" y="294"/>
                    </a:cubicBezTo>
                    <a:cubicBezTo>
                      <a:pt x="998" y="291"/>
                      <a:pt x="998" y="287"/>
                      <a:pt x="998" y="284"/>
                    </a:cubicBezTo>
                    <a:cubicBezTo>
                      <a:pt x="991" y="268"/>
                      <a:pt x="985" y="256"/>
                      <a:pt x="985" y="232"/>
                    </a:cubicBezTo>
                    <a:cubicBezTo>
                      <a:pt x="995" y="216"/>
                      <a:pt x="1006" y="200"/>
                      <a:pt x="1017" y="184"/>
                    </a:cubicBezTo>
                    <a:cubicBezTo>
                      <a:pt x="1018" y="185"/>
                      <a:pt x="1020" y="186"/>
                      <a:pt x="1021" y="186"/>
                    </a:cubicBezTo>
                    <a:cubicBezTo>
                      <a:pt x="1035" y="238"/>
                      <a:pt x="1035" y="312"/>
                      <a:pt x="1034" y="382"/>
                    </a:cubicBezTo>
                    <a:cubicBezTo>
                      <a:pt x="990" y="383"/>
                      <a:pt x="959" y="375"/>
                      <a:pt x="931" y="361"/>
                    </a:cubicBezTo>
                    <a:cubicBezTo>
                      <a:pt x="906" y="377"/>
                      <a:pt x="805" y="402"/>
                      <a:pt x="766" y="374"/>
                    </a:cubicBezTo>
                    <a:cubicBezTo>
                      <a:pt x="757" y="362"/>
                      <a:pt x="749" y="349"/>
                      <a:pt x="741" y="336"/>
                    </a:cubicBezTo>
                    <a:cubicBezTo>
                      <a:pt x="725" y="350"/>
                      <a:pt x="716" y="368"/>
                      <a:pt x="695" y="376"/>
                    </a:cubicBezTo>
                    <a:cubicBezTo>
                      <a:pt x="587" y="420"/>
                      <a:pt x="479" y="331"/>
                      <a:pt x="453" y="273"/>
                    </a:cubicBezTo>
                    <a:cubicBezTo>
                      <a:pt x="452" y="273"/>
                      <a:pt x="451" y="273"/>
                      <a:pt x="451" y="273"/>
                    </a:cubicBezTo>
                    <a:cubicBezTo>
                      <a:pt x="452" y="366"/>
                      <a:pt x="376" y="384"/>
                      <a:pt x="282" y="382"/>
                    </a:cubicBezTo>
                    <a:cubicBezTo>
                      <a:pt x="283" y="443"/>
                      <a:pt x="193" y="544"/>
                      <a:pt x="121" y="524"/>
                    </a:cubicBezTo>
                    <a:cubicBezTo>
                      <a:pt x="72" y="511"/>
                      <a:pt x="42" y="475"/>
                      <a:pt x="0" y="457"/>
                    </a:cubicBezTo>
                    <a:cubicBezTo>
                      <a:pt x="1" y="454"/>
                      <a:pt x="2" y="452"/>
                      <a:pt x="4" y="449"/>
                    </a:cubicBezTo>
                    <a:cubicBezTo>
                      <a:pt x="5" y="445"/>
                      <a:pt x="7" y="440"/>
                      <a:pt x="9" y="436"/>
                    </a:cubicBezTo>
                    <a:cubicBezTo>
                      <a:pt x="40" y="445"/>
                      <a:pt x="61" y="477"/>
                      <a:pt x="111" y="467"/>
                    </a:cubicBezTo>
                    <a:cubicBezTo>
                      <a:pt x="152" y="458"/>
                      <a:pt x="242" y="385"/>
                      <a:pt x="253" y="349"/>
                    </a:cubicBezTo>
                    <a:cubicBezTo>
                      <a:pt x="265" y="309"/>
                      <a:pt x="232" y="280"/>
                      <a:pt x="219" y="261"/>
                    </a:cubicBezTo>
                    <a:cubicBezTo>
                      <a:pt x="224" y="232"/>
                      <a:pt x="230" y="204"/>
                      <a:pt x="236" y="175"/>
                    </a:cubicBezTo>
                    <a:cubicBezTo>
                      <a:pt x="237" y="175"/>
                      <a:pt x="238" y="176"/>
                      <a:pt x="240" y="177"/>
                    </a:cubicBezTo>
                    <a:cubicBezTo>
                      <a:pt x="257" y="214"/>
                      <a:pt x="281" y="234"/>
                      <a:pt x="282" y="294"/>
                    </a:cubicBezTo>
                    <a:cubicBezTo>
                      <a:pt x="336" y="295"/>
                      <a:pt x="387" y="295"/>
                      <a:pt x="418" y="275"/>
                    </a:cubicBezTo>
                    <a:cubicBezTo>
                      <a:pt x="419" y="268"/>
                      <a:pt x="421" y="261"/>
                      <a:pt x="422" y="253"/>
                    </a:cubicBezTo>
                    <a:cubicBezTo>
                      <a:pt x="415" y="237"/>
                      <a:pt x="403" y="225"/>
                      <a:pt x="387" y="217"/>
                    </a:cubicBezTo>
                    <a:cubicBezTo>
                      <a:pt x="356" y="238"/>
                      <a:pt x="307" y="157"/>
                      <a:pt x="332" y="104"/>
                    </a:cubicBezTo>
                    <a:cubicBezTo>
                      <a:pt x="352" y="60"/>
                      <a:pt x="472" y="14"/>
                      <a:pt x="526" y="0"/>
                    </a:cubicBezTo>
                    <a:cubicBezTo>
                      <a:pt x="526" y="26"/>
                      <a:pt x="526" y="53"/>
                      <a:pt x="526" y="79"/>
                    </a:cubicBezTo>
                    <a:cubicBezTo>
                      <a:pt x="489" y="84"/>
                      <a:pt x="418" y="105"/>
                      <a:pt x="395" y="129"/>
                    </a:cubicBezTo>
                    <a:cubicBezTo>
                      <a:pt x="396" y="134"/>
                      <a:pt x="396" y="139"/>
                      <a:pt x="397" y="144"/>
                    </a:cubicBezTo>
                    <a:cubicBezTo>
                      <a:pt x="407" y="164"/>
                      <a:pt x="552" y="288"/>
                      <a:pt x="578" y="294"/>
                    </a:cubicBezTo>
                    <a:cubicBezTo>
                      <a:pt x="595" y="294"/>
                      <a:pt x="612" y="294"/>
                      <a:pt x="629" y="294"/>
                    </a:cubicBezTo>
                    <a:cubicBezTo>
                      <a:pt x="702" y="294"/>
                      <a:pt x="742" y="274"/>
                      <a:pt x="741" y="20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51" name="Freeform 20"/>
              <p:cNvSpPr>
                <a:spLocks/>
              </p:cNvSpPr>
              <p:nvPr/>
            </p:nvSpPr>
            <p:spPr bwMode="black">
              <a:xfrm>
                <a:off x="7305313" y="4957645"/>
                <a:ext cx="87111" cy="63378"/>
              </a:xfrm>
              <a:custGeom>
                <a:avLst/>
                <a:gdLst/>
                <a:ahLst/>
                <a:cxnLst>
                  <a:cxn ang="0">
                    <a:pos x="107" y="0"/>
                  </a:cxn>
                  <a:cxn ang="0">
                    <a:pos x="167" y="33"/>
                  </a:cxn>
                  <a:cxn ang="0">
                    <a:pos x="131" y="96"/>
                  </a:cxn>
                  <a:cxn ang="0">
                    <a:pos x="83" y="73"/>
                  </a:cxn>
                  <a:cxn ang="0">
                    <a:pos x="56" y="121"/>
                  </a:cxn>
                  <a:cxn ang="0">
                    <a:pos x="0" y="91"/>
                  </a:cxn>
                  <a:cxn ang="0">
                    <a:pos x="35" y="25"/>
                  </a:cxn>
                  <a:cxn ang="0">
                    <a:pos x="84" y="46"/>
                  </a:cxn>
                  <a:cxn ang="0">
                    <a:pos x="107" y="0"/>
                  </a:cxn>
                </a:cxnLst>
                <a:rect l="0" t="0" r="r" b="b"/>
                <a:pathLst>
                  <a:path w="167" h="121">
                    <a:moveTo>
                      <a:pt x="107" y="0"/>
                    </a:moveTo>
                    <a:cubicBezTo>
                      <a:pt x="127" y="11"/>
                      <a:pt x="147" y="22"/>
                      <a:pt x="167" y="33"/>
                    </a:cubicBezTo>
                    <a:cubicBezTo>
                      <a:pt x="155" y="54"/>
                      <a:pt x="143" y="75"/>
                      <a:pt x="131" y="96"/>
                    </a:cubicBezTo>
                    <a:cubicBezTo>
                      <a:pt x="116" y="89"/>
                      <a:pt x="98" y="72"/>
                      <a:pt x="83" y="73"/>
                    </a:cubicBezTo>
                    <a:cubicBezTo>
                      <a:pt x="74" y="89"/>
                      <a:pt x="65" y="105"/>
                      <a:pt x="56" y="121"/>
                    </a:cubicBezTo>
                    <a:cubicBezTo>
                      <a:pt x="37" y="111"/>
                      <a:pt x="19" y="101"/>
                      <a:pt x="0" y="91"/>
                    </a:cubicBezTo>
                    <a:cubicBezTo>
                      <a:pt x="4" y="71"/>
                      <a:pt x="21" y="38"/>
                      <a:pt x="35" y="25"/>
                    </a:cubicBezTo>
                    <a:cubicBezTo>
                      <a:pt x="49" y="32"/>
                      <a:pt x="70" y="48"/>
                      <a:pt x="84" y="46"/>
                    </a:cubicBezTo>
                    <a:cubicBezTo>
                      <a:pt x="92" y="31"/>
                      <a:pt x="100" y="16"/>
                      <a:pt x="107"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52" name="Freeform 21"/>
              <p:cNvSpPr>
                <a:spLocks/>
              </p:cNvSpPr>
              <p:nvPr/>
            </p:nvSpPr>
            <p:spPr bwMode="black">
              <a:xfrm>
                <a:off x="6651306" y="5016168"/>
                <a:ext cx="223576" cy="145365"/>
              </a:xfrm>
              <a:custGeom>
                <a:avLst/>
                <a:gdLst/>
                <a:ahLst/>
                <a:cxnLst>
                  <a:cxn ang="0">
                    <a:pos x="421" y="228"/>
                  </a:cxn>
                  <a:cxn ang="0">
                    <a:pos x="202" y="226"/>
                  </a:cxn>
                  <a:cxn ang="0">
                    <a:pos x="121" y="161"/>
                  </a:cxn>
                  <a:cxn ang="0">
                    <a:pos x="18" y="278"/>
                  </a:cxn>
                  <a:cxn ang="0">
                    <a:pos x="0" y="268"/>
                  </a:cxn>
                  <a:cxn ang="0">
                    <a:pos x="138" y="75"/>
                  </a:cxn>
                  <a:cxn ang="0">
                    <a:pos x="219" y="140"/>
                  </a:cxn>
                  <a:cxn ang="0">
                    <a:pos x="388" y="140"/>
                  </a:cxn>
                  <a:cxn ang="0">
                    <a:pos x="353" y="75"/>
                  </a:cxn>
                  <a:cxn ang="0">
                    <a:pos x="378" y="0"/>
                  </a:cxn>
                  <a:cxn ang="0">
                    <a:pos x="382" y="2"/>
                  </a:cxn>
                  <a:cxn ang="0">
                    <a:pos x="409" y="44"/>
                  </a:cxn>
                  <a:cxn ang="0">
                    <a:pos x="421" y="228"/>
                  </a:cxn>
                </a:cxnLst>
                <a:rect l="0" t="0" r="r" b="b"/>
                <a:pathLst>
                  <a:path w="428" h="278">
                    <a:moveTo>
                      <a:pt x="421" y="228"/>
                    </a:moveTo>
                    <a:cubicBezTo>
                      <a:pt x="348" y="227"/>
                      <a:pt x="275" y="227"/>
                      <a:pt x="202" y="226"/>
                    </a:cubicBezTo>
                    <a:cubicBezTo>
                      <a:pt x="165" y="214"/>
                      <a:pt x="154" y="175"/>
                      <a:pt x="121" y="161"/>
                    </a:cubicBezTo>
                    <a:cubicBezTo>
                      <a:pt x="69" y="148"/>
                      <a:pt x="40" y="248"/>
                      <a:pt x="18" y="278"/>
                    </a:cubicBezTo>
                    <a:cubicBezTo>
                      <a:pt x="12" y="275"/>
                      <a:pt x="6" y="272"/>
                      <a:pt x="0" y="268"/>
                    </a:cubicBezTo>
                    <a:cubicBezTo>
                      <a:pt x="10" y="215"/>
                      <a:pt x="80" y="75"/>
                      <a:pt x="138" y="75"/>
                    </a:cubicBezTo>
                    <a:cubicBezTo>
                      <a:pt x="169" y="90"/>
                      <a:pt x="187" y="130"/>
                      <a:pt x="219" y="140"/>
                    </a:cubicBezTo>
                    <a:cubicBezTo>
                      <a:pt x="275" y="140"/>
                      <a:pt x="332" y="140"/>
                      <a:pt x="388" y="140"/>
                    </a:cubicBezTo>
                    <a:cubicBezTo>
                      <a:pt x="384" y="109"/>
                      <a:pt x="367" y="95"/>
                      <a:pt x="353" y="75"/>
                    </a:cubicBezTo>
                    <a:cubicBezTo>
                      <a:pt x="362" y="50"/>
                      <a:pt x="370" y="25"/>
                      <a:pt x="378" y="0"/>
                    </a:cubicBezTo>
                    <a:cubicBezTo>
                      <a:pt x="380" y="0"/>
                      <a:pt x="381" y="1"/>
                      <a:pt x="382" y="2"/>
                    </a:cubicBezTo>
                    <a:cubicBezTo>
                      <a:pt x="391" y="16"/>
                      <a:pt x="400" y="30"/>
                      <a:pt x="409" y="44"/>
                    </a:cubicBezTo>
                    <a:cubicBezTo>
                      <a:pt x="428" y="89"/>
                      <a:pt x="421" y="166"/>
                      <a:pt x="421" y="22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53" name="Freeform 22"/>
              <p:cNvSpPr>
                <a:spLocks/>
              </p:cNvSpPr>
              <p:nvPr/>
            </p:nvSpPr>
            <p:spPr bwMode="black">
              <a:xfrm>
                <a:off x="6780759" y="5149667"/>
                <a:ext cx="87111" cy="65266"/>
              </a:xfrm>
              <a:custGeom>
                <a:avLst/>
                <a:gdLst/>
                <a:ahLst/>
                <a:cxnLst>
                  <a:cxn ang="0">
                    <a:pos x="107" y="0"/>
                  </a:cxn>
                  <a:cxn ang="0">
                    <a:pos x="167" y="33"/>
                  </a:cxn>
                  <a:cxn ang="0">
                    <a:pos x="130" y="96"/>
                  </a:cxn>
                  <a:cxn ang="0">
                    <a:pos x="84" y="71"/>
                  </a:cxn>
                  <a:cxn ang="0">
                    <a:pos x="58" y="125"/>
                  </a:cxn>
                  <a:cxn ang="0">
                    <a:pos x="0" y="90"/>
                  </a:cxn>
                  <a:cxn ang="0">
                    <a:pos x="34" y="29"/>
                  </a:cxn>
                  <a:cxn ang="0">
                    <a:pos x="82" y="52"/>
                  </a:cxn>
                  <a:cxn ang="0">
                    <a:pos x="107" y="0"/>
                  </a:cxn>
                </a:cxnLst>
                <a:rect l="0" t="0" r="r" b="b"/>
                <a:pathLst>
                  <a:path w="167" h="125">
                    <a:moveTo>
                      <a:pt x="107" y="0"/>
                    </a:moveTo>
                    <a:cubicBezTo>
                      <a:pt x="127" y="11"/>
                      <a:pt x="147" y="22"/>
                      <a:pt x="167" y="33"/>
                    </a:cubicBezTo>
                    <a:cubicBezTo>
                      <a:pt x="155" y="54"/>
                      <a:pt x="143" y="75"/>
                      <a:pt x="130" y="96"/>
                    </a:cubicBezTo>
                    <a:cubicBezTo>
                      <a:pt x="115" y="88"/>
                      <a:pt x="100" y="79"/>
                      <a:pt x="84" y="71"/>
                    </a:cubicBezTo>
                    <a:cubicBezTo>
                      <a:pt x="75" y="89"/>
                      <a:pt x="66" y="107"/>
                      <a:pt x="58" y="125"/>
                    </a:cubicBezTo>
                    <a:cubicBezTo>
                      <a:pt x="38" y="113"/>
                      <a:pt x="19" y="102"/>
                      <a:pt x="0" y="90"/>
                    </a:cubicBezTo>
                    <a:cubicBezTo>
                      <a:pt x="11" y="70"/>
                      <a:pt x="23" y="49"/>
                      <a:pt x="34" y="29"/>
                    </a:cubicBezTo>
                    <a:cubicBezTo>
                      <a:pt x="50" y="36"/>
                      <a:pt x="66" y="44"/>
                      <a:pt x="82" y="52"/>
                    </a:cubicBezTo>
                    <a:cubicBezTo>
                      <a:pt x="91" y="35"/>
                      <a:pt x="99" y="17"/>
                      <a:pt x="107"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01" name="Group 100"/>
            <p:cNvGrpSpPr/>
            <p:nvPr/>
          </p:nvGrpSpPr>
          <p:grpSpPr bwMode="black">
            <a:xfrm>
              <a:off x="3754836" y="4680693"/>
              <a:ext cx="1190590" cy="232649"/>
              <a:chOff x="3393928" y="4967561"/>
              <a:chExt cx="999744" cy="202126"/>
            </a:xfrm>
            <a:grpFill/>
            <a:effectLst/>
          </p:grpSpPr>
          <p:sp>
            <p:nvSpPr>
              <p:cNvPr id="240" name="Freeform 27"/>
              <p:cNvSpPr>
                <a:spLocks/>
              </p:cNvSpPr>
              <p:nvPr/>
            </p:nvSpPr>
            <p:spPr bwMode="black">
              <a:xfrm>
                <a:off x="3393928" y="4976579"/>
                <a:ext cx="160146" cy="147396"/>
              </a:xfrm>
              <a:custGeom>
                <a:avLst/>
                <a:gdLst/>
                <a:ahLst/>
                <a:cxnLst>
                  <a:cxn ang="0">
                    <a:pos x="185" y="201"/>
                  </a:cxn>
                  <a:cxn ang="0">
                    <a:pos x="185" y="73"/>
                  </a:cxn>
                  <a:cxn ang="0">
                    <a:pos x="185" y="59"/>
                  </a:cxn>
                  <a:cxn ang="0">
                    <a:pos x="186" y="47"/>
                  </a:cxn>
                  <a:cxn ang="0">
                    <a:pos x="186" y="37"/>
                  </a:cxn>
                  <a:cxn ang="0">
                    <a:pos x="187" y="30"/>
                  </a:cxn>
                  <a:cxn ang="0">
                    <a:pos x="186" y="30"/>
                  </a:cxn>
                  <a:cxn ang="0">
                    <a:pos x="185" y="35"/>
                  </a:cxn>
                  <a:cxn ang="0">
                    <a:pos x="184" y="41"/>
                  </a:cxn>
                  <a:cxn ang="0">
                    <a:pos x="182" y="47"/>
                  </a:cxn>
                  <a:cxn ang="0">
                    <a:pos x="180" y="52"/>
                  </a:cxn>
                  <a:cxn ang="0">
                    <a:pos x="119" y="201"/>
                  </a:cxn>
                  <a:cxn ang="0">
                    <a:pos x="98" y="201"/>
                  </a:cxn>
                  <a:cxn ang="0">
                    <a:pos x="36" y="54"/>
                  </a:cxn>
                  <a:cxn ang="0">
                    <a:pos x="35" y="49"/>
                  </a:cxn>
                  <a:cxn ang="0">
                    <a:pos x="33" y="42"/>
                  </a:cxn>
                  <a:cxn ang="0">
                    <a:pos x="32" y="35"/>
                  </a:cxn>
                  <a:cxn ang="0">
                    <a:pos x="30" y="30"/>
                  </a:cxn>
                  <a:cxn ang="0">
                    <a:pos x="30" y="30"/>
                  </a:cxn>
                  <a:cxn ang="0">
                    <a:pos x="30" y="38"/>
                  </a:cxn>
                  <a:cxn ang="0">
                    <a:pos x="31" y="50"/>
                  </a:cxn>
                  <a:cxn ang="0">
                    <a:pos x="31" y="63"/>
                  </a:cxn>
                  <a:cxn ang="0">
                    <a:pos x="31" y="77"/>
                  </a:cxn>
                  <a:cxn ang="0">
                    <a:pos x="31" y="201"/>
                  </a:cxn>
                  <a:cxn ang="0">
                    <a:pos x="0" y="201"/>
                  </a:cxn>
                  <a:cxn ang="0">
                    <a:pos x="0" y="0"/>
                  </a:cxn>
                  <a:cxn ang="0">
                    <a:pos x="48" y="0"/>
                  </a:cxn>
                  <a:cxn ang="0">
                    <a:pos x="99" y="127"/>
                  </a:cxn>
                  <a:cxn ang="0">
                    <a:pos x="101" y="134"/>
                  </a:cxn>
                  <a:cxn ang="0">
                    <a:pos x="104" y="141"/>
                  </a:cxn>
                  <a:cxn ang="0">
                    <a:pos x="107" y="149"/>
                  </a:cxn>
                  <a:cxn ang="0">
                    <a:pos x="108" y="155"/>
                  </a:cxn>
                  <a:cxn ang="0">
                    <a:pos x="109" y="155"/>
                  </a:cxn>
                  <a:cxn ang="0">
                    <a:pos x="111" y="149"/>
                  </a:cxn>
                  <a:cxn ang="0">
                    <a:pos x="114" y="141"/>
                  </a:cxn>
                  <a:cxn ang="0">
                    <a:pos x="117" y="133"/>
                  </a:cxn>
                  <a:cxn ang="0">
                    <a:pos x="120" y="127"/>
                  </a:cxn>
                  <a:cxn ang="0">
                    <a:pos x="172" y="0"/>
                  </a:cxn>
                  <a:cxn ang="0">
                    <a:pos x="218" y="0"/>
                  </a:cxn>
                  <a:cxn ang="0">
                    <a:pos x="218" y="201"/>
                  </a:cxn>
                  <a:cxn ang="0">
                    <a:pos x="185" y="201"/>
                  </a:cxn>
                </a:cxnLst>
                <a:rect l="0" t="0" r="r" b="b"/>
                <a:pathLst>
                  <a:path w="218" h="201">
                    <a:moveTo>
                      <a:pt x="185" y="201"/>
                    </a:moveTo>
                    <a:cubicBezTo>
                      <a:pt x="185" y="73"/>
                      <a:pt x="185" y="73"/>
                      <a:pt x="185" y="73"/>
                    </a:cubicBezTo>
                    <a:cubicBezTo>
                      <a:pt x="185" y="68"/>
                      <a:pt x="185" y="64"/>
                      <a:pt x="185" y="59"/>
                    </a:cubicBezTo>
                    <a:cubicBezTo>
                      <a:pt x="185" y="55"/>
                      <a:pt x="185" y="51"/>
                      <a:pt x="186" y="47"/>
                    </a:cubicBezTo>
                    <a:cubicBezTo>
                      <a:pt x="186" y="43"/>
                      <a:pt x="186" y="39"/>
                      <a:pt x="186" y="37"/>
                    </a:cubicBezTo>
                    <a:cubicBezTo>
                      <a:pt x="186" y="34"/>
                      <a:pt x="186" y="31"/>
                      <a:pt x="187" y="30"/>
                    </a:cubicBezTo>
                    <a:cubicBezTo>
                      <a:pt x="186" y="30"/>
                      <a:pt x="186" y="30"/>
                      <a:pt x="186" y="30"/>
                    </a:cubicBezTo>
                    <a:cubicBezTo>
                      <a:pt x="186" y="31"/>
                      <a:pt x="185" y="33"/>
                      <a:pt x="185" y="35"/>
                    </a:cubicBezTo>
                    <a:cubicBezTo>
                      <a:pt x="185" y="37"/>
                      <a:pt x="184" y="39"/>
                      <a:pt x="184" y="41"/>
                    </a:cubicBezTo>
                    <a:cubicBezTo>
                      <a:pt x="183" y="43"/>
                      <a:pt x="183" y="45"/>
                      <a:pt x="182" y="47"/>
                    </a:cubicBezTo>
                    <a:cubicBezTo>
                      <a:pt x="181" y="49"/>
                      <a:pt x="181" y="51"/>
                      <a:pt x="180" y="52"/>
                    </a:cubicBezTo>
                    <a:cubicBezTo>
                      <a:pt x="119" y="201"/>
                      <a:pt x="119" y="201"/>
                      <a:pt x="119" y="201"/>
                    </a:cubicBezTo>
                    <a:cubicBezTo>
                      <a:pt x="98" y="201"/>
                      <a:pt x="98" y="201"/>
                      <a:pt x="98" y="201"/>
                    </a:cubicBezTo>
                    <a:cubicBezTo>
                      <a:pt x="36" y="54"/>
                      <a:pt x="36" y="54"/>
                      <a:pt x="36" y="54"/>
                    </a:cubicBezTo>
                    <a:cubicBezTo>
                      <a:pt x="36" y="52"/>
                      <a:pt x="35" y="51"/>
                      <a:pt x="35" y="49"/>
                    </a:cubicBezTo>
                    <a:cubicBezTo>
                      <a:pt x="34" y="47"/>
                      <a:pt x="34" y="44"/>
                      <a:pt x="33" y="42"/>
                    </a:cubicBezTo>
                    <a:cubicBezTo>
                      <a:pt x="33" y="40"/>
                      <a:pt x="32" y="37"/>
                      <a:pt x="32" y="35"/>
                    </a:cubicBezTo>
                    <a:cubicBezTo>
                      <a:pt x="31" y="33"/>
                      <a:pt x="31" y="31"/>
                      <a:pt x="30" y="30"/>
                    </a:cubicBezTo>
                    <a:cubicBezTo>
                      <a:pt x="30" y="30"/>
                      <a:pt x="30" y="30"/>
                      <a:pt x="30" y="30"/>
                    </a:cubicBezTo>
                    <a:cubicBezTo>
                      <a:pt x="30" y="31"/>
                      <a:pt x="30" y="34"/>
                      <a:pt x="30" y="38"/>
                    </a:cubicBezTo>
                    <a:cubicBezTo>
                      <a:pt x="30" y="41"/>
                      <a:pt x="30" y="45"/>
                      <a:pt x="31" y="50"/>
                    </a:cubicBezTo>
                    <a:cubicBezTo>
                      <a:pt x="31" y="54"/>
                      <a:pt x="31" y="59"/>
                      <a:pt x="31" y="63"/>
                    </a:cubicBezTo>
                    <a:cubicBezTo>
                      <a:pt x="31" y="68"/>
                      <a:pt x="31" y="73"/>
                      <a:pt x="31" y="77"/>
                    </a:cubicBezTo>
                    <a:cubicBezTo>
                      <a:pt x="31" y="201"/>
                      <a:pt x="31" y="201"/>
                      <a:pt x="31" y="201"/>
                    </a:cubicBezTo>
                    <a:cubicBezTo>
                      <a:pt x="0" y="201"/>
                      <a:pt x="0" y="201"/>
                      <a:pt x="0" y="201"/>
                    </a:cubicBezTo>
                    <a:cubicBezTo>
                      <a:pt x="0" y="0"/>
                      <a:pt x="0" y="0"/>
                      <a:pt x="0" y="0"/>
                    </a:cubicBezTo>
                    <a:cubicBezTo>
                      <a:pt x="48" y="0"/>
                      <a:pt x="48" y="0"/>
                      <a:pt x="48" y="0"/>
                    </a:cubicBezTo>
                    <a:cubicBezTo>
                      <a:pt x="99" y="127"/>
                      <a:pt x="99" y="127"/>
                      <a:pt x="99" y="127"/>
                    </a:cubicBezTo>
                    <a:cubicBezTo>
                      <a:pt x="100" y="129"/>
                      <a:pt x="101" y="131"/>
                      <a:pt x="101" y="134"/>
                    </a:cubicBezTo>
                    <a:cubicBezTo>
                      <a:pt x="102" y="136"/>
                      <a:pt x="103" y="139"/>
                      <a:pt x="104" y="141"/>
                    </a:cubicBezTo>
                    <a:cubicBezTo>
                      <a:pt x="105" y="144"/>
                      <a:pt x="106" y="147"/>
                      <a:pt x="107" y="149"/>
                    </a:cubicBezTo>
                    <a:cubicBezTo>
                      <a:pt x="107" y="151"/>
                      <a:pt x="108" y="153"/>
                      <a:pt x="108" y="155"/>
                    </a:cubicBezTo>
                    <a:cubicBezTo>
                      <a:pt x="109" y="155"/>
                      <a:pt x="109" y="155"/>
                      <a:pt x="109" y="155"/>
                    </a:cubicBezTo>
                    <a:cubicBezTo>
                      <a:pt x="109" y="153"/>
                      <a:pt x="110" y="151"/>
                      <a:pt x="111" y="149"/>
                    </a:cubicBezTo>
                    <a:cubicBezTo>
                      <a:pt x="112" y="146"/>
                      <a:pt x="113" y="144"/>
                      <a:pt x="114" y="141"/>
                    </a:cubicBezTo>
                    <a:cubicBezTo>
                      <a:pt x="115" y="139"/>
                      <a:pt x="116" y="136"/>
                      <a:pt x="117" y="133"/>
                    </a:cubicBezTo>
                    <a:cubicBezTo>
                      <a:pt x="118" y="131"/>
                      <a:pt x="119" y="129"/>
                      <a:pt x="120" y="127"/>
                    </a:cubicBezTo>
                    <a:cubicBezTo>
                      <a:pt x="172" y="0"/>
                      <a:pt x="172" y="0"/>
                      <a:pt x="172" y="0"/>
                    </a:cubicBezTo>
                    <a:cubicBezTo>
                      <a:pt x="218" y="0"/>
                      <a:pt x="218" y="0"/>
                      <a:pt x="218" y="0"/>
                    </a:cubicBezTo>
                    <a:cubicBezTo>
                      <a:pt x="218" y="201"/>
                      <a:pt x="218" y="201"/>
                      <a:pt x="218" y="201"/>
                    </a:cubicBezTo>
                    <a:lnTo>
                      <a:pt x="185"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41" name="Freeform 28"/>
              <p:cNvSpPr>
                <a:spLocks/>
              </p:cNvSpPr>
              <p:nvPr/>
            </p:nvSpPr>
            <p:spPr bwMode="black">
              <a:xfrm>
                <a:off x="3582060" y="5018248"/>
                <a:ext cx="93911" cy="108837"/>
              </a:xfrm>
              <a:custGeom>
                <a:avLst/>
                <a:gdLst/>
                <a:ahLst/>
                <a:cxnLst>
                  <a:cxn ang="0">
                    <a:pos x="95" y="144"/>
                  </a:cxn>
                  <a:cxn ang="0">
                    <a:pos x="95" y="123"/>
                  </a:cxn>
                  <a:cxn ang="0">
                    <a:pos x="95" y="123"/>
                  </a:cxn>
                  <a:cxn ang="0">
                    <a:pos x="87" y="132"/>
                  </a:cxn>
                  <a:cxn ang="0">
                    <a:pos x="78" y="140"/>
                  </a:cxn>
                  <a:cxn ang="0">
                    <a:pos x="65"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2"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5"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2" y="121"/>
                    </a:cubicBezTo>
                    <a:cubicBezTo>
                      <a:pt x="67" y="121"/>
                      <a:pt x="71" y="120"/>
                      <a:pt x="75" y="119"/>
                    </a:cubicBezTo>
                    <a:cubicBezTo>
                      <a:pt x="79" y="117"/>
                      <a:pt x="83" y="115"/>
                      <a:pt x="86" y="111"/>
                    </a:cubicBezTo>
                    <a:cubicBezTo>
                      <a:pt x="88"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42" name="Rectangle 29"/>
              <p:cNvSpPr>
                <a:spLocks noChangeArrowheads="1"/>
              </p:cNvSpPr>
              <p:nvPr/>
            </p:nvSpPr>
            <p:spPr bwMode="black">
              <a:xfrm>
                <a:off x="3703957" y="4967561"/>
                <a:ext cx="23633" cy="156414"/>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43" name="Freeform 30"/>
              <p:cNvSpPr>
                <a:spLocks/>
              </p:cNvSpPr>
              <p:nvPr/>
            </p:nvSpPr>
            <p:spPr bwMode="black">
              <a:xfrm>
                <a:off x="3744382" y="4986841"/>
                <a:ext cx="67479" cy="182846"/>
              </a:xfrm>
              <a:custGeom>
                <a:avLst/>
                <a:gdLst/>
                <a:ahLst/>
                <a:cxnLst>
                  <a:cxn ang="0">
                    <a:pos x="92" y="222"/>
                  </a:cxn>
                  <a:cxn ang="0">
                    <a:pos x="89" y="232"/>
                  </a:cxn>
                  <a:cxn ang="0">
                    <a:pos x="82" y="241"/>
                  </a:cxn>
                  <a:cxn ang="0">
                    <a:pos x="69" y="247"/>
                  </a:cxn>
                  <a:cxn ang="0">
                    <a:pos x="50" y="249"/>
                  </a:cxn>
                  <a:cxn ang="0">
                    <a:pos x="46" y="249"/>
                  </a:cxn>
                  <a:cxn ang="0">
                    <a:pos x="41" y="248"/>
                  </a:cxn>
                  <a:cxn ang="0">
                    <a:pos x="41" y="233"/>
                  </a:cxn>
                  <a:cxn ang="0">
                    <a:pos x="46" y="234"/>
                  </a:cxn>
                  <a:cxn ang="0">
                    <a:pos x="50" y="234"/>
                  </a:cxn>
                  <a:cxn ang="0">
                    <a:pos x="58" y="233"/>
                  </a:cxn>
                  <a:cxn ang="0">
                    <a:pos x="64" y="230"/>
                  </a:cxn>
                  <a:cxn ang="0">
                    <a:pos x="67" y="226"/>
                  </a:cxn>
                  <a:cxn ang="0">
                    <a:pos x="68" y="222"/>
                  </a:cxn>
                  <a:cxn ang="0">
                    <a:pos x="67" y="219"/>
                  </a:cxn>
                  <a:cxn ang="0">
                    <a:pos x="64" y="215"/>
                  </a:cxn>
                  <a:cxn ang="0">
                    <a:pos x="59" y="213"/>
                  </a:cxn>
                  <a:cxn ang="0">
                    <a:pos x="52" y="212"/>
                  </a:cxn>
                  <a:cxn ang="0">
                    <a:pos x="49" y="212"/>
                  </a:cxn>
                  <a:cxn ang="0">
                    <a:pos x="47" y="212"/>
                  </a:cxn>
                  <a:cxn ang="0">
                    <a:pos x="47" y="187"/>
                  </a:cxn>
                  <a:cxn ang="0">
                    <a:pos x="29" y="172"/>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7" y="164"/>
                  </a:cxn>
                  <a:cxn ang="0">
                    <a:pos x="84" y="163"/>
                  </a:cxn>
                  <a:cxn ang="0">
                    <a:pos x="91" y="160"/>
                  </a:cxn>
                  <a:cxn ang="0">
                    <a:pos x="91" y="186"/>
                  </a:cxn>
                  <a:cxn ang="0">
                    <a:pos x="86" y="188"/>
                  </a:cxn>
                  <a:cxn ang="0">
                    <a:pos x="80" y="189"/>
                  </a:cxn>
                  <a:cxn ang="0">
                    <a:pos x="73" y="190"/>
                  </a:cxn>
                  <a:cxn ang="0">
                    <a:pos x="66" y="191"/>
                  </a:cxn>
                  <a:cxn ang="0">
                    <a:pos x="66" y="200"/>
                  </a:cxn>
                  <a:cxn ang="0">
                    <a:pos x="78" y="202"/>
                  </a:cxn>
                  <a:cxn ang="0">
                    <a:pos x="86" y="207"/>
                  </a:cxn>
                  <a:cxn ang="0">
                    <a:pos x="90" y="214"/>
                  </a:cxn>
                  <a:cxn ang="0">
                    <a:pos x="92" y="222"/>
                  </a:cxn>
                </a:cxnLst>
                <a:rect l="0" t="0" r="r" b="b"/>
                <a:pathLst>
                  <a:path w="92" h="249">
                    <a:moveTo>
                      <a:pt x="92" y="222"/>
                    </a:moveTo>
                    <a:cubicBezTo>
                      <a:pt x="92" y="226"/>
                      <a:pt x="91" y="229"/>
                      <a:pt x="89" y="232"/>
                    </a:cubicBezTo>
                    <a:cubicBezTo>
                      <a:pt x="88" y="236"/>
                      <a:pt x="85" y="239"/>
                      <a:pt x="82" y="241"/>
                    </a:cubicBezTo>
                    <a:cubicBezTo>
                      <a:pt x="79" y="243"/>
                      <a:pt x="74" y="245"/>
                      <a:pt x="69" y="247"/>
                    </a:cubicBezTo>
                    <a:cubicBezTo>
                      <a:pt x="64" y="248"/>
                      <a:pt x="58" y="249"/>
                      <a:pt x="50" y="249"/>
                    </a:cubicBezTo>
                    <a:cubicBezTo>
                      <a:pt x="49" y="249"/>
                      <a:pt x="47" y="249"/>
                      <a:pt x="46" y="249"/>
                    </a:cubicBezTo>
                    <a:cubicBezTo>
                      <a:pt x="44" y="249"/>
                      <a:pt x="42" y="249"/>
                      <a:pt x="41" y="248"/>
                    </a:cubicBezTo>
                    <a:cubicBezTo>
                      <a:pt x="41" y="233"/>
                      <a:pt x="41" y="233"/>
                      <a:pt x="41" y="233"/>
                    </a:cubicBezTo>
                    <a:cubicBezTo>
                      <a:pt x="42" y="234"/>
                      <a:pt x="44" y="234"/>
                      <a:pt x="46" y="234"/>
                    </a:cubicBezTo>
                    <a:cubicBezTo>
                      <a:pt x="47" y="234"/>
                      <a:pt x="49" y="234"/>
                      <a:pt x="50" y="234"/>
                    </a:cubicBezTo>
                    <a:cubicBezTo>
                      <a:pt x="53" y="234"/>
                      <a:pt x="56" y="233"/>
                      <a:pt x="58" y="233"/>
                    </a:cubicBezTo>
                    <a:cubicBezTo>
                      <a:pt x="61" y="232"/>
                      <a:pt x="63" y="231"/>
                      <a:pt x="64" y="230"/>
                    </a:cubicBezTo>
                    <a:cubicBezTo>
                      <a:pt x="65" y="229"/>
                      <a:pt x="66" y="228"/>
                      <a:pt x="67" y="226"/>
                    </a:cubicBezTo>
                    <a:cubicBezTo>
                      <a:pt x="68" y="225"/>
                      <a:pt x="68" y="223"/>
                      <a:pt x="68" y="222"/>
                    </a:cubicBezTo>
                    <a:cubicBezTo>
                      <a:pt x="68" y="221"/>
                      <a:pt x="68" y="220"/>
                      <a:pt x="67" y="219"/>
                    </a:cubicBezTo>
                    <a:cubicBezTo>
                      <a:pt x="67" y="217"/>
                      <a:pt x="66" y="216"/>
                      <a:pt x="64" y="215"/>
                    </a:cubicBezTo>
                    <a:cubicBezTo>
                      <a:pt x="63" y="214"/>
                      <a:pt x="61" y="214"/>
                      <a:pt x="59" y="213"/>
                    </a:cubicBezTo>
                    <a:cubicBezTo>
                      <a:pt x="57" y="212"/>
                      <a:pt x="55" y="212"/>
                      <a:pt x="52" y="212"/>
                    </a:cubicBezTo>
                    <a:cubicBezTo>
                      <a:pt x="51" y="212"/>
                      <a:pt x="50" y="212"/>
                      <a:pt x="49" y="212"/>
                    </a:cubicBezTo>
                    <a:cubicBezTo>
                      <a:pt x="48" y="212"/>
                      <a:pt x="47" y="212"/>
                      <a:pt x="47" y="212"/>
                    </a:cubicBezTo>
                    <a:cubicBezTo>
                      <a:pt x="47" y="187"/>
                      <a:pt x="47" y="187"/>
                      <a:pt x="47" y="187"/>
                    </a:cubicBezTo>
                    <a:cubicBezTo>
                      <a:pt x="39" y="184"/>
                      <a:pt x="33" y="179"/>
                      <a:pt x="29" y="172"/>
                    </a:cubicBezTo>
                    <a:cubicBezTo>
                      <a:pt x="26" y="165"/>
                      <a:pt x="24" y="156"/>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70" y="164"/>
                      <a:pt x="77" y="164"/>
                    </a:cubicBezTo>
                    <a:cubicBezTo>
                      <a:pt x="79" y="164"/>
                      <a:pt x="81" y="164"/>
                      <a:pt x="84" y="163"/>
                    </a:cubicBezTo>
                    <a:cubicBezTo>
                      <a:pt x="87" y="162"/>
                      <a:pt x="89" y="161"/>
                      <a:pt x="91" y="160"/>
                    </a:cubicBezTo>
                    <a:cubicBezTo>
                      <a:pt x="91" y="186"/>
                      <a:pt x="91" y="186"/>
                      <a:pt x="91" y="186"/>
                    </a:cubicBezTo>
                    <a:cubicBezTo>
                      <a:pt x="90" y="186"/>
                      <a:pt x="88" y="187"/>
                      <a:pt x="86" y="188"/>
                    </a:cubicBezTo>
                    <a:cubicBezTo>
                      <a:pt x="85" y="188"/>
                      <a:pt x="83" y="189"/>
                      <a:pt x="80" y="189"/>
                    </a:cubicBezTo>
                    <a:cubicBezTo>
                      <a:pt x="78" y="189"/>
                      <a:pt x="76" y="190"/>
                      <a:pt x="73" y="190"/>
                    </a:cubicBezTo>
                    <a:cubicBezTo>
                      <a:pt x="71" y="191"/>
                      <a:pt x="69" y="191"/>
                      <a:pt x="66" y="191"/>
                    </a:cubicBezTo>
                    <a:cubicBezTo>
                      <a:pt x="66" y="200"/>
                      <a:pt x="66" y="200"/>
                      <a:pt x="66" y="200"/>
                    </a:cubicBezTo>
                    <a:cubicBezTo>
                      <a:pt x="71" y="200"/>
                      <a:pt x="74" y="201"/>
                      <a:pt x="78" y="202"/>
                    </a:cubicBezTo>
                    <a:cubicBezTo>
                      <a:pt x="81" y="203"/>
                      <a:pt x="83" y="205"/>
                      <a:pt x="86" y="207"/>
                    </a:cubicBezTo>
                    <a:cubicBezTo>
                      <a:pt x="88" y="209"/>
                      <a:pt x="89" y="211"/>
                      <a:pt x="90" y="214"/>
                    </a:cubicBezTo>
                    <a:cubicBezTo>
                      <a:pt x="91" y="216"/>
                      <a:pt x="92" y="219"/>
                      <a:pt x="92" y="22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44" name="Freeform 31"/>
              <p:cNvSpPr>
                <a:spLocks/>
              </p:cNvSpPr>
              <p:nvPr/>
            </p:nvSpPr>
            <p:spPr bwMode="black">
              <a:xfrm>
                <a:off x="3825855" y="5018248"/>
                <a:ext cx="93911" cy="108837"/>
              </a:xfrm>
              <a:custGeom>
                <a:avLst/>
                <a:gdLst/>
                <a:ahLst/>
                <a:cxnLst>
                  <a:cxn ang="0">
                    <a:pos x="96" y="144"/>
                  </a:cxn>
                  <a:cxn ang="0">
                    <a:pos x="96" y="123"/>
                  </a:cxn>
                  <a:cxn ang="0">
                    <a:pos x="95" y="123"/>
                  </a:cxn>
                  <a:cxn ang="0">
                    <a:pos x="88" y="132"/>
                  </a:cxn>
                  <a:cxn ang="0">
                    <a:pos x="78" y="140"/>
                  </a:cxn>
                  <a:cxn ang="0">
                    <a:pos x="66" y="146"/>
                  </a:cxn>
                  <a:cxn ang="0">
                    <a:pos x="52"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6" y="119"/>
                  </a:cxn>
                  <a:cxn ang="0">
                    <a:pos x="86" y="111"/>
                  </a:cxn>
                  <a:cxn ang="0">
                    <a:pos x="93" y="100"/>
                  </a:cxn>
                  <a:cxn ang="0">
                    <a:pos x="96" y="84"/>
                  </a:cxn>
                  <a:cxn ang="0">
                    <a:pos x="96" y="0"/>
                  </a:cxn>
                  <a:cxn ang="0">
                    <a:pos x="128" y="0"/>
                  </a:cxn>
                  <a:cxn ang="0">
                    <a:pos x="128" y="144"/>
                  </a:cxn>
                  <a:cxn ang="0">
                    <a:pos x="96" y="144"/>
                  </a:cxn>
                </a:cxnLst>
                <a:rect l="0" t="0" r="r" b="b"/>
                <a:pathLst>
                  <a:path w="128"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4" y="143"/>
                      <a:pt x="70" y="144"/>
                      <a:pt x="66" y="146"/>
                    </a:cubicBezTo>
                    <a:cubicBezTo>
                      <a:pt x="62" y="147"/>
                      <a:pt x="57" y="148"/>
                      <a:pt x="52" y="148"/>
                    </a:cubicBezTo>
                    <a:cubicBezTo>
                      <a:pt x="35" y="148"/>
                      <a:pt x="22" y="143"/>
                      <a:pt x="13"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1" y="113"/>
                    </a:cubicBezTo>
                    <a:cubicBezTo>
                      <a:pt x="44" y="116"/>
                      <a:pt x="47" y="118"/>
                      <a:pt x="51" y="119"/>
                    </a:cubicBezTo>
                    <a:cubicBezTo>
                      <a:pt x="55" y="120"/>
                      <a:pt x="59" y="121"/>
                      <a:pt x="63" y="121"/>
                    </a:cubicBezTo>
                    <a:cubicBezTo>
                      <a:pt x="67"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8" y="0"/>
                      <a:pt x="128" y="0"/>
                      <a:pt x="128" y="0"/>
                    </a:cubicBezTo>
                    <a:cubicBezTo>
                      <a:pt x="128" y="144"/>
                      <a:pt x="128" y="144"/>
                      <a:pt x="128" y="144"/>
                    </a:cubicBezTo>
                    <a:lnTo>
                      <a:pt x="96"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45" name="Freeform 32"/>
              <p:cNvSpPr>
                <a:spLocks/>
              </p:cNvSpPr>
              <p:nvPr/>
            </p:nvSpPr>
            <p:spPr bwMode="black">
              <a:xfrm>
                <a:off x="3947752" y="5016071"/>
                <a:ext cx="157969" cy="107904"/>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3" y="66"/>
                  </a:cxn>
                  <a:cxn ang="0">
                    <a:pos x="123" y="147"/>
                  </a:cxn>
                  <a:cxn ang="0">
                    <a:pos x="91" y="147"/>
                  </a:cxn>
                  <a:cxn ang="0">
                    <a:pos x="91" y="63"/>
                  </a:cxn>
                  <a:cxn ang="0">
                    <a:pos x="89" y="46"/>
                  </a:cxn>
                  <a:cxn ang="0">
                    <a:pos x="83" y="35"/>
                  </a:cxn>
                  <a:cxn ang="0">
                    <a:pos x="74"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2" y="2"/>
                  </a:cxn>
                  <a:cxn ang="0">
                    <a:pos x="104" y="7"/>
                  </a:cxn>
                  <a:cxn ang="0">
                    <a:pos x="113"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8" y="41"/>
                      <a:pt x="86" y="38"/>
                      <a:pt x="83" y="35"/>
                    </a:cubicBezTo>
                    <a:cubicBezTo>
                      <a:pt x="81" y="32"/>
                      <a:pt x="78" y="30"/>
                      <a:pt x="74" y="28"/>
                    </a:cubicBezTo>
                    <a:cubicBezTo>
                      <a:pt x="71" y="27"/>
                      <a:pt x="67" y="26"/>
                      <a:pt x="63" y="26"/>
                    </a:cubicBezTo>
                    <a:cubicBezTo>
                      <a:pt x="59" y="26"/>
                      <a:pt x="55" y="27"/>
                      <a:pt x="51" y="29"/>
                    </a:cubicBezTo>
                    <a:cubicBezTo>
                      <a:pt x="47" y="31"/>
                      <a:pt x="44" y="34"/>
                      <a:pt x="41" y="37"/>
                    </a:cubicBezTo>
                    <a:cubicBezTo>
                      <a:pt x="39" y="41"/>
                      <a:pt x="36" y="45"/>
                      <a:pt x="35" y="50"/>
                    </a:cubicBezTo>
                    <a:cubicBezTo>
                      <a:pt x="33"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2" y="2"/>
                    </a:cubicBezTo>
                    <a:cubicBezTo>
                      <a:pt x="97" y="3"/>
                      <a:pt x="101" y="5"/>
                      <a:pt x="104" y="7"/>
                    </a:cubicBezTo>
                    <a:cubicBezTo>
                      <a:pt x="108" y="10"/>
                      <a:pt x="111" y="13"/>
                      <a:pt x="113"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46" name="Freeform 33"/>
              <p:cNvSpPr>
                <a:spLocks noEditPoints="1"/>
              </p:cNvSpPr>
              <p:nvPr/>
            </p:nvSpPr>
            <p:spPr bwMode="black">
              <a:xfrm>
                <a:off x="4123446" y="5016071"/>
                <a:ext cx="96087" cy="111014"/>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4" y="125"/>
                      <a:pt x="92" y="124"/>
                      <a:pt x="100" y="121"/>
                    </a:cubicBezTo>
                    <a:cubicBezTo>
                      <a:pt x="107"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1"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8"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47" name="Freeform 34"/>
              <p:cNvSpPr>
                <a:spLocks/>
              </p:cNvSpPr>
              <p:nvPr/>
            </p:nvSpPr>
            <p:spPr bwMode="black">
              <a:xfrm>
                <a:off x="4231349" y="5016071"/>
                <a:ext cx="69656" cy="111014"/>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20" y="122"/>
                  </a:cxn>
                  <a:cxn ang="0">
                    <a:pos x="30" y="124"/>
                  </a:cxn>
                  <a:cxn ang="0">
                    <a:pos x="39"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1" y="28"/>
                  </a:cxn>
                  <a:cxn ang="0">
                    <a:pos x="62" y="26"/>
                  </a:cxn>
                  <a:cxn ang="0">
                    <a:pos x="54" y="25"/>
                  </a:cxn>
                  <a:cxn ang="0">
                    <a:pos x="38" y="30"/>
                  </a:cxn>
                  <a:cxn ang="0">
                    <a:pos x="33" y="41"/>
                  </a:cxn>
                  <a:cxn ang="0">
                    <a:pos x="34" y="48"/>
                  </a:cxn>
                  <a:cxn ang="0">
                    <a:pos x="38" y="53"/>
                  </a:cxn>
                  <a:cxn ang="0">
                    <a:pos x="46" y="58"/>
                  </a:cxn>
                  <a:cxn ang="0">
                    <a:pos x="58" y="63"/>
                  </a:cxn>
                  <a:cxn ang="0">
                    <a:pos x="73" y="70"/>
                  </a:cxn>
                  <a:cxn ang="0">
                    <a:pos x="84" y="79"/>
                  </a:cxn>
                  <a:cxn ang="0">
                    <a:pos x="92" y="91"/>
                  </a:cxn>
                  <a:cxn ang="0">
                    <a:pos x="95" y="106"/>
                  </a:cxn>
                </a:cxnLst>
                <a:rect l="0" t="0" r="r" b="b"/>
                <a:pathLst>
                  <a:path w="95" h="151">
                    <a:moveTo>
                      <a:pt x="95" y="106"/>
                    </a:moveTo>
                    <a:cubicBezTo>
                      <a:pt x="95" y="112"/>
                      <a:pt x="93" y="118"/>
                      <a:pt x="91" y="123"/>
                    </a:cubicBezTo>
                    <a:cubicBezTo>
                      <a:pt x="89" y="129"/>
                      <a:pt x="85" y="134"/>
                      <a:pt x="80" y="138"/>
                    </a:cubicBezTo>
                    <a:cubicBezTo>
                      <a:pt x="75" y="142"/>
                      <a:pt x="70" y="145"/>
                      <a:pt x="62" y="147"/>
                    </a:cubicBezTo>
                    <a:cubicBezTo>
                      <a:pt x="55" y="150"/>
                      <a:pt x="47" y="151"/>
                      <a:pt x="37" y="151"/>
                    </a:cubicBezTo>
                    <a:cubicBezTo>
                      <a:pt x="35" y="151"/>
                      <a:pt x="32" y="150"/>
                      <a:pt x="28" y="150"/>
                    </a:cubicBezTo>
                    <a:cubicBezTo>
                      <a:pt x="25" y="150"/>
                      <a:pt x="22"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20" y="122"/>
                    </a:cubicBezTo>
                    <a:cubicBezTo>
                      <a:pt x="23" y="123"/>
                      <a:pt x="26" y="124"/>
                      <a:pt x="30" y="124"/>
                    </a:cubicBezTo>
                    <a:cubicBezTo>
                      <a:pt x="33" y="125"/>
                      <a:pt x="36" y="125"/>
                      <a:pt x="39" y="125"/>
                    </a:cubicBezTo>
                    <a:cubicBezTo>
                      <a:pt x="47" y="125"/>
                      <a:pt x="53" y="124"/>
                      <a:pt x="56" y="121"/>
                    </a:cubicBezTo>
                    <a:cubicBezTo>
                      <a:pt x="60" y="118"/>
                      <a:pt x="62" y="115"/>
                      <a:pt x="62" y="110"/>
                    </a:cubicBezTo>
                    <a:cubicBezTo>
                      <a:pt x="62" y="107"/>
                      <a:pt x="62"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6" y="77"/>
                      <a:pt x="12" y="74"/>
                      <a:pt x="9" y="70"/>
                    </a:cubicBezTo>
                    <a:cubicBezTo>
                      <a:pt x="6" y="67"/>
                      <a:pt x="4" y="63"/>
                      <a:pt x="2" y="59"/>
                    </a:cubicBezTo>
                    <a:cubicBezTo>
                      <a:pt x="1" y="55"/>
                      <a:pt x="0" y="50"/>
                      <a:pt x="0" y="44"/>
                    </a:cubicBezTo>
                    <a:cubicBezTo>
                      <a:pt x="0" y="37"/>
                      <a:pt x="1" y="32"/>
                      <a:pt x="4" y="26"/>
                    </a:cubicBezTo>
                    <a:cubicBezTo>
                      <a:pt x="6" y="21"/>
                      <a:pt x="10" y="16"/>
                      <a:pt x="15" y="12"/>
                    </a:cubicBezTo>
                    <a:cubicBezTo>
                      <a:pt x="19" y="9"/>
                      <a:pt x="25" y="5"/>
                      <a:pt x="32" y="3"/>
                    </a:cubicBezTo>
                    <a:cubicBezTo>
                      <a:pt x="39" y="1"/>
                      <a:pt x="46" y="0"/>
                      <a:pt x="55" y="0"/>
                    </a:cubicBezTo>
                    <a:cubicBezTo>
                      <a:pt x="58" y="0"/>
                      <a:pt x="61" y="0"/>
                      <a:pt x="64" y="0"/>
                    </a:cubicBezTo>
                    <a:cubicBezTo>
                      <a:pt x="67" y="1"/>
                      <a:pt x="70" y="1"/>
                      <a:pt x="73" y="2"/>
                    </a:cubicBezTo>
                    <a:cubicBezTo>
                      <a:pt x="75" y="2"/>
                      <a:pt x="78" y="3"/>
                      <a:pt x="81" y="4"/>
                    </a:cubicBezTo>
                    <a:cubicBezTo>
                      <a:pt x="83" y="4"/>
                      <a:pt x="85" y="5"/>
                      <a:pt x="87" y="6"/>
                    </a:cubicBezTo>
                    <a:cubicBezTo>
                      <a:pt x="87" y="35"/>
                      <a:pt x="87" y="35"/>
                      <a:pt x="87" y="35"/>
                    </a:cubicBezTo>
                    <a:cubicBezTo>
                      <a:pt x="85" y="34"/>
                      <a:pt x="82" y="32"/>
                      <a:pt x="80" y="31"/>
                    </a:cubicBezTo>
                    <a:cubicBezTo>
                      <a:pt x="77" y="30"/>
                      <a:pt x="74" y="29"/>
                      <a:pt x="71" y="28"/>
                    </a:cubicBezTo>
                    <a:cubicBezTo>
                      <a:pt x="68" y="27"/>
                      <a:pt x="65" y="26"/>
                      <a:pt x="62" y="26"/>
                    </a:cubicBezTo>
                    <a:cubicBezTo>
                      <a:pt x="59" y="26"/>
                      <a:pt x="56" y="25"/>
                      <a:pt x="54" y="25"/>
                    </a:cubicBezTo>
                    <a:cubicBezTo>
                      <a:pt x="47" y="25"/>
                      <a:pt x="42" y="27"/>
                      <a:pt x="38"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3" y="66"/>
                      <a:pt x="68" y="68"/>
                      <a:pt x="73" y="70"/>
                    </a:cubicBezTo>
                    <a:cubicBezTo>
                      <a:pt x="77" y="73"/>
                      <a:pt x="81" y="76"/>
                      <a:pt x="84" y="79"/>
                    </a:cubicBezTo>
                    <a:cubicBezTo>
                      <a:pt x="88" y="83"/>
                      <a:pt x="90" y="86"/>
                      <a:pt x="92"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48" name="Freeform 35"/>
              <p:cNvSpPr>
                <a:spLocks/>
              </p:cNvSpPr>
              <p:nvPr/>
            </p:nvSpPr>
            <p:spPr bwMode="black">
              <a:xfrm>
                <a:off x="4311267" y="5016071"/>
                <a:ext cx="82405" cy="111014"/>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8"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5" y="2"/>
                      <a:pt x="98" y="2"/>
                    </a:cubicBezTo>
                    <a:cubicBezTo>
                      <a:pt x="101"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02" name="Group 101"/>
            <p:cNvGrpSpPr/>
            <p:nvPr/>
          </p:nvGrpSpPr>
          <p:grpSpPr bwMode="black">
            <a:xfrm>
              <a:off x="3754836" y="4213292"/>
              <a:ext cx="559559" cy="179455"/>
              <a:chOff x="10238410" y="4967852"/>
              <a:chExt cx="561691" cy="186381"/>
            </a:xfrm>
            <a:grpFill/>
            <a:effectLst/>
          </p:grpSpPr>
          <p:sp>
            <p:nvSpPr>
              <p:cNvPr id="235" name="Freeform 34"/>
              <p:cNvSpPr>
                <a:spLocks/>
              </p:cNvSpPr>
              <p:nvPr/>
            </p:nvSpPr>
            <p:spPr bwMode="black">
              <a:xfrm>
                <a:off x="10238410" y="4978045"/>
                <a:ext cx="138330" cy="172912"/>
              </a:xfrm>
              <a:custGeom>
                <a:avLst/>
                <a:gdLst/>
                <a:ahLst/>
                <a:cxnLst>
                  <a:cxn ang="0">
                    <a:pos x="302" y="475"/>
                  </a:cxn>
                  <a:cxn ang="0">
                    <a:pos x="302" y="269"/>
                  </a:cxn>
                  <a:cxn ang="0">
                    <a:pos x="78" y="269"/>
                  </a:cxn>
                  <a:cxn ang="0">
                    <a:pos x="78" y="475"/>
                  </a:cxn>
                  <a:cxn ang="0">
                    <a:pos x="0" y="475"/>
                  </a:cxn>
                  <a:cxn ang="0">
                    <a:pos x="0" y="0"/>
                  </a:cxn>
                  <a:cxn ang="0">
                    <a:pos x="78" y="0"/>
                  </a:cxn>
                  <a:cxn ang="0">
                    <a:pos x="78" y="199"/>
                  </a:cxn>
                  <a:cxn ang="0">
                    <a:pos x="302" y="199"/>
                  </a:cxn>
                  <a:cxn ang="0">
                    <a:pos x="302" y="0"/>
                  </a:cxn>
                  <a:cxn ang="0">
                    <a:pos x="380" y="0"/>
                  </a:cxn>
                  <a:cxn ang="0">
                    <a:pos x="380" y="475"/>
                  </a:cxn>
                  <a:cxn ang="0">
                    <a:pos x="302" y="475"/>
                  </a:cxn>
                </a:cxnLst>
                <a:rect l="0" t="0" r="r" b="b"/>
                <a:pathLst>
                  <a:path w="380" h="475">
                    <a:moveTo>
                      <a:pt x="302" y="475"/>
                    </a:moveTo>
                    <a:lnTo>
                      <a:pt x="302" y="269"/>
                    </a:lnTo>
                    <a:lnTo>
                      <a:pt x="78" y="269"/>
                    </a:lnTo>
                    <a:lnTo>
                      <a:pt x="78" y="475"/>
                    </a:lnTo>
                    <a:lnTo>
                      <a:pt x="0" y="475"/>
                    </a:lnTo>
                    <a:lnTo>
                      <a:pt x="0" y="0"/>
                    </a:lnTo>
                    <a:lnTo>
                      <a:pt x="78" y="0"/>
                    </a:lnTo>
                    <a:lnTo>
                      <a:pt x="78" y="199"/>
                    </a:lnTo>
                    <a:lnTo>
                      <a:pt x="302" y="199"/>
                    </a:lnTo>
                    <a:lnTo>
                      <a:pt x="302" y="0"/>
                    </a:lnTo>
                    <a:lnTo>
                      <a:pt x="380" y="0"/>
                    </a:lnTo>
                    <a:lnTo>
                      <a:pt x="380" y="475"/>
                    </a:lnTo>
                    <a:lnTo>
                      <a:pt x="302" y="475"/>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36" name="Freeform 35"/>
              <p:cNvSpPr>
                <a:spLocks/>
              </p:cNvSpPr>
              <p:nvPr/>
            </p:nvSpPr>
            <p:spPr bwMode="black">
              <a:xfrm>
                <a:off x="10394941" y="5027188"/>
                <a:ext cx="123769" cy="123769"/>
              </a:xfrm>
              <a:custGeom>
                <a:avLst/>
                <a:gdLst/>
                <a:ahLst/>
                <a:cxnLst>
                  <a:cxn ang="0">
                    <a:pos x="88" y="144"/>
                  </a:cxn>
                  <a:cxn ang="0">
                    <a:pos x="53" y="144"/>
                  </a:cxn>
                  <a:cxn ang="0">
                    <a:pos x="0" y="0"/>
                  </a:cxn>
                  <a:cxn ang="0">
                    <a:pos x="35" y="0"/>
                  </a:cxn>
                  <a:cxn ang="0">
                    <a:pos x="66" y="97"/>
                  </a:cxn>
                  <a:cxn ang="0">
                    <a:pos x="68" y="103"/>
                  </a:cxn>
                  <a:cxn ang="0">
                    <a:pos x="70" y="109"/>
                  </a:cxn>
                  <a:cxn ang="0">
                    <a:pos x="71" y="115"/>
                  </a:cxn>
                  <a:cxn ang="0">
                    <a:pos x="71" y="120"/>
                  </a:cxn>
                  <a:cxn ang="0">
                    <a:pos x="72" y="120"/>
                  </a:cxn>
                  <a:cxn ang="0">
                    <a:pos x="73" y="116"/>
                  </a:cxn>
                  <a:cxn ang="0">
                    <a:pos x="74" y="110"/>
                  </a:cxn>
                  <a:cxn ang="0">
                    <a:pos x="75" y="103"/>
                  </a:cxn>
                  <a:cxn ang="0">
                    <a:pos x="77" y="97"/>
                  </a:cxn>
                  <a:cxn ang="0">
                    <a:pos x="109" y="0"/>
                  </a:cxn>
                  <a:cxn ang="0">
                    <a:pos x="144" y="0"/>
                  </a:cxn>
                  <a:cxn ang="0">
                    <a:pos x="88" y="144"/>
                  </a:cxn>
                </a:cxnLst>
                <a:rect l="0" t="0" r="r" b="b"/>
                <a:pathLst>
                  <a:path w="144" h="144">
                    <a:moveTo>
                      <a:pt x="88" y="144"/>
                    </a:moveTo>
                    <a:cubicBezTo>
                      <a:pt x="53" y="144"/>
                      <a:pt x="53" y="144"/>
                      <a:pt x="53" y="144"/>
                    </a:cubicBezTo>
                    <a:cubicBezTo>
                      <a:pt x="0" y="0"/>
                      <a:pt x="0" y="0"/>
                      <a:pt x="0" y="0"/>
                    </a:cubicBezTo>
                    <a:cubicBezTo>
                      <a:pt x="35" y="0"/>
                      <a:pt x="35" y="0"/>
                      <a:pt x="35" y="0"/>
                    </a:cubicBezTo>
                    <a:cubicBezTo>
                      <a:pt x="66" y="97"/>
                      <a:pt x="66" y="97"/>
                      <a:pt x="66" y="97"/>
                    </a:cubicBezTo>
                    <a:cubicBezTo>
                      <a:pt x="67" y="99"/>
                      <a:pt x="68" y="101"/>
                      <a:pt x="68" y="103"/>
                    </a:cubicBezTo>
                    <a:cubicBezTo>
                      <a:pt x="69" y="105"/>
                      <a:pt x="69" y="107"/>
                      <a:pt x="70" y="109"/>
                    </a:cubicBezTo>
                    <a:cubicBezTo>
                      <a:pt x="70" y="112"/>
                      <a:pt x="71" y="113"/>
                      <a:pt x="71" y="115"/>
                    </a:cubicBezTo>
                    <a:cubicBezTo>
                      <a:pt x="71" y="117"/>
                      <a:pt x="71" y="119"/>
                      <a:pt x="71" y="120"/>
                    </a:cubicBezTo>
                    <a:cubicBezTo>
                      <a:pt x="72" y="120"/>
                      <a:pt x="72" y="120"/>
                      <a:pt x="72" y="120"/>
                    </a:cubicBezTo>
                    <a:cubicBezTo>
                      <a:pt x="72" y="119"/>
                      <a:pt x="72" y="117"/>
                      <a:pt x="73" y="116"/>
                    </a:cubicBezTo>
                    <a:cubicBezTo>
                      <a:pt x="73" y="114"/>
                      <a:pt x="73" y="112"/>
                      <a:pt x="74" y="110"/>
                    </a:cubicBezTo>
                    <a:cubicBezTo>
                      <a:pt x="74" y="107"/>
                      <a:pt x="75" y="105"/>
                      <a:pt x="75" y="103"/>
                    </a:cubicBezTo>
                    <a:cubicBezTo>
                      <a:pt x="76" y="101"/>
                      <a:pt x="77" y="99"/>
                      <a:pt x="77" y="97"/>
                    </a:cubicBezTo>
                    <a:cubicBezTo>
                      <a:pt x="109" y="0"/>
                      <a:pt x="109" y="0"/>
                      <a:pt x="109" y="0"/>
                    </a:cubicBezTo>
                    <a:cubicBezTo>
                      <a:pt x="144" y="0"/>
                      <a:pt x="144" y="0"/>
                      <a:pt x="144" y="0"/>
                    </a:cubicBezTo>
                    <a:lnTo>
                      <a:pt x="88"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37" name="Freeform 36"/>
              <p:cNvSpPr>
                <a:spLocks noEditPoints="1"/>
              </p:cNvSpPr>
              <p:nvPr/>
            </p:nvSpPr>
            <p:spPr bwMode="black">
              <a:xfrm>
                <a:off x="10516161" y="5024640"/>
                <a:ext cx="104111" cy="129593"/>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38" name="Rectangle 37"/>
              <p:cNvSpPr>
                <a:spLocks noChangeArrowheads="1"/>
              </p:cNvSpPr>
              <p:nvPr/>
            </p:nvSpPr>
            <p:spPr bwMode="black">
              <a:xfrm>
                <a:off x="10646846" y="4967852"/>
                <a:ext cx="27666" cy="183105"/>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39" name="Freeform 38"/>
              <p:cNvSpPr>
                <a:spLocks noEditPoints="1"/>
              </p:cNvSpPr>
              <p:nvPr/>
            </p:nvSpPr>
            <p:spPr bwMode="black">
              <a:xfrm>
                <a:off x="10696718" y="5024640"/>
                <a:ext cx="103383" cy="129593"/>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03" name="Group 102"/>
            <p:cNvGrpSpPr/>
            <p:nvPr/>
          </p:nvGrpSpPr>
          <p:grpSpPr bwMode="black">
            <a:xfrm>
              <a:off x="3754836" y="2578650"/>
              <a:ext cx="1095552" cy="218577"/>
              <a:chOff x="7682933" y="4955117"/>
              <a:chExt cx="1099718" cy="227012"/>
            </a:xfrm>
            <a:grpFill/>
            <a:effectLst/>
          </p:grpSpPr>
          <p:sp>
            <p:nvSpPr>
              <p:cNvPr id="226" name="Freeform 22"/>
              <p:cNvSpPr>
                <a:spLocks/>
              </p:cNvSpPr>
              <p:nvPr/>
            </p:nvSpPr>
            <p:spPr bwMode="black">
              <a:xfrm>
                <a:off x="7682933" y="5010511"/>
                <a:ext cx="90737" cy="121322"/>
              </a:xfrm>
              <a:custGeom>
                <a:avLst/>
                <a:gdLst/>
                <a:ahLst/>
                <a:cxnLst>
                  <a:cxn ang="0">
                    <a:pos x="102" y="146"/>
                  </a:cxn>
                  <a:cxn ang="0">
                    <a:pos x="89" y="148"/>
                  </a:cxn>
                  <a:cxn ang="0">
                    <a:pos x="75" y="150"/>
                  </a:cxn>
                  <a:cxn ang="0">
                    <a:pos x="61" y="151"/>
                  </a:cxn>
                  <a:cxn ang="0">
                    <a:pos x="35" y="148"/>
                  </a:cxn>
                  <a:cxn ang="0">
                    <a:pos x="16" y="140"/>
                  </a:cxn>
                  <a:cxn ang="0">
                    <a:pos x="4" y="126"/>
                  </a:cxn>
                  <a:cxn ang="0">
                    <a:pos x="0" y="109"/>
                  </a:cxn>
                  <a:cxn ang="0">
                    <a:pos x="3" y="95"/>
                  </a:cxn>
                  <a:cxn ang="0">
                    <a:pos x="10" y="84"/>
                  </a:cxn>
                  <a:cxn ang="0">
                    <a:pos x="21" y="76"/>
                  </a:cxn>
                  <a:cxn ang="0">
                    <a:pos x="35" y="72"/>
                  </a:cxn>
                  <a:cxn ang="0">
                    <a:pos x="35" y="71"/>
                  </a:cxn>
                  <a:cxn ang="0">
                    <a:pos x="24" y="68"/>
                  </a:cxn>
                  <a:cxn ang="0">
                    <a:pos x="15" y="61"/>
                  </a:cxn>
                  <a:cxn ang="0">
                    <a:pos x="8" y="51"/>
                  </a:cxn>
                  <a:cxn ang="0">
                    <a:pos x="6" y="39"/>
                  </a:cxn>
                  <a:cxn ang="0">
                    <a:pos x="10" y="22"/>
                  </a:cxn>
                  <a:cxn ang="0">
                    <a:pos x="23" y="10"/>
                  </a:cxn>
                  <a:cxn ang="0">
                    <a:pos x="42" y="2"/>
                  </a:cxn>
                  <a:cxn ang="0">
                    <a:pos x="65" y="0"/>
                  </a:cxn>
                  <a:cxn ang="0">
                    <a:pos x="86" y="2"/>
                  </a:cxn>
                  <a:cxn ang="0">
                    <a:pos x="107" y="6"/>
                  </a:cxn>
                  <a:cxn ang="0">
                    <a:pos x="107" y="33"/>
                  </a:cxn>
                  <a:cxn ang="0">
                    <a:pos x="97" y="30"/>
                  </a:cxn>
                  <a:cxn ang="0">
                    <a:pos x="87" y="27"/>
                  </a:cxn>
                  <a:cxn ang="0">
                    <a:pos x="77" y="25"/>
                  </a:cxn>
                  <a:cxn ang="0">
                    <a:pos x="68" y="25"/>
                  </a:cxn>
                  <a:cxn ang="0">
                    <a:pos x="56" y="26"/>
                  </a:cxn>
                  <a:cxn ang="0">
                    <a:pos x="47" y="29"/>
                  </a:cxn>
                  <a:cxn ang="0">
                    <a:pos x="41" y="35"/>
                  </a:cxn>
                  <a:cxn ang="0">
                    <a:pos x="39" y="42"/>
                  </a:cxn>
                  <a:cxn ang="0">
                    <a:pos x="42" y="51"/>
                  </a:cxn>
                  <a:cxn ang="0">
                    <a:pos x="49" y="57"/>
                  </a:cxn>
                  <a:cxn ang="0">
                    <a:pos x="60" y="61"/>
                  </a:cxn>
                  <a:cxn ang="0">
                    <a:pos x="73" y="62"/>
                  </a:cxn>
                  <a:cxn ang="0">
                    <a:pos x="78" y="62"/>
                  </a:cxn>
                  <a:cxn ang="0">
                    <a:pos x="84" y="62"/>
                  </a:cxn>
                  <a:cxn ang="0">
                    <a:pos x="90" y="62"/>
                  </a:cxn>
                  <a:cxn ang="0">
                    <a:pos x="94" y="61"/>
                  </a:cxn>
                  <a:cxn ang="0">
                    <a:pos x="94" y="86"/>
                  </a:cxn>
                  <a:cxn ang="0">
                    <a:pos x="87" y="85"/>
                  </a:cxn>
                  <a:cxn ang="0">
                    <a:pos x="74" y="85"/>
                  </a:cxn>
                  <a:cxn ang="0">
                    <a:pos x="44" y="90"/>
                  </a:cxn>
                  <a:cxn ang="0">
                    <a:pos x="34" y="105"/>
                  </a:cxn>
                  <a:cxn ang="0">
                    <a:pos x="36" y="113"/>
                  </a:cxn>
                  <a:cxn ang="0">
                    <a:pos x="42" y="120"/>
                  </a:cxn>
                  <a:cxn ang="0">
                    <a:pos x="53" y="124"/>
                  </a:cxn>
                  <a:cxn ang="0">
                    <a:pos x="68" y="126"/>
                  </a:cxn>
                  <a:cxn ang="0">
                    <a:pos x="80" y="125"/>
                  </a:cxn>
                  <a:cxn ang="0">
                    <a:pos x="91" y="123"/>
                  </a:cxn>
                  <a:cxn ang="0">
                    <a:pos x="103" y="120"/>
                  </a:cxn>
                  <a:cxn ang="0">
                    <a:pos x="113" y="117"/>
                  </a:cxn>
                  <a:cxn ang="0">
                    <a:pos x="113" y="143"/>
                  </a:cxn>
                  <a:cxn ang="0">
                    <a:pos x="102" y="146"/>
                  </a:cxn>
                </a:cxnLst>
                <a:rect l="0" t="0" r="r" b="b"/>
                <a:pathLst>
                  <a:path w="113" h="151">
                    <a:moveTo>
                      <a:pt x="102" y="146"/>
                    </a:moveTo>
                    <a:cubicBezTo>
                      <a:pt x="98" y="147"/>
                      <a:pt x="93" y="148"/>
                      <a:pt x="89" y="148"/>
                    </a:cubicBezTo>
                    <a:cubicBezTo>
                      <a:pt x="85" y="149"/>
                      <a:pt x="80" y="150"/>
                      <a:pt x="75" y="150"/>
                    </a:cubicBezTo>
                    <a:cubicBezTo>
                      <a:pt x="70" y="150"/>
                      <a:pt x="66" y="151"/>
                      <a:pt x="61" y="151"/>
                    </a:cubicBezTo>
                    <a:cubicBezTo>
                      <a:pt x="51" y="151"/>
                      <a:pt x="43" y="150"/>
                      <a:pt x="35" y="148"/>
                    </a:cubicBezTo>
                    <a:cubicBezTo>
                      <a:pt x="28" y="146"/>
                      <a:pt x="21" y="143"/>
                      <a:pt x="16" y="140"/>
                    </a:cubicBezTo>
                    <a:cubicBezTo>
                      <a:pt x="11" y="136"/>
                      <a:pt x="7" y="132"/>
                      <a:pt x="4" y="126"/>
                    </a:cubicBezTo>
                    <a:cubicBezTo>
                      <a:pt x="2" y="121"/>
                      <a:pt x="0" y="116"/>
                      <a:pt x="0" y="109"/>
                    </a:cubicBezTo>
                    <a:cubicBezTo>
                      <a:pt x="0" y="104"/>
                      <a:pt x="1" y="99"/>
                      <a:pt x="3" y="95"/>
                    </a:cubicBezTo>
                    <a:cubicBezTo>
                      <a:pt x="5" y="91"/>
                      <a:pt x="7" y="87"/>
                      <a:pt x="10" y="84"/>
                    </a:cubicBezTo>
                    <a:cubicBezTo>
                      <a:pt x="13" y="81"/>
                      <a:pt x="17" y="78"/>
                      <a:pt x="21" y="76"/>
                    </a:cubicBezTo>
                    <a:cubicBezTo>
                      <a:pt x="25" y="74"/>
                      <a:pt x="30" y="73"/>
                      <a:pt x="35" y="72"/>
                    </a:cubicBezTo>
                    <a:cubicBezTo>
                      <a:pt x="35" y="71"/>
                      <a:pt x="35" y="71"/>
                      <a:pt x="35" y="71"/>
                    </a:cubicBezTo>
                    <a:cubicBezTo>
                      <a:pt x="31" y="71"/>
                      <a:pt x="27" y="69"/>
                      <a:pt x="24" y="68"/>
                    </a:cubicBezTo>
                    <a:cubicBezTo>
                      <a:pt x="20" y="66"/>
                      <a:pt x="17" y="64"/>
                      <a:pt x="15" y="61"/>
                    </a:cubicBezTo>
                    <a:cubicBezTo>
                      <a:pt x="12" y="58"/>
                      <a:pt x="10" y="55"/>
                      <a:pt x="8" y="51"/>
                    </a:cubicBezTo>
                    <a:cubicBezTo>
                      <a:pt x="7" y="48"/>
                      <a:pt x="6" y="44"/>
                      <a:pt x="6" y="39"/>
                    </a:cubicBezTo>
                    <a:cubicBezTo>
                      <a:pt x="6" y="33"/>
                      <a:pt x="7" y="27"/>
                      <a:pt x="10" y="22"/>
                    </a:cubicBezTo>
                    <a:cubicBezTo>
                      <a:pt x="14" y="17"/>
                      <a:pt x="18" y="13"/>
                      <a:pt x="23" y="10"/>
                    </a:cubicBezTo>
                    <a:cubicBezTo>
                      <a:pt x="29" y="6"/>
                      <a:pt x="35" y="4"/>
                      <a:pt x="42" y="2"/>
                    </a:cubicBezTo>
                    <a:cubicBezTo>
                      <a:pt x="49" y="1"/>
                      <a:pt x="57" y="0"/>
                      <a:pt x="65" y="0"/>
                    </a:cubicBezTo>
                    <a:cubicBezTo>
                      <a:pt x="72" y="0"/>
                      <a:pt x="79" y="0"/>
                      <a:pt x="86" y="2"/>
                    </a:cubicBezTo>
                    <a:cubicBezTo>
                      <a:pt x="94" y="3"/>
                      <a:pt x="100" y="4"/>
                      <a:pt x="107" y="6"/>
                    </a:cubicBezTo>
                    <a:cubicBezTo>
                      <a:pt x="107" y="33"/>
                      <a:pt x="107" y="33"/>
                      <a:pt x="107" y="33"/>
                    </a:cubicBezTo>
                    <a:cubicBezTo>
                      <a:pt x="104" y="32"/>
                      <a:pt x="101" y="31"/>
                      <a:pt x="97" y="30"/>
                    </a:cubicBezTo>
                    <a:cubicBezTo>
                      <a:pt x="94" y="29"/>
                      <a:pt x="91" y="28"/>
                      <a:pt x="87" y="27"/>
                    </a:cubicBezTo>
                    <a:cubicBezTo>
                      <a:pt x="84" y="26"/>
                      <a:pt x="81" y="26"/>
                      <a:pt x="77" y="25"/>
                    </a:cubicBezTo>
                    <a:cubicBezTo>
                      <a:pt x="74" y="25"/>
                      <a:pt x="71" y="25"/>
                      <a:pt x="68" y="25"/>
                    </a:cubicBezTo>
                    <a:cubicBezTo>
                      <a:pt x="64" y="25"/>
                      <a:pt x="60" y="25"/>
                      <a:pt x="56" y="26"/>
                    </a:cubicBezTo>
                    <a:cubicBezTo>
                      <a:pt x="53" y="27"/>
                      <a:pt x="50" y="28"/>
                      <a:pt x="47" y="29"/>
                    </a:cubicBezTo>
                    <a:cubicBezTo>
                      <a:pt x="44" y="31"/>
                      <a:pt x="42" y="33"/>
                      <a:pt x="41" y="35"/>
                    </a:cubicBezTo>
                    <a:cubicBezTo>
                      <a:pt x="40" y="37"/>
                      <a:pt x="39" y="39"/>
                      <a:pt x="39" y="42"/>
                    </a:cubicBezTo>
                    <a:cubicBezTo>
                      <a:pt x="39" y="46"/>
                      <a:pt x="40" y="49"/>
                      <a:pt x="42" y="51"/>
                    </a:cubicBezTo>
                    <a:cubicBezTo>
                      <a:pt x="44" y="54"/>
                      <a:pt x="46" y="56"/>
                      <a:pt x="49" y="57"/>
                    </a:cubicBezTo>
                    <a:cubicBezTo>
                      <a:pt x="52" y="59"/>
                      <a:pt x="56" y="60"/>
                      <a:pt x="60" y="61"/>
                    </a:cubicBezTo>
                    <a:cubicBezTo>
                      <a:pt x="64" y="62"/>
                      <a:pt x="69" y="62"/>
                      <a:pt x="73" y="62"/>
                    </a:cubicBezTo>
                    <a:cubicBezTo>
                      <a:pt x="74" y="62"/>
                      <a:pt x="76" y="62"/>
                      <a:pt x="78" y="62"/>
                    </a:cubicBezTo>
                    <a:cubicBezTo>
                      <a:pt x="80" y="62"/>
                      <a:pt x="82" y="62"/>
                      <a:pt x="84" y="62"/>
                    </a:cubicBezTo>
                    <a:cubicBezTo>
                      <a:pt x="86" y="62"/>
                      <a:pt x="88" y="62"/>
                      <a:pt x="90" y="62"/>
                    </a:cubicBezTo>
                    <a:cubicBezTo>
                      <a:pt x="92" y="61"/>
                      <a:pt x="93" y="61"/>
                      <a:pt x="94" y="61"/>
                    </a:cubicBezTo>
                    <a:cubicBezTo>
                      <a:pt x="94" y="86"/>
                      <a:pt x="94" y="86"/>
                      <a:pt x="94" y="86"/>
                    </a:cubicBezTo>
                    <a:cubicBezTo>
                      <a:pt x="93" y="85"/>
                      <a:pt x="90" y="85"/>
                      <a:pt x="87" y="85"/>
                    </a:cubicBezTo>
                    <a:cubicBezTo>
                      <a:pt x="83" y="85"/>
                      <a:pt x="79" y="85"/>
                      <a:pt x="74" y="85"/>
                    </a:cubicBezTo>
                    <a:cubicBezTo>
                      <a:pt x="61" y="85"/>
                      <a:pt x="51" y="86"/>
                      <a:pt x="44" y="90"/>
                    </a:cubicBezTo>
                    <a:cubicBezTo>
                      <a:pt x="37" y="93"/>
                      <a:pt x="34" y="98"/>
                      <a:pt x="34" y="105"/>
                    </a:cubicBezTo>
                    <a:cubicBezTo>
                      <a:pt x="34" y="108"/>
                      <a:pt x="35" y="111"/>
                      <a:pt x="36" y="113"/>
                    </a:cubicBezTo>
                    <a:cubicBezTo>
                      <a:pt x="37" y="116"/>
                      <a:pt x="39" y="118"/>
                      <a:pt x="42" y="120"/>
                    </a:cubicBezTo>
                    <a:cubicBezTo>
                      <a:pt x="45" y="122"/>
                      <a:pt x="48" y="123"/>
                      <a:pt x="53" y="124"/>
                    </a:cubicBezTo>
                    <a:cubicBezTo>
                      <a:pt x="57" y="125"/>
                      <a:pt x="62" y="126"/>
                      <a:pt x="68" y="126"/>
                    </a:cubicBezTo>
                    <a:cubicBezTo>
                      <a:pt x="72" y="126"/>
                      <a:pt x="76" y="126"/>
                      <a:pt x="80" y="125"/>
                    </a:cubicBezTo>
                    <a:cubicBezTo>
                      <a:pt x="84" y="125"/>
                      <a:pt x="88" y="124"/>
                      <a:pt x="91" y="123"/>
                    </a:cubicBezTo>
                    <a:cubicBezTo>
                      <a:pt x="95" y="122"/>
                      <a:pt x="99" y="122"/>
                      <a:pt x="103" y="120"/>
                    </a:cubicBezTo>
                    <a:cubicBezTo>
                      <a:pt x="106" y="119"/>
                      <a:pt x="110" y="118"/>
                      <a:pt x="113" y="117"/>
                    </a:cubicBezTo>
                    <a:cubicBezTo>
                      <a:pt x="113" y="143"/>
                      <a:pt x="113" y="143"/>
                      <a:pt x="113" y="143"/>
                    </a:cubicBezTo>
                    <a:cubicBezTo>
                      <a:pt x="109" y="144"/>
                      <a:pt x="106" y="145"/>
                      <a:pt x="102" y="1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27" name="Freeform 23"/>
              <p:cNvSpPr>
                <a:spLocks/>
              </p:cNvSpPr>
              <p:nvPr/>
            </p:nvSpPr>
            <p:spPr bwMode="black">
              <a:xfrm>
                <a:off x="7778428" y="5012890"/>
                <a:ext cx="123701" cy="118943"/>
              </a:xfrm>
              <a:custGeom>
                <a:avLst/>
                <a:gdLst/>
                <a:ahLst/>
                <a:cxnLst>
                  <a:cxn ang="0">
                    <a:pos x="20" y="0"/>
                  </a:cxn>
                  <a:cxn ang="0">
                    <a:pos x="44" y="8"/>
                  </a:cxn>
                  <a:cxn ang="0">
                    <a:pos x="51" y="35"/>
                  </a:cxn>
                  <a:cxn ang="0">
                    <a:pos x="51" y="79"/>
                  </a:cxn>
                  <a:cxn ang="0">
                    <a:pos x="60" y="111"/>
                  </a:cxn>
                  <a:cxn ang="0">
                    <a:pos x="87" y="121"/>
                  </a:cxn>
                  <a:cxn ang="0">
                    <a:pos x="101" y="118"/>
                  </a:cxn>
                  <a:cxn ang="0">
                    <a:pos x="112" y="110"/>
                  </a:cxn>
                  <a:cxn ang="0">
                    <a:pos x="119" y="97"/>
                  </a:cxn>
                  <a:cxn ang="0">
                    <a:pos x="121" y="77"/>
                  </a:cxn>
                  <a:cxn ang="0">
                    <a:pos x="117" y="38"/>
                  </a:cxn>
                  <a:cxn ang="0">
                    <a:pos x="104" y="0"/>
                  </a:cxn>
                  <a:cxn ang="0">
                    <a:pos x="138" y="0"/>
                  </a:cxn>
                  <a:cxn ang="0">
                    <a:pos x="150" y="37"/>
                  </a:cxn>
                  <a:cxn ang="0">
                    <a:pos x="154" y="75"/>
                  </a:cxn>
                  <a:cxn ang="0">
                    <a:pos x="150" y="106"/>
                  </a:cxn>
                  <a:cxn ang="0">
                    <a:pos x="136" y="129"/>
                  </a:cxn>
                  <a:cxn ang="0">
                    <a:pos x="114" y="143"/>
                  </a:cxn>
                  <a:cxn ang="0">
                    <a:pos x="86" y="148"/>
                  </a:cxn>
                  <a:cxn ang="0">
                    <a:pos x="54" y="142"/>
                  </a:cxn>
                  <a:cxn ang="0">
                    <a:pos x="34" y="128"/>
                  </a:cxn>
                  <a:cxn ang="0">
                    <a:pos x="22" y="107"/>
                  </a:cxn>
                  <a:cxn ang="0">
                    <a:pos x="18" y="82"/>
                  </a:cxn>
                  <a:cxn ang="0">
                    <a:pos x="18" y="45"/>
                  </a:cxn>
                  <a:cxn ang="0">
                    <a:pos x="16" y="30"/>
                  </a:cxn>
                  <a:cxn ang="0">
                    <a:pos x="8" y="25"/>
                  </a:cxn>
                  <a:cxn ang="0">
                    <a:pos x="4" y="26"/>
                  </a:cxn>
                  <a:cxn ang="0">
                    <a:pos x="0" y="26"/>
                  </a:cxn>
                  <a:cxn ang="0">
                    <a:pos x="0" y="3"/>
                  </a:cxn>
                  <a:cxn ang="0">
                    <a:pos x="8" y="0"/>
                  </a:cxn>
                  <a:cxn ang="0">
                    <a:pos x="20" y="0"/>
                  </a:cxn>
                </a:cxnLst>
                <a:rect l="0" t="0" r="r" b="b"/>
                <a:pathLst>
                  <a:path w="154" h="148">
                    <a:moveTo>
                      <a:pt x="20" y="0"/>
                    </a:moveTo>
                    <a:cubicBezTo>
                      <a:pt x="31" y="0"/>
                      <a:pt x="39" y="2"/>
                      <a:pt x="44" y="8"/>
                    </a:cubicBezTo>
                    <a:cubicBezTo>
                      <a:pt x="49" y="14"/>
                      <a:pt x="51" y="23"/>
                      <a:pt x="51" y="35"/>
                    </a:cubicBezTo>
                    <a:cubicBezTo>
                      <a:pt x="51" y="79"/>
                      <a:pt x="51" y="79"/>
                      <a:pt x="51" y="79"/>
                    </a:cubicBezTo>
                    <a:cubicBezTo>
                      <a:pt x="51" y="93"/>
                      <a:pt x="54" y="104"/>
                      <a:pt x="60" y="111"/>
                    </a:cubicBezTo>
                    <a:cubicBezTo>
                      <a:pt x="66" y="118"/>
                      <a:pt x="75" y="121"/>
                      <a:pt x="87" y="121"/>
                    </a:cubicBezTo>
                    <a:cubicBezTo>
                      <a:pt x="92" y="121"/>
                      <a:pt x="97" y="120"/>
                      <a:pt x="101" y="118"/>
                    </a:cubicBezTo>
                    <a:cubicBezTo>
                      <a:pt x="105" y="117"/>
                      <a:pt x="109" y="114"/>
                      <a:pt x="112" y="110"/>
                    </a:cubicBezTo>
                    <a:cubicBezTo>
                      <a:pt x="115" y="107"/>
                      <a:pt x="117" y="102"/>
                      <a:pt x="119" y="97"/>
                    </a:cubicBezTo>
                    <a:cubicBezTo>
                      <a:pt x="120" y="91"/>
                      <a:pt x="121" y="85"/>
                      <a:pt x="121" y="77"/>
                    </a:cubicBezTo>
                    <a:cubicBezTo>
                      <a:pt x="121" y="64"/>
                      <a:pt x="120" y="51"/>
                      <a:pt x="117" y="38"/>
                    </a:cubicBezTo>
                    <a:cubicBezTo>
                      <a:pt x="114" y="25"/>
                      <a:pt x="109" y="13"/>
                      <a:pt x="104" y="0"/>
                    </a:cubicBezTo>
                    <a:cubicBezTo>
                      <a:pt x="138" y="0"/>
                      <a:pt x="138" y="0"/>
                      <a:pt x="138" y="0"/>
                    </a:cubicBezTo>
                    <a:cubicBezTo>
                      <a:pt x="144" y="12"/>
                      <a:pt x="148" y="24"/>
                      <a:pt x="150" y="37"/>
                    </a:cubicBezTo>
                    <a:cubicBezTo>
                      <a:pt x="153" y="49"/>
                      <a:pt x="154" y="62"/>
                      <a:pt x="154" y="75"/>
                    </a:cubicBezTo>
                    <a:cubicBezTo>
                      <a:pt x="154" y="87"/>
                      <a:pt x="153" y="97"/>
                      <a:pt x="150" y="106"/>
                    </a:cubicBezTo>
                    <a:cubicBezTo>
                      <a:pt x="147" y="115"/>
                      <a:pt x="142" y="123"/>
                      <a:pt x="136" y="129"/>
                    </a:cubicBezTo>
                    <a:cubicBezTo>
                      <a:pt x="130" y="135"/>
                      <a:pt x="123" y="140"/>
                      <a:pt x="114" y="143"/>
                    </a:cubicBezTo>
                    <a:cubicBezTo>
                      <a:pt x="106" y="146"/>
                      <a:pt x="96" y="148"/>
                      <a:pt x="86" y="148"/>
                    </a:cubicBezTo>
                    <a:cubicBezTo>
                      <a:pt x="73" y="148"/>
                      <a:pt x="63" y="146"/>
                      <a:pt x="54" y="142"/>
                    </a:cubicBezTo>
                    <a:cubicBezTo>
                      <a:pt x="46" y="139"/>
                      <a:pt x="39" y="134"/>
                      <a:pt x="34" y="128"/>
                    </a:cubicBezTo>
                    <a:cubicBezTo>
                      <a:pt x="28" y="122"/>
                      <a:pt x="24" y="115"/>
                      <a:pt x="22" y="107"/>
                    </a:cubicBezTo>
                    <a:cubicBezTo>
                      <a:pt x="20" y="99"/>
                      <a:pt x="18" y="91"/>
                      <a:pt x="18" y="82"/>
                    </a:cubicBezTo>
                    <a:cubicBezTo>
                      <a:pt x="18" y="45"/>
                      <a:pt x="18" y="45"/>
                      <a:pt x="18" y="45"/>
                    </a:cubicBezTo>
                    <a:cubicBezTo>
                      <a:pt x="18" y="38"/>
                      <a:pt x="18" y="33"/>
                      <a:pt x="16" y="30"/>
                    </a:cubicBezTo>
                    <a:cubicBezTo>
                      <a:pt x="14" y="27"/>
                      <a:pt x="11" y="25"/>
                      <a:pt x="8" y="25"/>
                    </a:cubicBezTo>
                    <a:cubicBezTo>
                      <a:pt x="7" y="25"/>
                      <a:pt x="5" y="25"/>
                      <a:pt x="4" y="26"/>
                    </a:cubicBezTo>
                    <a:cubicBezTo>
                      <a:pt x="3" y="26"/>
                      <a:pt x="1" y="26"/>
                      <a:pt x="0" y="26"/>
                    </a:cubicBezTo>
                    <a:cubicBezTo>
                      <a:pt x="0" y="3"/>
                      <a:pt x="0" y="3"/>
                      <a:pt x="0" y="3"/>
                    </a:cubicBezTo>
                    <a:cubicBezTo>
                      <a:pt x="2" y="2"/>
                      <a:pt x="5" y="1"/>
                      <a:pt x="8" y="0"/>
                    </a:cubicBezTo>
                    <a:cubicBezTo>
                      <a:pt x="11" y="0"/>
                      <a:pt x="15" y="0"/>
                      <a:pt x="20"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28" name="Freeform 24"/>
              <p:cNvSpPr>
                <a:spLocks/>
              </p:cNvSpPr>
              <p:nvPr/>
            </p:nvSpPr>
            <p:spPr bwMode="black">
              <a:xfrm>
                <a:off x="7904508" y="5010511"/>
                <a:ext cx="126080" cy="171618"/>
              </a:xfrm>
              <a:custGeom>
                <a:avLst/>
                <a:gdLst/>
                <a:ahLst/>
                <a:cxnLst>
                  <a:cxn ang="0">
                    <a:pos x="151" y="214"/>
                  </a:cxn>
                  <a:cxn ang="0">
                    <a:pos x="142" y="214"/>
                  </a:cxn>
                  <a:cxn ang="0">
                    <a:pos x="127" y="212"/>
                  </a:cxn>
                  <a:cxn ang="0">
                    <a:pos x="115" y="204"/>
                  </a:cxn>
                  <a:cxn ang="0">
                    <a:pos x="105" y="190"/>
                  </a:cxn>
                  <a:cxn ang="0">
                    <a:pos x="95" y="170"/>
                  </a:cxn>
                  <a:cxn ang="0">
                    <a:pos x="77" y="128"/>
                  </a:cxn>
                  <a:cxn ang="0">
                    <a:pos x="36" y="212"/>
                  </a:cxn>
                  <a:cxn ang="0">
                    <a:pos x="0" y="212"/>
                  </a:cxn>
                  <a:cxn ang="0">
                    <a:pos x="63" y="99"/>
                  </a:cxn>
                  <a:cxn ang="0">
                    <a:pos x="41" y="51"/>
                  </a:cxn>
                  <a:cxn ang="0">
                    <a:pos x="30" y="32"/>
                  </a:cxn>
                  <a:cxn ang="0">
                    <a:pos x="18" y="26"/>
                  </a:cxn>
                  <a:cxn ang="0">
                    <a:pos x="9" y="28"/>
                  </a:cxn>
                  <a:cxn ang="0">
                    <a:pos x="9" y="2"/>
                  </a:cxn>
                  <a:cxn ang="0">
                    <a:pos x="16" y="0"/>
                  </a:cxn>
                  <a:cxn ang="0">
                    <a:pos x="24" y="0"/>
                  </a:cxn>
                  <a:cxn ang="0">
                    <a:pos x="37" y="2"/>
                  </a:cxn>
                  <a:cxn ang="0">
                    <a:pos x="47" y="7"/>
                  </a:cxn>
                  <a:cxn ang="0">
                    <a:pos x="55" y="16"/>
                  </a:cxn>
                  <a:cxn ang="0">
                    <a:pos x="63" y="30"/>
                  </a:cxn>
                  <a:cxn ang="0">
                    <a:pos x="80" y="71"/>
                  </a:cxn>
                  <a:cxn ang="0">
                    <a:pos x="112" y="3"/>
                  </a:cxn>
                  <a:cxn ang="0">
                    <a:pos x="148" y="3"/>
                  </a:cxn>
                  <a:cxn ang="0">
                    <a:pos x="95" y="100"/>
                  </a:cxn>
                  <a:cxn ang="0">
                    <a:pos x="122" y="161"/>
                  </a:cxn>
                  <a:cxn ang="0">
                    <a:pos x="134" y="181"/>
                  </a:cxn>
                  <a:cxn ang="0">
                    <a:pos x="148" y="188"/>
                  </a:cxn>
                  <a:cxn ang="0">
                    <a:pos x="153" y="188"/>
                  </a:cxn>
                  <a:cxn ang="0">
                    <a:pos x="157" y="187"/>
                  </a:cxn>
                  <a:cxn ang="0">
                    <a:pos x="157" y="212"/>
                  </a:cxn>
                  <a:cxn ang="0">
                    <a:pos x="151" y="214"/>
                  </a:cxn>
                </a:cxnLst>
                <a:rect l="0" t="0" r="r" b="b"/>
                <a:pathLst>
                  <a:path w="157" h="214">
                    <a:moveTo>
                      <a:pt x="151" y="214"/>
                    </a:moveTo>
                    <a:cubicBezTo>
                      <a:pt x="148" y="214"/>
                      <a:pt x="145" y="214"/>
                      <a:pt x="142" y="214"/>
                    </a:cubicBezTo>
                    <a:cubicBezTo>
                      <a:pt x="137" y="214"/>
                      <a:pt x="132" y="214"/>
                      <a:pt x="127" y="212"/>
                    </a:cubicBezTo>
                    <a:cubicBezTo>
                      <a:pt x="123" y="210"/>
                      <a:pt x="119" y="208"/>
                      <a:pt x="115" y="204"/>
                    </a:cubicBezTo>
                    <a:cubicBezTo>
                      <a:pt x="112" y="200"/>
                      <a:pt x="108" y="196"/>
                      <a:pt x="105" y="190"/>
                    </a:cubicBezTo>
                    <a:cubicBezTo>
                      <a:pt x="102" y="185"/>
                      <a:pt x="98" y="178"/>
                      <a:pt x="95" y="170"/>
                    </a:cubicBezTo>
                    <a:cubicBezTo>
                      <a:pt x="77" y="128"/>
                      <a:pt x="77" y="128"/>
                      <a:pt x="77" y="128"/>
                    </a:cubicBezTo>
                    <a:cubicBezTo>
                      <a:pt x="36" y="212"/>
                      <a:pt x="36" y="212"/>
                      <a:pt x="36" y="212"/>
                    </a:cubicBezTo>
                    <a:cubicBezTo>
                      <a:pt x="0" y="212"/>
                      <a:pt x="0" y="212"/>
                      <a:pt x="0" y="212"/>
                    </a:cubicBezTo>
                    <a:cubicBezTo>
                      <a:pt x="63" y="99"/>
                      <a:pt x="63" y="99"/>
                      <a:pt x="63" y="99"/>
                    </a:cubicBezTo>
                    <a:cubicBezTo>
                      <a:pt x="41" y="51"/>
                      <a:pt x="41" y="51"/>
                      <a:pt x="41" y="51"/>
                    </a:cubicBezTo>
                    <a:cubicBezTo>
                      <a:pt x="37" y="42"/>
                      <a:pt x="33" y="36"/>
                      <a:pt x="30" y="32"/>
                    </a:cubicBezTo>
                    <a:cubicBezTo>
                      <a:pt x="27" y="28"/>
                      <a:pt x="23" y="26"/>
                      <a:pt x="18" y="26"/>
                    </a:cubicBezTo>
                    <a:cubicBezTo>
                      <a:pt x="15" y="26"/>
                      <a:pt x="12" y="26"/>
                      <a:pt x="9" y="28"/>
                    </a:cubicBezTo>
                    <a:cubicBezTo>
                      <a:pt x="9" y="2"/>
                      <a:pt x="9" y="2"/>
                      <a:pt x="9" y="2"/>
                    </a:cubicBezTo>
                    <a:cubicBezTo>
                      <a:pt x="11" y="1"/>
                      <a:pt x="13" y="1"/>
                      <a:pt x="16" y="0"/>
                    </a:cubicBezTo>
                    <a:cubicBezTo>
                      <a:pt x="19" y="0"/>
                      <a:pt x="21" y="0"/>
                      <a:pt x="24" y="0"/>
                    </a:cubicBezTo>
                    <a:cubicBezTo>
                      <a:pt x="29" y="0"/>
                      <a:pt x="33" y="0"/>
                      <a:pt x="37" y="2"/>
                    </a:cubicBezTo>
                    <a:cubicBezTo>
                      <a:pt x="40" y="3"/>
                      <a:pt x="44" y="5"/>
                      <a:pt x="47" y="7"/>
                    </a:cubicBezTo>
                    <a:cubicBezTo>
                      <a:pt x="50" y="10"/>
                      <a:pt x="53" y="13"/>
                      <a:pt x="55" y="16"/>
                    </a:cubicBezTo>
                    <a:cubicBezTo>
                      <a:pt x="58" y="20"/>
                      <a:pt x="60" y="25"/>
                      <a:pt x="63" y="30"/>
                    </a:cubicBezTo>
                    <a:cubicBezTo>
                      <a:pt x="80" y="71"/>
                      <a:pt x="80" y="71"/>
                      <a:pt x="80" y="71"/>
                    </a:cubicBezTo>
                    <a:cubicBezTo>
                      <a:pt x="112" y="3"/>
                      <a:pt x="112" y="3"/>
                      <a:pt x="112" y="3"/>
                    </a:cubicBezTo>
                    <a:cubicBezTo>
                      <a:pt x="148" y="3"/>
                      <a:pt x="148" y="3"/>
                      <a:pt x="148" y="3"/>
                    </a:cubicBezTo>
                    <a:cubicBezTo>
                      <a:pt x="95" y="100"/>
                      <a:pt x="95" y="100"/>
                      <a:pt x="95" y="100"/>
                    </a:cubicBezTo>
                    <a:cubicBezTo>
                      <a:pt x="122" y="161"/>
                      <a:pt x="122" y="161"/>
                      <a:pt x="122" y="161"/>
                    </a:cubicBezTo>
                    <a:cubicBezTo>
                      <a:pt x="126" y="169"/>
                      <a:pt x="130" y="176"/>
                      <a:pt x="134" y="181"/>
                    </a:cubicBezTo>
                    <a:cubicBezTo>
                      <a:pt x="138" y="186"/>
                      <a:pt x="143" y="188"/>
                      <a:pt x="148" y="188"/>
                    </a:cubicBezTo>
                    <a:cubicBezTo>
                      <a:pt x="150" y="188"/>
                      <a:pt x="152" y="188"/>
                      <a:pt x="153" y="188"/>
                    </a:cubicBezTo>
                    <a:cubicBezTo>
                      <a:pt x="154" y="188"/>
                      <a:pt x="155" y="187"/>
                      <a:pt x="157" y="187"/>
                    </a:cubicBezTo>
                    <a:cubicBezTo>
                      <a:pt x="157" y="212"/>
                      <a:pt x="157" y="212"/>
                      <a:pt x="157" y="212"/>
                    </a:cubicBezTo>
                    <a:cubicBezTo>
                      <a:pt x="155" y="213"/>
                      <a:pt x="153" y="213"/>
                      <a:pt x="151" y="21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29" name="Freeform 25"/>
              <p:cNvSpPr>
                <a:spLocks noEditPoints="1"/>
              </p:cNvSpPr>
              <p:nvPr/>
            </p:nvSpPr>
            <p:spPr bwMode="black">
              <a:xfrm>
                <a:off x="8026510" y="5010511"/>
                <a:ext cx="131857" cy="121322"/>
              </a:xfrm>
              <a:custGeom>
                <a:avLst/>
                <a:gdLst/>
                <a:ahLst/>
                <a:cxnLst>
                  <a:cxn ang="0">
                    <a:pos x="156" y="148"/>
                  </a:cxn>
                  <a:cxn ang="0">
                    <a:pos x="145" y="149"/>
                  </a:cxn>
                  <a:cxn ang="0">
                    <a:pos x="134" y="147"/>
                  </a:cxn>
                  <a:cxn ang="0">
                    <a:pos x="126" y="140"/>
                  </a:cxn>
                  <a:cxn ang="0">
                    <a:pos x="120" y="128"/>
                  </a:cxn>
                  <a:cxn ang="0">
                    <a:pos x="114" y="109"/>
                  </a:cxn>
                  <a:cxn ang="0">
                    <a:pos x="114" y="109"/>
                  </a:cxn>
                  <a:cxn ang="0">
                    <a:pos x="102" y="128"/>
                  </a:cxn>
                  <a:cxn ang="0">
                    <a:pos x="90" y="141"/>
                  </a:cxn>
                  <a:cxn ang="0">
                    <a:pos x="74" y="148"/>
                  </a:cxn>
                  <a:cxn ang="0">
                    <a:pos x="56" y="151"/>
                  </a:cxn>
                  <a:cxn ang="0">
                    <a:pos x="32" y="145"/>
                  </a:cxn>
                  <a:cxn ang="0">
                    <a:pos x="15" y="131"/>
                  </a:cxn>
                  <a:cxn ang="0">
                    <a:pos x="3" y="109"/>
                  </a:cxn>
                  <a:cxn ang="0">
                    <a:pos x="0" y="80"/>
                  </a:cxn>
                  <a:cxn ang="0">
                    <a:pos x="4" y="48"/>
                  </a:cxn>
                  <a:cxn ang="0">
                    <a:pos x="17" y="23"/>
                  </a:cxn>
                  <a:cxn ang="0">
                    <a:pos x="37" y="6"/>
                  </a:cxn>
                  <a:cxn ang="0">
                    <a:pos x="65" y="0"/>
                  </a:cxn>
                  <a:cxn ang="0">
                    <a:pos x="83" y="2"/>
                  </a:cxn>
                  <a:cxn ang="0">
                    <a:pos x="97" y="10"/>
                  </a:cxn>
                  <a:cxn ang="0">
                    <a:pos x="108" y="21"/>
                  </a:cxn>
                  <a:cxn ang="0">
                    <a:pos x="116" y="37"/>
                  </a:cxn>
                  <a:cxn ang="0">
                    <a:pos x="117" y="37"/>
                  </a:cxn>
                  <a:cxn ang="0">
                    <a:pos x="128" y="3"/>
                  </a:cxn>
                  <a:cxn ang="0">
                    <a:pos x="162" y="3"/>
                  </a:cxn>
                  <a:cxn ang="0">
                    <a:pos x="158" y="12"/>
                  </a:cxn>
                  <a:cxn ang="0">
                    <a:pos x="153" y="24"/>
                  </a:cxn>
                  <a:cxn ang="0">
                    <a:pos x="147" y="39"/>
                  </a:cxn>
                  <a:cxn ang="0">
                    <a:pos x="141" y="54"/>
                  </a:cxn>
                  <a:cxn ang="0">
                    <a:pos x="135" y="67"/>
                  </a:cxn>
                  <a:cxn ang="0">
                    <a:pos x="132" y="76"/>
                  </a:cxn>
                  <a:cxn ang="0">
                    <a:pos x="138" y="99"/>
                  </a:cxn>
                  <a:cxn ang="0">
                    <a:pos x="143" y="114"/>
                  </a:cxn>
                  <a:cxn ang="0">
                    <a:pos x="148" y="121"/>
                  </a:cxn>
                  <a:cxn ang="0">
                    <a:pos x="154" y="123"/>
                  </a:cxn>
                  <a:cxn ang="0">
                    <a:pos x="159" y="123"/>
                  </a:cxn>
                  <a:cxn ang="0">
                    <a:pos x="164" y="121"/>
                  </a:cxn>
                  <a:cxn ang="0">
                    <a:pos x="164" y="146"/>
                  </a:cxn>
                  <a:cxn ang="0">
                    <a:pos x="156" y="148"/>
                  </a:cxn>
                  <a:cxn ang="0">
                    <a:pos x="33" y="78"/>
                  </a:cxn>
                  <a:cxn ang="0">
                    <a:pos x="41" y="113"/>
                  </a:cxn>
                  <a:cxn ang="0">
                    <a:pos x="64" y="125"/>
                  </a:cxn>
                  <a:cxn ang="0">
                    <a:pos x="77" y="121"/>
                  </a:cxn>
                  <a:cxn ang="0">
                    <a:pos x="87" y="112"/>
                  </a:cxn>
                  <a:cxn ang="0">
                    <a:pos x="95" y="98"/>
                  </a:cxn>
                  <a:cxn ang="0">
                    <a:pos x="102" y="82"/>
                  </a:cxn>
                  <a:cxn ang="0">
                    <a:pos x="105" y="74"/>
                  </a:cxn>
                  <a:cxn ang="0">
                    <a:pos x="99" y="54"/>
                  </a:cxn>
                  <a:cxn ang="0">
                    <a:pos x="91" y="39"/>
                  </a:cxn>
                  <a:cxn ang="0">
                    <a:pos x="82" y="29"/>
                  </a:cxn>
                  <a:cxn ang="0">
                    <a:pos x="69" y="26"/>
                  </a:cxn>
                  <a:cxn ang="0">
                    <a:pos x="54" y="29"/>
                  </a:cxn>
                  <a:cxn ang="0">
                    <a:pos x="43" y="40"/>
                  </a:cxn>
                  <a:cxn ang="0">
                    <a:pos x="36" y="57"/>
                  </a:cxn>
                  <a:cxn ang="0">
                    <a:pos x="33" y="78"/>
                  </a:cxn>
                </a:cxnLst>
                <a:rect l="0" t="0" r="r" b="b"/>
                <a:pathLst>
                  <a:path w="164" h="151">
                    <a:moveTo>
                      <a:pt x="156" y="148"/>
                    </a:moveTo>
                    <a:cubicBezTo>
                      <a:pt x="153" y="149"/>
                      <a:pt x="149" y="149"/>
                      <a:pt x="145" y="149"/>
                    </a:cubicBezTo>
                    <a:cubicBezTo>
                      <a:pt x="141" y="149"/>
                      <a:pt x="137" y="148"/>
                      <a:pt x="134" y="147"/>
                    </a:cubicBezTo>
                    <a:cubicBezTo>
                      <a:pt x="131" y="146"/>
                      <a:pt x="129" y="143"/>
                      <a:pt x="126" y="140"/>
                    </a:cubicBezTo>
                    <a:cubicBezTo>
                      <a:pt x="124" y="137"/>
                      <a:pt x="122" y="133"/>
                      <a:pt x="120" y="128"/>
                    </a:cubicBezTo>
                    <a:cubicBezTo>
                      <a:pt x="118" y="123"/>
                      <a:pt x="116" y="117"/>
                      <a:pt x="114" y="109"/>
                    </a:cubicBezTo>
                    <a:cubicBezTo>
                      <a:pt x="114" y="109"/>
                      <a:pt x="114" y="109"/>
                      <a:pt x="114" y="109"/>
                    </a:cubicBezTo>
                    <a:cubicBezTo>
                      <a:pt x="110" y="117"/>
                      <a:pt x="106" y="123"/>
                      <a:pt x="102" y="128"/>
                    </a:cubicBezTo>
                    <a:cubicBezTo>
                      <a:pt x="99" y="133"/>
                      <a:pt x="94" y="137"/>
                      <a:pt x="90" y="141"/>
                    </a:cubicBezTo>
                    <a:cubicBezTo>
                      <a:pt x="85" y="144"/>
                      <a:pt x="80" y="147"/>
                      <a:pt x="74" y="148"/>
                    </a:cubicBezTo>
                    <a:cubicBezTo>
                      <a:pt x="69" y="150"/>
                      <a:pt x="63" y="151"/>
                      <a:pt x="56" y="151"/>
                    </a:cubicBezTo>
                    <a:cubicBezTo>
                      <a:pt x="47" y="151"/>
                      <a:pt x="39" y="149"/>
                      <a:pt x="32" y="145"/>
                    </a:cubicBezTo>
                    <a:cubicBezTo>
                      <a:pt x="25" y="142"/>
                      <a:pt x="19" y="137"/>
                      <a:pt x="15" y="131"/>
                    </a:cubicBezTo>
                    <a:cubicBezTo>
                      <a:pt x="10" y="125"/>
                      <a:pt x="6" y="117"/>
                      <a:pt x="3" y="109"/>
                    </a:cubicBezTo>
                    <a:cubicBezTo>
                      <a:pt x="1" y="100"/>
                      <a:pt x="0" y="91"/>
                      <a:pt x="0" y="80"/>
                    </a:cubicBezTo>
                    <a:cubicBezTo>
                      <a:pt x="0" y="68"/>
                      <a:pt x="1" y="58"/>
                      <a:pt x="4" y="48"/>
                    </a:cubicBezTo>
                    <a:cubicBezTo>
                      <a:pt x="7" y="38"/>
                      <a:pt x="11" y="30"/>
                      <a:pt x="17" y="23"/>
                    </a:cubicBezTo>
                    <a:cubicBezTo>
                      <a:pt x="22" y="15"/>
                      <a:pt x="29" y="10"/>
                      <a:pt x="37" y="6"/>
                    </a:cubicBezTo>
                    <a:cubicBezTo>
                      <a:pt x="45" y="2"/>
                      <a:pt x="54" y="0"/>
                      <a:pt x="65" y="0"/>
                    </a:cubicBezTo>
                    <a:cubicBezTo>
                      <a:pt x="72" y="0"/>
                      <a:pt x="78" y="1"/>
                      <a:pt x="83" y="2"/>
                    </a:cubicBezTo>
                    <a:cubicBezTo>
                      <a:pt x="89" y="4"/>
                      <a:pt x="93" y="7"/>
                      <a:pt x="97" y="10"/>
                    </a:cubicBezTo>
                    <a:cubicBezTo>
                      <a:pt x="102" y="13"/>
                      <a:pt x="105" y="17"/>
                      <a:pt x="108" y="21"/>
                    </a:cubicBezTo>
                    <a:cubicBezTo>
                      <a:pt x="111" y="26"/>
                      <a:pt x="114" y="31"/>
                      <a:pt x="116" y="37"/>
                    </a:cubicBezTo>
                    <a:cubicBezTo>
                      <a:pt x="117" y="37"/>
                      <a:pt x="117" y="37"/>
                      <a:pt x="117" y="37"/>
                    </a:cubicBezTo>
                    <a:cubicBezTo>
                      <a:pt x="128" y="3"/>
                      <a:pt x="128" y="3"/>
                      <a:pt x="128" y="3"/>
                    </a:cubicBezTo>
                    <a:cubicBezTo>
                      <a:pt x="162" y="3"/>
                      <a:pt x="162" y="3"/>
                      <a:pt x="162" y="3"/>
                    </a:cubicBezTo>
                    <a:cubicBezTo>
                      <a:pt x="161" y="5"/>
                      <a:pt x="160" y="8"/>
                      <a:pt x="158" y="12"/>
                    </a:cubicBezTo>
                    <a:cubicBezTo>
                      <a:pt x="157" y="15"/>
                      <a:pt x="155" y="20"/>
                      <a:pt x="153" y="24"/>
                    </a:cubicBezTo>
                    <a:cubicBezTo>
                      <a:pt x="151" y="29"/>
                      <a:pt x="149" y="34"/>
                      <a:pt x="147" y="39"/>
                    </a:cubicBezTo>
                    <a:cubicBezTo>
                      <a:pt x="145" y="44"/>
                      <a:pt x="143" y="49"/>
                      <a:pt x="141" y="54"/>
                    </a:cubicBezTo>
                    <a:cubicBezTo>
                      <a:pt x="139" y="59"/>
                      <a:pt x="137" y="63"/>
                      <a:pt x="135" y="67"/>
                    </a:cubicBezTo>
                    <a:cubicBezTo>
                      <a:pt x="134" y="71"/>
                      <a:pt x="133" y="74"/>
                      <a:pt x="132" y="76"/>
                    </a:cubicBezTo>
                    <a:cubicBezTo>
                      <a:pt x="134" y="85"/>
                      <a:pt x="136" y="93"/>
                      <a:pt x="138" y="99"/>
                    </a:cubicBezTo>
                    <a:cubicBezTo>
                      <a:pt x="139" y="105"/>
                      <a:pt x="141" y="110"/>
                      <a:pt x="143" y="114"/>
                    </a:cubicBezTo>
                    <a:cubicBezTo>
                      <a:pt x="145" y="117"/>
                      <a:pt x="146" y="120"/>
                      <a:pt x="148" y="121"/>
                    </a:cubicBezTo>
                    <a:cubicBezTo>
                      <a:pt x="150" y="123"/>
                      <a:pt x="152" y="123"/>
                      <a:pt x="154" y="123"/>
                    </a:cubicBezTo>
                    <a:cubicBezTo>
                      <a:pt x="155" y="123"/>
                      <a:pt x="157" y="123"/>
                      <a:pt x="159" y="123"/>
                    </a:cubicBezTo>
                    <a:cubicBezTo>
                      <a:pt x="160" y="123"/>
                      <a:pt x="162" y="122"/>
                      <a:pt x="164" y="121"/>
                    </a:cubicBezTo>
                    <a:cubicBezTo>
                      <a:pt x="164" y="146"/>
                      <a:pt x="164" y="146"/>
                      <a:pt x="164" y="146"/>
                    </a:cubicBezTo>
                    <a:cubicBezTo>
                      <a:pt x="162" y="147"/>
                      <a:pt x="159" y="147"/>
                      <a:pt x="156" y="148"/>
                    </a:cubicBezTo>
                    <a:close/>
                    <a:moveTo>
                      <a:pt x="33" y="78"/>
                    </a:moveTo>
                    <a:cubicBezTo>
                      <a:pt x="33" y="94"/>
                      <a:pt x="36" y="105"/>
                      <a:pt x="41" y="113"/>
                    </a:cubicBezTo>
                    <a:cubicBezTo>
                      <a:pt x="47" y="121"/>
                      <a:pt x="55" y="125"/>
                      <a:pt x="64" y="125"/>
                    </a:cubicBezTo>
                    <a:cubicBezTo>
                      <a:pt x="69" y="125"/>
                      <a:pt x="73" y="123"/>
                      <a:pt x="77" y="121"/>
                    </a:cubicBezTo>
                    <a:cubicBezTo>
                      <a:pt x="80" y="119"/>
                      <a:pt x="84" y="116"/>
                      <a:pt x="87" y="112"/>
                    </a:cubicBezTo>
                    <a:cubicBezTo>
                      <a:pt x="90" y="108"/>
                      <a:pt x="93" y="103"/>
                      <a:pt x="95" y="98"/>
                    </a:cubicBezTo>
                    <a:cubicBezTo>
                      <a:pt x="98" y="93"/>
                      <a:pt x="100" y="88"/>
                      <a:pt x="102" y="82"/>
                    </a:cubicBezTo>
                    <a:cubicBezTo>
                      <a:pt x="105" y="74"/>
                      <a:pt x="105" y="74"/>
                      <a:pt x="105" y="74"/>
                    </a:cubicBezTo>
                    <a:cubicBezTo>
                      <a:pt x="103" y="67"/>
                      <a:pt x="101" y="60"/>
                      <a:pt x="99" y="54"/>
                    </a:cubicBezTo>
                    <a:cubicBezTo>
                      <a:pt x="97" y="48"/>
                      <a:pt x="94" y="43"/>
                      <a:pt x="91" y="39"/>
                    </a:cubicBezTo>
                    <a:cubicBezTo>
                      <a:pt x="89" y="35"/>
                      <a:pt x="85" y="32"/>
                      <a:pt x="82" y="29"/>
                    </a:cubicBezTo>
                    <a:cubicBezTo>
                      <a:pt x="78" y="27"/>
                      <a:pt x="74" y="26"/>
                      <a:pt x="69" y="26"/>
                    </a:cubicBezTo>
                    <a:cubicBezTo>
                      <a:pt x="64" y="26"/>
                      <a:pt x="59" y="27"/>
                      <a:pt x="54" y="29"/>
                    </a:cubicBezTo>
                    <a:cubicBezTo>
                      <a:pt x="50" y="32"/>
                      <a:pt x="46" y="35"/>
                      <a:pt x="43" y="40"/>
                    </a:cubicBezTo>
                    <a:cubicBezTo>
                      <a:pt x="40" y="44"/>
                      <a:pt x="37" y="50"/>
                      <a:pt x="36" y="57"/>
                    </a:cubicBezTo>
                    <a:cubicBezTo>
                      <a:pt x="34" y="63"/>
                      <a:pt x="33" y="70"/>
                      <a:pt x="33" y="7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30" name="Freeform 26"/>
              <p:cNvSpPr>
                <a:spLocks noEditPoints="1"/>
              </p:cNvSpPr>
              <p:nvPr/>
            </p:nvSpPr>
            <p:spPr bwMode="black">
              <a:xfrm>
                <a:off x="8170941" y="5010511"/>
                <a:ext cx="113166" cy="162783"/>
              </a:xfrm>
              <a:custGeom>
                <a:avLst/>
                <a:gdLst/>
                <a:ahLst/>
                <a:cxnLst>
                  <a:cxn ang="0">
                    <a:pos x="141" y="73"/>
                  </a:cxn>
                  <a:cxn ang="0">
                    <a:pos x="136" y="105"/>
                  </a:cxn>
                  <a:cxn ang="0">
                    <a:pos x="123" y="129"/>
                  </a:cxn>
                  <a:cxn ang="0">
                    <a:pos x="103" y="145"/>
                  </a:cxn>
                  <a:cxn ang="0">
                    <a:pos x="76" y="151"/>
                  </a:cxn>
                  <a:cxn ang="0">
                    <a:pos x="50" y="146"/>
                  </a:cxn>
                  <a:cxn ang="0">
                    <a:pos x="32" y="135"/>
                  </a:cxn>
                  <a:cxn ang="0">
                    <a:pos x="32" y="135"/>
                  </a:cxn>
                  <a:cxn ang="0">
                    <a:pos x="32" y="203"/>
                  </a:cxn>
                  <a:cxn ang="0">
                    <a:pos x="0" y="203"/>
                  </a:cxn>
                  <a:cxn ang="0">
                    <a:pos x="0" y="74"/>
                  </a:cxn>
                  <a:cxn ang="0">
                    <a:pos x="4" y="44"/>
                  </a:cxn>
                  <a:cxn ang="0">
                    <a:pos x="17" y="20"/>
                  </a:cxn>
                  <a:cxn ang="0">
                    <a:pos x="39" y="5"/>
                  </a:cxn>
                  <a:cxn ang="0">
                    <a:pos x="70" y="0"/>
                  </a:cxn>
                  <a:cxn ang="0">
                    <a:pos x="100" y="5"/>
                  </a:cxn>
                  <a:cxn ang="0">
                    <a:pos x="123" y="21"/>
                  </a:cxn>
                  <a:cxn ang="0">
                    <a:pos x="136" y="44"/>
                  </a:cxn>
                  <a:cxn ang="0">
                    <a:pos x="141" y="73"/>
                  </a:cxn>
                  <a:cxn ang="0">
                    <a:pos x="107" y="73"/>
                  </a:cxn>
                  <a:cxn ang="0">
                    <a:pos x="105" y="54"/>
                  </a:cxn>
                  <a:cxn ang="0">
                    <a:pos x="97" y="39"/>
                  </a:cxn>
                  <a:cxn ang="0">
                    <a:pos x="85" y="30"/>
                  </a:cxn>
                  <a:cxn ang="0">
                    <a:pos x="69" y="26"/>
                  </a:cxn>
                  <a:cxn ang="0">
                    <a:pos x="52" y="30"/>
                  </a:cxn>
                  <a:cxn ang="0">
                    <a:pos x="40" y="40"/>
                  </a:cxn>
                  <a:cxn ang="0">
                    <a:pos x="34" y="53"/>
                  </a:cxn>
                  <a:cxn ang="0">
                    <a:pos x="32" y="70"/>
                  </a:cxn>
                  <a:cxn ang="0">
                    <a:pos x="32" y="108"/>
                  </a:cxn>
                  <a:cxn ang="0">
                    <a:pos x="39" y="114"/>
                  </a:cxn>
                  <a:cxn ang="0">
                    <a:pos x="48" y="120"/>
                  </a:cxn>
                  <a:cxn ang="0">
                    <a:pos x="58" y="123"/>
                  </a:cxn>
                  <a:cxn ang="0">
                    <a:pos x="68" y="124"/>
                  </a:cxn>
                  <a:cxn ang="0">
                    <a:pos x="97" y="111"/>
                  </a:cxn>
                  <a:cxn ang="0">
                    <a:pos x="107" y="73"/>
                  </a:cxn>
                </a:cxnLst>
                <a:rect l="0" t="0" r="r" b="b"/>
                <a:pathLst>
                  <a:path w="141" h="203">
                    <a:moveTo>
                      <a:pt x="141" y="73"/>
                    </a:moveTo>
                    <a:cubicBezTo>
                      <a:pt x="141" y="85"/>
                      <a:pt x="139" y="95"/>
                      <a:pt x="136" y="105"/>
                    </a:cubicBezTo>
                    <a:cubicBezTo>
                      <a:pt x="133" y="114"/>
                      <a:pt x="129" y="123"/>
                      <a:pt x="123" y="129"/>
                    </a:cubicBezTo>
                    <a:cubicBezTo>
                      <a:pt x="117" y="136"/>
                      <a:pt x="111" y="141"/>
                      <a:pt x="103" y="145"/>
                    </a:cubicBezTo>
                    <a:cubicBezTo>
                      <a:pt x="94" y="149"/>
                      <a:pt x="85" y="151"/>
                      <a:pt x="76" y="151"/>
                    </a:cubicBezTo>
                    <a:cubicBezTo>
                      <a:pt x="66" y="151"/>
                      <a:pt x="58" y="149"/>
                      <a:pt x="50" y="146"/>
                    </a:cubicBezTo>
                    <a:cubicBezTo>
                      <a:pt x="43" y="144"/>
                      <a:pt x="37" y="140"/>
                      <a:pt x="32" y="135"/>
                    </a:cubicBezTo>
                    <a:cubicBezTo>
                      <a:pt x="32" y="135"/>
                      <a:pt x="32" y="135"/>
                      <a:pt x="32" y="135"/>
                    </a:cubicBezTo>
                    <a:cubicBezTo>
                      <a:pt x="32" y="203"/>
                      <a:pt x="32" y="203"/>
                      <a:pt x="32" y="203"/>
                    </a:cubicBezTo>
                    <a:cubicBezTo>
                      <a:pt x="0" y="203"/>
                      <a:pt x="0" y="203"/>
                      <a:pt x="0" y="203"/>
                    </a:cubicBezTo>
                    <a:cubicBezTo>
                      <a:pt x="0" y="74"/>
                      <a:pt x="0" y="74"/>
                      <a:pt x="0" y="74"/>
                    </a:cubicBezTo>
                    <a:cubicBezTo>
                      <a:pt x="0" y="63"/>
                      <a:pt x="1" y="53"/>
                      <a:pt x="4" y="44"/>
                    </a:cubicBezTo>
                    <a:cubicBezTo>
                      <a:pt x="7" y="34"/>
                      <a:pt x="11" y="27"/>
                      <a:pt x="17" y="20"/>
                    </a:cubicBezTo>
                    <a:cubicBezTo>
                      <a:pt x="23" y="14"/>
                      <a:pt x="30" y="9"/>
                      <a:pt x="39" y="5"/>
                    </a:cubicBezTo>
                    <a:cubicBezTo>
                      <a:pt x="48" y="2"/>
                      <a:pt x="58" y="0"/>
                      <a:pt x="70" y="0"/>
                    </a:cubicBezTo>
                    <a:cubicBezTo>
                      <a:pt x="81" y="0"/>
                      <a:pt x="91" y="2"/>
                      <a:pt x="100" y="5"/>
                    </a:cubicBezTo>
                    <a:cubicBezTo>
                      <a:pt x="109" y="9"/>
                      <a:pt x="116" y="14"/>
                      <a:pt x="123" y="21"/>
                    </a:cubicBezTo>
                    <a:cubicBezTo>
                      <a:pt x="129" y="27"/>
                      <a:pt x="133" y="35"/>
                      <a:pt x="136" y="44"/>
                    </a:cubicBezTo>
                    <a:cubicBezTo>
                      <a:pt x="139" y="53"/>
                      <a:pt x="141" y="62"/>
                      <a:pt x="141" y="73"/>
                    </a:cubicBezTo>
                    <a:close/>
                    <a:moveTo>
                      <a:pt x="107" y="73"/>
                    </a:moveTo>
                    <a:cubicBezTo>
                      <a:pt x="107" y="66"/>
                      <a:pt x="106" y="60"/>
                      <a:pt x="105" y="54"/>
                    </a:cubicBezTo>
                    <a:cubicBezTo>
                      <a:pt x="103" y="48"/>
                      <a:pt x="101" y="44"/>
                      <a:pt x="97" y="39"/>
                    </a:cubicBezTo>
                    <a:cubicBezTo>
                      <a:pt x="94" y="35"/>
                      <a:pt x="90" y="32"/>
                      <a:pt x="85" y="30"/>
                    </a:cubicBezTo>
                    <a:cubicBezTo>
                      <a:pt x="81" y="28"/>
                      <a:pt x="75" y="26"/>
                      <a:pt x="69" y="26"/>
                    </a:cubicBezTo>
                    <a:cubicBezTo>
                      <a:pt x="62" y="26"/>
                      <a:pt x="56" y="28"/>
                      <a:pt x="52" y="30"/>
                    </a:cubicBezTo>
                    <a:cubicBezTo>
                      <a:pt x="47" y="32"/>
                      <a:pt x="43" y="36"/>
                      <a:pt x="40" y="40"/>
                    </a:cubicBezTo>
                    <a:cubicBezTo>
                      <a:pt x="37" y="44"/>
                      <a:pt x="35" y="48"/>
                      <a:pt x="34" y="53"/>
                    </a:cubicBezTo>
                    <a:cubicBezTo>
                      <a:pt x="33" y="59"/>
                      <a:pt x="32" y="64"/>
                      <a:pt x="32" y="70"/>
                    </a:cubicBezTo>
                    <a:cubicBezTo>
                      <a:pt x="32" y="108"/>
                      <a:pt x="32" y="108"/>
                      <a:pt x="32" y="108"/>
                    </a:cubicBezTo>
                    <a:cubicBezTo>
                      <a:pt x="34" y="110"/>
                      <a:pt x="36" y="112"/>
                      <a:pt x="39" y="114"/>
                    </a:cubicBezTo>
                    <a:cubicBezTo>
                      <a:pt x="42" y="116"/>
                      <a:pt x="45" y="118"/>
                      <a:pt x="48" y="120"/>
                    </a:cubicBezTo>
                    <a:cubicBezTo>
                      <a:pt x="51" y="121"/>
                      <a:pt x="54" y="122"/>
                      <a:pt x="58" y="123"/>
                    </a:cubicBezTo>
                    <a:cubicBezTo>
                      <a:pt x="61" y="124"/>
                      <a:pt x="65" y="124"/>
                      <a:pt x="68" y="124"/>
                    </a:cubicBezTo>
                    <a:cubicBezTo>
                      <a:pt x="80" y="124"/>
                      <a:pt x="90" y="120"/>
                      <a:pt x="97" y="111"/>
                    </a:cubicBezTo>
                    <a:cubicBezTo>
                      <a:pt x="104" y="103"/>
                      <a:pt x="107" y="90"/>
                      <a:pt x="107" y="7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31" name="Freeform 27"/>
              <p:cNvSpPr>
                <a:spLocks/>
              </p:cNvSpPr>
              <p:nvPr/>
            </p:nvSpPr>
            <p:spPr bwMode="black">
              <a:xfrm>
                <a:off x="8305857" y="5012890"/>
                <a:ext cx="48257" cy="117924"/>
              </a:xfrm>
              <a:custGeom>
                <a:avLst/>
                <a:gdLst/>
                <a:ahLst/>
                <a:cxnLst>
                  <a:cxn ang="0">
                    <a:pos x="51" y="146"/>
                  </a:cxn>
                  <a:cxn ang="0">
                    <a:pos x="38" y="147"/>
                  </a:cxn>
                  <a:cxn ang="0">
                    <a:pos x="21" y="144"/>
                  </a:cxn>
                  <a:cxn ang="0">
                    <a:pos x="9" y="135"/>
                  </a:cxn>
                  <a:cxn ang="0">
                    <a:pos x="2" y="121"/>
                  </a:cxn>
                  <a:cxn ang="0">
                    <a:pos x="0" y="104"/>
                  </a:cxn>
                  <a:cxn ang="0">
                    <a:pos x="0" y="0"/>
                  </a:cxn>
                  <a:cxn ang="0">
                    <a:pos x="33" y="0"/>
                  </a:cxn>
                  <a:cxn ang="0">
                    <a:pos x="33" y="99"/>
                  </a:cxn>
                  <a:cxn ang="0">
                    <a:pos x="34" y="110"/>
                  </a:cxn>
                  <a:cxn ang="0">
                    <a:pos x="38" y="116"/>
                  </a:cxn>
                  <a:cxn ang="0">
                    <a:pos x="43" y="120"/>
                  </a:cxn>
                  <a:cxn ang="0">
                    <a:pos x="48" y="121"/>
                  </a:cxn>
                  <a:cxn ang="0">
                    <a:pos x="55" y="120"/>
                  </a:cxn>
                  <a:cxn ang="0">
                    <a:pos x="60" y="118"/>
                  </a:cxn>
                  <a:cxn ang="0">
                    <a:pos x="60" y="143"/>
                  </a:cxn>
                  <a:cxn ang="0">
                    <a:pos x="51" y="146"/>
                  </a:cxn>
                </a:cxnLst>
                <a:rect l="0" t="0" r="r" b="b"/>
                <a:pathLst>
                  <a:path w="60" h="147">
                    <a:moveTo>
                      <a:pt x="51" y="146"/>
                    </a:moveTo>
                    <a:cubicBezTo>
                      <a:pt x="47" y="146"/>
                      <a:pt x="43" y="147"/>
                      <a:pt x="38" y="147"/>
                    </a:cubicBezTo>
                    <a:cubicBezTo>
                      <a:pt x="31" y="147"/>
                      <a:pt x="25" y="146"/>
                      <a:pt x="21" y="144"/>
                    </a:cubicBezTo>
                    <a:cubicBezTo>
                      <a:pt x="16" y="141"/>
                      <a:pt x="12" y="138"/>
                      <a:pt x="9" y="135"/>
                    </a:cubicBezTo>
                    <a:cubicBezTo>
                      <a:pt x="6" y="131"/>
                      <a:pt x="3" y="126"/>
                      <a:pt x="2" y="121"/>
                    </a:cubicBezTo>
                    <a:cubicBezTo>
                      <a:pt x="1" y="116"/>
                      <a:pt x="0" y="110"/>
                      <a:pt x="0" y="104"/>
                    </a:cubicBezTo>
                    <a:cubicBezTo>
                      <a:pt x="0" y="0"/>
                      <a:pt x="0" y="0"/>
                      <a:pt x="0" y="0"/>
                    </a:cubicBezTo>
                    <a:cubicBezTo>
                      <a:pt x="33" y="0"/>
                      <a:pt x="33" y="0"/>
                      <a:pt x="33" y="0"/>
                    </a:cubicBezTo>
                    <a:cubicBezTo>
                      <a:pt x="33" y="99"/>
                      <a:pt x="33" y="99"/>
                      <a:pt x="33" y="99"/>
                    </a:cubicBezTo>
                    <a:cubicBezTo>
                      <a:pt x="33" y="103"/>
                      <a:pt x="33" y="107"/>
                      <a:pt x="34" y="110"/>
                    </a:cubicBezTo>
                    <a:cubicBezTo>
                      <a:pt x="35" y="113"/>
                      <a:pt x="37" y="115"/>
                      <a:pt x="38" y="116"/>
                    </a:cubicBezTo>
                    <a:cubicBezTo>
                      <a:pt x="39" y="118"/>
                      <a:pt x="41" y="119"/>
                      <a:pt x="43" y="120"/>
                    </a:cubicBezTo>
                    <a:cubicBezTo>
                      <a:pt x="45" y="120"/>
                      <a:pt x="47" y="121"/>
                      <a:pt x="48" y="121"/>
                    </a:cubicBezTo>
                    <a:cubicBezTo>
                      <a:pt x="51" y="121"/>
                      <a:pt x="53" y="120"/>
                      <a:pt x="55" y="120"/>
                    </a:cubicBezTo>
                    <a:cubicBezTo>
                      <a:pt x="56" y="120"/>
                      <a:pt x="58" y="119"/>
                      <a:pt x="60" y="118"/>
                    </a:cubicBezTo>
                    <a:cubicBezTo>
                      <a:pt x="60" y="143"/>
                      <a:pt x="60" y="143"/>
                      <a:pt x="60" y="143"/>
                    </a:cubicBezTo>
                    <a:cubicBezTo>
                      <a:pt x="57" y="144"/>
                      <a:pt x="54" y="145"/>
                      <a:pt x="51" y="1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32" name="Freeform 28"/>
              <p:cNvSpPr>
                <a:spLocks noEditPoints="1"/>
              </p:cNvSpPr>
              <p:nvPr/>
            </p:nvSpPr>
            <p:spPr bwMode="black">
              <a:xfrm>
                <a:off x="8362950" y="5012890"/>
                <a:ext cx="127440" cy="118943"/>
              </a:xfrm>
              <a:custGeom>
                <a:avLst/>
                <a:gdLst/>
                <a:ahLst/>
                <a:cxnLst>
                  <a:cxn ang="0">
                    <a:pos x="126" y="25"/>
                  </a:cxn>
                  <a:cxn ang="0">
                    <a:pos x="132" y="35"/>
                  </a:cxn>
                  <a:cxn ang="0">
                    <a:pos x="137" y="46"/>
                  </a:cxn>
                  <a:cxn ang="0">
                    <a:pos x="141" y="60"/>
                  </a:cxn>
                  <a:cxn ang="0">
                    <a:pos x="143" y="77"/>
                  </a:cxn>
                  <a:cxn ang="0">
                    <a:pos x="138" y="105"/>
                  </a:cxn>
                  <a:cxn ang="0">
                    <a:pos x="124" y="128"/>
                  </a:cxn>
                  <a:cxn ang="0">
                    <a:pos x="102" y="142"/>
                  </a:cxn>
                  <a:cxn ang="0">
                    <a:pos x="72" y="148"/>
                  </a:cxn>
                  <a:cxn ang="0">
                    <a:pos x="42" y="142"/>
                  </a:cxn>
                  <a:cxn ang="0">
                    <a:pos x="19" y="127"/>
                  </a:cxn>
                  <a:cxn ang="0">
                    <a:pos x="5" y="104"/>
                  </a:cxn>
                  <a:cxn ang="0">
                    <a:pos x="0" y="73"/>
                  </a:cxn>
                  <a:cxn ang="0">
                    <a:pos x="4" y="43"/>
                  </a:cxn>
                  <a:cxn ang="0">
                    <a:pos x="18" y="20"/>
                  </a:cxn>
                  <a:cxn ang="0">
                    <a:pos x="41" y="6"/>
                  </a:cxn>
                  <a:cxn ang="0">
                    <a:pos x="74" y="0"/>
                  </a:cxn>
                  <a:cxn ang="0">
                    <a:pos x="159" y="0"/>
                  </a:cxn>
                  <a:cxn ang="0">
                    <a:pos x="159" y="25"/>
                  </a:cxn>
                  <a:cxn ang="0">
                    <a:pos x="126" y="25"/>
                  </a:cxn>
                  <a:cxn ang="0">
                    <a:pos x="79" y="25"/>
                  </a:cxn>
                  <a:cxn ang="0">
                    <a:pos x="44" y="38"/>
                  </a:cxn>
                  <a:cxn ang="0">
                    <a:pos x="33" y="74"/>
                  </a:cxn>
                  <a:cxn ang="0">
                    <a:pos x="36" y="94"/>
                  </a:cxn>
                  <a:cxn ang="0">
                    <a:pos x="44" y="109"/>
                  </a:cxn>
                  <a:cxn ang="0">
                    <a:pos x="57" y="118"/>
                  </a:cxn>
                  <a:cxn ang="0">
                    <a:pos x="72" y="121"/>
                  </a:cxn>
                  <a:cxn ang="0">
                    <a:pos x="88" y="118"/>
                  </a:cxn>
                  <a:cxn ang="0">
                    <a:pos x="99" y="108"/>
                  </a:cxn>
                  <a:cxn ang="0">
                    <a:pos x="106" y="93"/>
                  </a:cxn>
                  <a:cxn ang="0">
                    <a:pos x="109" y="73"/>
                  </a:cxn>
                  <a:cxn ang="0">
                    <a:pos x="108" y="57"/>
                  </a:cxn>
                  <a:cxn ang="0">
                    <a:pos x="104" y="44"/>
                  </a:cxn>
                  <a:cxn ang="0">
                    <a:pos x="100" y="34"/>
                  </a:cxn>
                  <a:cxn ang="0">
                    <a:pos x="95" y="25"/>
                  </a:cxn>
                  <a:cxn ang="0">
                    <a:pos x="79" y="25"/>
                  </a:cxn>
                </a:cxnLst>
                <a:rect l="0" t="0" r="r" b="b"/>
                <a:pathLst>
                  <a:path w="159" h="148">
                    <a:moveTo>
                      <a:pt x="126" y="25"/>
                    </a:moveTo>
                    <a:cubicBezTo>
                      <a:pt x="128" y="28"/>
                      <a:pt x="130" y="31"/>
                      <a:pt x="132" y="35"/>
                    </a:cubicBezTo>
                    <a:cubicBezTo>
                      <a:pt x="134" y="38"/>
                      <a:pt x="136" y="42"/>
                      <a:pt x="137" y="46"/>
                    </a:cubicBezTo>
                    <a:cubicBezTo>
                      <a:pt x="139" y="50"/>
                      <a:pt x="140" y="55"/>
                      <a:pt x="141" y="60"/>
                    </a:cubicBezTo>
                    <a:cubicBezTo>
                      <a:pt x="142" y="65"/>
                      <a:pt x="143" y="71"/>
                      <a:pt x="143" y="77"/>
                    </a:cubicBezTo>
                    <a:cubicBezTo>
                      <a:pt x="143" y="87"/>
                      <a:pt x="141" y="97"/>
                      <a:pt x="138" y="105"/>
                    </a:cubicBezTo>
                    <a:cubicBezTo>
                      <a:pt x="135" y="114"/>
                      <a:pt x="130" y="121"/>
                      <a:pt x="124" y="128"/>
                    </a:cubicBezTo>
                    <a:cubicBezTo>
                      <a:pt x="119" y="134"/>
                      <a:pt x="111" y="139"/>
                      <a:pt x="102" y="142"/>
                    </a:cubicBezTo>
                    <a:cubicBezTo>
                      <a:pt x="94" y="146"/>
                      <a:pt x="84" y="148"/>
                      <a:pt x="72" y="148"/>
                    </a:cubicBezTo>
                    <a:cubicBezTo>
                      <a:pt x="61" y="148"/>
                      <a:pt x="51" y="146"/>
                      <a:pt x="42" y="142"/>
                    </a:cubicBezTo>
                    <a:cubicBezTo>
                      <a:pt x="33" y="139"/>
                      <a:pt x="26" y="134"/>
                      <a:pt x="19" y="127"/>
                    </a:cubicBezTo>
                    <a:cubicBezTo>
                      <a:pt x="13" y="121"/>
                      <a:pt x="8" y="113"/>
                      <a:pt x="5" y="104"/>
                    </a:cubicBezTo>
                    <a:cubicBezTo>
                      <a:pt x="1" y="94"/>
                      <a:pt x="0" y="84"/>
                      <a:pt x="0" y="73"/>
                    </a:cubicBezTo>
                    <a:cubicBezTo>
                      <a:pt x="0" y="62"/>
                      <a:pt x="1" y="52"/>
                      <a:pt x="4" y="43"/>
                    </a:cubicBezTo>
                    <a:cubicBezTo>
                      <a:pt x="7" y="34"/>
                      <a:pt x="12" y="27"/>
                      <a:pt x="18" y="20"/>
                    </a:cubicBezTo>
                    <a:cubicBezTo>
                      <a:pt x="24" y="14"/>
                      <a:pt x="32" y="9"/>
                      <a:pt x="41" y="6"/>
                    </a:cubicBezTo>
                    <a:cubicBezTo>
                      <a:pt x="50" y="2"/>
                      <a:pt x="62" y="0"/>
                      <a:pt x="74" y="0"/>
                    </a:cubicBezTo>
                    <a:cubicBezTo>
                      <a:pt x="159" y="0"/>
                      <a:pt x="159" y="0"/>
                      <a:pt x="159" y="0"/>
                    </a:cubicBezTo>
                    <a:cubicBezTo>
                      <a:pt x="159" y="25"/>
                      <a:pt x="159" y="25"/>
                      <a:pt x="159" y="25"/>
                    </a:cubicBezTo>
                    <a:lnTo>
                      <a:pt x="126" y="25"/>
                    </a:lnTo>
                    <a:close/>
                    <a:moveTo>
                      <a:pt x="79" y="25"/>
                    </a:moveTo>
                    <a:cubicBezTo>
                      <a:pt x="63" y="25"/>
                      <a:pt x="52" y="29"/>
                      <a:pt x="44" y="38"/>
                    </a:cubicBezTo>
                    <a:cubicBezTo>
                      <a:pt x="37" y="46"/>
                      <a:pt x="33" y="58"/>
                      <a:pt x="33" y="74"/>
                    </a:cubicBezTo>
                    <a:cubicBezTo>
                      <a:pt x="33" y="81"/>
                      <a:pt x="34" y="88"/>
                      <a:pt x="36" y="94"/>
                    </a:cubicBezTo>
                    <a:cubicBezTo>
                      <a:pt x="38" y="100"/>
                      <a:pt x="41" y="105"/>
                      <a:pt x="44" y="109"/>
                    </a:cubicBezTo>
                    <a:cubicBezTo>
                      <a:pt x="48" y="113"/>
                      <a:pt x="52" y="116"/>
                      <a:pt x="57" y="118"/>
                    </a:cubicBezTo>
                    <a:cubicBezTo>
                      <a:pt x="61" y="120"/>
                      <a:pt x="67" y="121"/>
                      <a:pt x="72" y="121"/>
                    </a:cubicBezTo>
                    <a:cubicBezTo>
                      <a:pt x="78" y="121"/>
                      <a:pt x="83" y="120"/>
                      <a:pt x="88" y="118"/>
                    </a:cubicBezTo>
                    <a:cubicBezTo>
                      <a:pt x="92" y="116"/>
                      <a:pt x="96" y="112"/>
                      <a:pt x="99" y="108"/>
                    </a:cubicBezTo>
                    <a:cubicBezTo>
                      <a:pt x="102" y="104"/>
                      <a:pt x="105" y="99"/>
                      <a:pt x="106" y="93"/>
                    </a:cubicBezTo>
                    <a:cubicBezTo>
                      <a:pt x="108" y="87"/>
                      <a:pt x="109" y="80"/>
                      <a:pt x="109" y="73"/>
                    </a:cubicBezTo>
                    <a:cubicBezTo>
                      <a:pt x="109" y="67"/>
                      <a:pt x="108" y="62"/>
                      <a:pt x="108" y="57"/>
                    </a:cubicBezTo>
                    <a:cubicBezTo>
                      <a:pt x="107" y="52"/>
                      <a:pt x="106" y="48"/>
                      <a:pt x="104" y="44"/>
                    </a:cubicBezTo>
                    <a:cubicBezTo>
                      <a:pt x="103" y="40"/>
                      <a:pt x="102" y="37"/>
                      <a:pt x="100" y="34"/>
                    </a:cubicBezTo>
                    <a:cubicBezTo>
                      <a:pt x="98" y="31"/>
                      <a:pt x="97" y="28"/>
                      <a:pt x="95" y="25"/>
                    </a:cubicBezTo>
                    <a:lnTo>
                      <a:pt x="79" y="25"/>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33" name="Freeform 29"/>
              <p:cNvSpPr>
                <a:spLocks/>
              </p:cNvSpPr>
              <p:nvPr/>
            </p:nvSpPr>
            <p:spPr bwMode="black">
              <a:xfrm>
                <a:off x="8496167" y="5012890"/>
                <a:ext cx="113166" cy="118943"/>
              </a:xfrm>
              <a:custGeom>
                <a:avLst/>
                <a:gdLst/>
                <a:ahLst/>
                <a:cxnLst>
                  <a:cxn ang="0">
                    <a:pos x="86" y="26"/>
                  </a:cxn>
                  <a:cxn ang="0">
                    <a:pos x="86" y="98"/>
                  </a:cxn>
                  <a:cxn ang="0">
                    <a:pos x="91" y="116"/>
                  </a:cxn>
                  <a:cxn ang="0">
                    <a:pos x="104" y="121"/>
                  </a:cxn>
                  <a:cxn ang="0">
                    <a:pos x="110" y="121"/>
                  </a:cxn>
                  <a:cxn ang="0">
                    <a:pos x="117" y="119"/>
                  </a:cxn>
                  <a:cxn ang="0">
                    <a:pos x="117" y="144"/>
                  </a:cxn>
                  <a:cxn ang="0">
                    <a:pos x="107" y="146"/>
                  </a:cxn>
                  <a:cxn ang="0">
                    <a:pos x="94" y="148"/>
                  </a:cxn>
                  <a:cxn ang="0">
                    <a:pos x="76" y="144"/>
                  </a:cxn>
                  <a:cxn ang="0">
                    <a:pos x="63" y="135"/>
                  </a:cxn>
                  <a:cxn ang="0">
                    <a:pos x="56" y="120"/>
                  </a:cxn>
                  <a:cxn ang="0">
                    <a:pos x="53" y="100"/>
                  </a:cxn>
                  <a:cxn ang="0">
                    <a:pos x="53" y="26"/>
                  </a:cxn>
                  <a:cxn ang="0">
                    <a:pos x="36" y="26"/>
                  </a:cxn>
                  <a:cxn ang="0">
                    <a:pos x="25" y="27"/>
                  </a:cxn>
                  <a:cxn ang="0">
                    <a:pos x="15" y="30"/>
                  </a:cxn>
                  <a:cxn ang="0">
                    <a:pos x="7" y="34"/>
                  </a:cxn>
                  <a:cxn ang="0">
                    <a:pos x="0" y="38"/>
                  </a:cxn>
                  <a:cxn ang="0">
                    <a:pos x="0" y="10"/>
                  </a:cxn>
                  <a:cxn ang="0">
                    <a:pos x="6" y="6"/>
                  </a:cxn>
                  <a:cxn ang="0">
                    <a:pos x="15" y="3"/>
                  </a:cxn>
                  <a:cxn ang="0">
                    <a:pos x="26" y="1"/>
                  </a:cxn>
                  <a:cxn ang="0">
                    <a:pos x="39" y="0"/>
                  </a:cxn>
                  <a:cxn ang="0">
                    <a:pos x="141" y="0"/>
                  </a:cxn>
                  <a:cxn ang="0">
                    <a:pos x="141" y="26"/>
                  </a:cxn>
                  <a:cxn ang="0">
                    <a:pos x="86" y="26"/>
                  </a:cxn>
                </a:cxnLst>
                <a:rect l="0" t="0" r="r" b="b"/>
                <a:pathLst>
                  <a:path w="141" h="148">
                    <a:moveTo>
                      <a:pt x="86" y="26"/>
                    </a:moveTo>
                    <a:cubicBezTo>
                      <a:pt x="86" y="98"/>
                      <a:pt x="86" y="98"/>
                      <a:pt x="86" y="98"/>
                    </a:cubicBezTo>
                    <a:cubicBezTo>
                      <a:pt x="86" y="106"/>
                      <a:pt x="88" y="112"/>
                      <a:pt x="91" y="116"/>
                    </a:cubicBezTo>
                    <a:cubicBezTo>
                      <a:pt x="95" y="119"/>
                      <a:pt x="99" y="121"/>
                      <a:pt x="104" y="121"/>
                    </a:cubicBezTo>
                    <a:cubicBezTo>
                      <a:pt x="106" y="121"/>
                      <a:pt x="108" y="121"/>
                      <a:pt x="110" y="121"/>
                    </a:cubicBezTo>
                    <a:cubicBezTo>
                      <a:pt x="113" y="120"/>
                      <a:pt x="115" y="120"/>
                      <a:pt x="117" y="119"/>
                    </a:cubicBezTo>
                    <a:cubicBezTo>
                      <a:pt x="117" y="144"/>
                      <a:pt x="117" y="144"/>
                      <a:pt x="117" y="144"/>
                    </a:cubicBezTo>
                    <a:cubicBezTo>
                      <a:pt x="115" y="145"/>
                      <a:pt x="111" y="146"/>
                      <a:pt x="107" y="146"/>
                    </a:cubicBezTo>
                    <a:cubicBezTo>
                      <a:pt x="104" y="147"/>
                      <a:pt x="99" y="148"/>
                      <a:pt x="94" y="148"/>
                    </a:cubicBezTo>
                    <a:cubicBezTo>
                      <a:pt x="87" y="148"/>
                      <a:pt x="81" y="146"/>
                      <a:pt x="76" y="144"/>
                    </a:cubicBezTo>
                    <a:cubicBezTo>
                      <a:pt x="71" y="142"/>
                      <a:pt x="66" y="139"/>
                      <a:pt x="63" y="135"/>
                    </a:cubicBezTo>
                    <a:cubicBezTo>
                      <a:pt x="60" y="130"/>
                      <a:pt x="57" y="125"/>
                      <a:pt x="56" y="120"/>
                    </a:cubicBezTo>
                    <a:cubicBezTo>
                      <a:pt x="54" y="114"/>
                      <a:pt x="53" y="108"/>
                      <a:pt x="53" y="100"/>
                    </a:cubicBezTo>
                    <a:cubicBezTo>
                      <a:pt x="53" y="26"/>
                      <a:pt x="53" y="26"/>
                      <a:pt x="53" y="26"/>
                    </a:cubicBezTo>
                    <a:cubicBezTo>
                      <a:pt x="36" y="26"/>
                      <a:pt x="36" y="26"/>
                      <a:pt x="36" y="26"/>
                    </a:cubicBezTo>
                    <a:cubicBezTo>
                      <a:pt x="32" y="26"/>
                      <a:pt x="29" y="27"/>
                      <a:pt x="25" y="27"/>
                    </a:cubicBezTo>
                    <a:cubicBezTo>
                      <a:pt x="22" y="28"/>
                      <a:pt x="18" y="29"/>
                      <a:pt x="15" y="30"/>
                    </a:cubicBezTo>
                    <a:cubicBezTo>
                      <a:pt x="12" y="31"/>
                      <a:pt x="9" y="32"/>
                      <a:pt x="7" y="34"/>
                    </a:cubicBezTo>
                    <a:cubicBezTo>
                      <a:pt x="4" y="35"/>
                      <a:pt x="2" y="36"/>
                      <a:pt x="0" y="38"/>
                    </a:cubicBezTo>
                    <a:cubicBezTo>
                      <a:pt x="0" y="10"/>
                      <a:pt x="0" y="10"/>
                      <a:pt x="0" y="10"/>
                    </a:cubicBezTo>
                    <a:cubicBezTo>
                      <a:pt x="2" y="9"/>
                      <a:pt x="4" y="7"/>
                      <a:pt x="6" y="6"/>
                    </a:cubicBezTo>
                    <a:cubicBezTo>
                      <a:pt x="9" y="5"/>
                      <a:pt x="12" y="4"/>
                      <a:pt x="15" y="3"/>
                    </a:cubicBezTo>
                    <a:cubicBezTo>
                      <a:pt x="18" y="2"/>
                      <a:pt x="22" y="2"/>
                      <a:pt x="26" y="1"/>
                    </a:cubicBezTo>
                    <a:cubicBezTo>
                      <a:pt x="30" y="1"/>
                      <a:pt x="34" y="0"/>
                      <a:pt x="39" y="0"/>
                    </a:cubicBezTo>
                    <a:cubicBezTo>
                      <a:pt x="141" y="0"/>
                      <a:pt x="141" y="0"/>
                      <a:pt x="141" y="0"/>
                    </a:cubicBezTo>
                    <a:cubicBezTo>
                      <a:pt x="141" y="26"/>
                      <a:pt x="141" y="26"/>
                      <a:pt x="141" y="26"/>
                    </a:cubicBezTo>
                    <a:lnTo>
                      <a:pt x="86" y="26"/>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34" name="Freeform 30"/>
              <p:cNvSpPr>
                <a:spLocks noEditPoints="1"/>
              </p:cNvSpPr>
              <p:nvPr/>
            </p:nvSpPr>
            <p:spPr bwMode="black">
              <a:xfrm>
                <a:off x="8614091" y="4955117"/>
                <a:ext cx="168560" cy="176716"/>
              </a:xfrm>
              <a:custGeom>
                <a:avLst/>
                <a:gdLst/>
                <a:ahLst/>
                <a:cxnLst>
                  <a:cxn ang="0">
                    <a:pos x="198" y="88"/>
                  </a:cxn>
                  <a:cxn ang="0">
                    <a:pos x="204" y="106"/>
                  </a:cxn>
                  <a:cxn ang="0">
                    <a:pos x="208" y="126"/>
                  </a:cxn>
                  <a:cxn ang="0">
                    <a:pos x="210" y="149"/>
                  </a:cxn>
                  <a:cxn ang="0">
                    <a:pos x="206" y="178"/>
                  </a:cxn>
                  <a:cxn ang="0">
                    <a:pos x="194" y="201"/>
                  </a:cxn>
                  <a:cxn ang="0">
                    <a:pos x="175" y="215"/>
                  </a:cxn>
                  <a:cxn ang="0">
                    <a:pos x="150" y="220"/>
                  </a:cxn>
                  <a:cxn ang="0">
                    <a:pos x="134" y="217"/>
                  </a:cxn>
                  <a:cxn ang="0">
                    <a:pos x="122" y="211"/>
                  </a:cxn>
                  <a:cxn ang="0">
                    <a:pos x="112" y="201"/>
                  </a:cxn>
                  <a:cxn ang="0">
                    <a:pos x="105" y="190"/>
                  </a:cxn>
                  <a:cxn ang="0">
                    <a:pos x="104" y="190"/>
                  </a:cxn>
                  <a:cxn ang="0">
                    <a:pos x="98" y="201"/>
                  </a:cxn>
                  <a:cxn ang="0">
                    <a:pos x="88" y="211"/>
                  </a:cxn>
                  <a:cxn ang="0">
                    <a:pos x="75" y="217"/>
                  </a:cxn>
                  <a:cxn ang="0">
                    <a:pos x="60" y="220"/>
                  </a:cxn>
                  <a:cxn ang="0">
                    <a:pos x="34" y="214"/>
                  </a:cxn>
                  <a:cxn ang="0">
                    <a:pos x="15" y="200"/>
                  </a:cxn>
                  <a:cxn ang="0">
                    <a:pos x="4" y="177"/>
                  </a:cxn>
                  <a:cxn ang="0">
                    <a:pos x="0" y="148"/>
                  </a:cxn>
                  <a:cxn ang="0">
                    <a:pos x="2" y="126"/>
                  </a:cxn>
                  <a:cxn ang="0">
                    <a:pos x="6" y="106"/>
                  </a:cxn>
                  <a:cxn ang="0">
                    <a:pos x="12" y="88"/>
                  </a:cxn>
                  <a:cxn ang="0">
                    <a:pos x="18" y="72"/>
                  </a:cxn>
                  <a:cxn ang="0">
                    <a:pos x="52" y="72"/>
                  </a:cxn>
                  <a:cxn ang="0">
                    <a:pos x="45" y="88"/>
                  </a:cxn>
                  <a:cxn ang="0">
                    <a:pos x="39" y="107"/>
                  </a:cxn>
                  <a:cxn ang="0">
                    <a:pos x="34" y="128"/>
                  </a:cxn>
                  <a:cxn ang="0">
                    <a:pos x="32" y="149"/>
                  </a:cxn>
                  <a:cxn ang="0">
                    <a:pos x="34" y="168"/>
                  </a:cxn>
                  <a:cxn ang="0">
                    <a:pos x="40" y="182"/>
                  </a:cxn>
                  <a:cxn ang="0">
                    <a:pos x="49" y="190"/>
                  </a:cxn>
                  <a:cxn ang="0">
                    <a:pos x="61" y="193"/>
                  </a:cxn>
                  <a:cxn ang="0">
                    <a:pos x="72" y="191"/>
                  </a:cxn>
                  <a:cxn ang="0">
                    <a:pos x="81" y="183"/>
                  </a:cxn>
                  <a:cxn ang="0">
                    <a:pos x="87" y="170"/>
                  </a:cxn>
                  <a:cxn ang="0">
                    <a:pos x="89" y="149"/>
                  </a:cxn>
                  <a:cxn ang="0">
                    <a:pos x="89" y="111"/>
                  </a:cxn>
                  <a:cxn ang="0">
                    <a:pos x="121" y="111"/>
                  </a:cxn>
                  <a:cxn ang="0">
                    <a:pos x="121" y="149"/>
                  </a:cxn>
                  <a:cxn ang="0">
                    <a:pos x="123" y="170"/>
                  </a:cxn>
                  <a:cxn ang="0">
                    <a:pos x="129" y="183"/>
                  </a:cxn>
                  <a:cxn ang="0">
                    <a:pos x="138" y="191"/>
                  </a:cxn>
                  <a:cxn ang="0">
                    <a:pos x="149" y="193"/>
                  </a:cxn>
                  <a:cxn ang="0">
                    <a:pos x="161" y="190"/>
                  </a:cxn>
                  <a:cxn ang="0">
                    <a:pos x="170" y="181"/>
                  </a:cxn>
                  <a:cxn ang="0">
                    <a:pos x="176" y="167"/>
                  </a:cxn>
                  <a:cxn ang="0">
                    <a:pos x="178" y="149"/>
                  </a:cxn>
                  <a:cxn ang="0">
                    <a:pos x="176" y="128"/>
                  </a:cxn>
                  <a:cxn ang="0">
                    <a:pos x="171" y="107"/>
                  </a:cxn>
                  <a:cxn ang="0">
                    <a:pos x="165" y="88"/>
                  </a:cxn>
                  <a:cxn ang="0">
                    <a:pos x="158" y="72"/>
                  </a:cxn>
                  <a:cxn ang="0">
                    <a:pos x="192" y="72"/>
                  </a:cxn>
                  <a:cxn ang="0">
                    <a:pos x="198" y="88"/>
                  </a:cxn>
                  <a:cxn ang="0">
                    <a:pos x="107" y="49"/>
                  </a:cxn>
                  <a:cxn ang="0">
                    <a:pos x="90" y="49"/>
                  </a:cxn>
                  <a:cxn ang="0">
                    <a:pos x="103" y="0"/>
                  </a:cxn>
                  <a:cxn ang="0">
                    <a:pos x="132" y="0"/>
                  </a:cxn>
                  <a:cxn ang="0">
                    <a:pos x="107" y="49"/>
                  </a:cxn>
                </a:cxnLst>
                <a:rect l="0" t="0" r="r" b="b"/>
                <a:pathLst>
                  <a:path w="210" h="220">
                    <a:moveTo>
                      <a:pt x="198" y="88"/>
                    </a:moveTo>
                    <a:cubicBezTo>
                      <a:pt x="200" y="93"/>
                      <a:pt x="202" y="99"/>
                      <a:pt x="204" y="106"/>
                    </a:cubicBezTo>
                    <a:cubicBezTo>
                      <a:pt x="206" y="112"/>
                      <a:pt x="207" y="119"/>
                      <a:pt x="208" y="126"/>
                    </a:cubicBezTo>
                    <a:cubicBezTo>
                      <a:pt x="210" y="133"/>
                      <a:pt x="210" y="141"/>
                      <a:pt x="210" y="149"/>
                    </a:cubicBezTo>
                    <a:cubicBezTo>
                      <a:pt x="210" y="160"/>
                      <a:pt x="209" y="169"/>
                      <a:pt x="206" y="178"/>
                    </a:cubicBezTo>
                    <a:cubicBezTo>
                      <a:pt x="203" y="187"/>
                      <a:pt x="199" y="195"/>
                      <a:pt x="194" y="201"/>
                    </a:cubicBezTo>
                    <a:cubicBezTo>
                      <a:pt x="189" y="207"/>
                      <a:pt x="182" y="211"/>
                      <a:pt x="175" y="215"/>
                    </a:cubicBezTo>
                    <a:cubicBezTo>
                      <a:pt x="167" y="218"/>
                      <a:pt x="159" y="220"/>
                      <a:pt x="150" y="220"/>
                    </a:cubicBezTo>
                    <a:cubicBezTo>
                      <a:pt x="144" y="220"/>
                      <a:pt x="139" y="219"/>
                      <a:pt x="134" y="217"/>
                    </a:cubicBezTo>
                    <a:cubicBezTo>
                      <a:pt x="130" y="216"/>
                      <a:pt x="125" y="214"/>
                      <a:pt x="122" y="211"/>
                    </a:cubicBezTo>
                    <a:cubicBezTo>
                      <a:pt x="118" y="208"/>
                      <a:pt x="115" y="205"/>
                      <a:pt x="112" y="201"/>
                    </a:cubicBezTo>
                    <a:cubicBezTo>
                      <a:pt x="109" y="198"/>
                      <a:pt x="107" y="194"/>
                      <a:pt x="105" y="190"/>
                    </a:cubicBezTo>
                    <a:cubicBezTo>
                      <a:pt x="104" y="190"/>
                      <a:pt x="104" y="190"/>
                      <a:pt x="104" y="190"/>
                    </a:cubicBezTo>
                    <a:cubicBezTo>
                      <a:pt x="103" y="194"/>
                      <a:pt x="101" y="198"/>
                      <a:pt x="98" y="201"/>
                    </a:cubicBezTo>
                    <a:cubicBezTo>
                      <a:pt x="95" y="205"/>
                      <a:pt x="92" y="208"/>
                      <a:pt x="88" y="211"/>
                    </a:cubicBezTo>
                    <a:cubicBezTo>
                      <a:pt x="84" y="213"/>
                      <a:pt x="80" y="216"/>
                      <a:pt x="75" y="217"/>
                    </a:cubicBezTo>
                    <a:cubicBezTo>
                      <a:pt x="70" y="219"/>
                      <a:pt x="65" y="220"/>
                      <a:pt x="60" y="220"/>
                    </a:cubicBezTo>
                    <a:cubicBezTo>
                      <a:pt x="50" y="220"/>
                      <a:pt x="41" y="218"/>
                      <a:pt x="34" y="214"/>
                    </a:cubicBezTo>
                    <a:cubicBezTo>
                      <a:pt x="26" y="211"/>
                      <a:pt x="20" y="206"/>
                      <a:pt x="15" y="200"/>
                    </a:cubicBezTo>
                    <a:cubicBezTo>
                      <a:pt x="10" y="193"/>
                      <a:pt x="6" y="186"/>
                      <a:pt x="4" y="177"/>
                    </a:cubicBezTo>
                    <a:cubicBezTo>
                      <a:pt x="1" y="168"/>
                      <a:pt x="0" y="159"/>
                      <a:pt x="0" y="148"/>
                    </a:cubicBezTo>
                    <a:cubicBezTo>
                      <a:pt x="0" y="141"/>
                      <a:pt x="1" y="133"/>
                      <a:pt x="2" y="126"/>
                    </a:cubicBezTo>
                    <a:cubicBezTo>
                      <a:pt x="3" y="119"/>
                      <a:pt x="4" y="112"/>
                      <a:pt x="6" y="106"/>
                    </a:cubicBezTo>
                    <a:cubicBezTo>
                      <a:pt x="8" y="99"/>
                      <a:pt x="10" y="93"/>
                      <a:pt x="12" y="88"/>
                    </a:cubicBezTo>
                    <a:cubicBezTo>
                      <a:pt x="14" y="82"/>
                      <a:pt x="16" y="77"/>
                      <a:pt x="18" y="72"/>
                    </a:cubicBezTo>
                    <a:cubicBezTo>
                      <a:pt x="52" y="72"/>
                      <a:pt x="52" y="72"/>
                      <a:pt x="52" y="72"/>
                    </a:cubicBezTo>
                    <a:cubicBezTo>
                      <a:pt x="50" y="77"/>
                      <a:pt x="48" y="82"/>
                      <a:pt x="45" y="88"/>
                    </a:cubicBezTo>
                    <a:cubicBezTo>
                      <a:pt x="43" y="94"/>
                      <a:pt x="41" y="100"/>
                      <a:pt x="39" y="107"/>
                    </a:cubicBezTo>
                    <a:cubicBezTo>
                      <a:pt x="37" y="114"/>
                      <a:pt x="35" y="121"/>
                      <a:pt x="34" y="128"/>
                    </a:cubicBezTo>
                    <a:cubicBezTo>
                      <a:pt x="32" y="135"/>
                      <a:pt x="32" y="142"/>
                      <a:pt x="32" y="149"/>
                    </a:cubicBezTo>
                    <a:cubicBezTo>
                      <a:pt x="32" y="156"/>
                      <a:pt x="33" y="162"/>
                      <a:pt x="34" y="168"/>
                    </a:cubicBezTo>
                    <a:cubicBezTo>
                      <a:pt x="35" y="174"/>
                      <a:pt x="37" y="178"/>
                      <a:pt x="40" y="182"/>
                    </a:cubicBezTo>
                    <a:cubicBezTo>
                      <a:pt x="42" y="186"/>
                      <a:pt x="46" y="188"/>
                      <a:pt x="49" y="190"/>
                    </a:cubicBezTo>
                    <a:cubicBezTo>
                      <a:pt x="53" y="192"/>
                      <a:pt x="56" y="193"/>
                      <a:pt x="61" y="193"/>
                    </a:cubicBezTo>
                    <a:cubicBezTo>
                      <a:pt x="65" y="193"/>
                      <a:pt x="69" y="192"/>
                      <a:pt x="72" y="191"/>
                    </a:cubicBezTo>
                    <a:cubicBezTo>
                      <a:pt x="76" y="189"/>
                      <a:pt x="79" y="187"/>
                      <a:pt x="81" y="183"/>
                    </a:cubicBezTo>
                    <a:cubicBezTo>
                      <a:pt x="84" y="180"/>
                      <a:pt x="86" y="175"/>
                      <a:pt x="87" y="170"/>
                    </a:cubicBezTo>
                    <a:cubicBezTo>
                      <a:pt x="89" y="164"/>
                      <a:pt x="89" y="158"/>
                      <a:pt x="89" y="149"/>
                    </a:cubicBezTo>
                    <a:cubicBezTo>
                      <a:pt x="89" y="111"/>
                      <a:pt x="89" y="111"/>
                      <a:pt x="89" y="111"/>
                    </a:cubicBezTo>
                    <a:cubicBezTo>
                      <a:pt x="121" y="111"/>
                      <a:pt x="121" y="111"/>
                      <a:pt x="121" y="111"/>
                    </a:cubicBezTo>
                    <a:cubicBezTo>
                      <a:pt x="121" y="149"/>
                      <a:pt x="121" y="149"/>
                      <a:pt x="121" y="149"/>
                    </a:cubicBezTo>
                    <a:cubicBezTo>
                      <a:pt x="121" y="158"/>
                      <a:pt x="122" y="164"/>
                      <a:pt x="123" y="170"/>
                    </a:cubicBezTo>
                    <a:cubicBezTo>
                      <a:pt x="124" y="175"/>
                      <a:pt x="126" y="180"/>
                      <a:pt x="129" y="183"/>
                    </a:cubicBezTo>
                    <a:cubicBezTo>
                      <a:pt x="131" y="187"/>
                      <a:pt x="134" y="189"/>
                      <a:pt x="138" y="191"/>
                    </a:cubicBezTo>
                    <a:cubicBezTo>
                      <a:pt x="141" y="192"/>
                      <a:pt x="145" y="193"/>
                      <a:pt x="149" y="193"/>
                    </a:cubicBezTo>
                    <a:cubicBezTo>
                      <a:pt x="153" y="193"/>
                      <a:pt x="157" y="192"/>
                      <a:pt x="161" y="190"/>
                    </a:cubicBezTo>
                    <a:cubicBezTo>
                      <a:pt x="164" y="188"/>
                      <a:pt x="167" y="185"/>
                      <a:pt x="170" y="181"/>
                    </a:cubicBezTo>
                    <a:cubicBezTo>
                      <a:pt x="173" y="178"/>
                      <a:pt x="175" y="173"/>
                      <a:pt x="176" y="167"/>
                    </a:cubicBezTo>
                    <a:cubicBezTo>
                      <a:pt x="177" y="162"/>
                      <a:pt x="178" y="156"/>
                      <a:pt x="178" y="149"/>
                    </a:cubicBezTo>
                    <a:cubicBezTo>
                      <a:pt x="178" y="142"/>
                      <a:pt x="177" y="135"/>
                      <a:pt x="176" y="128"/>
                    </a:cubicBezTo>
                    <a:cubicBezTo>
                      <a:pt x="175" y="121"/>
                      <a:pt x="173" y="114"/>
                      <a:pt x="171" y="107"/>
                    </a:cubicBezTo>
                    <a:cubicBezTo>
                      <a:pt x="169" y="100"/>
                      <a:pt x="167" y="94"/>
                      <a:pt x="165" y="88"/>
                    </a:cubicBezTo>
                    <a:cubicBezTo>
                      <a:pt x="162" y="82"/>
                      <a:pt x="160" y="77"/>
                      <a:pt x="158" y="72"/>
                    </a:cubicBezTo>
                    <a:cubicBezTo>
                      <a:pt x="192" y="72"/>
                      <a:pt x="192" y="72"/>
                      <a:pt x="192" y="72"/>
                    </a:cubicBezTo>
                    <a:cubicBezTo>
                      <a:pt x="194" y="77"/>
                      <a:pt x="196" y="82"/>
                      <a:pt x="198" y="88"/>
                    </a:cubicBezTo>
                    <a:close/>
                    <a:moveTo>
                      <a:pt x="107" y="49"/>
                    </a:moveTo>
                    <a:cubicBezTo>
                      <a:pt x="90" y="49"/>
                      <a:pt x="90" y="49"/>
                      <a:pt x="90" y="49"/>
                    </a:cubicBezTo>
                    <a:cubicBezTo>
                      <a:pt x="103" y="0"/>
                      <a:pt x="103" y="0"/>
                      <a:pt x="103" y="0"/>
                    </a:cubicBezTo>
                    <a:cubicBezTo>
                      <a:pt x="132" y="0"/>
                      <a:pt x="132" y="0"/>
                      <a:pt x="132" y="0"/>
                    </a:cubicBezTo>
                    <a:lnTo>
                      <a:pt x="107" y="4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04" name="Group 103"/>
            <p:cNvGrpSpPr/>
            <p:nvPr/>
          </p:nvGrpSpPr>
          <p:grpSpPr bwMode="black">
            <a:xfrm>
              <a:off x="6115590" y="4210210"/>
              <a:ext cx="348585" cy="182537"/>
              <a:chOff x="2772926" y="4973833"/>
              <a:chExt cx="349910" cy="189581"/>
            </a:xfrm>
            <a:grpFill/>
            <a:effectLst/>
          </p:grpSpPr>
          <p:sp>
            <p:nvSpPr>
              <p:cNvPr id="223" name="Freeform 21"/>
              <p:cNvSpPr>
                <a:spLocks/>
              </p:cNvSpPr>
              <p:nvPr/>
            </p:nvSpPr>
            <p:spPr bwMode="black">
              <a:xfrm>
                <a:off x="2772926" y="4984201"/>
                <a:ext cx="130337" cy="175881"/>
              </a:xfrm>
              <a:custGeom>
                <a:avLst/>
                <a:gdLst/>
                <a:ahLst/>
                <a:cxnLst>
                  <a:cxn ang="0">
                    <a:pos x="218" y="69"/>
                  </a:cxn>
                  <a:cxn ang="0">
                    <a:pos x="218" y="475"/>
                  </a:cxn>
                  <a:cxn ang="0">
                    <a:pos x="137" y="475"/>
                  </a:cxn>
                  <a:cxn ang="0">
                    <a:pos x="137" y="69"/>
                  </a:cxn>
                  <a:cxn ang="0">
                    <a:pos x="0" y="69"/>
                  </a:cxn>
                  <a:cxn ang="0">
                    <a:pos x="0" y="0"/>
                  </a:cxn>
                  <a:cxn ang="0">
                    <a:pos x="352" y="0"/>
                  </a:cxn>
                  <a:cxn ang="0">
                    <a:pos x="352" y="69"/>
                  </a:cxn>
                  <a:cxn ang="0">
                    <a:pos x="218" y="69"/>
                  </a:cxn>
                </a:cxnLst>
                <a:rect l="0" t="0" r="r" b="b"/>
                <a:pathLst>
                  <a:path w="352" h="475">
                    <a:moveTo>
                      <a:pt x="218" y="69"/>
                    </a:moveTo>
                    <a:lnTo>
                      <a:pt x="218" y="475"/>
                    </a:lnTo>
                    <a:lnTo>
                      <a:pt x="137" y="475"/>
                    </a:lnTo>
                    <a:lnTo>
                      <a:pt x="137" y="69"/>
                    </a:lnTo>
                    <a:lnTo>
                      <a:pt x="0" y="69"/>
                    </a:lnTo>
                    <a:lnTo>
                      <a:pt x="0" y="0"/>
                    </a:lnTo>
                    <a:lnTo>
                      <a:pt x="352" y="0"/>
                    </a:lnTo>
                    <a:lnTo>
                      <a:pt x="352" y="69"/>
                    </a:lnTo>
                    <a:lnTo>
                      <a:pt x="218" y="6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24" name="Freeform 22"/>
              <p:cNvSpPr>
                <a:spLocks noEditPoints="1"/>
              </p:cNvSpPr>
              <p:nvPr/>
            </p:nvSpPr>
            <p:spPr bwMode="black">
              <a:xfrm>
                <a:off x="2874381" y="5031596"/>
                <a:ext cx="105899" cy="131818"/>
              </a:xfrm>
              <a:custGeom>
                <a:avLst/>
                <a:gdLst/>
                <a:ahLst/>
                <a:cxnLst>
                  <a:cxn ang="0">
                    <a:pos x="89" y="147"/>
                  </a:cxn>
                  <a:cxn ang="0">
                    <a:pos x="89" y="127"/>
                  </a:cxn>
                  <a:cxn ang="0">
                    <a:pos x="88" y="127"/>
                  </a:cxn>
                  <a:cxn ang="0">
                    <a:pos x="70" y="145"/>
                  </a:cxn>
                  <a:cxn ang="0">
                    <a:pos x="45" y="151"/>
                  </a:cxn>
                  <a:cxn ang="0">
                    <a:pos x="26" y="148"/>
                  </a:cxn>
                  <a:cxn ang="0">
                    <a:pos x="12" y="139"/>
                  </a:cxn>
                  <a:cxn ang="0">
                    <a:pos x="3" y="125"/>
                  </a:cxn>
                  <a:cxn ang="0">
                    <a:pos x="0" y="108"/>
                  </a:cxn>
                  <a:cxn ang="0">
                    <a:pos x="2"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6"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2" y="139"/>
                    </a:cubicBezTo>
                    <a:cubicBezTo>
                      <a:pt x="8" y="135"/>
                      <a:pt x="5" y="131"/>
                      <a:pt x="3" y="125"/>
                    </a:cubicBezTo>
                    <a:cubicBezTo>
                      <a:pt x="1" y="120"/>
                      <a:pt x="0" y="114"/>
                      <a:pt x="0" y="108"/>
                    </a:cubicBezTo>
                    <a:cubicBezTo>
                      <a:pt x="0" y="102"/>
                      <a:pt x="1" y="96"/>
                      <a:pt x="2" y="91"/>
                    </a:cubicBezTo>
                    <a:cubicBezTo>
                      <a:pt x="4" y="85"/>
                      <a:pt x="7" y="81"/>
                      <a:pt x="11" y="76"/>
                    </a:cubicBezTo>
                    <a:cubicBezTo>
                      <a:pt x="15" y="72"/>
                      <a:pt x="19" y="69"/>
                      <a:pt x="25" y="66"/>
                    </a:cubicBezTo>
                    <a:cubicBezTo>
                      <a:pt x="31" y="63"/>
                      <a:pt x="38" y="61"/>
                      <a:pt x="47" y="60"/>
                    </a:cubicBezTo>
                    <a:cubicBezTo>
                      <a:pt x="89" y="55"/>
                      <a:pt x="89" y="55"/>
                      <a:pt x="89" y="55"/>
                    </a:cubicBezTo>
                    <a:cubicBezTo>
                      <a:pt x="89" y="44"/>
                      <a:pt x="86"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2" y="19"/>
                      <a:pt x="115" y="25"/>
                      <a:pt x="117" y="32"/>
                    </a:cubicBezTo>
                    <a:cubicBezTo>
                      <a:pt x="119" y="39"/>
                      <a:pt x="121" y="47"/>
                      <a:pt x="121" y="56"/>
                    </a:cubicBezTo>
                    <a:cubicBezTo>
                      <a:pt x="121" y="147"/>
                      <a:pt x="121" y="147"/>
                      <a:pt x="121" y="147"/>
                    </a:cubicBezTo>
                    <a:lnTo>
                      <a:pt x="89" y="147"/>
                    </a:lnTo>
                    <a:close/>
                    <a:moveTo>
                      <a:pt x="58" y="81"/>
                    </a:moveTo>
                    <a:cubicBezTo>
                      <a:pt x="52"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25" name="Freeform 23"/>
              <p:cNvSpPr>
                <a:spLocks/>
              </p:cNvSpPr>
              <p:nvPr/>
            </p:nvSpPr>
            <p:spPr bwMode="black">
              <a:xfrm>
                <a:off x="3007310" y="4973833"/>
                <a:ext cx="115526" cy="186249"/>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0"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0" y="163"/>
                    </a:lnTo>
                    <a:lnTo>
                      <a:pt x="156" y="326"/>
                    </a:lnTo>
                    <a:lnTo>
                      <a:pt x="312"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05" name="Group 104"/>
            <p:cNvGrpSpPr/>
            <p:nvPr/>
          </p:nvGrpSpPr>
          <p:grpSpPr bwMode="black">
            <a:xfrm>
              <a:off x="7912009" y="3108052"/>
              <a:ext cx="1082219" cy="207533"/>
              <a:chOff x="5953627" y="6205329"/>
              <a:chExt cx="1086337" cy="215543"/>
            </a:xfrm>
            <a:grpFill/>
            <a:effectLst/>
          </p:grpSpPr>
          <p:sp>
            <p:nvSpPr>
              <p:cNvPr id="212" name="Freeform 24"/>
              <p:cNvSpPr>
                <a:spLocks/>
              </p:cNvSpPr>
              <p:nvPr/>
            </p:nvSpPr>
            <p:spPr bwMode="black">
              <a:xfrm>
                <a:off x="5953627" y="6214946"/>
                <a:ext cx="116725" cy="157181"/>
              </a:xfrm>
              <a:custGeom>
                <a:avLst/>
                <a:gdLst/>
                <a:ahLst/>
                <a:cxnLst>
                  <a:cxn ang="0">
                    <a:pos x="215" y="68"/>
                  </a:cxn>
                  <a:cxn ang="0">
                    <a:pos x="215" y="474"/>
                  </a:cxn>
                  <a:cxn ang="0">
                    <a:pos x="134" y="474"/>
                  </a:cxn>
                  <a:cxn ang="0">
                    <a:pos x="134" y="68"/>
                  </a:cxn>
                  <a:cxn ang="0">
                    <a:pos x="0" y="68"/>
                  </a:cxn>
                  <a:cxn ang="0">
                    <a:pos x="0" y="0"/>
                  </a:cxn>
                  <a:cxn ang="0">
                    <a:pos x="352" y="0"/>
                  </a:cxn>
                  <a:cxn ang="0">
                    <a:pos x="352" y="68"/>
                  </a:cxn>
                  <a:cxn ang="0">
                    <a:pos x="215" y="68"/>
                  </a:cxn>
                </a:cxnLst>
                <a:rect l="0" t="0" r="r" b="b"/>
                <a:pathLst>
                  <a:path w="352" h="474">
                    <a:moveTo>
                      <a:pt x="215" y="68"/>
                    </a:moveTo>
                    <a:lnTo>
                      <a:pt x="215" y="474"/>
                    </a:lnTo>
                    <a:lnTo>
                      <a:pt x="134" y="474"/>
                    </a:lnTo>
                    <a:lnTo>
                      <a:pt x="134" y="68"/>
                    </a:lnTo>
                    <a:lnTo>
                      <a:pt x="0" y="68"/>
                    </a:lnTo>
                    <a:lnTo>
                      <a:pt x="0" y="0"/>
                    </a:lnTo>
                    <a:lnTo>
                      <a:pt x="352" y="0"/>
                    </a:lnTo>
                    <a:lnTo>
                      <a:pt x="352" y="68"/>
                    </a:lnTo>
                    <a:lnTo>
                      <a:pt x="215" y="68"/>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13" name="Freeform 25"/>
              <p:cNvSpPr>
                <a:spLocks noEditPoints="1"/>
              </p:cNvSpPr>
              <p:nvPr/>
            </p:nvSpPr>
            <p:spPr bwMode="black">
              <a:xfrm>
                <a:off x="6046808" y="6257059"/>
                <a:ext cx="102466" cy="118383"/>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9" y="144"/>
                      <a:pt x="105" y="145"/>
                      <a:pt x="100" y="146"/>
                    </a:cubicBezTo>
                    <a:cubicBezTo>
                      <a:pt x="96" y="148"/>
                      <a:pt x="91" y="149"/>
                      <a:pt x="86" y="149"/>
                    </a:cubicBezTo>
                    <a:cubicBezTo>
                      <a:pt x="80" y="150"/>
                      <a:pt x="75"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9" y="0"/>
                      <a:pt x="88" y="2"/>
                      <a:pt x="96" y="5"/>
                    </a:cubicBezTo>
                    <a:cubicBezTo>
                      <a:pt x="103" y="8"/>
                      <a:pt x="110" y="13"/>
                      <a:pt x="115" y="19"/>
                    </a:cubicBezTo>
                    <a:cubicBezTo>
                      <a:pt x="120" y="25"/>
                      <a:pt x="124" y="32"/>
                      <a:pt x="127" y="41"/>
                    </a:cubicBezTo>
                    <a:cubicBezTo>
                      <a:pt x="130"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14" name="Freeform 26"/>
              <p:cNvSpPr>
                <a:spLocks/>
              </p:cNvSpPr>
              <p:nvPr/>
            </p:nvSpPr>
            <p:spPr bwMode="black">
              <a:xfrm>
                <a:off x="6161875" y="6257059"/>
                <a:ext cx="73616" cy="163813"/>
              </a:xfrm>
              <a:custGeom>
                <a:avLst/>
                <a:gdLst/>
                <a:ahLst/>
                <a:cxnLst>
                  <a:cxn ang="0">
                    <a:pos x="73" y="192"/>
                  </a:cxn>
                  <a:cxn ang="0">
                    <a:pos x="53" y="207"/>
                  </a:cxn>
                  <a:cxn ang="0">
                    <a:pos x="29" y="209"/>
                  </a:cxn>
                  <a:cxn ang="0">
                    <a:pos x="24" y="193"/>
                  </a:cxn>
                  <a:cxn ang="0">
                    <a:pos x="34" y="194"/>
                  </a:cxn>
                  <a:cxn ang="0">
                    <a:pos x="48" y="190"/>
                  </a:cxn>
                  <a:cxn ang="0">
                    <a:pos x="52" y="182"/>
                  </a:cxn>
                  <a:cxn ang="0">
                    <a:pos x="48" y="175"/>
                  </a:cxn>
                  <a:cxn ang="0">
                    <a:pos x="35" y="172"/>
                  </a:cxn>
                  <a:cxn ang="0">
                    <a:pos x="30" y="172"/>
                  </a:cxn>
                  <a:cxn ang="0">
                    <a:pos x="22" y="149"/>
                  </a:cxn>
                  <a:cxn ang="0">
                    <a:pos x="6" y="145"/>
                  </a:cxn>
                  <a:cxn ang="0">
                    <a:pos x="0" y="112"/>
                  </a:cxn>
                  <a:cxn ang="0">
                    <a:pos x="19" y="122"/>
                  </a:cxn>
                  <a:cxn ang="0">
                    <a:pos x="38" y="125"/>
                  </a:cxn>
                  <a:cxn ang="0">
                    <a:pos x="62" y="110"/>
                  </a:cxn>
                  <a:cxn ang="0">
                    <a:pos x="57" y="98"/>
                  </a:cxn>
                  <a:cxn ang="0">
                    <a:pos x="34" y="86"/>
                  </a:cxn>
                  <a:cxn ang="0">
                    <a:pos x="9" y="70"/>
                  </a:cxn>
                  <a:cxn ang="0">
                    <a:pos x="0" y="44"/>
                  </a:cxn>
                  <a:cxn ang="0">
                    <a:pos x="14" y="12"/>
                  </a:cxn>
                  <a:cxn ang="0">
                    <a:pos x="54" y="0"/>
                  </a:cxn>
                  <a:cxn ang="0">
                    <a:pos x="72" y="2"/>
                  </a:cxn>
                  <a:cxn ang="0">
                    <a:pos x="87" y="6"/>
                  </a:cxn>
                  <a:cxn ang="0">
                    <a:pos x="79" y="31"/>
                  </a:cxn>
                  <a:cxn ang="0">
                    <a:pos x="62" y="26"/>
                  </a:cxn>
                  <a:cxn ang="0">
                    <a:pos x="38" y="30"/>
                  </a:cxn>
                  <a:cxn ang="0">
                    <a:pos x="34" y="48"/>
                  </a:cxn>
                  <a:cxn ang="0">
                    <a:pos x="46" y="58"/>
                  </a:cxn>
                  <a:cxn ang="0">
                    <a:pos x="72" y="70"/>
                  </a:cxn>
                  <a:cxn ang="0">
                    <a:pos x="92" y="91"/>
                  </a:cxn>
                  <a:cxn ang="0">
                    <a:pos x="92" y="121"/>
                  </a:cxn>
                  <a:cxn ang="0">
                    <a:pos x="69" y="144"/>
                  </a:cxn>
                  <a:cxn ang="0">
                    <a:pos x="50" y="160"/>
                  </a:cxn>
                  <a:cxn ang="0">
                    <a:pos x="69" y="167"/>
                  </a:cxn>
                  <a:cxn ang="0">
                    <a:pos x="75" y="182"/>
                  </a:cxn>
                </a:cxnLst>
                <a:rect l="0" t="0" r="r" b="b"/>
                <a:pathLst>
                  <a:path w="94" h="209">
                    <a:moveTo>
                      <a:pt x="75" y="182"/>
                    </a:moveTo>
                    <a:cubicBezTo>
                      <a:pt x="75" y="186"/>
                      <a:pt x="75" y="189"/>
                      <a:pt x="73" y="192"/>
                    </a:cubicBezTo>
                    <a:cubicBezTo>
                      <a:pt x="72" y="196"/>
                      <a:pt x="69" y="199"/>
                      <a:pt x="66" y="201"/>
                    </a:cubicBezTo>
                    <a:cubicBezTo>
                      <a:pt x="63" y="203"/>
                      <a:pt x="58" y="205"/>
                      <a:pt x="53" y="207"/>
                    </a:cubicBezTo>
                    <a:cubicBezTo>
                      <a:pt x="48" y="208"/>
                      <a:pt x="42" y="209"/>
                      <a:pt x="34" y="209"/>
                    </a:cubicBezTo>
                    <a:cubicBezTo>
                      <a:pt x="33" y="209"/>
                      <a:pt x="31" y="209"/>
                      <a:pt x="29" y="209"/>
                    </a:cubicBezTo>
                    <a:cubicBezTo>
                      <a:pt x="28" y="209"/>
                      <a:pt x="26" y="209"/>
                      <a:pt x="24" y="208"/>
                    </a:cubicBezTo>
                    <a:cubicBezTo>
                      <a:pt x="24" y="193"/>
                      <a:pt x="24" y="193"/>
                      <a:pt x="24" y="193"/>
                    </a:cubicBezTo>
                    <a:cubicBezTo>
                      <a:pt x="26" y="194"/>
                      <a:pt x="28" y="194"/>
                      <a:pt x="29" y="194"/>
                    </a:cubicBezTo>
                    <a:cubicBezTo>
                      <a:pt x="31" y="194"/>
                      <a:pt x="32" y="194"/>
                      <a:pt x="34" y="194"/>
                    </a:cubicBezTo>
                    <a:cubicBezTo>
                      <a:pt x="37" y="194"/>
                      <a:pt x="40" y="193"/>
                      <a:pt x="42" y="193"/>
                    </a:cubicBezTo>
                    <a:cubicBezTo>
                      <a:pt x="44" y="192"/>
                      <a:pt x="46" y="191"/>
                      <a:pt x="48" y="190"/>
                    </a:cubicBezTo>
                    <a:cubicBezTo>
                      <a:pt x="49" y="189"/>
                      <a:pt x="50" y="188"/>
                      <a:pt x="51" y="186"/>
                    </a:cubicBezTo>
                    <a:cubicBezTo>
                      <a:pt x="51" y="185"/>
                      <a:pt x="52" y="183"/>
                      <a:pt x="52" y="182"/>
                    </a:cubicBezTo>
                    <a:cubicBezTo>
                      <a:pt x="52" y="181"/>
                      <a:pt x="52" y="180"/>
                      <a:pt x="51" y="179"/>
                    </a:cubicBezTo>
                    <a:cubicBezTo>
                      <a:pt x="50" y="177"/>
                      <a:pt x="49" y="176"/>
                      <a:pt x="48" y="175"/>
                    </a:cubicBezTo>
                    <a:cubicBezTo>
                      <a:pt x="47" y="174"/>
                      <a:pt x="45" y="174"/>
                      <a:pt x="43" y="173"/>
                    </a:cubicBezTo>
                    <a:cubicBezTo>
                      <a:pt x="41" y="172"/>
                      <a:pt x="38" y="172"/>
                      <a:pt x="35" y="172"/>
                    </a:cubicBezTo>
                    <a:cubicBezTo>
                      <a:pt x="35" y="172"/>
                      <a:pt x="34" y="172"/>
                      <a:pt x="33" y="172"/>
                    </a:cubicBezTo>
                    <a:cubicBezTo>
                      <a:pt x="32" y="172"/>
                      <a:pt x="31" y="172"/>
                      <a:pt x="30" y="172"/>
                    </a:cubicBezTo>
                    <a:cubicBezTo>
                      <a:pt x="30" y="150"/>
                      <a:pt x="30" y="150"/>
                      <a:pt x="30" y="150"/>
                    </a:cubicBezTo>
                    <a:cubicBezTo>
                      <a:pt x="28" y="150"/>
                      <a:pt x="25" y="150"/>
                      <a:pt x="22" y="149"/>
                    </a:cubicBezTo>
                    <a:cubicBezTo>
                      <a:pt x="19" y="149"/>
                      <a:pt x="17" y="148"/>
                      <a:pt x="14" y="147"/>
                    </a:cubicBezTo>
                    <a:cubicBezTo>
                      <a:pt x="11" y="147"/>
                      <a:pt x="9" y="146"/>
                      <a:pt x="6" y="145"/>
                    </a:cubicBezTo>
                    <a:cubicBezTo>
                      <a:pt x="4" y="144"/>
                      <a:pt x="1" y="144"/>
                      <a:pt x="0" y="143"/>
                    </a:cubicBezTo>
                    <a:cubicBezTo>
                      <a:pt x="0" y="112"/>
                      <a:pt x="0" y="112"/>
                      <a:pt x="0" y="112"/>
                    </a:cubicBezTo>
                    <a:cubicBezTo>
                      <a:pt x="3" y="114"/>
                      <a:pt x="6" y="116"/>
                      <a:pt x="9" y="118"/>
                    </a:cubicBezTo>
                    <a:cubicBezTo>
                      <a:pt x="12" y="119"/>
                      <a:pt x="16" y="121"/>
                      <a:pt x="19" y="122"/>
                    </a:cubicBezTo>
                    <a:cubicBezTo>
                      <a:pt x="23" y="123"/>
                      <a:pt x="26" y="124"/>
                      <a:pt x="29"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4"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0"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4" y="100"/>
                      <a:pt x="94" y="106"/>
                    </a:cubicBezTo>
                    <a:cubicBezTo>
                      <a:pt x="94" y="111"/>
                      <a:pt x="94" y="117"/>
                      <a:pt x="92" y="121"/>
                    </a:cubicBezTo>
                    <a:cubicBezTo>
                      <a:pt x="90" y="126"/>
                      <a:pt x="87" y="131"/>
                      <a:pt x="83" y="135"/>
                    </a:cubicBezTo>
                    <a:cubicBezTo>
                      <a:pt x="80" y="138"/>
                      <a:pt x="75" y="142"/>
                      <a:pt x="69" y="144"/>
                    </a:cubicBezTo>
                    <a:cubicBezTo>
                      <a:pt x="64" y="147"/>
                      <a:pt x="58" y="149"/>
                      <a:pt x="50" y="150"/>
                    </a:cubicBezTo>
                    <a:cubicBezTo>
                      <a:pt x="50" y="160"/>
                      <a:pt x="50" y="160"/>
                      <a:pt x="50" y="160"/>
                    </a:cubicBezTo>
                    <a:cubicBezTo>
                      <a:pt x="55" y="160"/>
                      <a:pt x="58" y="161"/>
                      <a:pt x="61" y="162"/>
                    </a:cubicBezTo>
                    <a:cubicBezTo>
                      <a:pt x="65" y="163"/>
                      <a:pt x="67" y="165"/>
                      <a:pt x="69" y="167"/>
                    </a:cubicBezTo>
                    <a:cubicBezTo>
                      <a:pt x="71" y="169"/>
                      <a:pt x="73" y="171"/>
                      <a:pt x="74" y="174"/>
                    </a:cubicBezTo>
                    <a:cubicBezTo>
                      <a:pt x="75" y="176"/>
                      <a:pt x="75" y="179"/>
                      <a:pt x="75" y="18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15" name="Freeform 27"/>
              <p:cNvSpPr>
                <a:spLocks noEditPoints="1"/>
              </p:cNvSpPr>
              <p:nvPr/>
            </p:nvSpPr>
            <p:spPr bwMode="black">
              <a:xfrm>
                <a:off x="6247097" y="6257059"/>
                <a:ext cx="102797" cy="118383"/>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2"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9"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16" name="Freeform 28"/>
              <p:cNvSpPr>
                <a:spLocks/>
              </p:cNvSpPr>
              <p:nvPr/>
            </p:nvSpPr>
            <p:spPr bwMode="black">
              <a:xfrm>
                <a:off x="6369459" y="6205329"/>
                <a:ext cx="103461" cy="166797"/>
              </a:xfrm>
              <a:custGeom>
                <a:avLst/>
                <a:gdLst/>
                <a:ahLst/>
                <a:cxnLst>
                  <a:cxn ang="0">
                    <a:pos x="212" y="503"/>
                  </a:cxn>
                  <a:cxn ang="0">
                    <a:pos x="78" y="340"/>
                  </a:cxn>
                  <a:cxn ang="0">
                    <a:pos x="78" y="340"/>
                  </a:cxn>
                  <a:cxn ang="0">
                    <a:pos x="78" y="503"/>
                  </a:cxn>
                  <a:cxn ang="0">
                    <a:pos x="0" y="503"/>
                  </a:cxn>
                  <a:cxn ang="0">
                    <a:pos x="0" y="0"/>
                  </a:cxn>
                  <a:cxn ang="0">
                    <a:pos x="78" y="0"/>
                  </a:cxn>
                  <a:cxn ang="0">
                    <a:pos x="78" y="319"/>
                  </a:cxn>
                  <a:cxn ang="0">
                    <a:pos x="78" y="319"/>
                  </a:cxn>
                  <a:cxn ang="0">
                    <a:pos x="205" y="163"/>
                  </a:cxn>
                  <a:cxn ang="0">
                    <a:pos x="302" y="163"/>
                  </a:cxn>
                  <a:cxn ang="0">
                    <a:pos x="156" y="326"/>
                  </a:cxn>
                  <a:cxn ang="0">
                    <a:pos x="312" y="503"/>
                  </a:cxn>
                  <a:cxn ang="0">
                    <a:pos x="212" y="503"/>
                  </a:cxn>
                </a:cxnLst>
                <a:rect l="0" t="0" r="r" b="b"/>
                <a:pathLst>
                  <a:path w="312" h="503">
                    <a:moveTo>
                      <a:pt x="212" y="503"/>
                    </a:moveTo>
                    <a:lnTo>
                      <a:pt x="78" y="340"/>
                    </a:lnTo>
                    <a:lnTo>
                      <a:pt x="78" y="340"/>
                    </a:lnTo>
                    <a:lnTo>
                      <a:pt x="78" y="503"/>
                    </a:lnTo>
                    <a:lnTo>
                      <a:pt x="0" y="503"/>
                    </a:lnTo>
                    <a:lnTo>
                      <a:pt x="0" y="0"/>
                    </a:lnTo>
                    <a:lnTo>
                      <a:pt x="78" y="0"/>
                    </a:lnTo>
                    <a:lnTo>
                      <a:pt x="78" y="319"/>
                    </a:lnTo>
                    <a:lnTo>
                      <a:pt x="78" y="319"/>
                    </a:lnTo>
                    <a:lnTo>
                      <a:pt x="205" y="163"/>
                    </a:lnTo>
                    <a:lnTo>
                      <a:pt x="302" y="163"/>
                    </a:lnTo>
                    <a:lnTo>
                      <a:pt x="156" y="326"/>
                    </a:lnTo>
                    <a:lnTo>
                      <a:pt x="312" y="503"/>
                    </a:lnTo>
                    <a:lnTo>
                      <a:pt x="212"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17" name="Freeform 29"/>
              <p:cNvSpPr>
                <a:spLocks/>
              </p:cNvSpPr>
              <p:nvPr/>
            </p:nvSpPr>
            <p:spPr bwMode="black">
              <a:xfrm>
                <a:off x="6484526" y="6205329"/>
                <a:ext cx="104124" cy="166797"/>
              </a:xfrm>
              <a:custGeom>
                <a:avLst/>
                <a:gdLst/>
                <a:ahLst/>
                <a:cxnLst>
                  <a:cxn ang="0">
                    <a:pos x="213" y="503"/>
                  </a:cxn>
                  <a:cxn ang="0">
                    <a:pos x="78" y="340"/>
                  </a:cxn>
                  <a:cxn ang="0">
                    <a:pos x="78" y="340"/>
                  </a:cxn>
                  <a:cxn ang="0">
                    <a:pos x="78" y="503"/>
                  </a:cxn>
                  <a:cxn ang="0">
                    <a:pos x="0" y="503"/>
                  </a:cxn>
                  <a:cxn ang="0">
                    <a:pos x="0" y="0"/>
                  </a:cxn>
                  <a:cxn ang="0">
                    <a:pos x="78" y="0"/>
                  </a:cxn>
                  <a:cxn ang="0">
                    <a:pos x="78" y="319"/>
                  </a:cxn>
                  <a:cxn ang="0">
                    <a:pos x="78" y="319"/>
                  </a:cxn>
                  <a:cxn ang="0">
                    <a:pos x="206" y="163"/>
                  </a:cxn>
                  <a:cxn ang="0">
                    <a:pos x="302" y="163"/>
                  </a:cxn>
                  <a:cxn ang="0">
                    <a:pos x="158" y="326"/>
                  </a:cxn>
                  <a:cxn ang="0">
                    <a:pos x="314" y="503"/>
                  </a:cxn>
                  <a:cxn ang="0">
                    <a:pos x="213" y="503"/>
                  </a:cxn>
                </a:cxnLst>
                <a:rect l="0" t="0" r="r" b="b"/>
                <a:pathLst>
                  <a:path w="314" h="503">
                    <a:moveTo>
                      <a:pt x="213" y="503"/>
                    </a:moveTo>
                    <a:lnTo>
                      <a:pt x="78" y="340"/>
                    </a:lnTo>
                    <a:lnTo>
                      <a:pt x="78" y="340"/>
                    </a:lnTo>
                    <a:lnTo>
                      <a:pt x="78" y="503"/>
                    </a:lnTo>
                    <a:lnTo>
                      <a:pt x="0" y="503"/>
                    </a:lnTo>
                    <a:lnTo>
                      <a:pt x="0" y="0"/>
                    </a:lnTo>
                    <a:lnTo>
                      <a:pt x="78" y="0"/>
                    </a:lnTo>
                    <a:lnTo>
                      <a:pt x="78" y="319"/>
                    </a:lnTo>
                    <a:lnTo>
                      <a:pt x="78" y="319"/>
                    </a:lnTo>
                    <a:lnTo>
                      <a:pt x="206" y="163"/>
                    </a:lnTo>
                    <a:lnTo>
                      <a:pt x="302" y="163"/>
                    </a:lnTo>
                    <a:lnTo>
                      <a:pt x="158" y="326"/>
                    </a:lnTo>
                    <a:lnTo>
                      <a:pt x="314" y="503"/>
                    </a:lnTo>
                    <a:lnTo>
                      <a:pt x="213"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18" name="Freeform 30"/>
              <p:cNvSpPr>
                <a:spLocks noEditPoints="1"/>
              </p:cNvSpPr>
              <p:nvPr/>
            </p:nvSpPr>
            <p:spPr bwMode="black">
              <a:xfrm>
                <a:off x="6597272" y="6212293"/>
                <a:ext cx="100476" cy="163149"/>
              </a:xfrm>
              <a:custGeom>
                <a:avLst/>
                <a:gdLst/>
                <a:ahLst/>
                <a:cxnLst>
                  <a:cxn ang="0">
                    <a:pos x="95" y="204"/>
                  </a:cxn>
                  <a:cxn ang="0">
                    <a:pos x="95" y="183"/>
                  </a:cxn>
                  <a:cxn ang="0">
                    <a:pos x="95" y="183"/>
                  </a:cxn>
                  <a:cxn ang="0">
                    <a:pos x="88" y="192"/>
                  </a:cxn>
                  <a:cxn ang="0">
                    <a:pos x="78" y="200"/>
                  </a:cxn>
                  <a:cxn ang="0">
                    <a:pos x="66" y="206"/>
                  </a:cxn>
                  <a:cxn ang="0">
                    <a:pos x="51" y="208"/>
                  </a:cxn>
                  <a:cxn ang="0">
                    <a:pos x="13" y="193"/>
                  </a:cxn>
                  <a:cxn ang="0">
                    <a:pos x="0" y="148"/>
                  </a:cxn>
                  <a:cxn ang="0">
                    <a:pos x="0" y="60"/>
                  </a:cxn>
                  <a:cxn ang="0">
                    <a:pos x="33" y="60"/>
                  </a:cxn>
                  <a:cxn ang="0">
                    <a:pos x="33" y="144"/>
                  </a:cxn>
                  <a:cxn ang="0">
                    <a:pos x="35" y="161"/>
                  </a:cxn>
                  <a:cxn ang="0">
                    <a:pos x="41" y="173"/>
                  </a:cxn>
                  <a:cxn ang="0">
                    <a:pos x="51" y="179"/>
                  </a:cxn>
                  <a:cxn ang="0">
                    <a:pos x="63" y="181"/>
                  </a:cxn>
                  <a:cxn ang="0">
                    <a:pos x="75" y="179"/>
                  </a:cxn>
                  <a:cxn ang="0">
                    <a:pos x="86" y="171"/>
                  </a:cxn>
                  <a:cxn ang="0">
                    <a:pos x="93" y="160"/>
                  </a:cxn>
                  <a:cxn ang="0">
                    <a:pos x="95" y="144"/>
                  </a:cxn>
                  <a:cxn ang="0">
                    <a:pos x="95" y="60"/>
                  </a:cxn>
                  <a:cxn ang="0">
                    <a:pos x="128" y="60"/>
                  </a:cxn>
                  <a:cxn ang="0">
                    <a:pos x="128" y="204"/>
                  </a:cxn>
                  <a:cxn ang="0">
                    <a:pos x="95" y="204"/>
                  </a:cxn>
                  <a:cxn ang="0">
                    <a:pos x="53" y="17"/>
                  </a:cxn>
                  <a:cxn ang="0">
                    <a:pos x="52" y="23"/>
                  </a:cxn>
                  <a:cxn ang="0">
                    <a:pos x="48" y="28"/>
                  </a:cxn>
                  <a:cxn ang="0">
                    <a:pos x="43" y="32"/>
                  </a:cxn>
                  <a:cxn ang="0">
                    <a:pos x="36" y="33"/>
                  </a:cxn>
                  <a:cxn ang="0">
                    <a:pos x="29" y="32"/>
                  </a:cxn>
                  <a:cxn ang="0">
                    <a:pos x="23" y="28"/>
                  </a:cxn>
                  <a:cxn ang="0">
                    <a:pos x="20" y="23"/>
                  </a:cxn>
                  <a:cxn ang="0">
                    <a:pos x="18" y="17"/>
                  </a:cxn>
                  <a:cxn ang="0">
                    <a:pos x="20" y="10"/>
                  </a:cxn>
                  <a:cxn ang="0">
                    <a:pos x="23" y="5"/>
                  </a:cxn>
                  <a:cxn ang="0">
                    <a:pos x="29" y="1"/>
                  </a:cxn>
                  <a:cxn ang="0">
                    <a:pos x="36" y="0"/>
                  </a:cxn>
                  <a:cxn ang="0">
                    <a:pos x="43" y="1"/>
                  </a:cxn>
                  <a:cxn ang="0">
                    <a:pos x="48" y="5"/>
                  </a:cxn>
                  <a:cxn ang="0">
                    <a:pos x="52" y="10"/>
                  </a:cxn>
                  <a:cxn ang="0">
                    <a:pos x="53" y="17"/>
                  </a:cxn>
                  <a:cxn ang="0">
                    <a:pos x="113" y="17"/>
                  </a:cxn>
                  <a:cxn ang="0">
                    <a:pos x="111" y="23"/>
                  </a:cxn>
                  <a:cxn ang="0">
                    <a:pos x="108" y="28"/>
                  </a:cxn>
                  <a:cxn ang="0">
                    <a:pos x="102" y="32"/>
                  </a:cxn>
                  <a:cxn ang="0">
                    <a:pos x="95" y="33"/>
                  </a:cxn>
                  <a:cxn ang="0">
                    <a:pos x="88" y="32"/>
                  </a:cxn>
                  <a:cxn ang="0">
                    <a:pos x="83" y="28"/>
                  </a:cxn>
                  <a:cxn ang="0">
                    <a:pos x="79" y="23"/>
                  </a:cxn>
                  <a:cxn ang="0">
                    <a:pos x="78" y="17"/>
                  </a:cxn>
                  <a:cxn ang="0">
                    <a:pos x="79" y="10"/>
                  </a:cxn>
                  <a:cxn ang="0">
                    <a:pos x="83" y="5"/>
                  </a:cxn>
                  <a:cxn ang="0">
                    <a:pos x="88" y="1"/>
                  </a:cxn>
                  <a:cxn ang="0">
                    <a:pos x="95" y="0"/>
                  </a:cxn>
                  <a:cxn ang="0">
                    <a:pos x="102" y="1"/>
                  </a:cxn>
                  <a:cxn ang="0">
                    <a:pos x="108" y="5"/>
                  </a:cxn>
                  <a:cxn ang="0">
                    <a:pos x="111" y="10"/>
                  </a:cxn>
                  <a:cxn ang="0">
                    <a:pos x="113" y="17"/>
                  </a:cxn>
                </a:cxnLst>
                <a:rect l="0" t="0" r="r" b="b"/>
                <a:pathLst>
                  <a:path w="128" h="208">
                    <a:moveTo>
                      <a:pt x="95" y="204"/>
                    </a:moveTo>
                    <a:cubicBezTo>
                      <a:pt x="95" y="183"/>
                      <a:pt x="95" y="183"/>
                      <a:pt x="95" y="183"/>
                    </a:cubicBezTo>
                    <a:cubicBezTo>
                      <a:pt x="95" y="183"/>
                      <a:pt x="95" y="183"/>
                      <a:pt x="95" y="183"/>
                    </a:cubicBezTo>
                    <a:cubicBezTo>
                      <a:pt x="93" y="186"/>
                      <a:pt x="90" y="189"/>
                      <a:pt x="88" y="192"/>
                    </a:cubicBezTo>
                    <a:cubicBezTo>
                      <a:pt x="85" y="195"/>
                      <a:pt x="82" y="198"/>
                      <a:pt x="78" y="200"/>
                    </a:cubicBezTo>
                    <a:cubicBezTo>
                      <a:pt x="74" y="203"/>
                      <a:pt x="70" y="204"/>
                      <a:pt x="66" y="206"/>
                    </a:cubicBezTo>
                    <a:cubicBezTo>
                      <a:pt x="61" y="207"/>
                      <a:pt x="57" y="208"/>
                      <a:pt x="51" y="208"/>
                    </a:cubicBezTo>
                    <a:cubicBezTo>
                      <a:pt x="35" y="208"/>
                      <a:pt x="22" y="203"/>
                      <a:pt x="13" y="193"/>
                    </a:cubicBezTo>
                    <a:cubicBezTo>
                      <a:pt x="4" y="183"/>
                      <a:pt x="0" y="168"/>
                      <a:pt x="0" y="148"/>
                    </a:cubicBezTo>
                    <a:cubicBezTo>
                      <a:pt x="0" y="60"/>
                      <a:pt x="0" y="60"/>
                      <a:pt x="0" y="60"/>
                    </a:cubicBezTo>
                    <a:cubicBezTo>
                      <a:pt x="33" y="60"/>
                      <a:pt x="33" y="60"/>
                      <a:pt x="33" y="60"/>
                    </a:cubicBezTo>
                    <a:cubicBezTo>
                      <a:pt x="33" y="144"/>
                      <a:pt x="33" y="144"/>
                      <a:pt x="33" y="144"/>
                    </a:cubicBezTo>
                    <a:cubicBezTo>
                      <a:pt x="33" y="150"/>
                      <a:pt x="34" y="156"/>
                      <a:pt x="35" y="161"/>
                    </a:cubicBezTo>
                    <a:cubicBezTo>
                      <a:pt x="36" y="166"/>
                      <a:pt x="38" y="170"/>
                      <a:pt x="41" y="173"/>
                    </a:cubicBezTo>
                    <a:cubicBezTo>
                      <a:pt x="44" y="176"/>
                      <a:pt x="47" y="178"/>
                      <a:pt x="51" y="179"/>
                    </a:cubicBezTo>
                    <a:cubicBezTo>
                      <a:pt x="54" y="180"/>
                      <a:pt x="58" y="181"/>
                      <a:pt x="63" y="181"/>
                    </a:cubicBezTo>
                    <a:cubicBezTo>
                      <a:pt x="67" y="181"/>
                      <a:pt x="71" y="180"/>
                      <a:pt x="75" y="179"/>
                    </a:cubicBezTo>
                    <a:cubicBezTo>
                      <a:pt x="79" y="177"/>
                      <a:pt x="83" y="175"/>
                      <a:pt x="86" y="171"/>
                    </a:cubicBezTo>
                    <a:cubicBezTo>
                      <a:pt x="89" y="168"/>
                      <a:pt x="91" y="164"/>
                      <a:pt x="93" y="160"/>
                    </a:cubicBezTo>
                    <a:cubicBezTo>
                      <a:pt x="95" y="155"/>
                      <a:pt x="95" y="149"/>
                      <a:pt x="95" y="144"/>
                    </a:cubicBezTo>
                    <a:cubicBezTo>
                      <a:pt x="95" y="60"/>
                      <a:pt x="95" y="60"/>
                      <a:pt x="95" y="60"/>
                    </a:cubicBezTo>
                    <a:cubicBezTo>
                      <a:pt x="128" y="60"/>
                      <a:pt x="128" y="60"/>
                      <a:pt x="128" y="60"/>
                    </a:cubicBezTo>
                    <a:cubicBezTo>
                      <a:pt x="128" y="204"/>
                      <a:pt x="128" y="204"/>
                      <a:pt x="128" y="204"/>
                    </a:cubicBezTo>
                    <a:lnTo>
                      <a:pt x="95" y="204"/>
                    </a:lnTo>
                    <a:close/>
                    <a:moveTo>
                      <a:pt x="53" y="17"/>
                    </a:moveTo>
                    <a:cubicBezTo>
                      <a:pt x="53" y="19"/>
                      <a:pt x="53" y="21"/>
                      <a:pt x="52" y="23"/>
                    </a:cubicBezTo>
                    <a:cubicBezTo>
                      <a:pt x="51" y="25"/>
                      <a:pt x="50" y="27"/>
                      <a:pt x="48" y="28"/>
                    </a:cubicBezTo>
                    <a:cubicBezTo>
                      <a:pt x="47" y="30"/>
                      <a:pt x="45" y="31"/>
                      <a:pt x="43" y="32"/>
                    </a:cubicBezTo>
                    <a:cubicBezTo>
                      <a:pt x="41" y="33"/>
                      <a:pt x="38" y="33"/>
                      <a:pt x="36" y="33"/>
                    </a:cubicBezTo>
                    <a:cubicBezTo>
                      <a:pt x="33" y="33"/>
                      <a:pt x="31" y="33"/>
                      <a:pt x="29" y="32"/>
                    </a:cubicBezTo>
                    <a:cubicBezTo>
                      <a:pt x="27" y="31"/>
                      <a:pt x="25" y="30"/>
                      <a:pt x="23" y="28"/>
                    </a:cubicBezTo>
                    <a:cubicBezTo>
                      <a:pt x="22" y="27"/>
                      <a:pt x="21" y="25"/>
                      <a:pt x="20" y="23"/>
                    </a:cubicBezTo>
                    <a:cubicBezTo>
                      <a:pt x="19" y="21"/>
                      <a:pt x="18" y="19"/>
                      <a:pt x="18" y="17"/>
                    </a:cubicBezTo>
                    <a:cubicBezTo>
                      <a:pt x="18" y="14"/>
                      <a:pt x="19" y="12"/>
                      <a:pt x="20" y="10"/>
                    </a:cubicBezTo>
                    <a:cubicBezTo>
                      <a:pt x="21" y="8"/>
                      <a:pt x="22" y="6"/>
                      <a:pt x="23" y="5"/>
                    </a:cubicBezTo>
                    <a:cubicBezTo>
                      <a:pt x="25" y="3"/>
                      <a:pt x="27" y="2"/>
                      <a:pt x="29" y="1"/>
                    </a:cubicBezTo>
                    <a:cubicBezTo>
                      <a:pt x="31" y="0"/>
                      <a:pt x="33" y="0"/>
                      <a:pt x="36" y="0"/>
                    </a:cubicBezTo>
                    <a:cubicBezTo>
                      <a:pt x="38" y="0"/>
                      <a:pt x="41" y="0"/>
                      <a:pt x="43" y="1"/>
                    </a:cubicBezTo>
                    <a:cubicBezTo>
                      <a:pt x="45" y="2"/>
                      <a:pt x="47" y="3"/>
                      <a:pt x="48" y="5"/>
                    </a:cubicBezTo>
                    <a:cubicBezTo>
                      <a:pt x="50" y="6"/>
                      <a:pt x="51" y="8"/>
                      <a:pt x="52" y="10"/>
                    </a:cubicBezTo>
                    <a:cubicBezTo>
                      <a:pt x="53" y="12"/>
                      <a:pt x="53" y="14"/>
                      <a:pt x="53" y="17"/>
                    </a:cubicBezTo>
                    <a:close/>
                    <a:moveTo>
                      <a:pt x="113" y="17"/>
                    </a:moveTo>
                    <a:cubicBezTo>
                      <a:pt x="113" y="19"/>
                      <a:pt x="112" y="21"/>
                      <a:pt x="111" y="23"/>
                    </a:cubicBezTo>
                    <a:cubicBezTo>
                      <a:pt x="110" y="25"/>
                      <a:pt x="109" y="27"/>
                      <a:pt x="108" y="28"/>
                    </a:cubicBezTo>
                    <a:cubicBezTo>
                      <a:pt x="106" y="30"/>
                      <a:pt x="104" y="31"/>
                      <a:pt x="102" y="32"/>
                    </a:cubicBezTo>
                    <a:cubicBezTo>
                      <a:pt x="100" y="33"/>
                      <a:pt x="98" y="33"/>
                      <a:pt x="95" y="33"/>
                    </a:cubicBezTo>
                    <a:cubicBezTo>
                      <a:pt x="93" y="33"/>
                      <a:pt x="90" y="33"/>
                      <a:pt x="88" y="32"/>
                    </a:cubicBezTo>
                    <a:cubicBezTo>
                      <a:pt x="86" y="31"/>
                      <a:pt x="84" y="30"/>
                      <a:pt x="83" y="28"/>
                    </a:cubicBezTo>
                    <a:cubicBezTo>
                      <a:pt x="81" y="27"/>
                      <a:pt x="80" y="25"/>
                      <a:pt x="79" y="23"/>
                    </a:cubicBezTo>
                    <a:cubicBezTo>
                      <a:pt x="78" y="21"/>
                      <a:pt x="78" y="19"/>
                      <a:pt x="78" y="17"/>
                    </a:cubicBezTo>
                    <a:cubicBezTo>
                      <a:pt x="78" y="14"/>
                      <a:pt x="78" y="12"/>
                      <a:pt x="79" y="10"/>
                    </a:cubicBezTo>
                    <a:cubicBezTo>
                      <a:pt x="80" y="8"/>
                      <a:pt x="81" y="6"/>
                      <a:pt x="83" y="5"/>
                    </a:cubicBezTo>
                    <a:cubicBezTo>
                      <a:pt x="84" y="3"/>
                      <a:pt x="86" y="2"/>
                      <a:pt x="88" y="1"/>
                    </a:cubicBezTo>
                    <a:cubicBezTo>
                      <a:pt x="90" y="0"/>
                      <a:pt x="93" y="0"/>
                      <a:pt x="95" y="0"/>
                    </a:cubicBezTo>
                    <a:cubicBezTo>
                      <a:pt x="98" y="0"/>
                      <a:pt x="100" y="0"/>
                      <a:pt x="102" y="1"/>
                    </a:cubicBezTo>
                    <a:cubicBezTo>
                      <a:pt x="104" y="2"/>
                      <a:pt x="106" y="3"/>
                      <a:pt x="108" y="5"/>
                    </a:cubicBezTo>
                    <a:cubicBezTo>
                      <a:pt x="109" y="6"/>
                      <a:pt x="110" y="8"/>
                      <a:pt x="111" y="10"/>
                    </a:cubicBezTo>
                    <a:cubicBezTo>
                      <a:pt x="112" y="12"/>
                      <a:pt x="113" y="14"/>
                      <a:pt x="113"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19" name="Freeform 31"/>
              <p:cNvSpPr>
                <a:spLocks/>
              </p:cNvSpPr>
              <p:nvPr/>
            </p:nvSpPr>
            <p:spPr bwMode="black">
              <a:xfrm>
                <a:off x="6727261" y="6257723"/>
                <a:ext cx="64995" cy="114403"/>
              </a:xfrm>
              <a:custGeom>
                <a:avLst/>
                <a:gdLst/>
                <a:ahLst/>
                <a:cxnLst>
                  <a:cxn ang="0">
                    <a:pos x="79" y="32"/>
                  </a:cxn>
                  <a:cxn ang="0">
                    <a:pos x="74" y="31"/>
                  </a:cxn>
                  <a:cxn ang="0">
                    <a:pos x="69" y="29"/>
                  </a:cxn>
                  <a:cxn ang="0">
                    <a:pos x="64" y="29"/>
                  </a:cxn>
                  <a:cxn ang="0">
                    <a:pos x="51" y="32"/>
                  </a:cxn>
                  <a:cxn ang="0">
                    <a:pos x="41" y="41"/>
                  </a:cxn>
                  <a:cxn ang="0">
                    <a:pos x="35" y="54"/>
                  </a:cxn>
                  <a:cxn ang="0">
                    <a:pos x="32" y="73"/>
                  </a:cxn>
                  <a:cxn ang="0">
                    <a:pos x="32" y="146"/>
                  </a:cxn>
                  <a:cxn ang="0">
                    <a:pos x="0" y="146"/>
                  </a:cxn>
                  <a:cxn ang="0">
                    <a:pos x="0" y="2"/>
                  </a:cxn>
                  <a:cxn ang="0">
                    <a:pos x="32" y="2"/>
                  </a:cxn>
                  <a:cxn ang="0">
                    <a:pos x="32" y="30"/>
                  </a:cxn>
                  <a:cxn ang="0">
                    <a:pos x="33" y="30"/>
                  </a:cxn>
                  <a:cxn ang="0">
                    <a:pos x="40" y="17"/>
                  </a:cxn>
                  <a:cxn ang="0">
                    <a:pos x="48"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4" y="31"/>
                    </a:cubicBezTo>
                    <a:cubicBezTo>
                      <a:pt x="73" y="30"/>
                      <a:pt x="71" y="30"/>
                      <a:pt x="69" y="29"/>
                    </a:cubicBezTo>
                    <a:cubicBezTo>
                      <a:pt x="67" y="29"/>
                      <a:pt x="66" y="29"/>
                      <a:pt x="64" y="29"/>
                    </a:cubicBezTo>
                    <a:cubicBezTo>
                      <a:pt x="59" y="29"/>
                      <a:pt x="55" y="30"/>
                      <a:pt x="51" y="32"/>
                    </a:cubicBezTo>
                    <a:cubicBezTo>
                      <a:pt x="48" y="34"/>
                      <a:pt x="44" y="37"/>
                      <a:pt x="41" y="41"/>
                    </a:cubicBezTo>
                    <a:cubicBezTo>
                      <a:pt x="39" y="44"/>
                      <a:pt x="36"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8" y="7"/>
                    </a:cubicBezTo>
                    <a:cubicBezTo>
                      <a:pt x="52" y="5"/>
                      <a:pt x="55" y="3"/>
                      <a:pt x="59" y="2"/>
                    </a:cubicBezTo>
                    <a:cubicBezTo>
                      <a:pt x="62" y="0"/>
                      <a:pt x="66" y="0"/>
                      <a:pt x="70" y="0"/>
                    </a:cubicBezTo>
                    <a:cubicBezTo>
                      <a:pt x="72" y="0"/>
                      <a:pt x="74"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20" name="Rectangle 32"/>
              <p:cNvSpPr>
                <a:spLocks noChangeArrowheads="1"/>
              </p:cNvSpPr>
              <p:nvPr/>
            </p:nvSpPr>
            <p:spPr bwMode="black">
              <a:xfrm>
                <a:off x="6805851" y="6205329"/>
                <a:ext cx="25534" cy="166797"/>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21" name="Freeform 33"/>
              <p:cNvSpPr>
                <a:spLocks noEditPoints="1"/>
              </p:cNvSpPr>
              <p:nvPr/>
            </p:nvSpPr>
            <p:spPr bwMode="black">
              <a:xfrm>
                <a:off x="6852607" y="6257059"/>
                <a:ext cx="102797" cy="118383"/>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6" y="42"/>
                  </a:cxn>
                  <a:cxn ang="0">
                    <a:pos x="22" y="18"/>
                  </a:cxn>
                  <a:cxn ang="0">
                    <a:pos x="44" y="4"/>
                  </a:cxn>
                  <a:cxn ang="0">
                    <a:pos x="69"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9"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7" y="148"/>
                      <a:pt x="92" y="149"/>
                      <a:pt x="86" y="149"/>
                    </a:cubicBezTo>
                    <a:cubicBezTo>
                      <a:pt x="81" y="150"/>
                      <a:pt x="75" y="151"/>
                      <a:pt x="69" y="151"/>
                    </a:cubicBezTo>
                    <a:cubicBezTo>
                      <a:pt x="58" y="151"/>
                      <a:pt x="49" y="149"/>
                      <a:pt x="40" y="146"/>
                    </a:cubicBezTo>
                    <a:cubicBezTo>
                      <a:pt x="32" y="143"/>
                      <a:pt x="24" y="138"/>
                      <a:pt x="19"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9"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22" name="Freeform 34"/>
              <p:cNvSpPr>
                <a:spLocks/>
              </p:cNvSpPr>
              <p:nvPr/>
            </p:nvSpPr>
            <p:spPr bwMode="black">
              <a:xfrm>
                <a:off x="6974969" y="6257723"/>
                <a:ext cx="64995" cy="114403"/>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06" name="Group 105"/>
            <p:cNvGrpSpPr/>
            <p:nvPr/>
          </p:nvGrpSpPr>
          <p:grpSpPr bwMode="black">
            <a:xfrm>
              <a:off x="6803192" y="2525967"/>
              <a:ext cx="915642" cy="323944"/>
              <a:chOff x="7376591" y="6134773"/>
              <a:chExt cx="919129" cy="336446"/>
            </a:xfrm>
            <a:grpFill/>
            <a:effectLst/>
          </p:grpSpPr>
          <p:sp>
            <p:nvSpPr>
              <p:cNvPr id="205" name="Freeform 24"/>
              <p:cNvSpPr>
                <a:spLocks/>
              </p:cNvSpPr>
              <p:nvPr/>
            </p:nvSpPr>
            <p:spPr bwMode="black">
              <a:xfrm>
                <a:off x="7984332" y="6141379"/>
                <a:ext cx="40319" cy="3918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6" y="41"/>
                      <a:pt x="58" y="57"/>
                      <a:pt x="50" y="73"/>
                    </a:cubicBezTo>
                    <a:cubicBezTo>
                      <a:pt x="33" y="64"/>
                      <a:pt x="16"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06" name="Freeform 25"/>
              <p:cNvSpPr>
                <a:spLocks/>
              </p:cNvSpPr>
              <p:nvPr/>
            </p:nvSpPr>
            <p:spPr bwMode="black">
              <a:xfrm>
                <a:off x="8116906" y="6158463"/>
                <a:ext cx="39863" cy="39408"/>
              </a:xfrm>
              <a:custGeom>
                <a:avLst/>
                <a:gdLst/>
                <a:ahLst/>
                <a:cxnLst>
                  <a:cxn ang="0">
                    <a:pos x="21" y="0"/>
                  </a:cxn>
                  <a:cxn ang="0">
                    <a:pos x="74" y="25"/>
                  </a:cxn>
                  <a:cxn ang="0">
                    <a:pos x="49" y="73"/>
                  </a:cxn>
                  <a:cxn ang="0">
                    <a:pos x="0" y="44"/>
                  </a:cxn>
                  <a:cxn ang="0">
                    <a:pos x="21" y="0"/>
                  </a:cxn>
                </a:cxnLst>
                <a:rect l="0" t="0" r="r" b="b"/>
                <a:pathLst>
                  <a:path w="74" h="73">
                    <a:moveTo>
                      <a:pt x="21" y="0"/>
                    </a:moveTo>
                    <a:cubicBezTo>
                      <a:pt x="39" y="9"/>
                      <a:pt x="56" y="17"/>
                      <a:pt x="74" y="25"/>
                    </a:cubicBezTo>
                    <a:cubicBezTo>
                      <a:pt x="66" y="41"/>
                      <a:pt x="58" y="57"/>
                      <a:pt x="49"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07" name="Freeform 26"/>
              <p:cNvSpPr>
                <a:spLocks/>
              </p:cNvSpPr>
              <p:nvPr/>
            </p:nvSpPr>
            <p:spPr bwMode="black">
              <a:xfrm>
                <a:off x="8017134" y="6172131"/>
                <a:ext cx="40319" cy="39180"/>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7" y="41"/>
                      <a:pt x="58" y="57"/>
                      <a:pt x="50" y="73"/>
                    </a:cubicBezTo>
                    <a:cubicBezTo>
                      <a:pt x="34" y="64"/>
                      <a:pt x="17" y="54"/>
                      <a:pt x="0" y="44"/>
                    </a:cubicBezTo>
                    <a:cubicBezTo>
                      <a:pt x="7" y="30"/>
                      <a:pt x="14" y="15"/>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08" name="Freeform 27"/>
              <p:cNvSpPr>
                <a:spLocks/>
              </p:cNvSpPr>
              <p:nvPr/>
            </p:nvSpPr>
            <p:spPr bwMode="black">
              <a:xfrm>
                <a:off x="8077498" y="6174181"/>
                <a:ext cx="39863" cy="39408"/>
              </a:xfrm>
              <a:custGeom>
                <a:avLst/>
                <a:gdLst/>
                <a:ahLst/>
                <a:cxnLst>
                  <a:cxn ang="0">
                    <a:pos x="21" y="0"/>
                  </a:cxn>
                  <a:cxn ang="0">
                    <a:pos x="74" y="25"/>
                  </a:cxn>
                  <a:cxn ang="0">
                    <a:pos x="50" y="73"/>
                  </a:cxn>
                  <a:cxn ang="0">
                    <a:pos x="0" y="48"/>
                  </a:cxn>
                  <a:cxn ang="0">
                    <a:pos x="21" y="0"/>
                  </a:cxn>
                </a:cxnLst>
                <a:rect l="0" t="0" r="r" b="b"/>
                <a:pathLst>
                  <a:path w="74" h="73">
                    <a:moveTo>
                      <a:pt x="21" y="0"/>
                    </a:moveTo>
                    <a:cubicBezTo>
                      <a:pt x="39" y="8"/>
                      <a:pt x="57" y="17"/>
                      <a:pt x="74"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09" name="Freeform 28"/>
              <p:cNvSpPr>
                <a:spLocks/>
              </p:cNvSpPr>
              <p:nvPr/>
            </p:nvSpPr>
            <p:spPr bwMode="black">
              <a:xfrm>
                <a:off x="7977726" y="6187620"/>
                <a:ext cx="40546" cy="39408"/>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7" y="41"/>
                      <a:pt x="59" y="57"/>
                      <a:pt x="50" y="73"/>
                    </a:cubicBezTo>
                    <a:cubicBezTo>
                      <a:pt x="34" y="65"/>
                      <a:pt x="17"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10" name="Freeform 29"/>
              <p:cNvSpPr>
                <a:spLocks/>
              </p:cNvSpPr>
              <p:nvPr/>
            </p:nvSpPr>
            <p:spPr bwMode="black">
              <a:xfrm>
                <a:off x="7376591" y="6239329"/>
                <a:ext cx="159452" cy="231890"/>
              </a:xfrm>
              <a:custGeom>
                <a:avLst/>
                <a:gdLst/>
                <a:ahLst/>
                <a:cxnLst>
                  <a:cxn ang="0">
                    <a:pos x="293" y="196"/>
                  </a:cxn>
                  <a:cxn ang="0">
                    <a:pos x="114" y="236"/>
                  </a:cxn>
                  <a:cxn ang="0">
                    <a:pos x="131" y="430"/>
                  </a:cxn>
                  <a:cxn ang="0">
                    <a:pos x="129" y="430"/>
                  </a:cxn>
                  <a:cxn ang="0">
                    <a:pos x="237" y="142"/>
                  </a:cxn>
                  <a:cxn ang="0">
                    <a:pos x="237" y="140"/>
                  </a:cxn>
                  <a:cxn ang="0">
                    <a:pos x="218" y="119"/>
                  </a:cxn>
                  <a:cxn ang="0">
                    <a:pos x="170" y="104"/>
                  </a:cxn>
                  <a:cxn ang="0">
                    <a:pos x="135" y="123"/>
                  </a:cxn>
                  <a:cxn ang="0">
                    <a:pos x="126" y="119"/>
                  </a:cxn>
                  <a:cxn ang="0">
                    <a:pos x="293" y="196"/>
                  </a:cxn>
                </a:cxnLst>
                <a:rect l="0" t="0" r="r" b="b"/>
                <a:pathLst>
                  <a:path w="296" h="430">
                    <a:moveTo>
                      <a:pt x="293" y="196"/>
                    </a:moveTo>
                    <a:cubicBezTo>
                      <a:pt x="222" y="194"/>
                      <a:pt x="147" y="199"/>
                      <a:pt x="114" y="236"/>
                    </a:cubicBezTo>
                    <a:cubicBezTo>
                      <a:pt x="114" y="300"/>
                      <a:pt x="163" y="369"/>
                      <a:pt x="131" y="430"/>
                    </a:cubicBezTo>
                    <a:cubicBezTo>
                      <a:pt x="131" y="430"/>
                      <a:pt x="130" y="430"/>
                      <a:pt x="129" y="430"/>
                    </a:cubicBezTo>
                    <a:cubicBezTo>
                      <a:pt x="107" y="295"/>
                      <a:pt x="0" y="144"/>
                      <a:pt x="237" y="142"/>
                    </a:cubicBezTo>
                    <a:cubicBezTo>
                      <a:pt x="237" y="141"/>
                      <a:pt x="237" y="141"/>
                      <a:pt x="237" y="140"/>
                    </a:cubicBezTo>
                    <a:cubicBezTo>
                      <a:pt x="231" y="133"/>
                      <a:pt x="224" y="126"/>
                      <a:pt x="218" y="119"/>
                    </a:cubicBezTo>
                    <a:cubicBezTo>
                      <a:pt x="202" y="112"/>
                      <a:pt x="196" y="104"/>
                      <a:pt x="170" y="104"/>
                    </a:cubicBezTo>
                    <a:cubicBezTo>
                      <a:pt x="159" y="110"/>
                      <a:pt x="143" y="127"/>
                      <a:pt x="135" y="123"/>
                    </a:cubicBezTo>
                    <a:cubicBezTo>
                      <a:pt x="132" y="122"/>
                      <a:pt x="129" y="120"/>
                      <a:pt x="126" y="119"/>
                    </a:cubicBezTo>
                    <a:cubicBezTo>
                      <a:pt x="179" y="0"/>
                      <a:pt x="296" y="71"/>
                      <a:pt x="293" y="19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11" name="Freeform 30"/>
              <p:cNvSpPr>
                <a:spLocks noEditPoints="1"/>
              </p:cNvSpPr>
              <p:nvPr/>
            </p:nvSpPr>
            <p:spPr bwMode="black">
              <a:xfrm>
                <a:off x="7545838" y="6134773"/>
                <a:ext cx="749882" cy="298633"/>
              </a:xfrm>
              <a:custGeom>
                <a:avLst/>
                <a:gdLst/>
                <a:ahLst/>
                <a:cxnLst>
                  <a:cxn ang="0">
                    <a:pos x="981" y="334"/>
                  </a:cxn>
                  <a:cxn ang="0">
                    <a:pos x="1113" y="334"/>
                  </a:cxn>
                  <a:cxn ang="0">
                    <a:pos x="1102" y="184"/>
                  </a:cxn>
                  <a:cxn ang="0">
                    <a:pos x="1102" y="188"/>
                  </a:cxn>
                  <a:cxn ang="0">
                    <a:pos x="1136" y="334"/>
                  </a:cxn>
                  <a:cxn ang="0">
                    <a:pos x="1344" y="213"/>
                  </a:cxn>
                  <a:cxn ang="0">
                    <a:pos x="1392" y="390"/>
                  </a:cxn>
                  <a:cxn ang="0">
                    <a:pos x="1253" y="351"/>
                  </a:cxn>
                  <a:cxn ang="0">
                    <a:pos x="1000" y="390"/>
                  </a:cxn>
                  <a:cxn ang="0">
                    <a:pos x="894" y="369"/>
                  </a:cxn>
                  <a:cxn ang="0">
                    <a:pos x="850" y="390"/>
                  </a:cxn>
                  <a:cxn ang="0">
                    <a:pos x="739" y="371"/>
                  </a:cxn>
                  <a:cxn ang="0">
                    <a:pos x="645" y="390"/>
                  </a:cxn>
                  <a:cxn ang="0">
                    <a:pos x="453" y="267"/>
                  </a:cxn>
                  <a:cxn ang="0">
                    <a:pos x="297" y="390"/>
                  </a:cxn>
                  <a:cxn ang="0">
                    <a:pos x="155" y="545"/>
                  </a:cxn>
                  <a:cxn ang="0">
                    <a:pos x="52" y="526"/>
                  </a:cxn>
                  <a:cxn ang="0">
                    <a:pos x="0" y="505"/>
                  </a:cxn>
                  <a:cxn ang="0">
                    <a:pos x="4" y="493"/>
                  </a:cxn>
                  <a:cxn ang="0">
                    <a:pos x="113" y="507"/>
                  </a:cxn>
                  <a:cxn ang="0">
                    <a:pos x="272" y="326"/>
                  </a:cxn>
                  <a:cxn ang="0">
                    <a:pos x="226" y="252"/>
                  </a:cxn>
                  <a:cxn ang="0">
                    <a:pos x="246" y="202"/>
                  </a:cxn>
                  <a:cxn ang="0">
                    <a:pos x="257" y="211"/>
                  </a:cxn>
                  <a:cxn ang="0">
                    <a:pos x="297" y="334"/>
                  </a:cxn>
                  <a:cxn ang="0">
                    <a:pos x="424" y="302"/>
                  </a:cxn>
                  <a:cxn ang="0">
                    <a:pos x="384" y="221"/>
                  </a:cxn>
                  <a:cxn ang="0">
                    <a:pos x="376" y="230"/>
                  </a:cxn>
                  <a:cxn ang="0">
                    <a:pos x="318" y="181"/>
                  </a:cxn>
                  <a:cxn ang="0">
                    <a:pos x="522" y="0"/>
                  </a:cxn>
                  <a:cxn ang="0">
                    <a:pos x="522" y="56"/>
                  </a:cxn>
                  <a:cxn ang="0">
                    <a:pos x="359" y="121"/>
                  </a:cxn>
                  <a:cxn ang="0">
                    <a:pos x="420" y="177"/>
                  </a:cxn>
                  <a:cxn ang="0">
                    <a:pos x="582" y="334"/>
                  </a:cxn>
                  <a:cxn ang="0">
                    <a:pos x="712" y="328"/>
                  </a:cxn>
                  <a:cxn ang="0">
                    <a:pos x="731" y="242"/>
                  </a:cxn>
                  <a:cxn ang="0">
                    <a:pos x="735" y="244"/>
                  </a:cxn>
                  <a:cxn ang="0">
                    <a:pos x="825" y="334"/>
                  </a:cxn>
                  <a:cxn ang="0">
                    <a:pos x="866" y="328"/>
                  </a:cxn>
                  <a:cxn ang="0">
                    <a:pos x="885" y="242"/>
                  </a:cxn>
                  <a:cxn ang="0">
                    <a:pos x="887" y="246"/>
                  </a:cxn>
                  <a:cxn ang="0">
                    <a:pos x="954" y="332"/>
                  </a:cxn>
                  <a:cxn ang="0">
                    <a:pos x="935" y="257"/>
                  </a:cxn>
                  <a:cxn ang="0">
                    <a:pos x="956" y="221"/>
                  </a:cxn>
                  <a:cxn ang="0">
                    <a:pos x="958" y="221"/>
                  </a:cxn>
                  <a:cxn ang="0">
                    <a:pos x="981" y="334"/>
                  </a:cxn>
                  <a:cxn ang="0">
                    <a:pos x="1357" y="330"/>
                  </a:cxn>
                  <a:cxn ang="0">
                    <a:pos x="1324" y="259"/>
                  </a:cxn>
                  <a:cxn ang="0">
                    <a:pos x="1284" y="298"/>
                  </a:cxn>
                  <a:cxn ang="0">
                    <a:pos x="1357" y="330"/>
                  </a:cxn>
                </a:cxnLst>
                <a:rect l="0" t="0" r="r" b="b"/>
                <a:pathLst>
                  <a:path w="1392" h="554">
                    <a:moveTo>
                      <a:pt x="981" y="334"/>
                    </a:moveTo>
                    <a:cubicBezTo>
                      <a:pt x="1025" y="334"/>
                      <a:pt x="1069" y="334"/>
                      <a:pt x="1113" y="334"/>
                    </a:cubicBezTo>
                    <a:cubicBezTo>
                      <a:pt x="1113" y="258"/>
                      <a:pt x="1048" y="238"/>
                      <a:pt x="1102" y="184"/>
                    </a:cubicBezTo>
                    <a:cubicBezTo>
                      <a:pt x="1102" y="186"/>
                      <a:pt x="1102" y="187"/>
                      <a:pt x="1102" y="188"/>
                    </a:cubicBezTo>
                    <a:cubicBezTo>
                      <a:pt x="1136" y="217"/>
                      <a:pt x="1137" y="270"/>
                      <a:pt x="1136" y="334"/>
                    </a:cubicBezTo>
                    <a:cubicBezTo>
                      <a:pt x="1259" y="335"/>
                      <a:pt x="1246" y="228"/>
                      <a:pt x="1344" y="213"/>
                    </a:cubicBezTo>
                    <a:cubicBezTo>
                      <a:pt x="1367" y="281"/>
                      <a:pt x="1392" y="283"/>
                      <a:pt x="1392" y="390"/>
                    </a:cubicBezTo>
                    <a:cubicBezTo>
                      <a:pt x="1314" y="391"/>
                      <a:pt x="1302" y="366"/>
                      <a:pt x="1253" y="351"/>
                    </a:cubicBezTo>
                    <a:cubicBezTo>
                      <a:pt x="1213" y="406"/>
                      <a:pt x="1094" y="390"/>
                      <a:pt x="1000" y="390"/>
                    </a:cubicBezTo>
                    <a:cubicBezTo>
                      <a:pt x="959" y="390"/>
                      <a:pt x="910" y="394"/>
                      <a:pt x="894" y="369"/>
                    </a:cubicBezTo>
                    <a:cubicBezTo>
                      <a:pt x="881" y="377"/>
                      <a:pt x="869" y="386"/>
                      <a:pt x="850" y="390"/>
                    </a:cubicBezTo>
                    <a:cubicBezTo>
                      <a:pt x="805" y="400"/>
                      <a:pt x="763" y="383"/>
                      <a:pt x="739" y="371"/>
                    </a:cubicBezTo>
                    <a:cubicBezTo>
                      <a:pt x="714" y="387"/>
                      <a:pt x="690" y="390"/>
                      <a:pt x="645" y="390"/>
                    </a:cubicBezTo>
                    <a:cubicBezTo>
                      <a:pt x="509" y="390"/>
                      <a:pt x="525" y="322"/>
                      <a:pt x="453" y="267"/>
                    </a:cubicBezTo>
                    <a:cubicBezTo>
                      <a:pt x="454" y="357"/>
                      <a:pt x="389" y="392"/>
                      <a:pt x="297" y="390"/>
                    </a:cubicBezTo>
                    <a:cubicBezTo>
                      <a:pt x="298" y="458"/>
                      <a:pt x="211" y="533"/>
                      <a:pt x="155" y="545"/>
                    </a:cubicBezTo>
                    <a:cubicBezTo>
                      <a:pt x="115" y="554"/>
                      <a:pt x="77" y="536"/>
                      <a:pt x="52" y="526"/>
                    </a:cubicBezTo>
                    <a:cubicBezTo>
                      <a:pt x="34" y="519"/>
                      <a:pt x="17" y="512"/>
                      <a:pt x="0" y="505"/>
                    </a:cubicBezTo>
                    <a:cubicBezTo>
                      <a:pt x="1" y="501"/>
                      <a:pt x="2" y="497"/>
                      <a:pt x="4" y="493"/>
                    </a:cubicBezTo>
                    <a:cubicBezTo>
                      <a:pt x="31" y="502"/>
                      <a:pt x="76" y="515"/>
                      <a:pt x="113" y="507"/>
                    </a:cubicBezTo>
                    <a:cubicBezTo>
                      <a:pt x="179" y="493"/>
                      <a:pt x="290" y="419"/>
                      <a:pt x="272" y="326"/>
                    </a:cubicBezTo>
                    <a:cubicBezTo>
                      <a:pt x="267" y="297"/>
                      <a:pt x="242" y="272"/>
                      <a:pt x="226" y="252"/>
                    </a:cubicBezTo>
                    <a:cubicBezTo>
                      <a:pt x="233" y="235"/>
                      <a:pt x="239" y="218"/>
                      <a:pt x="246" y="202"/>
                    </a:cubicBezTo>
                    <a:cubicBezTo>
                      <a:pt x="249" y="205"/>
                      <a:pt x="253" y="208"/>
                      <a:pt x="257" y="211"/>
                    </a:cubicBezTo>
                    <a:cubicBezTo>
                      <a:pt x="276" y="251"/>
                      <a:pt x="297" y="267"/>
                      <a:pt x="297" y="334"/>
                    </a:cubicBezTo>
                    <a:cubicBezTo>
                      <a:pt x="347" y="336"/>
                      <a:pt x="404" y="329"/>
                      <a:pt x="424" y="302"/>
                    </a:cubicBezTo>
                    <a:cubicBezTo>
                      <a:pt x="451" y="266"/>
                      <a:pt x="412" y="228"/>
                      <a:pt x="384" y="221"/>
                    </a:cubicBezTo>
                    <a:cubicBezTo>
                      <a:pt x="381" y="224"/>
                      <a:pt x="379" y="227"/>
                      <a:pt x="376" y="230"/>
                    </a:cubicBezTo>
                    <a:cubicBezTo>
                      <a:pt x="354" y="217"/>
                      <a:pt x="335" y="200"/>
                      <a:pt x="318" y="181"/>
                    </a:cubicBezTo>
                    <a:cubicBezTo>
                      <a:pt x="317" y="59"/>
                      <a:pt x="430" y="25"/>
                      <a:pt x="522" y="0"/>
                    </a:cubicBezTo>
                    <a:cubicBezTo>
                      <a:pt x="522" y="19"/>
                      <a:pt x="522" y="37"/>
                      <a:pt x="522" y="56"/>
                    </a:cubicBezTo>
                    <a:cubicBezTo>
                      <a:pt x="482" y="65"/>
                      <a:pt x="381" y="95"/>
                      <a:pt x="359" y="121"/>
                    </a:cubicBezTo>
                    <a:cubicBezTo>
                      <a:pt x="364" y="147"/>
                      <a:pt x="402" y="162"/>
                      <a:pt x="420" y="177"/>
                    </a:cubicBezTo>
                    <a:cubicBezTo>
                      <a:pt x="460" y="207"/>
                      <a:pt x="546" y="325"/>
                      <a:pt x="582" y="334"/>
                    </a:cubicBezTo>
                    <a:cubicBezTo>
                      <a:pt x="603" y="340"/>
                      <a:pt x="701" y="336"/>
                      <a:pt x="712" y="328"/>
                    </a:cubicBezTo>
                    <a:cubicBezTo>
                      <a:pt x="729" y="317"/>
                      <a:pt x="723" y="263"/>
                      <a:pt x="731" y="242"/>
                    </a:cubicBezTo>
                    <a:cubicBezTo>
                      <a:pt x="733" y="243"/>
                      <a:pt x="734" y="243"/>
                      <a:pt x="735" y="244"/>
                    </a:cubicBezTo>
                    <a:cubicBezTo>
                      <a:pt x="743" y="294"/>
                      <a:pt x="764" y="334"/>
                      <a:pt x="825" y="334"/>
                    </a:cubicBezTo>
                    <a:cubicBezTo>
                      <a:pt x="841" y="334"/>
                      <a:pt x="856" y="335"/>
                      <a:pt x="866" y="328"/>
                    </a:cubicBezTo>
                    <a:cubicBezTo>
                      <a:pt x="883" y="317"/>
                      <a:pt x="877" y="263"/>
                      <a:pt x="885" y="242"/>
                    </a:cubicBezTo>
                    <a:cubicBezTo>
                      <a:pt x="885" y="243"/>
                      <a:pt x="886" y="245"/>
                      <a:pt x="887" y="246"/>
                    </a:cubicBezTo>
                    <a:cubicBezTo>
                      <a:pt x="899" y="274"/>
                      <a:pt x="903" y="354"/>
                      <a:pt x="954" y="332"/>
                    </a:cubicBezTo>
                    <a:cubicBezTo>
                      <a:pt x="983" y="318"/>
                      <a:pt x="946" y="266"/>
                      <a:pt x="935" y="257"/>
                    </a:cubicBezTo>
                    <a:cubicBezTo>
                      <a:pt x="942" y="245"/>
                      <a:pt x="949" y="233"/>
                      <a:pt x="956" y="221"/>
                    </a:cubicBezTo>
                    <a:cubicBezTo>
                      <a:pt x="957" y="221"/>
                      <a:pt x="957" y="221"/>
                      <a:pt x="958" y="221"/>
                    </a:cubicBezTo>
                    <a:cubicBezTo>
                      <a:pt x="970" y="255"/>
                      <a:pt x="981" y="280"/>
                      <a:pt x="981" y="334"/>
                    </a:cubicBezTo>
                    <a:close/>
                    <a:moveTo>
                      <a:pt x="1357" y="330"/>
                    </a:moveTo>
                    <a:cubicBezTo>
                      <a:pt x="1356" y="303"/>
                      <a:pt x="1340" y="274"/>
                      <a:pt x="1324" y="259"/>
                    </a:cubicBezTo>
                    <a:cubicBezTo>
                      <a:pt x="1311" y="262"/>
                      <a:pt x="1274" y="291"/>
                      <a:pt x="1284" y="298"/>
                    </a:cubicBezTo>
                    <a:cubicBezTo>
                      <a:pt x="1298" y="316"/>
                      <a:pt x="1327" y="329"/>
                      <a:pt x="1357" y="33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07" name="Group 106"/>
            <p:cNvGrpSpPr/>
            <p:nvPr/>
          </p:nvGrpSpPr>
          <p:grpSpPr bwMode="black">
            <a:xfrm>
              <a:off x="7910532" y="4706745"/>
              <a:ext cx="712169" cy="180546"/>
              <a:chOff x="420233" y="6191684"/>
              <a:chExt cx="714879" cy="187513"/>
            </a:xfrm>
            <a:grpFill/>
            <a:effectLst/>
          </p:grpSpPr>
          <p:sp>
            <p:nvSpPr>
              <p:cNvPr id="193" name="Freeform 20"/>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94" name="Freeform 21"/>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95" name="Freeform 22"/>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96" name="Freeform 25"/>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97" name="Freeform 26"/>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98" name="Freeform 36"/>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99" name="Freeform 37"/>
              <p:cNvSpPr>
                <a:spLocks noEditPoints="1"/>
              </p:cNvSpPr>
              <p:nvPr/>
            </p:nvSpPr>
            <p:spPr bwMode="black">
              <a:xfrm>
                <a:off x="546993" y="6266369"/>
                <a:ext cx="90445" cy="112828"/>
              </a:xfrm>
              <a:custGeom>
                <a:avLst/>
                <a:gdLst/>
                <a:ahLst/>
                <a:cxnLst>
                  <a:cxn ang="0">
                    <a:pos x="193" y="53"/>
                  </a:cxn>
                  <a:cxn ang="0">
                    <a:pos x="176" y="24"/>
                  </a:cxn>
                  <a:cxn ang="0">
                    <a:pos x="148" y="6"/>
                  </a:cxn>
                  <a:cxn ang="0">
                    <a:pos x="107" y="0"/>
                  </a:cxn>
                  <a:cxn ang="0">
                    <a:pos x="82" y="2"/>
                  </a:cxn>
                  <a:cxn ang="0">
                    <a:pos x="58" y="7"/>
                  </a:cxn>
                  <a:cxn ang="0">
                    <a:pos x="37" y="14"/>
                  </a:cxn>
                  <a:cxn ang="0">
                    <a:pos x="23" y="21"/>
                  </a:cxn>
                  <a:cxn ang="0">
                    <a:pos x="23" y="68"/>
                  </a:cxn>
                  <a:cxn ang="0">
                    <a:pos x="59" y="49"/>
                  </a:cxn>
                  <a:cxn ang="0">
                    <a:pos x="101" y="42"/>
                  </a:cxn>
                  <a:cxn ang="0">
                    <a:pos x="135" y="53"/>
                  </a:cxn>
                  <a:cxn ang="0">
                    <a:pos x="146" y="90"/>
                  </a:cxn>
                  <a:cxn ang="0">
                    <a:pos x="77" y="100"/>
                  </a:cxn>
                  <a:cxn ang="0">
                    <a:pos x="42" y="109"/>
                  </a:cxn>
                  <a:cxn ang="0">
                    <a:pos x="18" y="126"/>
                  </a:cxn>
                  <a:cxn ang="0">
                    <a:pos x="4" y="150"/>
                  </a:cxn>
                  <a:cxn ang="0">
                    <a:pos x="0" y="178"/>
                  </a:cxn>
                  <a:cxn ang="0">
                    <a:pos x="5" y="207"/>
                  </a:cxn>
                  <a:cxn ang="0">
                    <a:pos x="19" y="229"/>
                  </a:cxn>
                  <a:cxn ang="0">
                    <a:pos x="43" y="243"/>
                  </a:cxn>
                  <a:cxn ang="0">
                    <a:pos x="75" y="248"/>
                  </a:cxn>
                  <a:cxn ang="0">
                    <a:pos x="115" y="239"/>
                  </a:cxn>
                  <a:cxn ang="0">
                    <a:pos x="145" y="210"/>
                  </a:cxn>
                  <a:cxn ang="0">
                    <a:pos x="146" y="210"/>
                  </a:cxn>
                  <a:cxn ang="0">
                    <a:pos x="146" y="243"/>
                  </a:cxn>
                  <a:cxn ang="0">
                    <a:pos x="199" y="243"/>
                  </a:cxn>
                  <a:cxn ang="0">
                    <a:pos x="199" y="92"/>
                  </a:cxn>
                  <a:cxn ang="0">
                    <a:pos x="193" y="53"/>
                  </a:cxn>
                  <a:cxn ang="0">
                    <a:pos x="146" y="149"/>
                  </a:cxn>
                  <a:cxn ang="0">
                    <a:pos x="142" y="171"/>
                  </a:cxn>
                  <a:cxn ang="0">
                    <a:pos x="131" y="189"/>
                  </a:cxn>
                  <a:cxn ang="0">
                    <a:pos x="114" y="202"/>
                  </a:cxn>
                  <a:cxn ang="0">
                    <a:pos x="91" y="206"/>
                  </a:cxn>
                  <a:cxn ang="0">
                    <a:pos x="75" y="204"/>
                  </a:cxn>
                  <a:cxn ang="0">
                    <a:pos x="63" y="197"/>
                  </a:cxn>
                  <a:cxn ang="0">
                    <a:pos x="55" y="186"/>
                  </a:cxn>
                  <a:cxn ang="0">
                    <a:pos x="52" y="173"/>
                  </a:cxn>
                  <a:cxn ang="0">
                    <a:pos x="54" y="158"/>
                  </a:cxn>
                  <a:cxn ang="0">
                    <a:pos x="61" y="147"/>
                  </a:cxn>
                  <a:cxn ang="0">
                    <a:pos x="74" y="139"/>
                  </a:cxn>
                  <a:cxn ang="0">
                    <a:pos x="95" y="134"/>
                  </a:cxn>
                  <a:cxn ang="0">
                    <a:pos x="146" y="127"/>
                  </a:cxn>
                  <a:cxn ang="0">
                    <a:pos x="146" y="149"/>
                  </a:cxn>
                </a:cxnLst>
                <a:rect l="0" t="0" r="r" b="b"/>
                <a:pathLst>
                  <a:path w="199" h="248">
                    <a:moveTo>
                      <a:pt x="193" y="53"/>
                    </a:moveTo>
                    <a:cubicBezTo>
                      <a:pt x="189" y="42"/>
                      <a:pt x="184" y="32"/>
                      <a:pt x="176" y="24"/>
                    </a:cubicBezTo>
                    <a:cubicBezTo>
                      <a:pt x="169" y="16"/>
                      <a:pt x="159" y="10"/>
                      <a:pt x="148" y="6"/>
                    </a:cubicBezTo>
                    <a:cubicBezTo>
                      <a:pt x="136" y="2"/>
                      <a:pt x="123" y="0"/>
                      <a:pt x="107" y="0"/>
                    </a:cubicBezTo>
                    <a:cubicBezTo>
                      <a:pt x="99" y="0"/>
                      <a:pt x="91" y="1"/>
                      <a:pt x="82" y="2"/>
                    </a:cubicBezTo>
                    <a:cubicBezTo>
                      <a:pt x="74" y="3"/>
                      <a:pt x="66" y="5"/>
                      <a:pt x="58" y="7"/>
                    </a:cubicBezTo>
                    <a:cubicBezTo>
                      <a:pt x="50" y="9"/>
                      <a:pt x="43" y="12"/>
                      <a:pt x="37" y="14"/>
                    </a:cubicBezTo>
                    <a:cubicBezTo>
                      <a:pt x="31" y="17"/>
                      <a:pt x="26" y="19"/>
                      <a:pt x="23" y="21"/>
                    </a:cubicBezTo>
                    <a:cubicBezTo>
                      <a:pt x="23" y="68"/>
                      <a:pt x="23" y="68"/>
                      <a:pt x="23" y="68"/>
                    </a:cubicBezTo>
                    <a:cubicBezTo>
                      <a:pt x="33" y="60"/>
                      <a:pt x="46" y="54"/>
                      <a:pt x="59" y="49"/>
                    </a:cubicBezTo>
                    <a:cubicBezTo>
                      <a:pt x="73" y="44"/>
                      <a:pt x="87" y="42"/>
                      <a:pt x="101" y="42"/>
                    </a:cubicBezTo>
                    <a:cubicBezTo>
                      <a:pt x="116" y="42"/>
                      <a:pt x="127" y="46"/>
                      <a:pt x="135" y="53"/>
                    </a:cubicBezTo>
                    <a:cubicBezTo>
                      <a:pt x="142" y="61"/>
                      <a:pt x="146" y="73"/>
                      <a:pt x="146" y="90"/>
                    </a:cubicBezTo>
                    <a:cubicBezTo>
                      <a:pt x="77" y="100"/>
                      <a:pt x="77" y="100"/>
                      <a:pt x="77" y="100"/>
                    </a:cubicBezTo>
                    <a:cubicBezTo>
                      <a:pt x="63" y="101"/>
                      <a:pt x="52" y="104"/>
                      <a:pt x="42" y="109"/>
                    </a:cubicBezTo>
                    <a:cubicBezTo>
                      <a:pt x="32" y="114"/>
                      <a:pt x="24" y="119"/>
                      <a:pt x="18" y="126"/>
                    </a:cubicBezTo>
                    <a:cubicBezTo>
                      <a:pt x="12" y="133"/>
                      <a:pt x="7" y="141"/>
                      <a:pt x="4" y="150"/>
                    </a:cubicBezTo>
                    <a:cubicBezTo>
                      <a:pt x="1" y="158"/>
                      <a:pt x="0" y="168"/>
                      <a:pt x="0" y="178"/>
                    </a:cubicBezTo>
                    <a:cubicBezTo>
                      <a:pt x="0" y="188"/>
                      <a:pt x="1" y="198"/>
                      <a:pt x="5" y="207"/>
                    </a:cubicBezTo>
                    <a:cubicBezTo>
                      <a:pt x="8" y="215"/>
                      <a:pt x="13" y="223"/>
                      <a:pt x="19" y="229"/>
                    </a:cubicBezTo>
                    <a:cubicBezTo>
                      <a:pt x="25" y="235"/>
                      <a:pt x="33" y="240"/>
                      <a:pt x="43" y="243"/>
                    </a:cubicBezTo>
                    <a:cubicBezTo>
                      <a:pt x="52" y="247"/>
                      <a:pt x="63" y="248"/>
                      <a:pt x="75" y="248"/>
                    </a:cubicBezTo>
                    <a:cubicBezTo>
                      <a:pt x="90" y="248"/>
                      <a:pt x="104" y="245"/>
                      <a:pt x="115" y="239"/>
                    </a:cubicBezTo>
                    <a:cubicBezTo>
                      <a:pt x="127" y="232"/>
                      <a:pt x="137" y="222"/>
                      <a:pt x="145" y="210"/>
                    </a:cubicBezTo>
                    <a:cubicBezTo>
                      <a:pt x="146" y="210"/>
                      <a:pt x="146" y="210"/>
                      <a:pt x="146" y="210"/>
                    </a:cubicBezTo>
                    <a:cubicBezTo>
                      <a:pt x="146" y="243"/>
                      <a:pt x="146" y="243"/>
                      <a:pt x="146" y="243"/>
                    </a:cubicBezTo>
                    <a:cubicBezTo>
                      <a:pt x="199" y="243"/>
                      <a:pt x="199" y="243"/>
                      <a:pt x="199" y="243"/>
                    </a:cubicBezTo>
                    <a:cubicBezTo>
                      <a:pt x="199" y="92"/>
                      <a:pt x="199" y="92"/>
                      <a:pt x="199" y="92"/>
                    </a:cubicBezTo>
                    <a:cubicBezTo>
                      <a:pt x="199" y="78"/>
                      <a:pt x="197" y="65"/>
                      <a:pt x="193" y="53"/>
                    </a:cubicBezTo>
                    <a:close/>
                    <a:moveTo>
                      <a:pt x="146" y="149"/>
                    </a:moveTo>
                    <a:cubicBezTo>
                      <a:pt x="146" y="157"/>
                      <a:pt x="145" y="164"/>
                      <a:pt x="142" y="171"/>
                    </a:cubicBezTo>
                    <a:cubicBezTo>
                      <a:pt x="140" y="178"/>
                      <a:pt x="136" y="184"/>
                      <a:pt x="131" y="189"/>
                    </a:cubicBezTo>
                    <a:cubicBezTo>
                      <a:pt x="126" y="194"/>
                      <a:pt x="121" y="199"/>
                      <a:pt x="114" y="202"/>
                    </a:cubicBezTo>
                    <a:cubicBezTo>
                      <a:pt x="107" y="205"/>
                      <a:pt x="100" y="206"/>
                      <a:pt x="91" y="206"/>
                    </a:cubicBezTo>
                    <a:cubicBezTo>
                      <a:pt x="85" y="206"/>
                      <a:pt x="80" y="205"/>
                      <a:pt x="75" y="204"/>
                    </a:cubicBezTo>
                    <a:cubicBezTo>
                      <a:pt x="70" y="202"/>
                      <a:pt x="66" y="199"/>
                      <a:pt x="63" y="197"/>
                    </a:cubicBezTo>
                    <a:cubicBezTo>
                      <a:pt x="59" y="194"/>
                      <a:pt x="57" y="190"/>
                      <a:pt x="55" y="186"/>
                    </a:cubicBezTo>
                    <a:cubicBezTo>
                      <a:pt x="53" y="182"/>
                      <a:pt x="52" y="177"/>
                      <a:pt x="52" y="173"/>
                    </a:cubicBezTo>
                    <a:cubicBezTo>
                      <a:pt x="52" y="167"/>
                      <a:pt x="53" y="162"/>
                      <a:pt x="54" y="158"/>
                    </a:cubicBezTo>
                    <a:cubicBezTo>
                      <a:pt x="55" y="154"/>
                      <a:pt x="57" y="150"/>
                      <a:pt x="61" y="147"/>
                    </a:cubicBezTo>
                    <a:cubicBezTo>
                      <a:pt x="64" y="144"/>
                      <a:pt x="68" y="141"/>
                      <a:pt x="74" y="139"/>
                    </a:cubicBezTo>
                    <a:cubicBezTo>
                      <a:pt x="79" y="137"/>
                      <a:pt x="86" y="135"/>
                      <a:pt x="95" y="134"/>
                    </a:cubicBezTo>
                    <a:cubicBezTo>
                      <a:pt x="146" y="127"/>
                      <a:pt x="146" y="127"/>
                      <a:pt x="146" y="127"/>
                    </a:cubicBezTo>
                    <a:lnTo>
                      <a:pt x="146" y="14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00" name="Freeform 38"/>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01" name="Freeform 39"/>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02" name="Freeform 42"/>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03" name="Freeform 43"/>
              <p:cNvSpPr>
                <a:spLocks noEditPoints="1"/>
              </p:cNvSpPr>
              <p:nvPr/>
            </p:nvSpPr>
            <p:spPr bwMode="black">
              <a:xfrm>
                <a:off x="891414" y="6266369"/>
                <a:ext cx="111000" cy="112828"/>
              </a:xfrm>
              <a:custGeom>
                <a:avLst/>
                <a:gdLst/>
                <a:ahLst/>
                <a:cxnLst>
                  <a:cxn ang="0">
                    <a:pos x="236" y="72"/>
                  </a:cxn>
                  <a:cxn ang="0">
                    <a:pos x="213" y="34"/>
                  </a:cxn>
                  <a:cxn ang="0">
                    <a:pos x="176" y="9"/>
                  </a:cxn>
                  <a:cxn ang="0">
                    <a:pos x="126" y="0"/>
                  </a:cxn>
                  <a:cxn ang="0">
                    <a:pos x="75" y="8"/>
                  </a:cxn>
                  <a:cxn ang="0">
                    <a:pos x="35" y="32"/>
                  </a:cxn>
                  <a:cxn ang="0">
                    <a:pos x="9" y="72"/>
                  </a:cxn>
                  <a:cxn ang="0">
                    <a:pos x="0" y="127"/>
                  </a:cxn>
                  <a:cxn ang="0">
                    <a:pos x="8" y="177"/>
                  </a:cxn>
                  <a:cxn ang="0">
                    <a:pos x="32" y="215"/>
                  </a:cxn>
                  <a:cxn ang="0">
                    <a:pos x="70" y="240"/>
                  </a:cxn>
                  <a:cxn ang="0">
                    <a:pos x="120" y="248"/>
                  </a:cxn>
                  <a:cxn ang="0">
                    <a:pos x="171" y="240"/>
                  </a:cxn>
                  <a:cxn ang="0">
                    <a:pos x="210" y="215"/>
                  </a:cxn>
                  <a:cxn ang="0">
                    <a:pos x="235" y="175"/>
                  </a:cxn>
                  <a:cxn ang="0">
                    <a:pos x="244" y="122"/>
                  </a:cxn>
                  <a:cxn ang="0">
                    <a:pos x="236" y="72"/>
                  </a:cxn>
                  <a:cxn ang="0">
                    <a:pos x="171" y="184"/>
                  </a:cxn>
                  <a:cxn ang="0">
                    <a:pos x="123" y="205"/>
                  </a:cxn>
                  <a:cxn ang="0">
                    <a:pos x="96" y="200"/>
                  </a:cxn>
                  <a:cxn ang="0">
                    <a:pos x="74" y="185"/>
                  </a:cxn>
                  <a:cxn ang="0">
                    <a:pos x="60" y="160"/>
                  </a:cxn>
                  <a:cxn ang="0">
                    <a:pos x="55" y="125"/>
                  </a:cxn>
                  <a:cxn ang="0">
                    <a:pos x="61" y="89"/>
                  </a:cxn>
                  <a:cxn ang="0">
                    <a:pos x="75" y="63"/>
                  </a:cxn>
                  <a:cxn ang="0">
                    <a:pos x="96" y="49"/>
                  </a:cxn>
                  <a:cxn ang="0">
                    <a:pos x="123" y="44"/>
                  </a:cxn>
                  <a:cxn ang="0">
                    <a:pos x="171" y="64"/>
                  </a:cxn>
                  <a:cxn ang="0">
                    <a:pos x="188" y="124"/>
                  </a:cxn>
                  <a:cxn ang="0">
                    <a:pos x="171" y="184"/>
                  </a:cxn>
                </a:cxnLst>
                <a:rect l="0" t="0" r="r" b="b"/>
                <a:pathLst>
                  <a:path w="244" h="248">
                    <a:moveTo>
                      <a:pt x="236" y="72"/>
                    </a:moveTo>
                    <a:cubicBezTo>
                      <a:pt x="231" y="57"/>
                      <a:pt x="223" y="44"/>
                      <a:pt x="213" y="34"/>
                    </a:cubicBezTo>
                    <a:cubicBezTo>
                      <a:pt x="203" y="23"/>
                      <a:pt x="191" y="15"/>
                      <a:pt x="176" y="9"/>
                    </a:cubicBezTo>
                    <a:cubicBezTo>
                      <a:pt x="162" y="3"/>
                      <a:pt x="145" y="0"/>
                      <a:pt x="126" y="0"/>
                    </a:cubicBezTo>
                    <a:cubicBezTo>
                      <a:pt x="107" y="0"/>
                      <a:pt x="90" y="3"/>
                      <a:pt x="75" y="8"/>
                    </a:cubicBezTo>
                    <a:cubicBezTo>
                      <a:pt x="59" y="13"/>
                      <a:pt x="46" y="22"/>
                      <a:pt x="35" y="32"/>
                    </a:cubicBezTo>
                    <a:cubicBezTo>
                      <a:pt x="24" y="43"/>
                      <a:pt x="15" y="56"/>
                      <a:pt x="9" y="72"/>
                    </a:cubicBezTo>
                    <a:cubicBezTo>
                      <a:pt x="3" y="88"/>
                      <a:pt x="0" y="106"/>
                      <a:pt x="0" y="127"/>
                    </a:cubicBezTo>
                    <a:cubicBezTo>
                      <a:pt x="0" y="145"/>
                      <a:pt x="3" y="162"/>
                      <a:pt x="8" y="177"/>
                    </a:cubicBezTo>
                    <a:cubicBezTo>
                      <a:pt x="14" y="192"/>
                      <a:pt x="22" y="205"/>
                      <a:pt x="32" y="215"/>
                    </a:cubicBezTo>
                    <a:cubicBezTo>
                      <a:pt x="43" y="226"/>
                      <a:pt x="55" y="234"/>
                      <a:pt x="70" y="240"/>
                    </a:cubicBezTo>
                    <a:cubicBezTo>
                      <a:pt x="85" y="246"/>
                      <a:pt x="101" y="248"/>
                      <a:pt x="120" y="248"/>
                    </a:cubicBezTo>
                    <a:cubicBezTo>
                      <a:pt x="138" y="248"/>
                      <a:pt x="155" y="245"/>
                      <a:pt x="171" y="240"/>
                    </a:cubicBezTo>
                    <a:cubicBezTo>
                      <a:pt x="186" y="234"/>
                      <a:pt x="199" y="226"/>
                      <a:pt x="210" y="215"/>
                    </a:cubicBezTo>
                    <a:cubicBezTo>
                      <a:pt x="220" y="204"/>
                      <a:pt x="229" y="190"/>
                      <a:pt x="235" y="175"/>
                    </a:cubicBezTo>
                    <a:cubicBezTo>
                      <a:pt x="241" y="159"/>
                      <a:pt x="244" y="141"/>
                      <a:pt x="244" y="122"/>
                    </a:cubicBezTo>
                    <a:cubicBezTo>
                      <a:pt x="244" y="104"/>
                      <a:pt x="241" y="87"/>
                      <a:pt x="236" y="72"/>
                    </a:cubicBezTo>
                    <a:close/>
                    <a:moveTo>
                      <a:pt x="171" y="184"/>
                    </a:moveTo>
                    <a:cubicBezTo>
                      <a:pt x="160" y="198"/>
                      <a:pt x="144" y="205"/>
                      <a:pt x="123" y="205"/>
                    </a:cubicBezTo>
                    <a:cubicBezTo>
                      <a:pt x="113" y="205"/>
                      <a:pt x="104" y="203"/>
                      <a:pt x="96" y="200"/>
                    </a:cubicBezTo>
                    <a:cubicBezTo>
                      <a:pt x="88" y="197"/>
                      <a:pt x="80" y="192"/>
                      <a:pt x="74" y="185"/>
                    </a:cubicBezTo>
                    <a:cubicBezTo>
                      <a:pt x="68" y="178"/>
                      <a:pt x="64" y="170"/>
                      <a:pt x="60" y="160"/>
                    </a:cubicBezTo>
                    <a:cubicBezTo>
                      <a:pt x="57" y="150"/>
                      <a:pt x="55" y="139"/>
                      <a:pt x="55" y="125"/>
                    </a:cubicBezTo>
                    <a:cubicBezTo>
                      <a:pt x="55" y="111"/>
                      <a:pt x="57" y="99"/>
                      <a:pt x="61" y="89"/>
                    </a:cubicBezTo>
                    <a:cubicBezTo>
                      <a:pt x="64" y="79"/>
                      <a:pt x="69" y="70"/>
                      <a:pt x="75" y="63"/>
                    </a:cubicBezTo>
                    <a:cubicBezTo>
                      <a:pt x="81" y="57"/>
                      <a:pt x="88" y="52"/>
                      <a:pt x="96" y="49"/>
                    </a:cubicBezTo>
                    <a:cubicBezTo>
                      <a:pt x="104" y="45"/>
                      <a:pt x="113" y="44"/>
                      <a:pt x="123" y="44"/>
                    </a:cubicBezTo>
                    <a:cubicBezTo>
                      <a:pt x="143" y="44"/>
                      <a:pt x="159" y="50"/>
                      <a:pt x="171" y="64"/>
                    </a:cubicBezTo>
                    <a:cubicBezTo>
                      <a:pt x="182" y="78"/>
                      <a:pt x="188" y="97"/>
                      <a:pt x="188" y="124"/>
                    </a:cubicBezTo>
                    <a:cubicBezTo>
                      <a:pt x="188" y="150"/>
                      <a:pt x="182" y="170"/>
                      <a:pt x="171" y="18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04" name="Freeform 44"/>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08" name="Group 107"/>
            <p:cNvGrpSpPr/>
            <p:nvPr/>
          </p:nvGrpSpPr>
          <p:grpSpPr bwMode="black">
            <a:xfrm>
              <a:off x="3754836" y="3575415"/>
              <a:ext cx="1389936" cy="385204"/>
              <a:chOff x="2649884" y="6146155"/>
              <a:chExt cx="1395225" cy="400069"/>
            </a:xfrm>
            <a:grpFill/>
            <a:effectLst/>
          </p:grpSpPr>
          <p:sp>
            <p:nvSpPr>
              <p:cNvPr id="182" name="Line 6"/>
              <p:cNvSpPr>
                <a:spLocks noChangeShapeType="1"/>
              </p:cNvSpPr>
              <p:nvPr/>
            </p:nvSpPr>
            <p:spPr bwMode="black">
              <a:xfrm>
                <a:off x="2649884" y="6545967"/>
                <a:ext cx="257" cy="257"/>
              </a:xfrm>
              <a:prstGeom prst="line">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83" name="Freeform 7"/>
              <p:cNvSpPr>
                <a:spLocks noEditPoints="1"/>
              </p:cNvSpPr>
              <p:nvPr/>
            </p:nvSpPr>
            <p:spPr bwMode="black">
              <a:xfrm>
                <a:off x="3268640" y="6412953"/>
                <a:ext cx="69723" cy="81043"/>
              </a:xfrm>
              <a:custGeom>
                <a:avLst/>
                <a:gdLst/>
                <a:ahLst/>
                <a:cxnLst>
                  <a:cxn ang="0">
                    <a:pos x="283" y="342"/>
                  </a:cxn>
                  <a:cxn ang="0">
                    <a:pos x="219" y="346"/>
                  </a:cxn>
                  <a:cxn ang="0">
                    <a:pos x="235" y="206"/>
                  </a:cxn>
                  <a:cxn ang="0">
                    <a:pos x="139" y="22"/>
                  </a:cxn>
                  <a:cxn ang="0">
                    <a:pos x="279" y="86"/>
                  </a:cxn>
                  <a:cxn ang="0">
                    <a:pos x="283" y="342"/>
                  </a:cxn>
                  <a:cxn ang="0">
                    <a:pos x="139" y="162"/>
                  </a:cxn>
                  <a:cxn ang="0">
                    <a:pos x="211" y="82"/>
                  </a:cxn>
                  <a:cxn ang="0">
                    <a:pos x="139" y="162"/>
                  </a:cxn>
                </a:cxnLst>
                <a:rect l="0" t="0" r="r" b="b"/>
                <a:pathLst>
                  <a:path w="301" h="350">
                    <a:moveTo>
                      <a:pt x="283" y="342"/>
                    </a:moveTo>
                    <a:cubicBezTo>
                      <a:pt x="269" y="350"/>
                      <a:pt x="240" y="344"/>
                      <a:pt x="219" y="346"/>
                    </a:cubicBezTo>
                    <a:cubicBezTo>
                      <a:pt x="222" y="297"/>
                      <a:pt x="209" y="232"/>
                      <a:pt x="235" y="206"/>
                    </a:cubicBezTo>
                    <a:cubicBezTo>
                      <a:pt x="101" y="301"/>
                      <a:pt x="0" y="67"/>
                      <a:pt x="139" y="22"/>
                    </a:cubicBezTo>
                    <a:cubicBezTo>
                      <a:pt x="205" y="0"/>
                      <a:pt x="264" y="37"/>
                      <a:pt x="279" y="86"/>
                    </a:cubicBezTo>
                    <a:cubicBezTo>
                      <a:pt x="301" y="157"/>
                      <a:pt x="271" y="257"/>
                      <a:pt x="283" y="342"/>
                    </a:cubicBezTo>
                    <a:close/>
                    <a:moveTo>
                      <a:pt x="139" y="162"/>
                    </a:moveTo>
                    <a:cubicBezTo>
                      <a:pt x="194" y="204"/>
                      <a:pt x="259" y="130"/>
                      <a:pt x="211" y="82"/>
                    </a:cubicBezTo>
                    <a:cubicBezTo>
                      <a:pt x="150" y="55"/>
                      <a:pt x="110" y="111"/>
                      <a:pt x="139" y="16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84" name="Freeform 8"/>
              <p:cNvSpPr>
                <a:spLocks noEditPoints="1"/>
              </p:cNvSpPr>
              <p:nvPr/>
            </p:nvSpPr>
            <p:spPr bwMode="black">
              <a:xfrm>
                <a:off x="3766475" y="6217679"/>
                <a:ext cx="120664" cy="196304"/>
              </a:xfrm>
              <a:custGeom>
                <a:avLst/>
                <a:gdLst/>
                <a:ahLst/>
                <a:cxnLst>
                  <a:cxn ang="0">
                    <a:pos x="492" y="322"/>
                  </a:cxn>
                  <a:cxn ang="0">
                    <a:pos x="428" y="322"/>
                  </a:cxn>
                  <a:cxn ang="0">
                    <a:pos x="112" y="282"/>
                  </a:cxn>
                  <a:cxn ang="0">
                    <a:pos x="356" y="274"/>
                  </a:cxn>
                  <a:cxn ang="0">
                    <a:pos x="356" y="718"/>
                  </a:cxn>
                  <a:cxn ang="0">
                    <a:pos x="148" y="778"/>
                  </a:cxn>
                  <a:cxn ang="0">
                    <a:pos x="288" y="590"/>
                  </a:cxn>
                  <a:cxn ang="0">
                    <a:pos x="288" y="342"/>
                  </a:cxn>
                  <a:cxn ang="0">
                    <a:pos x="52" y="338"/>
                  </a:cxn>
                  <a:cxn ang="0">
                    <a:pos x="492" y="322"/>
                  </a:cxn>
                  <a:cxn ang="0">
                    <a:pos x="196" y="734"/>
                  </a:cxn>
                  <a:cxn ang="0">
                    <a:pos x="276" y="738"/>
                  </a:cxn>
                  <a:cxn ang="0">
                    <a:pos x="272" y="646"/>
                  </a:cxn>
                  <a:cxn ang="0">
                    <a:pos x="196" y="734"/>
                  </a:cxn>
                </a:cxnLst>
                <a:rect l="0" t="0" r="r" b="b"/>
                <a:pathLst>
                  <a:path w="521" h="848">
                    <a:moveTo>
                      <a:pt x="492" y="322"/>
                    </a:moveTo>
                    <a:cubicBezTo>
                      <a:pt x="471" y="322"/>
                      <a:pt x="449" y="322"/>
                      <a:pt x="428" y="322"/>
                    </a:cubicBezTo>
                    <a:cubicBezTo>
                      <a:pt x="459" y="112"/>
                      <a:pt x="119" y="90"/>
                      <a:pt x="112" y="282"/>
                    </a:cubicBezTo>
                    <a:cubicBezTo>
                      <a:pt x="176" y="264"/>
                      <a:pt x="281" y="268"/>
                      <a:pt x="356" y="274"/>
                    </a:cubicBezTo>
                    <a:cubicBezTo>
                      <a:pt x="342" y="394"/>
                      <a:pt x="374" y="598"/>
                      <a:pt x="356" y="718"/>
                    </a:cubicBezTo>
                    <a:cubicBezTo>
                      <a:pt x="343" y="804"/>
                      <a:pt x="209" y="848"/>
                      <a:pt x="148" y="778"/>
                    </a:cubicBezTo>
                    <a:cubicBezTo>
                      <a:pt x="69" y="687"/>
                      <a:pt x="172" y="524"/>
                      <a:pt x="288" y="590"/>
                    </a:cubicBezTo>
                    <a:cubicBezTo>
                      <a:pt x="288" y="507"/>
                      <a:pt x="288" y="425"/>
                      <a:pt x="288" y="342"/>
                    </a:cubicBezTo>
                    <a:cubicBezTo>
                      <a:pt x="217" y="333"/>
                      <a:pt x="129" y="341"/>
                      <a:pt x="52" y="338"/>
                    </a:cubicBezTo>
                    <a:cubicBezTo>
                      <a:pt x="0" y="21"/>
                      <a:pt x="521" y="0"/>
                      <a:pt x="492" y="322"/>
                    </a:cubicBezTo>
                    <a:close/>
                    <a:moveTo>
                      <a:pt x="196" y="734"/>
                    </a:moveTo>
                    <a:cubicBezTo>
                      <a:pt x="213" y="750"/>
                      <a:pt x="254" y="749"/>
                      <a:pt x="276" y="738"/>
                    </a:cubicBezTo>
                    <a:cubicBezTo>
                      <a:pt x="297" y="716"/>
                      <a:pt x="296" y="664"/>
                      <a:pt x="272" y="646"/>
                    </a:cubicBezTo>
                    <a:cubicBezTo>
                      <a:pt x="204" y="618"/>
                      <a:pt x="162" y="685"/>
                      <a:pt x="196" y="73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85" name="Freeform 9"/>
              <p:cNvSpPr>
                <a:spLocks noEditPoints="1"/>
              </p:cNvSpPr>
              <p:nvPr/>
            </p:nvSpPr>
            <p:spPr bwMode="black">
              <a:xfrm>
                <a:off x="3361775" y="6220251"/>
                <a:ext cx="243901" cy="203250"/>
              </a:xfrm>
              <a:custGeom>
                <a:avLst/>
                <a:gdLst/>
                <a:ahLst/>
                <a:cxnLst>
                  <a:cxn ang="0">
                    <a:pos x="552" y="699"/>
                  </a:cxn>
                  <a:cxn ang="0">
                    <a:pos x="844" y="535"/>
                  </a:cxn>
                  <a:cxn ang="0">
                    <a:pos x="844" y="83"/>
                  </a:cxn>
                  <a:cxn ang="0">
                    <a:pos x="912" y="83"/>
                  </a:cxn>
                  <a:cxn ang="0">
                    <a:pos x="912" y="539"/>
                  </a:cxn>
                  <a:cxn ang="0">
                    <a:pos x="980" y="599"/>
                  </a:cxn>
                  <a:cxn ang="0">
                    <a:pos x="760" y="767"/>
                  </a:cxn>
                  <a:cxn ang="0">
                    <a:pos x="740" y="639"/>
                  </a:cxn>
                  <a:cxn ang="0">
                    <a:pos x="544" y="791"/>
                  </a:cxn>
                  <a:cxn ang="0">
                    <a:pos x="484" y="791"/>
                  </a:cxn>
                  <a:cxn ang="0">
                    <a:pos x="484" y="255"/>
                  </a:cxn>
                  <a:cxn ang="0">
                    <a:pos x="108" y="191"/>
                  </a:cxn>
                  <a:cxn ang="0">
                    <a:pos x="240" y="263"/>
                  </a:cxn>
                  <a:cxn ang="0">
                    <a:pos x="128" y="583"/>
                  </a:cxn>
                  <a:cxn ang="0">
                    <a:pos x="284" y="731"/>
                  </a:cxn>
                  <a:cxn ang="0">
                    <a:pos x="68" y="735"/>
                  </a:cxn>
                  <a:cxn ang="0">
                    <a:pos x="60" y="683"/>
                  </a:cxn>
                  <a:cxn ang="0">
                    <a:pos x="60" y="359"/>
                  </a:cxn>
                  <a:cxn ang="0">
                    <a:pos x="140" y="263"/>
                  </a:cxn>
                  <a:cxn ang="0">
                    <a:pos x="0" y="211"/>
                  </a:cxn>
                  <a:cxn ang="0">
                    <a:pos x="552" y="247"/>
                  </a:cxn>
                  <a:cxn ang="0">
                    <a:pos x="552" y="699"/>
                  </a:cxn>
                  <a:cxn ang="0">
                    <a:pos x="128" y="647"/>
                  </a:cxn>
                  <a:cxn ang="0">
                    <a:pos x="216" y="727"/>
                  </a:cxn>
                  <a:cxn ang="0">
                    <a:pos x="208" y="635"/>
                  </a:cxn>
                  <a:cxn ang="0">
                    <a:pos x="128" y="647"/>
                  </a:cxn>
                  <a:cxn ang="0">
                    <a:pos x="916" y="727"/>
                  </a:cxn>
                  <a:cxn ang="0">
                    <a:pos x="908" y="603"/>
                  </a:cxn>
                  <a:cxn ang="0">
                    <a:pos x="836" y="599"/>
                  </a:cxn>
                  <a:cxn ang="0">
                    <a:pos x="916" y="727"/>
                  </a:cxn>
                </a:cxnLst>
                <a:rect l="0" t="0" r="r" b="b"/>
                <a:pathLst>
                  <a:path w="1053" h="878">
                    <a:moveTo>
                      <a:pt x="552" y="699"/>
                    </a:moveTo>
                    <a:cubicBezTo>
                      <a:pt x="629" y="640"/>
                      <a:pt x="712" y="553"/>
                      <a:pt x="844" y="535"/>
                    </a:cubicBezTo>
                    <a:cubicBezTo>
                      <a:pt x="844" y="384"/>
                      <a:pt x="844" y="234"/>
                      <a:pt x="844" y="83"/>
                    </a:cubicBezTo>
                    <a:cubicBezTo>
                      <a:pt x="867" y="83"/>
                      <a:pt x="889" y="83"/>
                      <a:pt x="912" y="83"/>
                    </a:cubicBezTo>
                    <a:cubicBezTo>
                      <a:pt x="912" y="235"/>
                      <a:pt x="912" y="387"/>
                      <a:pt x="912" y="539"/>
                    </a:cubicBezTo>
                    <a:cubicBezTo>
                      <a:pt x="940" y="567"/>
                      <a:pt x="965" y="571"/>
                      <a:pt x="980" y="599"/>
                    </a:cubicBezTo>
                    <a:cubicBezTo>
                      <a:pt x="1053" y="735"/>
                      <a:pt x="865" y="878"/>
                      <a:pt x="760" y="767"/>
                    </a:cubicBezTo>
                    <a:cubicBezTo>
                      <a:pt x="737" y="742"/>
                      <a:pt x="721" y="686"/>
                      <a:pt x="740" y="639"/>
                    </a:cubicBezTo>
                    <a:cubicBezTo>
                      <a:pt x="678" y="677"/>
                      <a:pt x="603" y="736"/>
                      <a:pt x="544" y="791"/>
                    </a:cubicBezTo>
                    <a:cubicBezTo>
                      <a:pt x="524" y="791"/>
                      <a:pt x="504" y="791"/>
                      <a:pt x="484" y="791"/>
                    </a:cubicBezTo>
                    <a:cubicBezTo>
                      <a:pt x="466" y="623"/>
                      <a:pt x="509" y="408"/>
                      <a:pt x="484" y="255"/>
                    </a:cubicBezTo>
                    <a:cubicBezTo>
                      <a:pt x="462" y="117"/>
                      <a:pt x="210" y="106"/>
                      <a:pt x="108" y="191"/>
                    </a:cubicBezTo>
                    <a:cubicBezTo>
                      <a:pt x="155" y="212"/>
                      <a:pt x="210" y="225"/>
                      <a:pt x="240" y="263"/>
                    </a:cubicBezTo>
                    <a:cubicBezTo>
                      <a:pt x="117" y="283"/>
                      <a:pt x="121" y="423"/>
                      <a:pt x="128" y="583"/>
                    </a:cubicBezTo>
                    <a:cubicBezTo>
                      <a:pt x="214" y="537"/>
                      <a:pt x="323" y="629"/>
                      <a:pt x="284" y="731"/>
                    </a:cubicBezTo>
                    <a:cubicBezTo>
                      <a:pt x="252" y="814"/>
                      <a:pt x="102" y="828"/>
                      <a:pt x="68" y="735"/>
                    </a:cubicBezTo>
                    <a:cubicBezTo>
                      <a:pt x="65" y="727"/>
                      <a:pt x="61" y="699"/>
                      <a:pt x="60" y="683"/>
                    </a:cubicBezTo>
                    <a:cubicBezTo>
                      <a:pt x="53" y="599"/>
                      <a:pt x="51" y="438"/>
                      <a:pt x="60" y="359"/>
                    </a:cubicBezTo>
                    <a:cubicBezTo>
                      <a:pt x="66" y="310"/>
                      <a:pt x="94" y="283"/>
                      <a:pt x="140" y="263"/>
                    </a:cubicBezTo>
                    <a:cubicBezTo>
                      <a:pt x="104" y="235"/>
                      <a:pt x="50" y="225"/>
                      <a:pt x="0" y="211"/>
                    </a:cubicBezTo>
                    <a:cubicBezTo>
                      <a:pt x="82" y="46"/>
                      <a:pt x="522" y="0"/>
                      <a:pt x="552" y="247"/>
                    </a:cubicBezTo>
                    <a:cubicBezTo>
                      <a:pt x="569" y="385"/>
                      <a:pt x="539" y="542"/>
                      <a:pt x="552" y="699"/>
                    </a:cubicBezTo>
                    <a:close/>
                    <a:moveTo>
                      <a:pt x="128" y="647"/>
                    </a:moveTo>
                    <a:cubicBezTo>
                      <a:pt x="90" y="699"/>
                      <a:pt x="163" y="780"/>
                      <a:pt x="216" y="727"/>
                    </a:cubicBezTo>
                    <a:cubicBezTo>
                      <a:pt x="236" y="707"/>
                      <a:pt x="231" y="653"/>
                      <a:pt x="208" y="635"/>
                    </a:cubicBezTo>
                    <a:cubicBezTo>
                      <a:pt x="169" y="627"/>
                      <a:pt x="141" y="630"/>
                      <a:pt x="128" y="647"/>
                    </a:cubicBezTo>
                    <a:close/>
                    <a:moveTo>
                      <a:pt x="916" y="727"/>
                    </a:moveTo>
                    <a:cubicBezTo>
                      <a:pt x="944" y="704"/>
                      <a:pt x="940" y="622"/>
                      <a:pt x="908" y="603"/>
                    </a:cubicBezTo>
                    <a:cubicBezTo>
                      <a:pt x="891" y="593"/>
                      <a:pt x="862" y="593"/>
                      <a:pt x="836" y="599"/>
                    </a:cubicBezTo>
                    <a:cubicBezTo>
                      <a:pt x="722" y="627"/>
                      <a:pt x="823" y="805"/>
                      <a:pt x="916" y="72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86" name="Freeform 10"/>
              <p:cNvSpPr>
                <a:spLocks noEditPoints="1"/>
              </p:cNvSpPr>
              <p:nvPr/>
            </p:nvSpPr>
            <p:spPr bwMode="black">
              <a:xfrm>
                <a:off x="2849790" y="6233887"/>
                <a:ext cx="132499" cy="169547"/>
              </a:xfrm>
              <a:custGeom>
                <a:avLst/>
                <a:gdLst/>
                <a:ahLst/>
                <a:cxnLst>
                  <a:cxn ang="0">
                    <a:pos x="556" y="732"/>
                  </a:cxn>
                  <a:cxn ang="0">
                    <a:pos x="136" y="732"/>
                  </a:cxn>
                  <a:cxn ang="0">
                    <a:pos x="136" y="496"/>
                  </a:cxn>
                  <a:cxn ang="0">
                    <a:pos x="144" y="268"/>
                  </a:cxn>
                  <a:cxn ang="0">
                    <a:pos x="364" y="272"/>
                  </a:cxn>
                  <a:cxn ang="0">
                    <a:pos x="204" y="420"/>
                  </a:cxn>
                  <a:cxn ang="0">
                    <a:pos x="204" y="660"/>
                  </a:cxn>
                  <a:cxn ang="0">
                    <a:pos x="488" y="664"/>
                  </a:cxn>
                  <a:cxn ang="0">
                    <a:pos x="484" y="224"/>
                  </a:cxn>
                  <a:cxn ang="0">
                    <a:pos x="212" y="92"/>
                  </a:cxn>
                  <a:cxn ang="0">
                    <a:pos x="76" y="352"/>
                  </a:cxn>
                  <a:cxn ang="0">
                    <a:pos x="8" y="356"/>
                  </a:cxn>
                  <a:cxn ang="0">
                    <a:pos x="252" y="16"/>
                  </a:cxn>
                  <a:cxn ang="0">
                    <a:pos x="556" y="232"/>
                  </a:cxn>
                  <a:cxn ang="0">
                    <a:pos x="556" y="732"/>
                  </a:cxn>
                  <a:cxn ang="0">
                    <a:pos x="284" y="268"/>
                  </a:cxn>
                  <a:cxn ang="0">
                    <a:pos x="288" y="364"/>
                  </a:cxn>
                  <a:cxn ang="0">
                    <a:pos x="300" y="352"/>
                  </a:cxn>
                  <a:cxn ang="0">
                    <a:pos x="284" y="268"/>
                  </a:cxn>
                </a:cxnLst>
                <a:rect l="0" t="0" r="r" b="b"/>
                <a:pathLst>
                  <a:path w="572" h="732">
                    <a:moveTo>
                      <a:pt x="556" y="732"/>
                    </a:moveTo>
                    <a:cubicBezTo>
                      <a:pt x="416" y="732"/>
                      <a:pt x="276" y="732"/>
                      <a:pt x="136" y="732"/>
                    </a:cubicBezTo>
                    <a:cubicBezTo>
                      <a:pt x="136" y="657"/>
                      <a:pt x="136" y="580"/>
                      <a:pt x="136" y="496"/>
                    </a:cubicBezTo>
                    <a:cubicBezTo>
                      <a:pt x="136" y="421"/>
                      <a:pt x="122" y="324"/>
                      <a:pt x="144" y="268"/>
                    </a:cubicBezTo>
                    <a:cubicBezTo>
                      <a:pt x="180" y="175"/>
                      <a:pt x="334" y="182"/>
                      <a:pt x="364" y="272"/>
                    </a:cubicBezTo>
                    <a:cubicBezTo>
                      <a:pt x="400" y="381"/>
                      <a:pt x="297" y="467"/>
                      <a:pt x="204" y="420"/>
                    </a:cubicBezTo>
                    <a:cubicBezTo>
                      <a:pt x="204" y="500"/>
                      <a:pt x="204" y="580"/>
                      <a:pt x="204" y="660"/>
                    </a:cubicBezTo>
                    <a:cubicBezTo>
                      <a:pt x="291" y="669"/>
                      <a:pt x="395" y="661"/>
                      <a:pt x="488" y="664"/>
                    </a:cubicBezTo>
                    <a:cubicBezTo>
                      <a:pt x="471" y="524"/>
                      <a:pt x="512" y="351"/>
                      <a:pt x="484" y="224"/>
                    </a:cubicBezTo>
                    <a:cubicBezTo>
                      <a:pt x="459" y="113"/>
                      <a:pt x="334" y="47"/>
                      <a:pt x="212" y="92"/>
                    </a:cubicBezTo>
                    <a:cubicBezTo>
                      <a:pt x="120" y="126"/>
                      <a:pt x="69" y="210"/>
                      <a:pt x="76" y="352"/>
                    </a:cubicBezTo>
                    <a:cubicBezTo>
                      <a:pt x="60" y="360"/>
                      <a:pt x="30" y="354"/>
                      <a:pt x="8" y="356"/>
                    </a:cubicBezTo>
                    <a:cubicBezTo>
                      <a:pt x="0" y="157"/>
                      <a:pt x="89" y="33"/>
                      <a:pt x="252" y="16"/>
                    </a:cubicBezTo>
                    <a:cubicBezTo>
                      <a:pt x="409" y="0"/>
                      <a:pt x="540" y="91"/>
                      <a:pt x="556" y="232"/>
                    </a:cubicBezTo>
                    <a:cubicBezTo>
                      <a:pt x="572" y="376"/>
                      <a:pt x="544" y="560"/>
                      <a:pt x="556" y="732"/>
                    </a:cubicBezTo>
                    <a:close/>
                    <a:moveTo>
                      <a:pt x="284" y="268"/>
                    </a:moveTo>
                    <a:cubicBezTo>
                      <a:pt x="172" y="208"/>
                      <a:pt x="175" y="423"/>
                      <a:pt x="288" y="364"/>
                    </a:cubicBezTo>
                    <a:cubicBezTo>
                      <a:pt x="289" y="363"/>
                      <a:pt x="292" y="354"/>
                      <a:pt x="300" y="352"/>
                    </a:cubicBezTo>
                    <a:cubicBezTo>
                      <a:pt x="310" y="317"/>
                      <a:pt x="305" y="279"/>
                      <a:pt x="284" y="26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87" name="Freeform 11"/>
              <p:cNvSpPr>
                <a:spLocks noEditPoints="1"/>
              </p:cNvSpPr>
              <p:nvPr/>
            </p:nvSpPr>
            <p:spPr bwMode="black">
              <a:xfrm>
                <a:off x="3617254"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88" name="Freeform 12"/>
              <p:cNvSpPr>
                <a:spLocks noEditPoints="1"/>
              </p:cNvSpPr>
              <p:nvPr/>
            </p:nvSpPr>
            <p:spPr bwMode="black">
              <a:xfrm>
                <a:off x="3200461"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89" name="Freeform 13"/>
              <p:cNvSpPr>
                <a:spLocks noEditPoints="1"/>
              </p:cNvSpPr>
              <p:nvPr/>
            </p:nvSpPr>
            <p:spPr bwMode="black">
              <a:xfrm>
                <a:off x="2690020" y="6219480"/>
                <a:ext cx="130183" cy="183955"/>
              </a:xfrm>
              <a:custGeom>
                <a:avLst/>
                <a:gdLst/>
                <a:ahLst/>
                <a:cxnLst>
                  <a:cxn ang="0">
                    <a:pos x="354" y="722"/>
                  </a:cxn>
                  <a:cxn ang="0">
                    <a:pos x="490" y="726"/>
                  </a:cxn>
                  <a:cxn ang="0">
                    <a:pos x="494" y="86"/>
                  </a:cxn>
                  <a:cxn ang="0">
                    <a:pos x="562" y="86"/>
                  </a:cxn>
                  <a:cxn ang="0">
                    <a:pos x="562" y="794"/>
                  </a:cxn>
                  <a:cxn ang="0">
                    <a:pos x="198" y="794"/>
                  </a:cxn>
                  <a:cxn ang="0">
                    <a:pos x="202" y="726"/>
                  </a:cxn>
                  <a:cxn ang="0">
                    <a:pos x="286" y="726"/>
                  </a:cxn>
                  <a:cxn ang="0">
                    <a:pos x="286" y="394"/>
                  </a:cxn>
                  <a:cxn ang="0">
                    <a:pos x="346" y="218"/>
                  </a:cxn>
                  <a:cxn ang="0">
                    <a:pos x="154" y="158"/>
                  </a:cxn>
                  <a:cxn ang="0">
                    <a:pos x="246" y="198"/>
                  </a:cxn>
                  <a:cxn ang="0">
                    <a:pos x="90" y="378"/>
                  </a:cxn>
                  <a:cxn ang="0">
                    <a:pos x="34" y="290"/>
                  </a:cxn>
                  <a:cxn ang="0">
                    <a:pos x="418" y="222"/>
                  </a:cxn>
                  <a:cxn ang="0">
                    <a:pos x="354" y="398"/>
                  </a:cxn>
                  <a:cxn ang="0">
                    <a:pos x="354" y="722"/>
                  </a:cxn>
                  <a:cxn ang="0">
                    <a:pos x="114" y="318"/>
                  </a:cxn>
                  <a:cxn ang="0">
                    <a:pos x="186" y="222"/>
                  </a:cxn>
                  <a:cxn ang="0">
                    <a:pos x="114" y="318"/>
                  </a:cxn>
                </a:cxnLst>
                <a:rect l="0" t="0" r="r" b="b"/>
                <a:pathLst>
                  <a:path w="562" h="794">
                    <a:moveTo>
                      <a:pt x="354" y="722"/>
                    </a:moveTo>
                    <a:cubicBezTo>
                      <a:pt x="391" y="731"/>
                      <a:pt x="446" y="723"/>
                      <a:pt x="490" y="726"/>
                    </a:cubicBezTo>
                    <a:cubicBezTo>
                      <a:pt x="499" y="521"/>
                      <a:pt x="491" y="298"/>
                      <a:pt x="494" y="86"/>
                    </a:cubicBezTo>
                    <a:cubicBezTo>
                      <a:pt x="517" y="86"/>
                      <a:pt x="539" y="86"/>
                      <a:pt x="562" y="86"/>
                    </a:cubicBezTo>
                    <a:cubicBezTo>
                      <a:pt x="562" y="322"/>
                      <a:pt x="562" y="558"/>
                      <a:pt x="562" y="794"/>
                    </a:cubicBezTo>
                    <a:cubicBezTo>
                      <a:pt x="441" y="794"/>
                      <a:pt x="319" y="794"/>
                      <a:pt x="198" y="794"/>
                    </a:cubicBezTo>
                    <a:cubicBezTo>
                      <a:pt x="200" y="772"/>
                      <a:pt x="194" y="742"/>
                      <a:pt x="202" y="726"/>
                    </a:cubicBezTo>
                    <a:cubicBezTo>
                      <a:pt x="230" y="726"/>
                      <a:pt x="258" y="726"/>
                      <a:pt x="286" y="726"/>
                    </a:cubicBezTo>
                    <a:cubicBezTo>
                      <a:pt x="297" y="618"/>
                      <a:pt x="272" y="509"/>
                      <a:pt x="286" y="394"/>
                    </a:cubicBezTo>
                    <a:cubicBezTo>
                      <a:pt x="295" y="319"/>
                      <a:pt x="349" y="283"/>
                      <a:pt x="346" y="218"/>
                    </a:cubicBezTo>
                    <a:cubicBezTo>
                      <a:pt x="342" y="133"/>
                      <a:pt x="237" y="126"/>
                      <a:pt x="154" y="158"/>
                    </a:cubicBezTo>
                    <a:cubicBezTo>
                      <a:pt x="192" y="171"/>
                      <a:pt x="226" y="173"/>
                      <a:pt x="246" y="198"/>
                    </a:cubicBezTo>
                    <a:cubicBezTo>
                      <a:pt x="326" y="296"/>
                      <a:pt x="201" y="438"/>
                      <a:pt x="90" y="378"/>
                    </a:cubicBezTo>
                    <a:cubicBezTo>
                      <a:pt x="65" y="364"/>
                      <a:pt x="39" y="327"/>
                      <a:pt x="34" y="290"/>
                    </a:cubicBezTo>
                    <a:cubicBezTo>
                      <a:pt x="0" y="40"/>
                      <a:pt x="420" y="0"/>
                      <a:pt x="418" y="222"/>
                    </a:cubicBezTo>
                    <a:cubicBezTo>
                      <a:pt x="417" y="288"/>
                      <a:pt x="365" y="328"/>
                      <a:pt x="354" y="398"/>
                    </a:cubicBezTo>
                    <a:cubicBezTo>
                      <a:pt x="339" y="500"/>
                      <a:pt x="365" y="597"/>
                      <a:pt x="354" y="722"/>
                    </a:cubicBezTo>
                    <a:close/>
                    <a:moveTo>
                      <a:pt x="114" y="318"/>
                    </a:moveTo>
                    <a:cubicBezTo>
                      <a:pt x="172" y="360"/>
                      <a:pt x="243" y="273"/>
                      <a:pt x="186" y="222"/>
                    </a:cubicBezTo>
                    <a:cubicBezTo>
                      <a:pt x="109" y="182"/>
                      <a:pt x="66" y="283"/>
                      <a:pt x="114" y="31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90" name="Freeform 14"/>
              <p:cNvSpPr>
                <a:spLocks noEditPoints="1"/>
              </p:cNvSpPr>
              <p:nvPr/>
            </p:nvSpPr>
            <p:spPr bwMode="black">
              <a:xfrm>
                <a:off x="3881737" y="6232086"/>
                <a:ext cx="163372"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91" name="Freeform 15"/>
              <p:cNvSpPr>
                <a:spLocks noEditPoints="1"/>
              </p:cNvSpPr>
              <p:nvPr/>
            </p:nvSpPr>
            <p:spPr bwMode="black">
              <a:xfrm>
                <a:off x="2994638" y="6232086"/>
                <a:ext cx="163630"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92" name="Freeform 16"/>
              <p:cNvSpPr>
                <a:spLocks noEditPoints="1"/>
              </p:cNvSpPr>
              <p:nvPr/>
            </p:nvSpPr>
            <p:spPr bwMode="black">
              <a:xfrm>
                <a:off x="3781912" y="6146155"/>
                <a:ext cx="128125" cy="69208"/>
              </a:xfrm>
              <a:custGeom>
                <a:avLst/>
                <a:gdLst/>
                <a:ahLst/>
                <a:cxnLst>
                  <a:cxn ang="0">
                    <a:pos x="554" y="67"/>
                  </a:cxn>
                  <a:cxn ang="0">
                    <a:pos x="234" y="287"/>
                  </a:cxn>
                  <a:cxn ang="0">
                    <a:pos x="30" y="191"/>
                  </a:cxn>
                  <a:cxn ang="0">
                    <a:pos x="246" y="179"/>
                  </a:cxn>
                  <a:cxn ang="0">
                    <a:pos x="222" y="227"/>
                  </a:cxn>
                  <a:cxn ang="0">
                    <a:pos x="502" y="27"/>
                  </a:cxn>
                  <a:cxn ang="0">
                    <a:pos x="554" y="67"/>
                  </a:cxn>
                  <a:cxn ang="0">
                    <a:pos x="182" y="131"/>
                  </a:cxn>
                  <a:cxn ang="0">
                    <a:pos x="94" y="195"/>
                  </a:cxn>
                  <a:cxn ang="0">
                    <a:pos x="182" y="131"/>
                  </a:cxn>
                </a:cxnLst>
                <a:rect l="0" t="0" r="r" b="b"/>
                <a:pathLst>
                  <a:path w="554" h="299">
                    <a:moveTo>
                      <a:pt x="554" y="67"/>
                    </a:moveTo>
                    <a:cubicBezTo>
                      <a:pt x="480" y="153"/>
                      <a:pt x="377" y="270"/>
                      <a:pt x="234" y="287"/>
                    </a:cubicBezTo>
                    <a:cubicBezTo>
                      <a:pt x="135" y="299"/>
                      <a:pt x="43" y="264"/>
                      <a:pt x="30" y="191"/>
                    </a:cubicBezTo>
                    <a:cubicBezTo>
                      <a:pt x="0" y="23"/>
                      <a:pt x="272" y="0"/>
                      <a:pt x="246" y="179"/>
                    </a:cubicBezTo>
                    <a:cubicBezTo>
                      <a:pt x="243" y="200"/>
                      <a:pt x="238" y="205"/>
                      <a:pt x="222" y="227"/>
                    </a:cubicBezTo>
                    <a:cubicBezTo>
                      <a:pt x="347" y="192"/>
                      <a:pt x="439" y="124"/>
                      <a:pt x="502" y="27"/>
                    </a:cubicBezTo>
                    <a:cubicBezTo>
                      <a:pt x="525" y="34"/>
                      <a:pt x="537" y="53"/>
                      <a:pt x="554" y="67"/>
                    </a:cubicBezTo>
                    <a:close/>
                    <a:moveTo>
                      <a:pt x="182" y="131"/>
                    </a:moveTo>
                    <a:cubicBezTo>
                      <a:pt x="152" y="84"/>
                      <a:pt x="58" y="117"/>
                      <a:pt x="94" y="195"/>
                    </a:cubicBezTo>
                    <a:cubicBezTo>
                      <a:pt x="146" y="242"/>
                      <a:pt x="217" y="185"/>
                      <a:pt x="182" y="13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09" name="Group 108"/>
            <p:cNvGrpSpPr/>
            <p:nvPr/>
          </p:nvGrpSpPr>
          <p:grpSpPr bwMode="black">
            <a:xfrm>
              <a:off x="3754836" y="5195652"/>
              <a:ext cx="837044" cy="261824"/>
              <a:chOff x="8632347" y="6167032"/>
              <a:chExt cx="840228" cy="271928"/>
            </a:xfrm>
            <a:grpFill/>
            <a:effectLst/>
          </p:grpSpPr>
          <p:sp>
            <p:nvSpPr>
              <p:cNvPr id="179" name="Freeform 17"/>
              <p:cNvSpPr>
                <a:spLocks noEditPoints="1"/>
              </p:cNvSpPr>
              <p:nvPr/>
            </p:nvSpPr>
            <p:spPr bwMode="black">
              <a:xfrm>
                <a:off x="8632347" y="6169214"/>
                <a:ext cx="243121" cy="269746"/>
              </a:xfrm>
              <a:custGeom>
                <a:avLst/>
                <a:gdLst/>
                <a:ahLst/>
                <a:cxnLst>
                  <a:cxn ang="0">
                    <a:pos x="128" y="112"/>
                  </a:cxn>
                  <a:cxn ang="0">
                    <a:pos x="147" y="130"/>
                  </a:cxn>
                  <a:cxn ang="0">
                    <a:pos x="136" y="133"/>
                  </a:cxn>
                  <a:cxn ang="0">
                    <a:pos x="118" y="148"/>
                  </a:cxn>
                  <a:cxn ang="0">
                    <a:pos x="206" y="148"/>
                  </a:cxn>
                  <a:cxn ang="0">
                    <a:pos x="217" y="136"/>
                  </a:cxn>
                  <a:cxn ang="0">
                    <a:pos x="236" y="155"/>
                  </a:cxn>
                  <a:cxn ang="0">
                    <a:pos x="224" y="161"/>
                  </a:cxn>
                  <a:cxn ang="0">
                    <a:pos x="113" y="239"/>
                  </a:cxn>
                  <a:cxn ang="0">
                    <a:pos x="0" y="262"/>
                  </a:cxn>
                  <a:cxn ang="0">
                    <a:pos x="0" y="258"/>
                  </a:cxn>
                  <a:cxn ang="0">
                    <a:pos x="114" y="226"/>
                  </a:cxn>
                  <a:cxn ang="0">
                    <a:pos x="206" y="154"/>
                  </a:cxn>
                  <a:cxn ang="0">
                    <a:pos x="113" y="154"/>
                  </a:cxn>
                  <a:cxn ang="0">
                    <a:pos x="19" y="203"/>
                  </a:cxn>
                  <a:cxn ang="0">
                    <a:pos x="17" y="198"/>
                  </a:cxn>
                  <a:cxn ang="0">
                    <a:pos x="78" y="162"/>
                  </a:cxn>
                  <a:cxn ang="0">
                    <a:pos x="128" y="112"/>
                  </a:cxn>
                  <a:cxn ang="0">
                    <a:pos x="99" y="45"/>
                  </a:cxn>
                  <a:cxn ang="0">
                    <a:pos x="86" y="53"/>
                  </a:cxn>
                  <a:cxn ang="0">
                    <a:pos x="114" y="75"/>
                  </a:cxn>
                  <a:cxn ang="0">
                    <a:pos x="111" y="93"/>
                  </a:cxn>
                  <a:cxn ang="0">
                    <a:pos x="100" y="90"/>
                  </a:cxn>
                  <a:cxn ang="0">
                    <a:pos x="82" y="55"/>
                  </a:cxn>
                  <a:cxn ang="0">
                    <a:pos x="50" y="73"/>
                  </a:cxn>
                  <a:cxn ang="0">
                    <a:pos x="10" y="91"/>
                  </a:cxn>
                  <a:cxn ang="0">
                    <a:pos x="8" y="87"/>
                  </a:cxn>
                  <a:cxn ang="0">
                    <a:pos x="79" y="41"/>
                  </a:cxn>
                  <a:cxn ang="0">
                    <a:pos x="117" y="0"/>
                  </a:cxn>
                  <a:cxn ang="0">
                    <a:pos x="136" y="17"/>
                  </a:cxn>
                  <a:cxn ang="0">
                    <a:pos x="126" y="21"/>
                  </a:cxn>
                  <a:cxn ang="0">
                    <a:pos x="105" y="39"/>
                  </a:cxn>
                  <a:cxn ang="0">
                    <a:pos x="191" y="39"/>
                  </a:cxn>
                  <a:cxn ang="0">
                    <a:pos x="204" y="26"/>
                  </a:cxn>
                  <a:cxn ang="0">
                    <a:pos x="224" y="46"/>
                  </a:cxn>
                  <a:cxn ang="0">
                    <a:pos x="211" y="51"/>
                  </a:cxn>
                  <a:cxn ang="0">
                    <a:pos x="132" y="108"/>
                  </a:cxn>
                  <a:cxn ang="0">
                    <a:pos x="2" y="145"/>
                  </a:cxn>
                  <a:cxn ang="0">
                    <a:pos x="1" y="141"/>
                  </a:cxn>
                  <a:cxn ang="0">
                    <a:pos x="104" y="109"/>
                  </a:cxn>
                  <a:cxn ang="0">
                    <a:pos x="191" y="45"/>
                  </a:cxn>
                  <a:cxn ang="0">
                    <a:pos x="99" y="45"/>
                  </a:cxn>
                  <a:cxn ang="0">
                    <a:pos x="93" y="169"/>
                  </a:cxn>
                  <a:cxn ang="0">
                    <a:pos x="119" y="195"/>
                  </a:cxn>
                  <a:cxn ang="0">
                    <a:pos x="114" y="216"/>
                  </a:cxn>
                  <a:cxn ang="0">
                    <a:pos x="102" y="209"/>
                  </a:cxn>
                  <a:cxn ang="0">
                    <a:pos x="90" y="172"/>
                  </a:cxn>
                  <a:cxn ang="0">
                    <a:pos x="93" y="169"/>
                  </a:cxn>
                </a:cxnLst>
                <a:rect l="0" t="0" r="r" b="b"/>
                <a:pathLst>
                  <a:path w="236" h="262">
                    <a:moveTo>
                      <a:pt x="128" y="112"/>
                    </a:moveTo>
                    <a:cubicBezTo>
                      <a:pt x="147" y="130"/>
                      <a:pt x="147" y="130"/>
                      <a:pt x="147" y="130"/>
                    </a:cubicBezTo>
                    <a:cubicBezTo>
                      <a:pt x="136" y="133"/>
                      <a:pt x="136" y="133"/>
                      <a:pt x="136" y="133"/>
                    </a:cubicBezTo>
                    <a:cubicBezTo>
                      <a:pt x="134" y="135"/>
                      <a:pt x="128" y="140"/>
                      <a:pt x="118" y="148"/>
                    </a:cubicBezTo>
                    <a:cubicBezTo>
                      <a:pt x="206" y="148"/>
                      <a:pt x="206" y="148"/>
                      <a:pt x="206" y="148"/>
                    </a:cubicBezTo>
                    <a:cubicBezTo>
                      <a:pt x="217" y="136"/>
                      <a:pt x="217" y="136"/>
                      <a:pt x="217" y="136"/>
                    </a:cubicBezTo>
                    <a:cubicBezTo>
                      <a:pt x="236" y="155"/>
                      <a:pt x="236" y="155"/>
                      <a:pt x="236" y="155"/>
                    </a:cubicBezTo>
                    <a:cubicBezTo>
                      <a:pt x="224" y="161"/>
                      <a:pt x="224" y="161"/>
                      <a:pt x="224" y="161"/>
                    </a:cubicBezTo>
                    <a:cubicBezTo>
                      <a:pt x="186" y="200"/>
                      <a:pt x="149" y="226"/>
                      <a:pt x="113" y="239"/>
                    </a:cubicBezTo>
                    <a:cubicBezTo>
                      <a:pt x="76" y="251"/>
                      <a:pt x="38" y="259"/>
                      <a:pt x="0" y="262"/>
                    </a:cubicBezTo>
                    <a:cubicBezTo>
                      <a:pt x="0" y="258"/>
                      <a:pt x="0" y="258"/>
                      <a:pt x="0" y="258"/>
                    </a:cubicBezTo>
                    <a:cubicBezTo>
                      <a:pt x="42" y="252"/>
                      <a:pt x="80" y="241"/>
                      <a:pt x="114" y="226"/>
                    </a:cubicBezTo>
                    <a:cubicBezTo>
                      <a:pt x="148" y="211"/>
                      <a:pt x="179" y="187"/>
                      <a:pt x="206" y="154"/>
                    </a:cubicBezTo>
                    <a:cubicBezTo>
                      <a:pt x="113" y="154"/>
                      <a:pt x="113" y="154"/>
                      <a:pt x="113" y="154"/>
                    </a:cubicBezTo>
                    <a:cubicBezTo>
                      <a:pt x="86" y="174"/>
                      <a:pt x="55" y="190"/>
                      <a:pt x="19" y="203"/>
                    </a:cubicBezTo>
                    <a:cubicBezTo>
                      <a:pt x="17" y="198"/>
                      <a:pt x="17" y="198"/>
                      <a:pt x="17" y="198"/>
                    </a:cubicBezTo>
                    <a:cubicBezTo>
                      <a:pt x="40" y="187"/>
                      <a:pt x="60" y="175"/>
                      <a:pt x="78" y="162"/>
                    </a:cubicBezTo>
                    <a:cubicBezTo>
                      <a:pt x="97" y="148"/>
                      <a:pt x="113" y="132"/>
                      <a:pt x="128" y="112"/>
                    </a:cubicBezTo>
                    <a:close/>
                    <a:moveTo>
                      <a:pt x="99" y="45"/>
                    </a:moveTo>
                    <a:cubicBezTo>
                      <a:pt x="86" y="53"/>
                      <a:pt x="86" y="53"/>
                      <a:pt x="86" y="53"/>
                    </a:cubicBezTo>
                    <a:cubicBezTo>
                      <a:pt x="101" y="62"/>
                      <a:pt x="111" y="69"/>
                      <a:pt x="114" y="75"/>
                    </a:cubicBezTo>
                    <a:cubicBezTo>
                      <a:pt x="118" y="81"/>
                      <a:pt x="117" y="87"/>
                      <a:pt x="111" y="93"/>
                    </a:cubicBezTo>
                    <a:cubicBezTo>
                      <a:pt x="106" y="99"/>
                      <a:pt x="102" y="98"/>
                      <a:pt x="100" y="90"/>
                    </a:cubicBezTo>
                    <a:cubicBezTo>
                      <a:pt x="98" y="81"/>
                      <a:pt x="92" y="70"/>
                      <a:pt x="82" y="55"/>
                    </a:cubicBezTo>
                    <a:cubicBezTo>
                      <a:pt x="73" y="61"/>
                      <a:pt x="62" y="67"/>
                      <a:pt x="50" y="73"/>
                    </a:cubicBezTo>
                    <a:cubicBezTo>
                      <a:pt x="39" y="79"/>
                      <a:pt x="25" y="85"/>
                      <a:pt x="10" y="91"/>
                    </a:cubicBezTo>
                    <a:cubicBezTo>
                      <a:pt x="8" y="87"/>
                      <a:pt x="8" y="87"/>
                      <a:pt x="8" y="87"/>
                    </a:cubicBezTo>
                    <a:cubicBezTo>
                      <a:pt x="37" y="73"/>
                      <a:pt x="61" y="57"/>
                      <a:pt x="79" y="41"/>
                    </a:cubicBezTo>
                    <a:cubicBezTo>
                      <a:pt x="98" y="25"/>
                      <a:pt x="110" y="12"/>
                      <a:pt x="117" y="0"/>
                    </a:cubicBezTo>
                    <a:cubicBezTo>
                      <a:pt x="136" y="17"/>
                      <a:pt x="136" y="17"/>
                      <a:pt x="136" y="17"/>
                    </a:cubicBezTo>
                    <a:cubicBezTo>
                      <a:pt x="126" y="21"/>
                      <a:pt x="126" y="21"/>
                      <a:pt x="126" y="21"/>
                    </a:cubicBezTo>
                    <a:cubicBezTo>
                      <a:pt x="105" y="39"/>
                      <a:pt x="105" y="39"/>
                      <a:pt x="105" y="39"/>
                    </a:cubicBezTo>
                    <a:cubicBezTo>
                      <a:pt x="191" y="39"/>
                      <a:pt x="191" y="39"/>
                      <a:pt x="191" y="39"/>
                    </a:cubicBezTo>
                    <a:cubicBezTo>
                      <a:pt x="204" y="26"/>
                      <a:pt x="204" y="26"/>
                      <a:pt x="204" y="26"/>
                    </a:cubicBezTo>
                    <a:cubicBezTo>
                      <a:pt x="224" y="46"/>
                      <a:pt x="224" y="46"/>
                      <a:pt x="224" y="46"/>
                    </a:cubicBezTo>
                    <a:cubicBezTo>
                      <a:pt x="211" y="51"/>
                      <a:pt x="211" y="51"/>
                      <a:pt x="211" y="51"/>
                    </a:cubicBezTo>
                    <a:cubicBezTo>
                      <a:pt x="190" y="71"/>
                      <a:pt x="163" y="90"/>
                      <a:pt x="132" y="108"/>
                    </a:cubicBezTo>
                    <a:cubicBezTo>
                      <a:pt x="101" y="125"/>
                      <a:pt x="58" y="138"/>
                      <a:pt x="2" y="145"/>
                    </a:cubicBezTo>
                    <a:cubicBezTo>
                      <a:pt x="1" y="141"/>
                      <a:pt x="1" y="141"/>
                      <a:pt x="1" y="141"/>
                    </a:cubicBezTo>
                    <a:cubicBezTo>
                      <a:pt x="38" y="134"/>
                      <a:pt x="72" y="124"/>
                      <a:pt x="104" y="109"/>
                    </a:cubicBezTo>
                    <a:cubicBezTo>
                      <a:pt x="135" y="95"/>
                      <a:pt x="164" y="74"/>
                      <a:pt x="191" y="45"/>
                    </a:cubicBezTo>
                    <a:lnTo>
                      <a:pt x="99" y="45"/>
                    </a:lnTo>
                    <a:close/>
                    <a:moveTo>
                      <a:pt x="93" y="169"/>
                    </a:moveTo>
                    <a:cubicBezTo>
                      <a:pt x="107" y="179"/>
                      <a:pt x="115" y="188"/>
                      <a:pt x="119" y="195"/>
                    </a:cubicBezTo>
                    <a:cubicBezTo>
                      <a:pt x="122" y="202"/>
                      <a:pt x="121" y="209"/>
                      <a:pt x="114" y="216"/>
                    </a:cubicBezTo>
                    <a:cubicBezTo>
                      <a:pt x="108" y="222"/>
                      <a:pt x="104" y="220"/>
                      <a:pt x="102" y="209"/>
                    </a:cubicBezTo>
                    <a:cubicBezTo>
                      <a:pt x="101" y="199"/>
                      <a:pt x="97" y="186"/>
                      <a:pt x="90" y="172"/>
                    </a:cubicBezTo>
                    <a:lnTo>
                      <a:pt x="93" y="16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80" name="Freeform 18"/>
              <p:cNvSpPr>
                <a:spLocks noEditPoints="1"/>
              </p:cNvSpPr>
              <p:nvPr/>
            </p:nvSpPr>
            <p:spPr bwMode="black">
              <a:xfrm>
                <a:off x="8908640" y="6167032"/>
                <a:ext cx="273238" cy="270182"/>
              </a:xfrm>
              <a:custGeom>
                <a:avLst/>
                <a:gdLst/>
                <a:ahLst/>
                <a:cxnLst>
                  <a:cxn ang="0">
                    <a:pos x="28" y="7"/>
                  </a:cxn>
                  <a:cxn ang="0">
                    <a:pos x="52" y="50"/>
                  </a:cxn>
                  <a:cxn ang="0">
                    <a:pos x="81" y="38"/>
                  </a:cxn>
                  <a:cxn ang="0">
                    <a:pos x="32" y="56"/>
                  </a:cxn>
                  <a:cxn ang="0">
                    <a:pos x="0" y="50"/>
                  </a:cxn>
                  <a:cxn ang="0">
                    <a:pos x="42" y="34"/>
                  </a:cxn>
                  <a:cxn ang="0">
                    <a:pos x="10" y="87"/>
                  </a:cxn>
                  <a:cxn ang="0">
                    <a:pos x="72" y="77"/>
                  </a:cxn>
                  <a:cxn ang="0">
                    <a:pos x="42" y="93"/>
                  </a:cxn>
                  <a:cxn ang="0">
                    <a:pos x="10" y="87"/>
                  </a:cxn>
                  <a:cxn ang="0">
                    <a:pos x="62" y="128"/>
                  </a:cxn>
                  <a:cxn ang="0">
                    <a:pos x="89" y="135"/>
                  </a:cxn>
                  <a:cxn ang="0">
                    <a:pos x="23" y="138"/>
                  </a:cxn>
                  <a:cxn ang="0">
                    <a:pos x="16" y="159"/>
                  </a:cxn>
                  <a:cxn ang="0">
                    <a:pos x="67" y="168"/>
                  </a:cxn>
                  <a:cxn ang="0">
                    <a:pos x="88" y="170"/>
                  </a:cxn>
                  <a:cxn ang="0">
                    <a:pos x="82" y="234"/>
                  </a:cxn>
                  <a:cxn ang="0">
                    <a:pos x="68" y="229"/>
                  </a:cxn>
                  <a:cxn ang="0">
                    <a:pos x="31" y="245"/>
                  </a:cxn>
                  <a:cxn ang="0">
                    <a:pos x="17" y="206"/>
                  </a:cxn>
                  <a:cxn ang="0">
                    <a:pos x="31" y="174"/>
                  </a:cxn>
                  <a:cxn ang="0">
                    <a:pos x="68" y="223"/>
                  </a:cxn>
                  <a:cxn ang="0">
                    <a:pos x="31" y="174"/>
                  </a:cxn>
                  <a:cxn ang="0">
                    <a:pos x="104" y="35"/>
                  </a:cxn>
                  <a:cxn ang="0">
                    <a:pos x="126" y="43"/>
                  </a:cxn>
                  <a:cxn ang="0">
                    <a:pos x="154" y="10"/>
                  </a:cxn>
                  <a:cxn ang="0">
                    <a:pos x="132" y="43"/>
                  </a:cxn>
                  <a:cxn ang="0">
                    <a:pos x="164" y="33"/>
                  </a:cxn>
                  <a:cxn ang="0">
                    <a:pos x="172" y="52"/>
                  </a:cxn>
                  <a:cxn ang="0">
                    <a:pos x="152" y="261"/>
                  </a:cxn>
                  <a:cxn ang="0">
                    <a:pos x="125" y="236"/>
                  </a:cxn>
                  <a:cxn ang="0">
                    <a:pos x="159" y="229"/>
                  </a:cxn>
                  <a:cxn ang="0">
                    <a:pos x="69" y="257"/>
                  </a:cxn>
                  <a:cxn ang="0">
                    <a:pos x="143" y="161"/>
                  </a:cxn>
                  <a:cxn ang="0">
                    <a:pos x="95" y="164"/>
                  </a:cxn>
                  <a:cxn ang="0">
                    <a:pos x="104" y="154"/>
                  </a:cxn>
                  <a:cxn ang="0">
                    <a:pos x="117" y="80"/>
                  </a:cxn>
                  <a:cxn ang="0">
                    <a:pos x="159" y="50"/>
                  </a:cxn>
                  <a:cxn ang="0">
                    <a:pos x="117" y="87"/>
                  </a:cxn>
                  <a:cxn ang="0">
                    <a:pos x="159" y="116"/>
                  </a:cxn>
                  <a:cxn ang="0">
                    <a:pos x="117" y="87"/>
                  </a:cxn>
                  <a:cxn ang="0">
                    <a:pos x="117" y="154"/>
                  </a:cxn>
                  <a:cxn ang="0">
                    <a:pos x="159" y="123"/>
                  </a:cxn>
                  <a:cxn ang="0">
                    <a:pos x="238" y="79"/>
                  </a:cxn>
                  <a:cxn ang="0">
                    <a:pos x="265" y="87"/>
                  </a:cxn>
                  <a:cxn ang="0">
                    <a:pos x="238" y="237"/>
                  </a:cxn>
                  <a:cxn ang="0">
                    <a:pos x="187" y="238"/>
                  </a:cxn>
                  <a:cxn ang="0">
                    <a:pos x="218" y="237"/>
                  </a:cxn>
                  <a:cxn ang="0">
                    <a:pos x="225" y="87"/>
                  </a:cxn>
                  <a:cxn ang="0">
                    <a:pos x="186" y="90"/>
                  </a:cxn>
                  <a:cxn ang="0">
                    <a:pos x="225" y="80"/>
                  </a:cxn>
                  <a:cxn ang="0">
                    <a:pos x="246" y="16"/>
                  </a:cxn>
                  <a:cxn ang="0">
                    <a:pos x="238" y="79"/>
                  </a:cxn>
                  <a:cxn ang="0">
                    <a:pos x="212" y="140"/>
                  </a:cxn>
                  <a:cxn ang="0">
                    <a:pos x="206" y="166"/>
                  </a:cxn>
                  <a:cxn ang="0">
                    <a:pos x="179" y="118"/>
                  </a:cxn>
                </a:cxnLst>
                <a:rect l="0" t="0" r="r" b="b"/>
                <a:pathLst>
                  <a:path w="265" h="262">
                    <a:moveTo>
                      <a:pt x="26" y="10"/>
                    </a:moveTo>
                    <a:cubicBezTo>
                      <a:pt x="28" y="7"/>
                      <a:pt x="28" y="7"/>
                      <a:pt x="28" y="7"/>
                    </a:cubicBezTo>
                    <a:cubicBezTo>
                      <a:pt x="46" y="15"/>
                      <a:pt x="57" y="23"/>
                      <a:pt x="60" y="29"/>
                    </a:cubicBezTo>
                    <a:cubicBezTo>
                      <a:pt x="63" y="36"/>
                      <a:pt x="60" y="43"/>
                      <a:pt x="52" y="50"/>
                    </a:cubicBezTo>
                    <a:cubicBezTo>
                      <a:pt x="70" y="50"/>
                      <a:pt x="70" y="50"/>
                      <a:pt x="70" y="50"/>
                    </a:cubicBezTo>
                    <a:cubicBezTo>
                      <a:pt x="81" y="38"/>
                      <a:pt x="81" y="38"/>
                      <a:pt x="81" y="38"/>
                    </a:cubicBezTo>
                    <a:cubicBezTo>
                      <a:pt x="99" y="56"/>
                      <a:pt x="99" y="56"/>
                      <a:pt x="99" y="56"/>
                    </a:cubicBezTo>
                    <a:cubicBezTo>
                      <a:pt x="32" y="56"/>
                      <a:pt x="32" y="56"/>
                      <a:pt x="32" y="56"/>
                    </a:cubicBezTo>
                    <a:cubicBezTo>
                      <a:pt x="26" y="56"/>
                      <a:pt x="19" y="57"/>
                      <a:pt x="10" y="60"/>
                    </a:cubicBezTo>
                    <a:cubicBezTo>
                      <a:pt x="0" y="50"/>
                      <a:pt x="0" y="50"/>
                      <a:pt x="0" y="50"/>
                    </a:cubicBezTo>
                    <a:cubicBezTo>
                      <a:pt x="46" y="50"/>
                      <a:pt x="46" y="50"/>
                      <a:pt x="46" y="50"/>
                    </a:cubicBezTo>
                    <a:cubicBezTo>
                      <a:pt x="46" y="45"/>
                      <a:pt x="44" y="40"/>
                      <a:pt x="42" y="34"/>
                    </a:cubicBezTo>
                    <a:cubicBezTo>
                      <a:pt x="40" y="28"/>
                      <a:pt x="34" y="20"/>
                      <a:pt x="26" y="10"/>
                    </a:cubicBezTo>
                    <a:close/>
                    <a:moveTo>
                      <a:pt x="10" y="87"/>
                    </a:moveTo>
                    <a:cubicBezTo>
                      <a:pt x="61" y="87"/>
                      <a:pt x="61" y="87"/>
                      <a:pt x="61" y="87"/>
                    </a:cubicBezTo>
                    <a:cubicBezTo>
                      <a:pt x="72" y="77"/>
                      <a:pt x="72" y="77"/>
                      <a:pt x="72" y="77"/>
                    </a:cubicBezTo>
                    <a:cubicBezTo>
                      <a:pt x="89" y="93"/>
                      <a:pt x="89" y="93"/>
                      <a:pt x="89" y="93"/>
                    </a:cubicBezTo>
                    <a:cubicBezTo>
                      <a:pt x="42" y="93"/>
                      <a:pt x="42" y="93"/>
                      <a:pt x="42" y="93"/>
                    </a:cubicBezTo>
                    <a:cubicBezTo>
                      <a:pt x="36" y="93"/>
                      <a:pt x="29" y="94"/>
                      <a:pt x="21" y="97"/>
                    </a:cubicBezTo>
                    <a:lnTo>
                      <a:pt x="10" y="87"/>
                    </a:lnTo>
                    <a:close/>
                    <a:moveTo>
                      <a:pt x="13" y="128"/>
                    </a:moveTo>
                    <a:cubicBezTo>
                      <a:pt x="62" y="128"/>
                      <a:pt x="62" y="128"/>
                      <a:pt x="62" y="128"/>
                    </a:cubicBezTo>
                    <a:cubicBezTo>
                      <a:pt x="73" y="117"/>
                      <a:pt x="73" y="117"/>
                      <a:pt x="73" y="117"/>
                    </a:cubicBezTo>
                    <a:cubicBezTo>
                      <a:pt x="89" y="135"/>
                      <a:pt x="89" y="135"/>
                      <a:pt x="89" y="135"/>
                    </a:cubicBezTo>
                    <a:cubicBezTo>
                      <a:pt x="44" y="135"/>
                      <a:pt x="44" y="135"/>
                      <a:pt x="44" y="135"/>
                    </a:cubicBezTo>
                    <a:cubicBezTo>
                      <a:pt x="38" y="135"/>
                      <a:pt x="31" y="136"/>
                      <a:pt x="23" y="138"/>
                    </a:cubicBezTo>
                    <a:lnTo>
                      <a:pt x="13" y="128"/>
                    </a:lnTo>
                    <a:close/>
                    <a:moveTo>
                      <a:pt x="16" y="159"/>
                    </a:moveTo>
                    <a:cubicBezTo>
                      <a:pt x="33" y="168"/>
                      <a:pt x="33" y="168"/>
                      <a:pt x="33" y="168"/>
                    </a:cubicBezTo>
                    <a:cubicBezTo>
                      <a:pt x="67" y="168"/>
                      <a:pt x="67" y="168"/>
                      <a:pt x="67" y="168"/>
                    </a:cubicBezTo>
                    <a:cubicBezTo>
                      <a:pt x="73" y="157"/>
                      <a:pt x="73" y="157"/>
                      <a:pt x="73" y="157"/>
                    </a:cubicBezTo>
                    <a:cubicBezTo>
                      <a:pt x="88" y="170"/>
                      <a:pt x="88" y="170"/>
                      <a:pt x="88" y="170"/>
                    </a:cubicBezTo>
                    <a:cubicBezTo>
                      <a:pt x="81" y="178"/>
                      <a:pt x="81" y="178"/>
                      <a:pt x="81" y="178"/>
                    </a:cubicBezTo>
                    <a:cubicBezTo>
                      <a:pt x="81" y="202"/>
                      <a:pt x="82" y="221"/>
                      <a:pt x="82" y="234"/>
                    </a:cubicBezTo>
                    <a:cubicBezTo>
                      <a:pt x="68" y="242"/>
                      <a:pt x="68" y="242"/>
                      <a:pt x="68" y="242"/>
                    </a:cubicBezTo>
                    <a:cubicBezTo>
                      <a:pt x="68" y="229"/>
                      <a:pt x="68" y="229"/>
                      <a:pt x="68" y="229"/>
                    </a:cubicBezTo>
                    <a:cubicBezTo>
                      <a:pt x="31" y="229"/>
                      <a:pt x="31" y="229"/>
                      <a:pt x="31" y="229"/>
                    </a:cubicBezTo>
                    <a:cubicBezTo>
                      <a:pt x="31" y="245"/>
                      <a:pt x="31" y="245"/>
                      <a:pt x="31" y="245"/>
                    </a:cubicBezTo>
                    <a:cubicBezTo>
                      <a:pt x="16" y="252"/>
                      <a:pt x="16" y="252"/>
                      <a:pt x="16" y="252"/>
                    </a:cubicBezTo>
                    <a:cubicBezTo>
                      <a:pt x="17" y="244"/>
                      <a:pt x="17" y="229"/>
                      <a:pt x="17" y="206"/>
                    </a:cubicBezTo>
                    <a:cubicBezTo>
                      <a:pt x="17" y="183"/>
                      <a:pt x="17" y="167"/>
                      <a:pt x="16" y="159"/>
                    </a:cubicBezTo>
                    <a:close/>
                    <a:moveTo>
                      <a:pt x="31" y="174"/>
                    </a:moveTo>
                    <a:cubicBezTo>
                      <a:pt x="31" y="223"/>
                      <a:pt x="31" y="223"/>
                      <a:pt x="31" y="223"/>
                    </a:cubicBezTo>
                    <a:cubicBezTo>
                      <a:pt x="68" y="223"/>
                      <a:pt x="68" y="223"/>
                      <a:pt x="68" y="223"/>
                    </a:cubicBezTo>
                    <a:cubicBezTo>
                      <a:pt x="68" y="174"/>
                      <a:pt x="68" y="174"/>
                      <a:pt x="68" y="174"/>
                    </a:cubicBezTo>
                    <a:lnTo>
                      <a:pt x="31" y="174"/>
                    </a:lnTo>
                    <a:close/>
                    <a:moveTo>
                      <a:pt x="104" y="154"/>
                    </a:moveTo>
                    <a:cubicBezTo>
                      <a:pt x="104" y="35"/>
                      <a:pt x="104" y="35"/>
                      <a:pt x="104" y="35"/>
                    </a:cubicBezTo>
                    <a:cubicBezTo>
                      <a:pt x="117" y="43"/>
                      <a:pt x="117" y="43"/>
                      <a:pt x="117" y="43"/>
                    </a:cubicBezTo>
                    <a:cubicBezTo>
                      <a:pt x="126" y="43"/>
                      <a:pt x="126" y="43"/>
                      <a:pt x="126" y="43"/>
                    </a:cubicBezTo>
                    <a:cubicBezTo>
                      <a:pt x="131" y="25"/>
                      <a:pt x="134" y="11"/>
                      <a:pt x="135" y="0"/>
                    </a:cubicBezTo>
                    <a:cubicBezTo>
                      <a:pt x="154" y="10"/>
                      <a:pt x="154" y="10"/>
                      <a:pt x="154" y="10"/>
                    </a:cubicBezTo>
                    <a:cubicBezTo>
                      <a:pt x="151" y="12"/>
                      <a:pt x="148" y="16"/>
                      <a:pt x="144" y="23"/>
                    </a:cubicBezTo>
                    <a:cubicBezTo>
                      <a:pt x="139" y="29"/>
                      <a:pt x="136" y="36"/>
                      <a:pt x="132" y="43"/>
                    </a:cubicBezTo>
                    <a:cubicBezTo>
                      <a:pt x="158" y="43"/>
                      <a:pt x="158" y="43"/>
                      <a:pt x="158" y="43"/>
                    </a:cubicBezTo>
                    <a:cubicBezTo>
                      <a:pt x="164" y="33"/>
                      <a:pt x="164" y="33"/>
                      <a:pt x="164" y="33"/>
                    </a:cubicBezTo>
                    <a:cubicBezTo>
                      <a:pt x="179" y="44"/>
                      <a:pt x="179" y="44"/>
                      <a:pt x="179" y="44"/>
                    </a:cubicBezTo>
                    <a:cubicBezTo>
                      <a:pt x="172" y="52"/>
                      <a:pt x="172" y="52"/>
                      <a:pt x="172" y="52"/>
                    </a:cubicBezTo>
                    <a:cubicBezTo>
                      <a:pt x="172" y="237"/>
                      <a:pt x="172" y="237"/>
                      <a:pt x="172" y="237"/>
                    </a:cubicBezTo>
                    <a:cubicBezTo>
                      <a:pt x="173" y="248"/>
                      <a:pt x="166" y="256"/>
                      <a:pt x="152" y="261"/>
                    </a:cubicBezTo>
                    <a:cubicBezTo>
                      <a:pt x="150" y="251"/>
                      <a:pt x="141" y="244"/>
                      <a:pt x="125" y="241"/>
                    </a:cubicBezTo>
                    <a:cubicBezTo>
                      <a:pt x="125" y="236"/>
                      <a:pt x="125" y="236"/>
                      <a:pt x="125" y="236"/>
                    </a:cubicBezTo>
                    <a:cubicBezTo>
                      <a:pt x="139" y="238"/>
                      <a:pt x="147" y="238"/>
                      <a:pt x="152" y="238"/>
                    </a:cubicBezTo>
                    <a:cubicBezTo>
                      <a:pt x="156" y="237"/>
                      <a:pt x="159" y="235"/>
                      <a:pt x="159" y="229"/>
                    </a:cubicBezTo>
                    <a:cubicBezTo>
                      <a:pt x="159" y="162"/>
                      <a:pt x="159" y="162"/>
                      <a:pt x="159" y="162"/>
                    </a:cubicBezTo>
                    <a:cubicBezTo>
                      <a:pt x="138" y="205"/>
                      <a:pt x="108" y="237"/>
                      <a:pt x="69" y="257"/>
                    </a:cubicBezTo>
                    <a:cubicBezTo>
                      <a:pt x="68" y="254"/>
                      <a:pt x="68" y="254"/>
                      <a:pt x="68" y="254"/>
                    </a:cubicBezTo>
                    <a:cubicBezTo>
                      <a:pt x="102" y="229"/>
                      <a:pt x="127" y="198"/>
                      <a:pt x="143" y="161"/>
                    </a:cubicBezTo>
                    <a:cubicBezTo>
                      <a:pt x="116" y="161"/>
                      <a:pt x="116" y="161"/>
                      <a:pt x="116" y="161"/>
                    </a:cubicBezTo>
                    <a:cubicBezTo>
                      <a:pt x="110" y="161"/>
                      <a:pt x="103" y="162"/>
                      <a:pt x="95" y="164"/>
                    </a:cubicBezTo>
                    <a:cubicBezTo>
                      <a:pt x="85" y="154"/>
                      <a:pt x="85" y="154"/>
                      <a:pt x="85" y="154"/>
                    </a:cubicBezTo>
                    <a:lnTo>
                      <a:pt x="104" y="154"/>
                    </a:lnTo>
                    <a:close/>
                    <a:moveTo>
                      <a:pt x="117" y="50"/>
                    </a:moveTo>
                    <a:cubicBezTo>
                      <a:pt x="117" y="80"/>
                      <a:pt x="117" y="80"/>
                      <a:pt x="117" y="80"/>
                    </a:cubicBezTo>
                    <a:cubicBezTo>
                      <a:pt x="159" y="80"/>
                      <a:pt x="159" y="80"/>
                      <a:pt x="159" y="80"/>
                    </a:cubicBezTo>
                    <a:cubicBezTo>
                      <a:pt x="159" y="50"/>
                      <a:pt x="159" y="50"/>
                      <a:pt x="159" y="50"/>
                    </a:cubicBezTo>
                    <a:lnTo>
                      <a:pt x="117" y="50"/>
                    </a:lnTo>
                    <a:close/>
                    <a:moveTo>
                      <a:pt x="117" y="87"/>
                    </a:moveTo>
                    <a:cubicBezTo>
                      <a:pt x="117" y="116"/>
                      <a:pt x="117" y="116"/>
                      <a:pt x="117" y="116"/>
                    </a:cubicBezTo>
                    <a:cubicBezTo>
                      <a:pt x="159" y="116"/>
                      <a:pt x="159" y="116"/>
                      <a:pt x="159" y="116"/>
                    </a:cubicBezTo>
                    <a:cubicBezTo>
                      <a:pt x="159" y="87"/>
                      <a:pt x="159" y="87"/>
                      <a:pt x="159" y="87"/>
                    </a:cubicBezTo>
                    <a:lnTo>
                      <a:pt x="117" y="87"/>
                    </a:lnTo>
                    <a:close/>
                    <a:moveTo>
                      <a:pt x="117" y="123"/>
                    </a:moveTo>
                    <a:cubicBezTo>
                      <a:pt x="117" y="154"/>
                      <a:pt x="117" y="154"/>
                      <a:pt x="117" y="154"/>
                    </a:cubicBezTo>
                    <a:cubicBezTo>
                      <a:pt x="159" y="154"/>
                      <a:pt x="159" y="154"/>
                      <a:pt x="159" y="154"/>
                    </a:cubicBezTo>
                    <a:cubicBezTo>
                      <a:pt x="159" y="123"/>
                      <a:pt x="159" y="123"/>
                      <a:pt x="159" y="123"/>
                    </a:cubicBezTo>
                    <a:lnTo>
                      <a:pt x="117" y="123"/>
                    </a:lnTo>
                    <a:close/>
                    <a:moveTo>
                      <a:pt x="238" y="79"/>
                    </a:moveTo>
                    <a:cubicBezTo>
                      <a:pt x="250" y="69"/>
                      <a:pt x="250" y="69"/>
                      <a:pt x="250" y="69"/>
                    </a:cubicBezTo>
                    <a:cubicBezTo>
                      <a:pt x="265" y="87"/>
                      <a:pt x="265" y="87"/>
                      <a:pt x="265" y="87"/>
                    </a:cubicBezTo>
                    <a:cubicBezTo>
                      <a:pt x="238" y="87"/>
                      <a:pt x="238" y="87"/>
                      <a:pt x="238" y="87"/>
                    </a:cubicBezTo>
                    <a:cubicBezTo>
                      <a:pt x="238" y="237"/>
                      <a:pt x="238" y="237"/>
                      <a:pt x="238" y="237"/>
                    </a:cubicBezTo>
                    <a:cubicBezTo>
                      <a:pt x="238" y="247"/>
                      <a:pt x="231" y="255"/>
                      <a:pt x="217" y="262"/>
                    </a:cubicBezTo>
                    <a:cubicBezTo>
                      <a:pt x="216" y="252"/>
                      <a:pt x="206" y="244"/>
                      <a:pt x="187" y="238"/>
                    </a:cubicBezTo>
                    <a:cubicBezTo>
                      <a:pt x="188" y="234"/>
                      <a:pt x="188" y="234"/>
                      <a:pt x="188" y="234"/>
                    </a:cubicBezTo>
                    <a:cubicBezTo>
                      <a:pt x="204" y="236"/>
                      <a:pt x="214" y="237"/>
                      <a:pt x="218" y="237"/>
                    </a:cubicBezTo>
                    <a:cubicBezTo>
                      <a:pt x="222" y="236"/>
                      <a:pt x="224" y="234"/>
                      <a:pt x="225" y="230"/>
                    </a:cubicBezTo>
                    <a:cubicBezTo>
                      <a:pt x="225" y="87"/>
                      <a:pt x="225" y="87"/>
                      <a:pt x="225" y="87"/>
                    </a:cubicBezTo>
                    <a:cubicBezTo>
                      <a:pt x="207" y="87"/>
                      <a:pt x="207" y="87"/>
                      <a:pt x="207" y="87"/>
                    </a:cubicBezTo>
                    <a:cubicBezTo>
                      <a:pt x="201" y="87"/>
                      <a:pt x="194" y="88"/>
                      <a:pt x="186" y="90"/>
                    </a:cubicBezTo>
                    <a:cubicBezTo>
                      <a:pt x="176" y="80"/>
                      <a:pt x="176" y="80"/>
                      <a:pt x="176" y="80"/>
                    </a:cubicBezTo>
                    <a:cubicBezTo>
                      <a:pt x="225" y="80"/>
                      <a:pt x="225" y="80"/>
                      <a:pt x="225" y="80"/>
                    </a:cubicBezTo>
                    <a:cubicBezTo>
                      <a:pt x="225" y="43"/>
                      <a:pt x="225" y="18"/>
                      <a:pt x="224" y="6"/>
                    </a:cubicBezTo>
                    <a:cubicBezTo>
                      <a:pt x="246" y="16"/>
                      <a:pt x="246" y="16"/>
                      <a:pt x="246" y="16"/>
                    </a:cubicBezTo>
                    <a:cubicBezTo>
                      <a:pt x="238" y="24"/>
                      <a:pt x="238" y="24"/>
                      <a:pt x="238" y="24"/>
                    </a:cubicBezTo>
                    <a:lnTo>
                      <a:pt x="238" y="79"/>
                    </a:lnTo>
                    <a:close/>
                    <a:moveTo>
                      <a:pt x="182" y="115"/>
                    </a:moveTo>
                    <a:cubicBezTo>
                      <a:pt x="199" y="126"/>
                      <a:pt x="209" y="134"/>
                      <a:pt x="212" y="140"/>
                    </a:cubicBezTo>
                    <a:cubicBezTo>
                      <a:pt x="215" y="146"/>
                      <a:pt x="215" y="151"/>
                      <a:pt x="213" y="155"/>
                    </a:cubicBezTo>
                    <a:cubicBezTo>
                      <a:pt x="211" y="160"/>
                      <a:pt x="209" y="163"/>
                      <a:pt x="206" y="166"/>
                    </a:cubicBezTo>
                    <a:cubicBezTo>
                      <a:pt x="203" y="168"/>
                      <a:pt x="200" y="165"/>
                      <a:pt x="198" y="155"/>
                    </a:cubicBezTo>
                    <a:cubicBezTo>
                      <a:pt x="196" y="144"/>
                      <a:pt x="189" y="132"/>
                      <a:pt x="179" y="118"/>
                    </a:cubicBezTo>
                    <a:lnTo>
                      <a:pt x="182" y="115"/>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81" name="Freeform 19"/>
              <p:cNvSpPr>
                <a:spLocks noEditPoints="1"/>
              </p:cNvSpPr>
              <p:nvPr/>
            </p:nvSpPr>
            <p:spPr bwMode="black">
              <a:xfrm>
                <a:off x="9210686" y="6177071"/>
                <a:ext cx="261889" cy="257088"/>
              </a:xfrm>
              <a:custGeom>
                <a:avLst/>
                <a:gdLst/>
                <a:ahLst/>
                <a:cxnLst>
                  <a:cxn ang="0">
                    <a:pos x="1" y="122"/>
                  </a:cxn>
                  <a:cxn ang="0">
                    <a:pos x="16" y="27"/>
                  </a:cxn>
                  <a:cxn ang="0">
                    <a:pos x="70" y="17"/>
                  </a:cxn>
                  <a:cxn ang="0">
                    <a:pos x="78" y="38"/>
                  </a:cxn>
                  <a:cxn ang="0">
                    <a:pos x="63" y="211"/>
                  </a:cxn>
                  <a:cxn ang="0">
                    <a:pos x="16" y="190"/>
                  </a:cxn>
                  <a:cxn ang="0">
                    <a:pos x="0" y="222"/>
                  </a:cxn>
                  <a:cxn ang="0">
                    <a:pos x="16" y="105"/>
                  </a:cxn>
                  <a:cxn ang="0">
                    <a:pos x="63" y="34"/>
                  </a:cxn>
                  <a:cxn ang="0">
                    <a:pos x="16" y="111"/>
                  </a:cxn>
                  <a:cxn ang="0">
                    <a:pos x="63" y="183"/>
                  </a:cxn>
                  <a:cxn ang="0">
                    <a:pos x="16" y="111"/>
                  </a:cxn>
                  <a:cxn ang="0">
                    <a:pos x="96" y="160"/>
                  </a:cxn>
                  <a:cxn ang="0">
                    <a:pos x="110" y="72"/>
                  </a:cxn>
                  <a:cxn ang="0">
                    <a:pos x="139" y="22"/>
                  </a:cxn>
                  <a:cxn ang="0">
                    <a:pos x="90" y="24"/>
                  </a:cxn>
                  <a:cxn ang="0">
                    <a:pos x="218" y="15"/>
                  </a:cxn>
                  <a:cxn ang="0">
                    <a:pos x="254" y="22"/>
                  </a:cxn>
                  <a:cxn ang="0">
                    <a:pos x="190" y="72"/>
                  </a:cxn>
                  <a:cxn ang="0">
                    <a:pos x="229" y="62"/>
                  </a:cxn>
                  <a:cxn ang="0">
                    <a:pos x="236" y="83"/>
                  </a:cxn>
                  <a:cxn ang="0">
                    <a:pos x="221" y="245"/>
                  </a:cxn>
                  <a:cxn ang="0">
                    <a:pos x="110" y="224"/>
                  </a:cxn>
                  <a:cxn ang="0">
                    <a:pos x="94" y="249"/>
                  </a:cxn>
                  <a:cxn ang="0">
                    <a:pos x="144" y="143"/>
                  </a:cxn>
                  <a:cxn ang="0">
                    <a:pos x="110" y="217"/>
                  </a:cxn>
                  <a:cxn ang="0">
                    <a:pos x="221" y="79"/>
                  </a:cxn>
                  <a:cxn ang="0">
                    <a:pos x="190" y="144"/>
                  </a:cxn>
                  <a:cxn ang="0">
                    <a:pos x="211" y="151"/>
                  </a:cxn>
                  <a:cxn ang="0">
                    <a:pos x="203" y="168"/>
                  </a:cxn>
                  <a:cxn ang="0">
                    <a:pos x="176" y="152"/>
                  </a:cxn>
                  <a:cxn ang="0">
                    <a:pos x="153" y="79"/>
                  </a:cxn>
                  <a:cxn ang="0">
                    <a:pos x="110" y="181"/>
                  </a:cxn>
                  <a:cxn ang="0">
                    <a:pos x="139" y="79"/>
                  </a:cxn>
                  <a:cxn ang="0">
                    <a:pos x="153" y="22"/>
                  </a:cxn>
                  <a:cxn ang="0">
                    <a:pos x="176" y="72"/>
                  </a:cxn>
                  <a:cxn ang="0">
                    <a:pos x="153" y="22"/>
                  </a:cxn>
                </a:cxnLst>
                <a:rect l="0" t="0" r="r" b="b"/>
                <a:pathLst>
                  <a:path w="254" h="249">
                    <a:moveTo>
                      <a:pt x="0" y="222"/>
                    </a:moveTo>
                    <a:cubicBezTo>
                      <a:pt x="1" y="208"/>
                      <a:pt x="1" y="175"/>
                      <a:pt x="1" y="122"/>
                    </a:cubicBezTo>
                    <a:cubicBezTo>
                      <a:pt x="1" y="69"/>
                      <a:pt x="1" y="35"/>
                      <a:pt x="0" y="18"/>
                    </a:cubicBezTo>
                    <a:cubicBezTo>
                      <a:pt x="16" y="27"/>
                      <a:pt x="16" y="27"/>
                      <a:pt x="16" y="27"/>
                    </a:cubicBezTo>
                    <a:cubicBezTo>
                      <a:pt x="61" y="27"/>
                      <a:pt x="61" y="27"/>
                      <a:pt x="61" y="27"/>
                    </a:cubicBezTo>
                    <a:cubicBezTo>
                      <a:pt x="70" y="17"/>
                      <a:pt x="70" y="17"/>
                      <a:pt x="70" y="17"/>
                    </a:cubicBezTo>
                    <a:cubicBezTo>
                      <a:pt x="87" y="32"/>
                      <a:pt x="87" y="32"/>
                      <a:pt x="87" y="32"/>
                    </a:cubicBezTo>
                    <a:cubicBezTo>
                      <a:pt x="78" y="38"/>
                      <a:pt x="78" y="38"/>
                      <a:pt x="78" y="38"/>
                    </a:cubicBezTo>
                    <a:cubicBezTo>
                      <a:pt x="78" y="139"/>
                      <a:pt x="78" y="194"/>
                      <a:pt x="79" y="204"/>
                    </a:cubicBezTo>
                    <a:cubicBezTo>
                      <a:pt x="63" y="211"/>
                      <a:pt x="63" y="211"/>
                      <a:pt x="63" y="211"/>
                    </a:cubicBezTo>
                    <a:cubicBezTo>
                      <a:pt x="63" y="190"/>
                      <a:pt x="63" y="190"/>
                      <a:pt x="63" y="190"/>
                    </a:cubicBezTo>
                    <a:cubicBezTo>
                      <a:pt x="16" y="190"/>
                      <a:pt x="16" y="190"/>
                      <a:pt x="16" y="190"/>
                    </a:cubicBezTo>
                    <a:cubicBezTo>
                      <a:pt x="16" y="214"/>
                      <a:pt x="16" y="214"/>
                      <a:pt x="16" y="214"/>
                    </a:cubicBezTo>
                    <a:lnTo>
                      <a:pt x="0" y="222"/>
                    </a:lnTo>
                    <a:close/>
                    <a:moveTo>
                      <a:pt x="16" y="34"/>
                    </a:moveTo>
                    <a:cubicBezTo>
                      <a:pt x="16" y="105"/>
                      <a:pt x="16" y="105"/>
                      <a:pt x="16" y="105"/>
                    </a:cubicBezTo>
                    <a:cubicBezTo>
                      <a:pt x="63" y="105"/>
                      <a:pt x="63" y="105"/>
                      <a:pt x="63" y="105"/>
                    </a:cubicBezTo>
                    <a:cubicBezTo>
                      <a:pt x="63" y="34"/>
                      <a:pt x="63" y="34"/>
                      <a:pt x="63" y="34"/>
                    </a:cubicBezTo>
                    <a:lnTo>
                      <a:pt x="16" y="34"/>
                    </a:lnTo>
                    <a:close/>
                    <a:moveTo>
                      <a:pt x="16" y="111"/>
                    </a:moveTo>
                    <a:cubicBezTo>
                      <a:pt x="16" y="183"/>
                      <a:pt x="16" y="183"/>
                      <a:pt x="16" y="183"/>
                    </a:cubicBezTo>
                    <a:cubicBezTo>
                      <a:pt x="63" y="183"/>
                      <a:pt x="63" y="183"/>
                      <a:pt x="63" y="183"/>
                    </a:cubicBezTo>
                    <a:cubicBezTo>
                      <a:pt x="63" y="111"/>
                      <a:pt x="63" y="111"/>
                      <a:pt x="63" y="111"/>
                    </a:cubicBezTo>
                    <a:lnTo>
                      <a:pt x="16" y="111"/>
                    </a:lnTo>
                    <a:close/>
                    <a:moveTo>
                      <a:pt x="94" y="249"/>
                    </a:moveTo>
                    <a:cubicBezTo>
                      <a:pt x="95" y="224"/>
                      <a:pt x="96" y="194"/>
                      <a:pt x="96" y="160"/>
                    </a:cubicBezTo>
                    <a:cubicBezTo>
                      <a:pt x="96" y="125"/>
                      <a:pt x="95" y="93"/>
                      <a:pt x="94" y="63"/>
                    </a:cubicBezTo>
                    <a:cubicBezTo>
                      <a:pt x="110" y="72"/>
                      <a:pt x="110" y="72"/>
                      <a:pt x="110" y="72"/>
                    </a:cubicBezTo>
                    <a:cubicBezTo>
                      <a:pt x="139" y="72"/>
                      <a:pt x="139" y="72"/>
                      <a:pt x="139" y="72"/>
                    </a:cubicBezTo>
                    <a:cubicBezTo>
                      <a:pt x="139" y="22"/>
                      <a:pt x="139" y="22"/>
                      <a:pt x="139" y="22"/>
                    </a:cubicBezTo>
                    <a:cubicBezTo>
                      <a:pt x="105" y="22"/>
                      <a:pt x="105" y="22"/>
                      <a:pt x="105" y="22"/>
                    </a:cubicBezTo>
                    <a:cubicBezTo>
                      <a:pt x="90" y="24"/>
                      <a:pt x="90" y="24"/>
                      <a:pt x="90" y="24"/>
                    </a:cubicBezTo>
                    <a:cubicBezTo>
                      <a:pt x="81" y="15"/>
                      <a:pt x="81" y="15"/>
                      <a:pt x="81" y="15"/>
                    </a:cubicBezTo>
                    <a:cubicBezTo>
                      <a:pt x="218" y="15"/>
                      <a:pt x="218" y="15"/>
                      <a:pt x="218" y="15"/>
                    </a:cubicBezTo>
                    <a:cubicBezTo>
                      <a:pt x="233" y="0"/>
                      <a:pt x="233" y="0"/>
                      <a:pt x="233" y="0"/>
                    </a:cubicBezTo>
                    <a:cubicBezTo>
                      <a:pt x="254" y="22"/>
                      <a:pt x="254" y="22"/>
                      <a:pt x="254" y="22"/>
                    </a:cubicBezTo>
                    <a:cubicBezTo>
                      <a:pt x="190" y="22"/>
                      <a:pt x="190" y="22"/>
                      <a:pt x="190" y="22"/>
                    </a:cubicBezTo>
                    <a:cubicBezTo>
                      <a:pt x="190" y="72"/>
                      <a:pt x="190" y="72"/>
                      <a:pt x="190" y="72"/>
                    </a:cubicBezTo>
                    <a:cubicBezTo>
                      <a:pt x="219" y="72"/>
                      <a:pt x="219" y="72"/>
                      <a:pt x="219" y="72"/>
                    </a:cubicBezTo>
                    <a:cubicBezTo>
                      <a:pt x="229" y="62"/>
                      <a:pt x="229" y="62"/>
                      <a:pt x="229" y="62"/>
                    </a:cubicBezTo>
                    <a:cubicBezTo>
                      <a:pt x="246" y="77"/>
                      <a:pt x="246" y="77"/>
                      <a:pt x="246" y="77"/>
                    </a:cubicBezTo>
                    <a:cubicBezTo>
                      <a:pt x="236" y="83"/>
                      <a:pt x="236" y="83"/>
                      <a:pt x="236" y="83"/>
                    </a:cubicBezTo>
                    <a:cubicBezTo>
                      <a:pt x="236" y="160"/>
                      <a:pt x="236" y="211"/>
                      <a:pt x="237" y="237"/>
                    </a:cubicBezTo>
                    <a:cubicBezTo>
                      <a:pt x="221" y="245"/>
                      <a:pt x="221" y="245"/>
                      <a:pt x="221" y="245"/>
                    </a:cubicBezTo>
                    <a:cubicBezTo>
                      <a:pt x="221" y="224"/>
                      <a:pt x="221" y="224"/>
                      <a:pt x="221" y="224"/>
                    </a:cubicBezTo>
                    <a:cubicBezTo>
                      <a:pt x="110" y="224"/>
                      <a:pt x="110" y="224"/>
                      <a:pt x="110" y="224"/>
                    </a:cubicBezTo>
                    <a:cubicBezTo>
                      <a:pt x="110" y="241"/>
                      <a:pt x="110" y="241"/>
                      <a:pt x="110" y="241"/>
                    </a:cubicBezTo>
                    <a:lnTo>
                      <a:pt x="94" y="249"/>
                    </a:lnTo>
                    <a:close/>
                    <a:moveTo>
                      <a:pt x="153" y="79"/>
                    </a:moveTo>
                    <a:cubicBezTo>
                      <a:pt x="153" y="105"/>
                      <a:pt x="150" y="127"/>
                      <a:pt x="144" y="143"/>
                    </a:cubicBezTo>
                    <a:cubicBezTo>
                      <a:pt x="139" y="160"/>
                      <a:pt x="127" y="175"/>
                      <a:pt x="110" y="188"/>
                    </a:cubicBezTo>
                    <a:cubicBezTo>
                      <a:pt x="110" y="217"/>
                      <a:pt x="110" y="217"/>
                      <a:pt x="110" y="217"/>
                    </a:cubicBezTo>
                    <a:cubicBezTo>
                      <a:pt x="221" y="217"/>
                      <a:pt x="221" y="217"/>
                      <a:pt x="221" y="217"/>
                    </a:cubicBezTo>
                    <a:cubicBezTo>
                      <a:pt x="221" y="79"/>
                      <a:pt x="221" y="79"/>
                      <a:pt x="221" y="79"/>
                    </a:cubicBezTo>
                    <a:cubicBezTo>
                      <a:pt x="190" y="79"/>
                      <a:pt x="190" y="79"/>
                      <a:pt x="190" y="79"/>
                    </a:cubicBezTo>
                    <a:cubicBezTo>
                      <a:pt x="190" y="144"/>
                      <a:pt x="190" y="144"/>
                      <a:pt x="190" y="144"/>
                    </a:cubicBezTo>
                    <a:cubicBezTo>
                      <a:pt x="190" y="152"/>
                      <a:pt x="193" y="155"/>
                      <a:pt x="199" y="154"/>
                    </a:cubicBezTo>
                    <a:cubicBezTo>
                      <a:pt x="203" y="154"/>
                      <a:pt x="207" y="153"/>
                      <a:pt x="211" y="151"/>
                    </a:cubicBezTo>
                    <a:cubicBezTo>
                      <a:pt x="214" y="149"/>
                      <a:pt x="217" y="152"/>
                      <a:pt x="220" y="159"/>
                    </a:cubicBezTo>
                    <a:cubicBezTo>
                      <a:pt x="222" y="165"/>
                      <a:pt x="217" y="168"/>
                      <a:pt x="203" y="168"/>
                    </a:cubicBezTo>
                    <a:cubicBezTo>
                      <a:pt x="193" y="168"/>
                      <a:pt x="193" y="168"/>
                      <a:pt x="193" y="168"/>
                    </a:cubicBezTo>
                    <a:cubicBezTo>
                      <a:pt x="182" y="168"/>
                      <a:pt x="176" y="163"/>
                      <a:pt x="176" y="152"/>
                    </a:cubicBezTo>
                    <a:cubicBezTo>
                      <a:pt x="176" y="79"/>
                      <a:pt x="176" y="79"/>
                      <a:pt x="176" y="79"/>
                    </a:cubicBezTo>
                    <a:lnTo>
                      <a:pt x="153" y="79"/>
                    </a:lnTo>
                    <a:close/>
                    <a:moveTo>
                      <a:pt x="110" y="79"/>
                    </a:moveTo>
                    <a:cubicBezTo>
                      <a:pt x="110" y="181"/>
                      <a:pt x="110" y="181"/>
                      <a:pt x="110" y="181"/>
                    </a:cubicBezTo>
                    <a:cubicBezTo>
                      <a:pt x="122" y="167"/>
                      <a:pt x="130" y="152"/>
                      <a:pt x="133" y="137"/>
                    </a:cubicBezTo>
                    <a:cubicBezTo>
                      <a:pt x="137" y="121"/>
                      <a:pt x="139" y="102"/>
                      <a:pt x="139" y="79"/>
                    </a:cubicBezTo>
                    <a:lnTo>
                      <a:pt x="110" y="79"/>
                    </a:lnTo>
                    <a:close/>
                    <a:moveTo>
                      <a:pt x="153" y="22"/>
                    </a:moveTo>
                    <a:cubicBezTo>
                      <a:pt x="153" y="72"/>
                      <a:pt x="153" y="72"/>
                      <a:pt x="153" y="72"/>
                    </a:cubicBezTo>
                    <a:cubicBezTo>
                      <a:pt x="176" y="72"/>
                      <a:pt x="176" y="72"/>
                      <a:pt x="176" y="72"/>
                    </a:cubicBezTo>
                    <a:cubicBezTo>
                      <a:pt x="176" y="22"/>
                      <a:pt x="176" y="22"/>
                      <a:pt x="176" y="22"/>
                    </a:cubicBezTo>
                    <a:lnTo>
                      <a:pt x="153" y="22"/>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10" name="Group 109"/>
            <p:cNvGrpSpPr/>
            <p:nvPr/>
          </p:nvGrpSpPr>
          <p:grpSpPr bwMode="black">
            <a:xfrm>
              <a:off x="4680867" y="4223987"/>
              <a:ext cx="1068251" cy="168760"/>
              <a:chOff x="9809204" y="6215358"/>
              <a:chExt cx="1072317" cy="175273"/>
            </a:xfrm>
            <a:grpFill/>
            <a:effectLst/>
          </p:grpSpPr>
          <p:sp>
            <p:nvSpPr>
              <p:cNvPr id="171" name="Freeform 23"/>
              <p:cNvSpPr>
                <a:spLocks/>
              </p:cNvSpPr>
              <p:nvPr/>
            </p:nvSpPr>
            <p:spPr bwMode="black">
              <a:xfrm>
                <a:off x="9809204" y="6217861"/>
                <a:ext cx="129935" cy="169558"/>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5"/>
                  </a:cxn>
                  <a:cxn ang="0">
                    <a:pos x="34" y="95"/>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5"/>
                      <a:pt x="34" y="95"/>
                      <a:pt x="34" y="95"/>
                    </a:cubicBezTo>
                    <a:cubicBezTo>
                      <a:pt x="34" y="95"/>
                      <a:pt x="34" y="95"/>
                      <a:pt x="34" y="95"/>
                    </a:cubicBezTo>
                    <a:cubicBezTo>
                      <a:pt x="35" y="93"/>
                      <a:pt x="36" y="92"/>
                      <a:pt x="37" y="90"/>
                    </a:cubicBezTo>
                    <a:cubicBezTo>
                      <a:pt x="38" y="89"/>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72" name="Freeform 24"/>
              <p:cNvSpPr>
                <a:spLocks noEditPoints="1"/>
              </p:cNvSpPr>
              <p:nvPr/>
            </p:nvSpPr>
            <p:spPr bwMode="black">
              <a:xfrm>
                <a:off x="9938068" y="6215362"/>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2" y="28"/>
                  </a:cxn>
                  <a:cxn ang="0">
                    <a:pos x="26" y="17"/>
                  </a:cxn>
                  <a:cxn ang="0">
                    <a:pos x="32" y="5"/>
                  </a:cxn>
                  <a:cxn ang="0">
                    <a:pos x="44" y="0"/>
                  </a:cxn>
                  <a:cxn ang="0">
                    <a:pos x="56" y="5"/>
                  </a:cxn>
                  <a:cxn ang="0">
                    <a:pos x="61" y="17"/>
                  </a:cxn>
                  <a:cxn ang="0">
                    <a:pos x="103" y="96"/>
                  </a:cxn>
                  <a:cxn ang="0">
                    <a:pos x="58" y="86"/>
                  </a:cxn>
                  <a:cxn ang="0">
                    <a:pos x="37" y="111"/>
                  </a:cxn>
                  <a:cxn ang="0">
                    <a:pos x="37"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3"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5"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2" y="28"/>
                    </a:cubicBezTo>
                    <a:cubicBezTo>
                      <a:pt x="30" y="27"/>
                      <a:pt x="29" y="25"/>
                      <a:pt x="28" y="23"/>
                    </a:cubicBezTo>
                    <a:cubicBezTo>
                      <a:pt x="27" y="21"/>
                      <a:pt x="26" y="19"/>
                      <a:pt x="26" y="17"/>
                    </a:cubicBezTo>
                    <a:cubicBezTo>
                      <a:pt x="26" y="14"/>
                      <a:pt x="27" y="12"/>
                      <a:pt x="28" y="10"/>
                    </a:cubicBezTo>
                    <a:cubicBezTo>
                      <a:pt x="29" y="8"/>
                      <a:pt x="30" y="6"/>
                      <a:pt x="32"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5" y="117"/>
                      <a:pt x="33" y="124"/>
                      <a:pt x="33" y="133"/>
                    </a:cubicBezTo>
                    <a:cubicBezTo>
                      <a:pt x="33" y="141"/>
                      <a:pt x="35" y="148"/>
                      <a:pt x="37" y="154"/>
                    </a:cubicBezTo>
                    <a:cubicBezTo>
                      <a:pt x="39" y="160"/>
                      <a:pt x="41" y="165"/>
                      <a:pt x="45" y="169"/>
                    </a:cubicBezTo>
                    <a:cubicBezTo>
                      <a:pt x="49" y="173"/>
                      <a:pt x="53" y="176"/>
                      <a:pt x="58" y="178"/>
                    </a:cubicBezTo>
                    <a:cubicBezTo>
                      <a:pt x="63" y="180"/>
                      <a:pt x="69" y="181"/>
                      <a:pt x="74" y="181"/>
                    </a:cubicBezTo>
                    <a:cubicBezTo>
                      <a:pt x="87" y="181"/>
                      <a:pt x="97" y="177"/>
                      <a:pt x="104" y="169"/>
                    </a:cubicBezTo>
                    <a:cubicBezTo>
                      <a:pt x="111" y="160"/>
                      <a:pt x="114" y="148"/>
                      <a:pt x="114" y="132"/>
                    </a:cubicBezTo>
                    <a:close/>
                    <a:moveTo>
                      <a:pt x="121" y="17"/>
                    </a:moveTo>
                    <a:cubicBezTo>
                      <a:pt x="121" y="19"/>
                      <a:pt x="120" y="21"/>
                      <a:pt x="120"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3" y="3"/>
                      <a:pt x="94" y="2"/>
                      <a:pt x="96" y="1"/>
                    </a:cubicBezTo>
                    <a:cubicBezTo>
                      <a:pt x="99" y="0"/>
                      <a:pt x="101" y="0"/>
                      <a:pt x="103" y="0"/>
                    </a:cubicBezTo>
                    <a:cubicBezTo>
                      <a:pt x="106" y="0"/>
                      <a:pt x="108" y="0"/>
                      <a:pt x="110" y="1"/>
                    </a:cubicBezTo>
                    <a:cubicBezTo>
                      <a:pt x="112" y="2"/>
                      <a:pt x="114" y="3"/>
                      <a:pt x="116" y="5"/>
                    </a:cubicBezTo>
                    <a:cubicBezTo>
                      <a:pt x="117" y="6"/>
                      <a:pt x="119" y="8"/>
                      <a:pt x="120" y="10"/>
                    </a:cubicBezTo>
                    <a:cubicBezTo>
                      <a:pt x="120" y="12"/>
                      <a:pt x="121" y="14"/>
                      <a:pt x="121"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73" name="Freeform 25"/>
              <p:cNvSpPr>
                <a:spLocks/>
              </p:cNvSpPr>
              <p:nvPr/>
            </p:nvSpPr>
            <p:spPr bwMode="black">
              <a:xfrm>
                <a:off x="10077997" y="6263552"/>
                <a:ext cx="80317" cy="127079"/>
              </a:xfrm>
              <a:custGeom>
                <a:avLst/>
                <a:gdLst/>
                <a:ahLst/>
                <a:cxnLst>
                  <a:cxn ang="0">
                    <a:pos x="95" y="106"/>
                  </a:cxn>
                  <a:cxn ang="0">
                    <a:pos x="92"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3" y="110"/>
                  </a:cxn>
                  <a:cxn ang="0">
                    <a:pos x="62" y="103"/>
                  </a:cxn>
                  <a:cxn ang="0">
                    <a:pos x="57" y="98"/>
                  </a:cxn>
                  <a:cxn ang="0">
                    <a:pos x="49" y="93"/>
                  </a:cxn>
                  <a:cxn ang="0">
                    <a:pos x="35" y="86"/>
                  </a:cxn>
                  <a:cxn ang="0">
                    <a:pos x="20" y="79"/>
                  </a:cxn>
                  <a:cxn ang="0">
                    <a:pos x="10" y="70"/>
                  </a:cxn>
                  <a:cxn ang="0">
                    <a:pos x="3" y="59"/>
                  </a:cxn>
                  <a:cxn ang="0">
                    <a:pos x="0" y="44"/>
                  </a:cxn>
                  <a:cxn ang="0">
                    <a:pos x="4" y="26"/>
                  </a:cxn>
                  <a:cxn ang="0">
                    <a:pos x="15" y="12"/>
                  </a:cxn>
                  <a:cxn ang="0">
                    <a:pos x="32" y="3"/>
                  </a:cxn>
                  <a:cxn ang="0">
                    <a:pos x="55" y="0"/>
                  </a:cxn>
                  <a:cxn ang="0">
                    <a:pos x="64" y="0"/>
                  </a:cxn>
                  <a:cxn ang="0">
                    <a:pos x="73" y="2"/>
                  </a:cxn>
                  <a:cxn ang="0">
                    <a:pos x="81" y="4"/>
                  </a:cxn>
                  <a:cxn ang="0">
                    <a:pos x="88" y="6"/>
                  </a:cxn>
                  <a:cxn ang="0">
                    <a:pos x="88" y="35"/>
                  </a:cxn>
                  <a:cxn ang="0">
                    <a:pos x="80" y="31"/>
                  </a:cxn>
                  <a:cxn ang="0">
                    <a:pos x="72" y="28"/>
                  </a:cxn>
                  <a:cxn ang="0">
                    <a:pos x="63" y="26"/>
                  </a:cxn>
                  <a:cxn ang="0">
                    <a:pos x="54" y="25"/>
                  </a:cxn>
                  <a:cxn ang="0">
                    <a:pos x="39" y="30"/>
                  </a:cxn>
                  <a:cxn ang="0">
                    <a:pos x="33" y="41"/>
                  </a:cxn>
                  <a:cxn ang="0">
                    <a:pos x="34" y="48"/>
                  </a:cxn>
                  <a:cxn ang="0">
                    <a:pos x="39" y="53"/>
                  </a:cxn>
                  <a:cxn ang="0">
                    <a:pos x="46" y="58"/>
                  </a:cxn>
                  <a:cxn ang="0">
                    <a:pos x="58" y="63"/>
                  </a:cxn>
                  <a:cxn ang="0">
                    <a:pos x="73" y="70"/>
                  </a:cxn>
                  <a:cxn ang="0">
                    <a:pos x="85" y="79"/>
                  </a:cxn>
                  <a:cxn ang="0">
                    <a:pos x="93" y="91"/>
                  </a:cxn>
                  <a:cxn ang="0">
                    <a:pos x="95" y="106"/>
                  </a:cxn>
                </a:cxnLst>
                <a:rect l="0" t="0" r="r" b="b"/>
                <a:pathLst>
                  <a:path w="95" h="151">
                    <a:moveTo>
                      <a:pt x="95" y="106"/>
                    </a:moveTo>
                    <a:cubicBezTo>
                      <a:pt x="95" y="112"/>
                      <a:pt x="94" y="118"/>
                      <a:pt x="92" y="123"/>
                    </a:cubicBezTo>
                    <a:cubicBezTo>
                      <a:pt x="89" y="129"/>
                      <a:pt x="86" y="134"/>
                      <a:pt x="81" y="138"/>
                    </a:cubicBezTo>
                    <a:cubicBezTo>
                      <a:pt x="76" y="142"/>
                      <a:pt x="70" y="145"/>
                      <a:pt x="63" y="147"/>
                    </a:cubicBezTo>
                    <a:cubicBezTo>
                      <a:pt x="56" y="150"/>
                      <a:pt x="47" y="151"/>
                      <a:pt x="38" y="151"/>
                    </a:cubicBezTo>
                    <a:cubicBezTo>
                      <a:pt x="35" y="151"/>
                      <a:pt x="32" y="150"/>
                      <a:pt x="29" y="150"/>
                    </a:cubicBezTo>
                    <a:cubicBezTo>
                      <a:pt x="26" y="150"/>
                      <a:pt x="22" y="149"/>
                      <a:pt x="19" y="148"/>
                    </a:cubicBezTo>
                    <a:cubicBezTo>
                      <a:pt x="15" y="148"/>
                      <a:pt x="12" y="147"/>
                      <a:pt x="9" y="146"/>
                    </a:cubicBezTo>
                    <a:cubicBezTo>
                      <a:pt x="5" y="145"/>
                      <a:pt x="3" y="144"/>
                      <a:pt x="0" y="143"/>
                    </a:cubicBezTo>
                    <a:cubicBezTo>
                      <a:pt x="0" y="112"/>
                      <a:pt x="0" y="112"/>
                      <a:pt x="0" y="112"/>
                    </a:cubicBezTo>
                    <a:cubicBezTo>
                      <a:pt x="3" y="114"/>
                      <a:pt x="7" y="116"/>
                      <a:pt x="10" y="118"/>
                    </a:cubicBezTo>
                    <a:cubicBezTo>
                      <a:pt x="13" y="119"/>
                      <a:pt x="17" y="121"/>
                      <a:pt x="20" y="122"/>
                    </a:cubicBezTo>
                    <a:cubicBezTo>
                      <a:pt x="24" y="123"/>
                      <a:pt x="27" y="124"/>
                      <a:pt x="30" y="124"/>
                    </a:cubicBezTo>
                    <a:cubicBezTo>
                      <a:pt x="34" y="125"/>
                      <a:pt x="37" y="125"/>
                      <a:pt x="39" y="125"/>
                    </a:cubicBezTo>
                    <a:cubicBezTo>
                      <a:pt x="47" y="125"/>
                      <a:pt x="53" y="124"/>
                      <a:pt x="57" y="121"/>
                    </a:cubicBezTo>
                    <a:cubicBezTo>
                      <a:pt x="61" y="118"/>
                      <a:pt x="63" y="115"/>
                      <a:pt x="63" y="110"/>
                    </a:cubicBezTo>
                    <a:cubicBezTo>
                      <a:pt x="63" y="107"/>
                      <a:pt x="62" y="105"/>
                      <a:pt x="62" y="103"/>
                    </a:cubicBezTo>
                    <a:cubicBezTo>
                      <a:pt x="61" y="102"/>
                      <a:pt x="59" y="100"/>
                      <a:pt x="57" y="98"/>
                    </a:cubicBezTo>
                    <a:cubicBezTo>
                      <a:pt x="55" y="96"/>
                      <a:pt x="53" y="95"/>
                      <a:pt x="49" y="93"/>
                    </a:cubicBezTo>
                    <a:cubicBezTo>
                      <a:pt x="45" y="91"/>
                      <a:pt x="41" y="89"/>
                      <a:pt x="35" y="86"/>
                    </a:cubicBezTo>
                    <a:cubicBezTo>
                      <a:pt x="29" y="84"/>
                      <a:pt x="25" y="82"/>
                      <a:pt x="20" y="79"/>
                    </a:cubicBezTo>
                    <a:cubicBezTo>
                      <a:pt x="16" y="77"/>
                      <a:pt x="12" y="74"/>
                      <a:pt x="10" y="70"/>
                    </a:cubicBezTo>
                    <a:cubicBezTo>
                      <a:pt x="7" y="67"/>
                      <a:pt x="4" y="63"/>
                      <a:pt x="3" y="59"/>
                    </a:cubicBezTo>
                    <a:cubicBezTo>
                      <a:pt x="1" y="55"/>
                      <a:pt x="0" y="50"/>
                      <a:pt x="0" y="44"/>
                    </a:cubicBezTo>
                    <a:cubicBezTo>
                      <a:pt x="0" y="37"/>
                      <a:pt x="2"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6"/>
                      <a:pt x="57" y="25"/>
                      <a:pt x="54" y="25"/>
                    </a:cubicBezTo>
                    <a:cubicBezTo>
                      <a:pt x="48" y="25"/>
                      <a:pt x="43" y="27"/>
                      <a:pt x="39" y="30"/>
                    </a:cubicBezTo>
                    <a:cubicBezTo>
                      <a:pt x="35" y="33"/>
                      <a:pt x="33" y="36"/>
                      <a:pt x="33" y="41"/>
                    </a:cubicBezTo>
                    <a:cubicBezTo>
                      <a:pt x="33" y="44"/>
                      <a:pt x="34" y="46"/>
                      <a:pt x="34" y="48"/>
                    </a:cubicBezTo>
                    <a:cubicBezTo>
                      <a:pt x="35" y="50"/>
                      <a:pt x="37" y="52"/>
                      <a:pt x="39" y="53"/>
                    </a:cubicBezTo>
                    <a:cubicBezTo>
                      <a:pt x="41" y="55"/>
                      <a:pt x="43" y="57"/>
                      <a:pt x="46" y="58"/>
                    </a:cubicBezTo>
                    <a:cubicBezTo>
                      <a:pt x="50" y="60"/>
                      <a:pt x="54" y="62"/>
                      <a:pt x="58" y="63"/>
                    </a:cubicBezTo>
                    <a:cubicBezTo>
                      <a:pt x="64" y="66"/>
                      <a:pt x="69" y="68"/>
                      <a:pt x="73" y="70"/>
                    </a:cubicBezTo>
                    <a:cubicBezTo>
                      <a:pt x="78" y="73"/>
                      <a:pt x="82" y="76"/>
                      <a:pt x="85" y="79"/>
                    </a:cubicBezTo>
                    <a:cubicBezTo>
                      <a:pt x="88" y="83"/>
                      <a:pt x="91" y="86"/>
                      <a:pt x="93"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74" name="Freeform 26"/>
              <p:cNvSpPr>
                <a:spLocks/>
              </p:cNvSpPr>
              <p:nvPr/>
            </p:nvSpPr>
            <p:spPr bwMode="black">
              <a:xfrm>
                <a:off x="10163311" y="6266051"/>
                <a:ext cx="103519" cy="121367"/>
              </a:xfrm>
              <a:custGeom>
                <a:avLst/>
                <a:gdLst/>
                <a:ahLst/>
                <a:cxnLst>
                  <a:cxn ang="0">
                    <a:pos x="109" y="279"/>
                  </a:cxn>
                  <a:cxn ang="0">
                    <a:pos x="290" y="279"/>
                  </a:cxn>
                  <a:cxn ang="0">
                    <a:pos x="290" y="340"/>
                  </a:cxn>
                  <a:cxn ang="0">
                    <a:pos x="0" y="340"/>
                  </a:cxn>
                  <a:cxn ang="0">
                    <a:pos x="0" y="314"/>
                  </a:cxn>
                  <a:cxn ang="0">
                    <a:pos x="187" y="61"/>
                  </a:cxn>
                  <a:cxn ang="0">
                    <a:pos x="21" y="61"/>
                  </a:cxn>
                  <a:cxn ang="0">
                    <a:pos x="21" y="0"/>
                  </a:cxn>
                  <a:cxn ang="0">
                    <a:pos x="290" y="0"/>
                  </a:cxn>
                  <a:cxn ang="0">
                    <a:pos x="290" y="30"/>
                  </a:cxn>
                  <a:cxn ang="0">
                    <a:pos x="109" y="279"/>
                  </a:cxn>
                </a:cxnLst>
                <a:rect l="0" t="0" r="r" b="b"/>
                <a:pathLst>
                  <a:path w="290" h="340">
                    <a:moveTo>
                      <a:pt x="109" y="279"/>
                    </a:moveTo>
                    <a:lnTo>
                      <a:pt x="290" y="279"/>
                    </a:lnTo>
                    <a:lnTo>
                      <a:pt x="290" y="340"/>
                    </a:lnTo>
                    <a:lnTo>
                      <a:pt x="0" y="340"/>
                    </a:lnTo>
                    <a:lnTo>
                      <a:pt x="0" y="314"/>
                    </a:lnTo>
                    <a:lnTo>
                      <a:pt x="187" y="61"/>
                    </a:lnTo>
                    <a:lnTo>
                      <a:pt x="21" y="61"/>
                    </a:lnTo>
                    <a:lnTo>
                      <a:pt x="21" y="0"/>
                    </a:lnTo>
                    <a:lnTo>
                      <a:pt x="290" y="0"/>
                    </a:lnTo>
                    <a:lnTo>
                      <a:pt x="290" y="30"/>
                    </a:lnTo>
                    <a:lnTo>
                      <a:pt x="109" y="27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75" name="Freeform 27"/>
              <p:cNvSpPr>
                <a:spLocks noEditPoints="1"/>
              </p:cNvSpPr>
              <p:nvPr/>
            </p:nvSpPr>
            <p:spPr bwMode="black">
              <a:xfrm>
                <a:off x="10276112" y="6215362"/>
                <a:ext cx="124937" cy="175269"/>
              </a:xfrm>
              <a:custGeom>
                <a:avLst/>
                <a:gdLst/>
                <a:ahLst/>
                <a:cxnLst>
                  <a:cxn ang="0">
                    <a:pos x="143" y="163"/>
                  </a:cxn>
                  <a:cxn ang="0">
                    <a:pos x="104" y="202"/>
                  </a:cxn>
                  <a:cxn ang="0">
                    <a:pos x="43" y="202"/>
                  </a:cxn>
                  <a:cxn ang="0">
                    <a:pos x="5" y="164"/>
                  </a:cxn>
                  <a:cxn ang="0">
                    <a:pos x="6" y="101"/>
                  </a:cxn>
                  <a:cxn ang="0">
                    <a:pos x="46" y="62"/>
                  </a:cxn>
                  <a:cxn ang="0">
                    <a:pos x="107" y="62"/>
                  </a:cxn>
                  <a:cxn ang="0">
                    <a:pos x="144" y="101"/>
                  </a:cxn>
                  <a:cxn ang="0">
                    <a:pos x="62" y="17"/>
                  </a:cxn>
                  <a:cxn ang="0">
                    <a:pos x="57" y="28"/>
                  </a:cxn>
                  <a:cxn ang="0">
                    <a:pos x="45" y="33"/>
                  </a:cxn>
                  <a:cxn ang="0">
                    <a:pos x="32" y="28"/>
                  </a:cxn>
                  <a:cxn ang="0">
                    <a:pos x="27" y="17"/>
                  </a:cxn>
                  <a:cxn ang="0">
                    <a:pos x="32" y="5"/>
                  </a:cxn>
                  <a:cxn ang="0">
                    <a:pos x="45" y="0"/>
                  </a:cxn>
                  <a:cxn ang="0">
                    <a:pos x="57" y="5"/>
                  </a:cxn>
                  <a:cxn ang="0">
                    <a:pos x="62" y="17"/>
                  </a:cxn>
                  <a:cxn ang="0">
                    <a:pos x="104" y="96"/>
                  </a:cxn>
                  <a:cxn ang="0">
                    <a:pos x="59" y="86"/>
                  </a:cxn>
                  <a:cxn ang="0">
                    <a:pos x="37" y="111"/>
                  </a:cxn>
                  <a:cxn ang="0">
                    <a:pos x="37" y="154"/>
                  </a:cxn>
                  <a:cxn ang="0">
                    <a:pos x="59" y="178"/>
                  </a:cxn>
                  <a:cxn ang="0">
                    <a:pos x="105" y="169"/>
                  </a:cxn>
                  <a:cxn ang="0">
                    <a:pos x="121" y="17"/>
                  </a:cxn>
                  <a:cxn ang="0">
                    <a:pos x="116" y="28"/>
                  </a:cxn>
                  <a:cxn ang="0">
                    <a:pos x="104" y="33"/>
                  </a:cxn>
                  <a:cxn ang="0">
                    <a:pos x="91" y="28"/>
                  </a:cxn>
                  <a:cxn ang="0">
                    <a:pos x="87" y="17"/>
                  </a:cxn>
                  <a:cxn ang="0">
                    <a:pos x="92" y="5"/>
                  </a:cxn>
                  <a:cxn ang="0">
                    <a:pos x="104" y="0"/>
                  </a:cxn>
                  <a:cxn ang="0">
                    <a:pos x="116" y="5"/>
                  </a:cxn>
                  <a:cxn ang="0">
                    <a:pos x="121" y="17"/>
                  </a:cxn>
                </a:cxnLst>
                <a:rect l="0" t="0" r="r" b="b"/>
                <a:pathLst>
                  <a:path w="148" h="208">
                    <a:moveTo>
                      <a:pt x="148" y="131"/>
                    </a:moveTo>
                    <a:cubicBezTo>
                      <a:pt x="148" y="143"/>
                      <a:pt x="146" y="153"/>
                      <a:pt x="143" y="163"/>
                    </a:cubicBezTo>
                    <a:cubicBezTo>
                      <a:pt x="139" y="172"/>
                      <a:pt x="134" y="181"/>
                      <a:pt x="128" y="187"/>
                    </a:cubicBezTo>
                    <a:cubicBezTo>
                      <a:pt x="121" y="194"/>
                      <a:pt x="113" y="199"/>
                      <a:pt x="104" y="202"/>
                    </a:cubicBezTo>
                    <a:cubicBezTo>
                      <a:pt x="95" y="206"/>
                      <a:pt x="84" y="208"/>
                      <a:pt x="73" y="208"/>
                    </a:cubicBezTo>
                    <a:cubicBezTo>
                      <a:pt x="62" y="208"/>
                      <a:pt x="52" y="206"/>
                      <a:pt x="43" y="202"/>
                    </a:cubicBezTo>
                    <a:cubicBezTo>
                      <a:pt x="34" y="199"/>
                      <a:pt x="26" y="194"/>
                      <a:pt x="20" y="188"/>
                    </a:cubicBezTo>
                    <a:cubicBezTo>
                      <a:pt x="14" y="181"/>
                      <a:pt x="9" y="174"/>
                      <a:pt x="5" y="164"/>
                    </a:cubicBezTo>
                    <a:cubicBezTo>
                      <a:pt x="2" y="155"/>
                      <a:pt x="0" y="145"/>
                      <a:pt x="0" y="134"/>
                    </a:cubicBezTo>
                    <a:cubicBezTo>
                      <a:pt x="0" y="121"/>
                      <a:pt x="2" y="110"/>
                      <a:pt x="6" y="101"/>
                    </a:cubicBezTo>
                    <a:cubicBezTo>
                      <a:pt x="10" y="91"/>
                      <a:pt x="15" y="83"/>
                      <a:pt x="22" y="76"/>
                    </a:cubicBezTo>
                    <a:cubicBezTo>
                      <a:pt x="28" y="70"/>
                      <a:pt x="36" y="65"/>
                      <a:pt x="46" y="62"/>
                    </a:cubicBezTo>
                    <a:cubicBezTo>
                      <a:pt x="55" y="58"/>
                      <a:pt x="65" y="57"/>
                      <a:pt x="77" y="57"/>
                    </a:cubicBezTo>
                    <a:cubicBezTo>
                      <a:pt x="88" y="57"/>
                      <a:pt x="99" y="59"/>
                      <a:pt x="107" y="62"/>
                    </a:cubicBezTo>
                    <a:cubicBezTo>
                      <a:pt x="116" y="66"/>
                      <a:pt x="124" y="71"/>
                      <a:pt x="130" y="77"/>
                    </a:cubicBezTo>
                    <a:cubicBezTo>
                      <a:pt x="136" y="84"/>
                      <a:pt x="141" y="92"/>
                      <a:pt x="144" y="101"/>
                    </a:cubicBezTo>
                    <a:cubicBezTo>
                      <a:pt x="147" y="110"/>
                      <a:pt x="148" y="120"/>
                      <a:pt x="148" y="131"/>
                    </a:cubicBezTo>
                    <a:close/>
                    <a:moveTo>
                      <a:pt x="62" y="17"/>
                    </a:moveTo>
                    <a:cubicBezTo>
                      <a:pt x="62" y="19"/>
                      <a:pt x="61" y="21"/>
                      <a:pt x="61" y="23"/>
                    </a:cubicBezTo>
                    <a:cubicBezTo>
                      <a:pt x="60" y="25"/>
                      <a:pt x="59" y="27"/>
                      <a:pt x="57" y="28"/>
                    </a:cubicBezTo>
                    <a:cubicBezTo>
                      <a:pt x="56" y="30"/>
                      <a:pt x="54" y="31"/>
                      <a:pt x="52" y="32"/>
                    </a:cubicBezTo>
                    <a:cubicBezTo>
                      <a:pt x="49" y="33"/>
                      <a:pt x="47" y="33"/>
                      <a:pt x="45" y="33"/>
                    </a:cubicBezTo>
                    <a:cubicBezTo>
                      <a:pt x="42" y="33"/>
                      <a:pt x="40" y="33"/>
                      <a:pt x="38" y="32"/>
                    </a:cubicBezTo>
                    <a:cubicBezTo>
                      <a:pt x="36" y="31"/>
                      <a:pt x="34" y="30"/>
                      <a:pt x="32" y="28"/>
                    </a:cubicBezTo>
                    <a:cubicBezTo>
                      <a:pt x="31" y="27"/>
                      <a:pt x="29" y="25"/>
                      <a:pt x="28" y="23"/>
                    </a:cubicBezTo>
                    <a:cubicBezTo>
                      <a:pt x="28" y="21"/>
                      <a:pt x="27" y="19"/>
                      <a:pt x="27" y="17"/>
                    </a:cubicBezTo>
                    <a:cubicBezTo>
                      <a:pt x="27" y="14"/>
                      <a:pt x="28" y="12"/>
                      <a:pt x="28" y="10"/>
                    </a:cubicBezTo>
                    <a:cubicBezTo>
                      <a:pt x="29" y="8"/>
                      <a:pt x="31" y="6"/>
                      <a:pt x="32" y="5"/>
                    </a:cubicBezTo>
                    <a:cubicBezTo>
                      <a:pt x="34" y="3"/>
                      <a:pt x="36" y="2"/>
                      <a:pt x="38" y="1"/>
                    </a:cubicBezTo>
                    <a:cubicBezTo>
                      <a:pt x="40" y="0"/>
                      <a:pt x="42" y="0"/>
                      <a:pt x="45" y="0"/>
                    </a:cubicBezTo>
                    <a:cubicBezTo>
                      <a:pt x="47" y="0"/>
                      <a:pt x="49" y="0"/>
                      <a:pt x="51" y="1"/>
                    </a:cubicBezTo>
                    <a:cubicBezTo>
                      <a:pt x="54" y="2"/>
                      <a:pt x="55" y="3"/>
                      <a:pt x="57" y="5"/>
                    </a:cubicBezTo>
                    <a:cubicBezTo>
                      <a:pt x="58" y="6"/>
                      <a:pt x="60" y="8"/>
                      <a:pt x="61" y="10"/>
                    </a:cubicBezTo>
                    <a:cubicBezTo>
                      <a:pt x="61" y="12"/>
                      <a:pt x="62" y="14"/>
                      <a:pt x="62" y="17"/>
                    </a:cubicBezTo>
                    <a:close/>
                    <a:moveTo>
                      <a:pt x="115" y="132"/>
                    </a:moveTo>
                    <a:cubicBezTo>
                      <a:pt x="115" y="116"/>
                      <a:pt x="111" y="104"/>
                      <a:pt x="104" y="96"/>
                    </a:cubicBezTo>
                    <a:cubicBezTo>
                      <a:pt x="97" y="88"/>
                      <a:pt x="87" y="83"/>
                      <a:pt x="75" y="83"/>
                    </a:cubicBezTo>
                    <a:cubicBezTo>
                      <a:pt x="69" y="83"/>
                      <a:pt x="64" y="84"/>
                      <a:pt x="59" y="86"/>
                    </a:cubicBezTo>
                    <a:cubicBezTo>
                      <a:pt x="54" y="88"/>
                      <a:pt x="49" y="91"/>
                      <a:pt x="46" y="95"/>
                    </a:cubicBezTo>
                    <a:cubicBezTo>
                      <a:pt x="42" y="99"/>
                      <a:pt x="39" y="105"/>
                      <a:pt x="37" y="111"/>
                    </a:cubicBezTo>
                    <a:cubicBezTo>
                      <a:pt x="35" y="117"/>
                      <a:pt x="34" y="124"/>
                      <a:pt x="34" y="133"/>
                    </a:cubicBezTo>
                    <a:cubicBezTo>
                      <a:pt x="34" y="141"/>
                      <a:pt x="35" y="148"/>
                      <a:pt x="37" y="154"/>
                    </a:cubicBezTo>
                    <a:cubicBezTo>
                      <a:pt x="39" y="160"/>
                      <a:pt x="42" y="165"/>
                      <a:pt x="46" y="169"/>
                    </a:cubicBezTo>
                    <a:cubicBezTo>
                      <a:pt x="49" y="173"/>
                      <a:pt x="54" y="176"/>
                      <a:pt x="59" y="178"/>
                    </a:cubicBezTo>
                    <a:cubicBezTo>
                      <a:pt x="64" y="180"/>
                      <a:pt x="69" y="181"/>
                      <a:pt x="75" y="181"/>
                    </a:cubicBezTo>
                    <a:cubicBezTo>
                      <a:pt x="88" y="181"/>
                      <a:pt x="98" y="177"/>
                      <a:pt x="105" y="169"/>
                    </a:cubicBezTo>
                    <a:cubicBezTo>
                      <a:pt x="111" y="160"/>
                      <a:pt x="115" y="148"/>
                      <a:pt x="115" y="132"/>
                    </a:cubicBezTo>
                    <a:close/>
                    <a:moveTo>
                      <a:pt x="121" y="17"/>
                    </a:moveTo>
                    <a:cubicBezTo>
                      <a:pt x="121" y="19"/>
                      <a:pt x="121" y="21"/>
                      <a:pt x="120" y="23"/>
                    </a:cubicBezTo>
                    <a:cubicBezTo>
                      <a:pt x="119" y="25"/>
                      <a:pt x="118" y="27"/>
                      <a:pt x="116" y="28"/>
                    </a:cubicBezTo>
                    <a:cubicBezTo>
                      <a:pt x="115" y="30"/>
                      <a:pt x="113" y="31"/>
                      <a:pt x="111" y="32"/>
                    </a:cubicBezTo>
                    <a:cubicBezTo>
                      <a:pt x="109" y="33"/>
                      <a:pt x="106" y="33"/>
                      <a:pt x="104" y="33"/>
                    </a:cubicBezTo>
                    <a:cubicBezTo>
                      <a:pt x="101" y="33"/>
                      <a:pt x="99" y="33"/>
                      <a:pt x="97" y="32"/>
                    </a:cubicBezTo>
                    <a:cubicBezTo>
                      <a:pt x="95" y="31"/>
                      <a:pt x="93" y="30"/>
                      <a:pt x="91" y="28"/>
                    </a:cubicBezTo>
                    <a:cubicBezTo>
                      <a:pt x="90" y="27"/>
                      <a:pt x="89" y="25"/>
                      <a:pt x="88" y="23"/>
                    </a:cubicBezTo>
                    <a:cubicBezTo>
                      <a:pt x="87" y="21"/>
                      <a:pt x="87" y="19"/>
                      <a:pt x="87" y="17"/>
                    </a:cubicBezTo>
                    <a:cubicBezTo>
                      <a:pt x="87" y="14"/>
                      <a:pt x="87" y="12"/>
                      <a:pt x="88" y="10"/>
                    </a:cubicBezTo>
                    <a:cubicBezTo>
                      <a:pt x="89" y="8"/>
                      <a:pt x="90" y="6"/>
                      <a:pt x="92" y="5"/>
                    </a:cubicBezTo>
                    <a:cubicBezTo>
                      <a:pt x="93" y="3"/>
                      <a:pt x="95" y="2"/>
                      <a:pt x="97" y="1"/>
                    </a:cubicBezTo>
                    <a:cubicBezTo>
                      <a:pt x="99" y="0"/>
                      <a:pt x="101" y="0"/>
                      <a:pt x="104" y="0"/>
                    </a:cubicBezTo>
                    <a:cubicBezTo>
                      <a:pt x="106" y="0"/>
                      <a:pt x="109" y="0"/>
                      <a:pt x="111" y="1"/>
                    </a:cubicBezTo>
                    <a:cubicBezTo>
                      <a:pt x="113" y="2"/>
                      <a:pt x="115" y="3"/>
                      <a:pt x="116" y="5"/>
                    </a:cubicBezTo>
                    <a:cubicBezTo>
                      <a:pt x="118" y="6"/>
                      <a:pt x="119" y="8"/>
                      <a:pt x="120" y="10"/>
                    </a:cubicBezTo>
                    <a:cubicBezTo>
                      <a:pt x="121" y="12"/>
                      <a:pt x="121" y="14"/>
                      <a:pt x="121"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76" name="Freeform 28"/>
              <p:cNvSpPr>
                <a:spLocks/>
              </p:cNvSpPr>
              <p:nvPr/>
            </p:nvSpPr>
            <p:spPr bwMode="black">
              <a:xfrm>
                <a:off x="10424608" y="6263552"/>
                <a:ext cx="107803" cy="123866"/>
              </a:xfrm>
              <a:custGeom>
                <a:avLst/>
                <a:gdLst/>
                <a:ahLst/>
                <a:cxnLst>
                  <a:cxn ang="0">
                    <a:pos x="95" y="147"/>
                  </a:cxn>
                  <a:cxn ang="0">
                    <a:pos x="95" y="66"/>
                  </a:cxn>
                  <a:cxn ang="0">
                    <a:pos x="89" y="36"/>
                  </a:cxn>
                  <a:cxn ang="0">
                    <a:pos x="67" y="26"/>
                  </a:cxn>
                  <a:cxn ang="0">
                    <a:pos x="53" y="29"/>
                  </a:cxn>
                  <a:cxn ang="0">
                    <a:pos x="42"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5" y="147"/>
                  </a:cxn>
                </a:cxnLst>
                <a:rect l="0" t="0" r="r" b="b"/>
                <a:pathLst>
                  <a:path w="128" h="147">
                    <a:moveTo>
                      <a:pt x="95" y="147"/>
                    </a:moveTo>
                    <a:cubicBezTo>
                      <a:pt x="95" y="66"/>
                      <a:pt x="95" y="66"/>
                      <a:pt x="95" y="66"/>
                    </a:cubicBezTo>
                    <a:cubicBezTo>
                      <a:pt x="95" y="53"/>
                      <a:pt x="93" y="43"/>
                      <a:pt x="89" y="36"/>
                    </a:cubicBezTo>
                    <a:cubicBezTo>
                      <a:pt x="84" y="30"/>
                      <a:pt x="77" y="26"/>
                      <a:pt x="67" y="26"/>
                    </a:cubicBezTo>
                    <a:cubicBezTo>
                      <a:pt x="62" y="26"/>
                      <a:pt x="57" y="27"/>
                      <a:pt x="53" y="29"/>
                    </a:cubicBezTo>
                    <a:cubicBezTo>
                      <a:pt x="49" y="31"/>
                      <a:pt x="45" y="34"/>
                      <a:pt x="42" y="37"/>
                    </a:cubicBezTo>
                    <a:cubicBezTo>
                      <a:pt x="39"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1" y="2"/>
                      <a:pt x="70" y="0"/>
                      <a:pt x="80" y="0"/>
                    </a:cubicBezTo>
                    <a:cubicBezTo>
                      <a:pt x="95" y="0"/>
                      <a:pt x="107" y="5"/>
                      <a:pt x="115" y="14"/>
                    </a:cubicBezTo>
                    <a:cubicBezTo>
                      <a:pt x="124" y="24"/>
                      <a:pt x="128" y="39"/>
                      <a:pt x="128" y="59"/>
                    </a:cubicBezTo>
                    <a:cubicBezTo>
                      <a:pt x="128" y="147"/>
                      <a:pt x="128" y="147"/>
                      <a:pt x="128" y="147"/>
                    </a:cubicBezTo>
                    <a:lnTo>
                      <a:pt x="95"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77" name="Freeform 29"/>
              <p:cNvSpPr>
                <a:spLocks noEditPoints="1"/>
              </p:cNvSpPr>
              <p:nvPr/>
            </p:nvSpPr>
            <p:spPr bwMode="black">
              <a:xfrm>
                <a:off x="10552761" y="6215358"/>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1" y="28"/>
                  </a:cxn>
                  <a:cxn ang="0">
                    <a:pos x="26" y="17"/>
                  </a:cxn>
                  <a:cxn ang="0">
                    <a:pos x="31" y="5"/>
                  </a:cxn>
                  <a:cxn ang="0">
                    <a:pos x="44" y="0"/>
                  </a:cxn>
                  <a:cxn ang="0">
                    <a:pos x="56" y="5"/>
                  </a:cxn>
                  <a:cxn ang="0">
                    <a:pos x="61" y="17"/>
                  </a:cxn>
                  <a:cxn ang="0">
                    <a:pos x="103" y="96"/>
                  </a:cxn>
                  <a:cxn ang="0">
                    <a:pos x="58" y="86"/>
                  </a:cxn>
                  <a:cxn ang="0">
                    <a:pos x="37" y="111"/>
                  </a:cxn>
                  <a:cxn ang="0">
                    <a:pos x="36"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2"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4"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1" y="28"/>
                    </a:cubicBezTo>
                    <a:cubicBezTo>
                      <a:pt x="30" y="27"/>
                      <a:pt x="29" y="25"/>
                      <a:pt x="28" y="23"/>
                    </a:cubicBezTo>
                    <a:cubicBezTo>
                      <a:pt x="27" y="21"/>
                      <a:pt x="26" y="19"/>
                      <a:pt x="26" y="17"/>
                    </a:cubicBezTo>
                    <a:cubicBezTo>
                      <a:pt x="26" y="14"/>
                      <a:pt x="27" y="12"/>
                      <a:pt x="28" y="10"/>
                    </a:cubicBezTo>
                    <a:cubicBezTo>
                      <a:pt x="29" y="8"/>
                      <a:pt x="30" y="6"/>
                      <a:pt x="31"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4" y="117"/>
                      <a:pt x="33" y="124"/>
                      <a:pt x="33" y="133"/>
                    </a:cubicBezTo>
                    <a:cubicBezTo>
                      <a:pt x="33" y="141"/>
                      <a:pt x="34" y="148"/>
                      <a:pt x="36" y="154"/>
                    </a:cubicBezTo>
                    <a:cubicBezTo>
                      <a:pt x="38" y="160"/>
                      <a:pt x="41" y="165"/>
                      <a:pt x="45" y="169"/>
                    </a:cubicBezTo>
                    <a:cubicBezTo>
                      <a:pt x="49" y="173"/>
                      <a:pt x="53" y="176"/>
                      <a:pt x="58" y="178"/>
                    </a:cubicBezTo>
                    <a:cubicBezTo>
                      <a:pt x="63" y="180"/>
                      <a:pt x="68" y="181"/>
                      <a:pt x="74" y="181"/>
                    </a:cubicBezTo>
                    <a:cubicBezTo>
                      <a:pt x="87" y="181"/>
                      <a:pt x="97" y="177"/>
                      <a:pt x="104" y="169"/>
                    </a:cubicBezTo>
                    <a:cubicBezTo>
                      <a:pt x="111" y="160"/>
                      <a:pt x="114" y="148"/>
                      <a:pt x="114" y="132"/>
                    </a:cubicBezTo>
                    <a:close/>
                    <a:moveTo>
                      <a:pt x="121" y="17"/>
                    </a:moveTo>
                    <a:cubicBezTo>
                      <a:pt x="121" y="19"/>
                      <a:pt x="120" y="21"/>
                      <a:pt x="119"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2" y="3"/>
                      <a:pt x="94" y="2"/>
                      <a:pt x="96" y="1"/>
                    </a:cubicBezTo>
                    <a:cubicBezTo>
                      <a:pt x="99" y="0"/>
                      <a:pt x="101" y="0"/>
                      <a:pt x="103" y="0"/>
                    </a:cubicBezTo>
                    <a:cubicBezTo>
                      <a:pt x="106" y="0"/>
                      <a:pt x="108" y="0"/>
                      <a:pt x="110" y="1"/>
                    </a:cubicBezTo>
                    <a:cubicBezTo>
                      <a:pt x="112" y="2"/>
                      <a:pt x="114" y="3"/>
                      <a:pt x="116" y="5"/>
                    </a:cubicBezTo>
                    <a:cubicBezTo>
                      <a:pt x="117" y="6"/>
                      <a:pt x="119" y="8"/>
                      <a:pt x="119" y="10"/>
                    </a:cubicBezTo>
                    <a:cubicBezTo>
                      <a:pt x="120" y="12"/>
                      <a:pt x="121" y="14"/>
                      <a:pt x="121"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78" name="Freeform 30"/>
              <p:cNvSpPr>
                <a:spLocks/>
              </p:cNvSpPr>
              <p:nvPr/>
            </p:nvSpPr>
            <p:spPr bwMode="black">
              <a:xfrm>
                <a:off x="10701255" y="6263552"/>
                <a:ext cx="180266" cy="123866"/>
              </a:xfrm>
              <a:custGeom>
                <a:avLst/>
                <a:gdLst/>
                <a:ahLst/>
                <a:cxnLst>
                  <a:cxn ang="0">
                    <a:pos x="182" y="147"/>
                  </a:cxn>
                  <a:cxn ang="0">
                    <a:pos x="182" y="66"/>
                  </a:cxn>
                  <a:cxn ang="0">
                    <a:pos x="180" y="46"/>
                  </a:cxn>
                  <a:cxn ang="0">
                    <a:pos x="174" y="34"/>
                  </a:cxn>
                  <a:cxn ang="0">
                    <a:pos x="165" y="28"/>
                  </a:cxn>
                  <a:cxn ang="0">
                    <a:pos x="153" y="26"/>
                  </a:cxn>
                  <a:cxn ang="0">
                    <a:pos x="141" y="30"/>
                  </a:cxn>
                  <a:cxn ang="0">
                    <a:pos x="131" y="38"/>
                  </a:cxn>
                  <a:cxn ang="0">
                    <a:pos x="125" y="51"/>
                  </a:cxn>
                  <a:cxn ang="0">
                    <a:pos x="123" y="66"/>
                  </a:cxn>
                  <a:cxn ang="0">
                    <a:pos x="123" y="147"/>
                  </a:cxn>
                  <a:cxn ang="0">
                    <a:pos x="90" y="147"/>
                  </a:cxn>
                  <a:cxn ang="0">
                    <a:pos x="90" y="63"/>
                  </a:cxn>
                  <a:cxn ang="0">
                    <a:pos x="88" y="46"/>
                  </a:cxn>
                  <a:cxn ang="0">
                    <a:pos x="83" y="35"/>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6" y="37"/>
                      <a:pt x="174" y="34"/>
                    </a:cubicBezTo>
                    <a:cubicBezTo>
                      <a:pt x="172" y="31"/>
                      <a:pt x="169" y="29"/>
                      <a:pt x="165" y="28"/>
                    </a:cubicBezTo>
                    <a:cubicBezTo>
                      <a:pt x="162" y="27"/>
                      <a:pt x="158" y="26"/>
                      <a:pt x="153" y="26"/>
                    </a:cubicBezTo>
                    <a:cubicBezTo>
                      <a:pt x="149" y="26"/>
                      <a:pt x="145" y="27"/>
                      <a:pt x="141" y="30"/>
                    </a:cubicBezTo>
                    <a:cubicBezTo>
                      <a:pt x="137" y="32"/>
                      <a:pt x="134" y="35"/>
                      <a:pt x="131" y="38"/>
                    </a:cubicBezTo>
                    <a:cubicBezTo>
                      <a:pt x="129" y="42"/>
                      <a:pt x="127" y="46"/>
                      <a:pt x="125" y="51"/>
                    </a:cubicBezTo>
                    <a:cubicBezTo>
                      <a:pt x="124" y="56"/>
                      <a:pt x="123" y="61"/>
                      <a:pt x="123" y="66"/>
                    </a:cubicBezTo>
                    <a:cubicBezTo>
                      <a:pt x="123" y="147"/>
                      <a:pt x="123" y="147"/>
                      <a:pt x="123" y="147"/>
                    </a:cubicBezTo>
                    <a:cubicBezTo>
                      <a:pt x="90" y="147"/>
                      <a:pt x="90" y="147"/>
                      <a:pt x="90" y="147"/>
                    </a:cubicBezTo>
                    <a:cubicBezTo>
                      <a:pt x="90" y="63"/>
                      <a:pt x="90" y="63"/>
                      <a:pt x="90" y="63"/>
                    </a:cubicBezTo>
                    <a:cubicBezTo>
                      <a:pt x="90" y="56"/>
                      <a:pt x="90" y="51"/>
                      <a:pt x="88" y="46"/>
                    </a:cubicBezTo>
                    <a:cubicBezTo>
                      <a:pt x="87" y="41"/>
                      <a:pt x="85" y="38"/>
                      <a:pt x="83" y="35"/>
                    </a:cubicBezTo>
                    <a:cubicBezTo>
                      <a:pt x="80" y="32"/>
                      <a:pt x="77" y="30"/>
                      <a:pt x="74" y="28"/>
                    </a:cubicBezTo>
                    <a:cubicBezTo>
                      <a:pt x="70" y="27"/>
                      <a:pt x="67" y="26"/>
                      <a:pt x="62" y="26"/>
                    </a:cubicBezTo>
                    <a:cubicBezTo>
                      <a:pt x="58" y="26"/>
                      <a:pt x="54" y="27"/>
                      <a:pt x="50" y="29"/>
                    </a:cubicBezTo>
                    <a:cubicBezTo>
                      <a:pt x="46" y="31"/>
                      <a:pt x="43" y="34"/>
                      <a:pt x="41" y="37"/>
                    </a:cubicBezTo>
                    <a:cubicBezTo>
                      <a:pt x="38" y="41"/>
                      <a:pt x="36" y="45"/>
                      <a:pt x="34"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59" y="2"/>
                      <a:pt x="68" y="0"/>
                      <a:pt x="78" y="0"/>
                    </a:cubicBezTo>
                    <a:cubicBezTo>
                      <a:pt x="83" y="0"/>
                      <a:pt x="88" y="1"/>
                      <a:pt x="92" y="2"/>
                    </a:cubicBezTo>
                    <a:cubicBezTo>
                      <a:pt x="96" y="3"/>
                      <a:pt x="100" y="5"/>
                      <a:pt x="104" y="7"/>
                    </a:cubicBezTo>
                    <a:cubicBezTo>
                      <a:pt x="107" y="10"/>
                      <a:pt x="110" y="13"/>
                      <a:pt x="113" y="16"/>
                    </a:cubicBezTo>
                    <a:cubicBezTo>
                      <a:pt x="115" y="20"/>
                      <a:pt x="117" y="24"/>
                      <a:pt x="119" y="28"/>
                    </a:cubicBezTo>
                    <a:cubicBezTo>
                      <a:pt x="125" y="18"/>
                      <a:pt x="132" y="11"/>
                      <a:pt x="140" y="7"/>
                    </a:cubicBezTo>
                    <a:cubicBezTo>
                      <a:pt x="147" y="2"/>
                      <a:pt x="157" y="0"/>
                      <a:pt x="167" y="0"/>
                    </a:cubicBezTo>
                    <a:cubicBezTo>
                      <a:pt x="182"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11" name="Group 110"/>
            <p:cNvGrpSpPr/>
            <p:nvPr/>
          </p:nvGrpSpPr>
          <p:grpSpPr bwMode="black">
            <a:xfrm>
              <a:off x="3754836" y="3089263"/>
              <a:ext cx="1230581" cy="245111"/>
              <a:chOff x="4381738" y="6174707"/>
              <a:chExt cx="1235264" cy="254570"/>
            </a:xfrm>
            <a:grpFill/>
            <a:effectLst/>
          </p:grpSpPr>
          <p:sp>
            <p:nvSpPr>
              <p:cNvPr id="162" name="Freeform 5"/>
              <p:cNvSpPr>
                <a:spLocks noEditPoints="1"/>
              </p:cNvSpPr>
              <p:nvPr/>
            </p:nvSpPr>
            <p:spPr bwMode="black">
              <a:xfrm>
                <a:off x="5494268" y="6226972"/>
                <a:ext cx="122734" cy="148573"/>
              </a:xfrm>
              <a:custGeom>
                <a:avLst/>
                <a:gdLst/>
                <a:ahLst/>
                <a:cxnLst>
                  <a:cxn ang="0">
                    <a:pos x="372" y="102"/>
                  </a:cxn>
                  <a:cxn ang="0">
                    <a:pos x="372" y="278"/>
                  </a:cxn>
                  <a:cxn ang="0">
                    <a:pos x="136" y="238"/>
                  </a:cxn>
                  <a:cxn ang="0">
                    <a:pos x="148" y="122"/>
                  </a:cxn>
                  <a:cxn ang="0">
                    <a:pos x="372" y="102"/>
                  </a:cxn>
                  <a:cxn ang="0">
                    <a:pos x="32" y="210"/>
                  </a:cxn>
                  <a:cxn ang="0">
                    <a:pos x="176" y="346"/>
                  </a:cxn>
                  <a:cxn ang="0">
                    <a:pos x="0" y="562"/>
                  </a:cxn>
                  <a:cxn ang="0">
                    <a:pos x="108" y="562"/>
                  </a:cxn>
                  <a:cxn ang="0">
                    <a:pos x="372" y="358"/>
                  </a:cxn>
                  <a:cxn ang="0">
                    <a:pos x="372" y="562"/>
                  </a:cxn>
                  <a:cxn ang="0">
                    <a:pos x="464" y="562"/>
                  </a:cxn>
                  <a:cxn ang="0">
                    <a:pos x="464" y="26"/>
                  </a:cxn>
                  <a:cxn ang="0">
                    <a:pos x="32" y="210"/>
                  </a:cxn>
                </a:cxnLst>
                <a:rect l="0" t="0" r="r" b="b"/>
                <a:pathLst>
                  <a:path w="464" h="562">
                    <a:moveTo>
                      <a:pt x="372" y="102"/>
                    </a:moveTo>
                    <a:cubicBezTo>
                      <a:pt x="372" y="161"/>
                      <a:pt x="372" y="219"/>
                      <a:pt x="372" y="278"/>
                    </a:cubicBezTo>
                    <a:cubicBezTo>
                      <a:pt x="292" y="274"/>
                      <a:pt x="171" y="291"/>
                      <a:pt x="136" y="238"/>
                    </a:cubicBezTo>
                    <a:cubicBezTo>
                      <a:pt x="115" y="206"/>
                      <a:pt x="117" y="148"/>
                      <a:pt x="148" y="122"/>
                    </a:cubicBezTo>
                    <a:cubicBezTo>
                      <a:pt x="193" y="83"/>
                      <a:pt x="291" y="111"/>
                      <a:pt x="372" y="102"/>
                    </a:cubicBezTo>
                    <a:close/>
                    <a:moveTo>
                      <a:pt x="32" y="210"/>
                    </a:moveTo>
                    <a:cubicBezTo>
                      <a:pt x="41" y="280"/>
                      <a:pt x="103" y="335"/>
                      <a:pt x="176" y="346"/>
                    </a:cubicBezTo>
                    <a:cubicBezTo>
                      <a:pt x="86" y="387"/>
                      <a:pt x="56" y="487"/>
                      <a:pt x="0" y="562"/>
                    </a:cubicBezTo>
                    <a:cubicBezTo>
                      <a:pt x="36" y="562"/>
                      <a:pt x="72" y="562"/>
                      <a:pt x="108" y="562"/>
                    </a:cubicBezTo>
                    <a:cubicBezTo>
                      <a:pt x="182" y="482"/>
                      <a:pt x="197" y="323"/>
                      <a:pt x="372" y="358"/>
                    </a:cubicBezTo>
                    <a:cubicBezTo>
                      <a:pt x="372" y="426"/>
                      <a:pt x="372" y="494"/>
                      <a:pt x="372" y="562"/>
                    </a:cubicBezTo>
                    <a:cubicBezTo>
                      <a:pt x="403" y="562"/>
                      <a:pt x="433" y="562"/>
                      <a:pt x="464" y="562"/>
                    </a:cubicBezTo>
                    <a:cubicBezTo>
                      <a:pt x="464" y="383"/>
                      <a:pt x="464" y="205"/>
                      <a:pt x="464" y="26"/>
                    </a:cubicBezTo>
                    <a:cubicBezTo>
                      <a:pt x="257" y="19"/>
                      <a:pt x="4" y="0"/>
                      <a:pt x="32" y="21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63" name="Freeform 6"/>
              <p:cNvSpPr>
                <a:spLocks noEditPoints="1"/>
              </p:cNvSpPr>
              <p:nvPr/>
            </p:nvSpPr>
            <p:spPr bwMode="black">
              <a:xfrm>
                <a:off x="5044147" y="6233725"/>
                <a:ext cx="149160" cy="181752"/>
              </a:xfrm>
              <a:custGeom>
                <a:avLst/>
                <a:gdLst/>
                <a:ahLst/>
                <a:cxnLst>
                  <a:cxn ang="0">
                    <a:pos x="412" y="76"/>
                  </a:cxn>
                  <a:cxn ang="0">
                    <a:pos x="412" y="460"/>
                  </a:cxn>
                  <a:cxn ang="0">
                    <a:pos x="136" y="460"/>
                  </a:cxn>
                  <a:cxn ang="0">
                    <a:pos x="216" y="76"/>
                  </a:cxn>
                  <a:cxn ang="0">
                    <a:pos x="412" y="76"/>
                  </a:cxn>
                  <a:cxn ang="0">
                    <a:pos x="140" y="0"/>
                  </a:cxn>
                  <a:cxn ang="0">
                    <a:pos x="44" y="460"/>
                  </a:cxn>
                  <a:cxn ang="0">
                    <a:pos x="0" y="460"/>
                  </a:cxn>
                  <a:cxn ang="0">
                    <a:pos x="0" y="688"/>
                  </a:cxn>
                  <a:cxn ang="0">
                    <a:pos x="76" y="688"/>
                  </a:cxn>
                  <a:cxn ang="0">
                    <a:pos x="76" y="536"/>
                  </a:cxn>
                  <a:cxn ang="0">
                    <a:pos x="488" y="540"/>
                  </a:cxn>
                  <a:cxn ang="0">
                    <a:pos x="488" y="688"/>
                  </a:cxn>
                  <a:cxn ang="0">
                    <a:pos x="564" y="688"/>
                  </a:cxn>
                  <a:cxn ang="0">
                    <a:pos x="564" y="460"/>
                  </a:cxn>
                  <a:cxn ang="0">
                    <a:pos x="504" y="456"/>
                  </a:cxn>
                  <a:cxn ang="0">
                    <a:pos x="504" y="0"/>
                  </a:cxn>
                  <a:cxn ang="0">
                    <a:pos x="140" y="0"/>
                  </a:cxn>
                </a:cxnLst>
                <a:rect l="0" t="0" r="r" b="b"/>
                <a:pathLst>
                  <a:path w="564" h="688">
                    <a:moveTo>
                      <a:pt x="412" y="76"/>
                    </a:moveTo>
                    <a:cubicBezTo>
                      <a:pt x="412" y="204"/>
                      <a:pt x="412" y="332"/>
                      <a:pt x="412" y="460"/>
                    </a:cubicBezTo>
                    <a:cubicBezTo>
                      <a:pt x="320" y="460"/>
                      <a:pt x="228" y="460"/>
                      <a:pt x="136" y="460"/>
                    </a:cubicBezTo>
                    <a:cubicBezTo>
                      <a:pt x="190" y="360"/>
                      <a:pt x="211" y="226"/>
                      <a:pt x="216" y="76"/>
                    </a:cubicBezTo>
                    <a:cubicBezTo>
                      <a:pt x="281" y="76"/>
                      <a:pt x="347" y="76"/>
                      <a:pt x="412" y="76"/>
                    </a:cubicBezTo>
                    <a:close/>
                    <a:moveTo>
                      <a:pt x="140" y="0"/>
                    </a:moveTo>
                    <a:cubicBezTo>
                      <a:pt x="139" y="184"/>
                      <a:pt x="127" y="358"/>
                      <a:pt x="44" y="460"/>
                    </a:cubicBezTo>
                    <a:cubicBezTo>
                      <a:pt x="29" y="460"/>
                      <a:pt x="15" y="460"/>
                      <a:pt x="0" y="460"/>
                    </a:cubicBezTo>
                    <a:cubicBezTo>
                      <a:pt x="0" y="536"/>
                      <a:pt x="0" y="612"/>
                      <a:pt x="0" y="688"/>
                    </a:cubicBezTo>
                    <a:cubicBezTo>
                      <a:pt x="25" y="688"/>
                      <a:pt x="51" y="688"/>
                      <a:pt x="76" y="688"/>
                    </a:cubicBezTo>
                    <a:cubicBezTo>
                      <a:pt x="76" y="637"/>
                      <a:pt x="76" y="587"/>
                      <a:pt x="76" y="536"/>
                    </a:cubicBezTo>
                    <a:cubicBezTo>
                      <a:pt x="212" y="539"/>
                      <a:pt x="359" y="531"/>
                      <a:pt x="488" y="540"/>
                    </a:cubicBezTo>
                    <a:cubicBezTo>
                      <a:pt x="488" y="589"/>
                      <a:pt x="488" y="639"/>
                      <a:pt x="488" y="688"/>
                    </a:cubicBezTo>
                    <a:cubicBezTo>
                      <a:pt x="513" y="688"/>
                      <a:pt x="539" y="688"/>
                      <a:pt x="564" y="688"/>
                    </a:cubicBezTo>
                    <a:cubicBezTo>
                      <a:pt x="564" y="612"/>
                      <a:pt x="564" y="536"/>
                      <a:pt x="564" y="460"/>
                    </a:cubicBezTo>
                    <a:cubicBezTo>
                      <a:pt x="545" y="457"/>
                      <a:pt x="516" y="465"/>
                      <a:pt x="504" y="456"/>
                    </a:cubicBezTo>
                    <a:cubicBezTo>
                      <a:pt x="504" y="304"/>
                      <a:pt x="504" y="152"/>
                      <a:pt x="504" y="0"/>
                    </a:cubicBezTo>
                    <a:cubicBezTo>
                      <a:pt x="383" y="0"/>
                      <a:pt x="261" y="0"/>
                      <a:pt x="140"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64" name="Freeform 7"/>
              <p:cNvSpPr>
                <a:spLocks/>
              </p:cNvSpPr>
              <p:nvPr/>
            </p:nvSpPr>
            <p:spPr bwMode="black">
              <a:xfrm>
                <a:off x="4831566" y="6233725"/>
                <a:ext cx="81627" cy="141819"/>
              </a:xfrm>
              <a:custGeom>
                <a:avLst/>
                <a:gdLst/>
                <a:ahLst/>
                <a:cxnLst>
                  <a:cxn ang="0">
                    <a:pos x="309" y="0"/>
                  </a:cxn>
                  <a:cxn ang="0">
                    <a:pos x="309" y="76"/>
                  </a:cxn>
                  <a:cxn ang="0">
                    <a:pos x="101" y="76"/>
                  </a:cxn>
                  <a:cxn ang="0">
                    <a:pos x="97" y="536"/>
                  </a:cxn>
                  <a:cxn ang="0">
                    <a:pos x="5" y="536"/>
                  </a:cxn>
                  <a:cxn ang="0">
                    <a:pos x="9" y="0"/>
                  </a:cxn>
                  <a:cxn ang="0">
                    <a:pos x="309" y="0"/>
                  </a:cxn>
                </a:cxnLst>
                <a:rect l="0" t="0" r="r" b="b"/>
                <a:pathLst>
                  <a:path w="309" h="536">
                    <a:moveTo>
                      <a:pt x="309" y="0"/>
                    </a:moveTo>
                    <a:cubicBezTo>
                      <a:pt x="309" y="25"/>
                      <a:pt x="309" y="51"/>
                      <a:pt x="309" y="76"/>
                    </a:cubicBezTo>
                    <a:cubicBezTo>
                      <a:pt x="240" y="76"/>
                      <a:pt x="170" y="76"/>
                      <a:pt x="101" y="76"/>
                    </a:cubicBezTo>
                    <a:cubicBezTo>
                      <a:pt x="92" y="221"/>
                      <a:pt x="100" y="384"/>
                      <a:pt x="97" y="536"/>
                    </a:cubicBezTo>
                    <a:cubicBezTo>
                      <a:pt x="66" y="536"/>
                      <a:pt x="36" y="536"/>
                      <a:pt x="5" y="536"/>
                    </a:cubicBezTo>
                    <a:cubicBezTo>
                      <a:pt x="8" y="359"/>
                      <a:pt x="0" y="171"/>
                      <a:pt x="9" y="0"/>
                    </a:cubicBezTo>
                    <a:cubicBezTo>
                      <a:pt x="109" y="0"/>
                      <a:pt x="209" y="0"/>
                      <a:pt x="309"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65" name="Freeform 8"/>
              <p:cNvSpPr>
                <a:spLocks/>
              </p:cNvSpPr>
              <p:nvPr/>
            </p:nvSpPr>
            <p:spPr bwMode="black">
              <a:xfrm>
                <a:off x="4517097" y="6233725"/>
                <a:ext cx="135066" cy="160611"/>
              </a:xfrm>
              <a:custGeom>
                <a:avLst/>
                <a:gdLst/>
                <a:ahLst/>
                <a:cxnLst>
                  <a:cxn ang="0">
                    <a:pos x="512" y="0"/>
                  </a:cxn>
                  <a:cxn ang="0">
                    <a:pos x="512" y="540"/>
                  </a:cxn>
                  <a:cxn ang="0">
                    <a:pos x="420" y="540"/>
                  </a:cxn>
                  <a:cxn ang="0">
                    <a:pos x="420" y="76"/>
                  </a:cxn>
                  <a:cxn ang="0">
                    <a:pos x="192" y="76"/>
                  </a:cxn>
                  <a:cxn ang="0">
                    <a:pos x="0" y="532"/>
                  </a:cxn>
                  <a:cxn ang="0">
                    <a:pos x="0" y="456"/>
                  </a:cxn>
                  <a:cxn ang="0">
                    <a:pos x="88" y="448"/>
                  </a:cxn>
                  <a:cxn ang="0">
                    <a:pos x="104" y="0"/>
                  </a:cxn>
                  <a:cxn ang="0">
                    <a:pos x="512" y="0"/>
                  </a:cxn>
                </a:cxnLst>
                <a:rect l="0" t="0" r="r" b="b"/>
                <a:pathLst>
                  <a:path w="512" h="608">
                    <a:moveTo>
                      <a:pt x="512" y="0"/>
                    </a:moveTo>
                    <a:cubicBezTo>
                      <a:pt x="512" y="180"/>
                      <a:pt x="512" y="360"/>
                      <a:pt x="512" y="540"/>
                    </a:cubicBezTo>
                    <a:cubicBezTo>
                      <a:pt x="481" y="540"/>
                      <a:pt x="451" y="540"/>
                      <a:pt x="420" y="540"/>
                    </a:cubicBezTo>
                    <a:cubicBezTo>
                      <a:pt x="420" y="385"/>
                      <a:pt x="420" y="231"/>
                      <a:pt x="420" y="76"/>
                    </a:cubicBezTo>
                    <a:cubicBezTo>
                      <a:pt x="344" y="76"/>
                      <a:pt x="268" y="76"/>
                      <a:pt x="192" y="76"/>
                    </a:cubicBezTo>
                    <a:cubicBezTo>
                      <a:pt x="172" y="270"/>
                      <a:pt x="277" y="608"/>
                      <a:pt x="0" y="532"/>
                    </a:cubicBezTo>
                    <a:cubicBezTo>
                      <a:pt x="0" y="507"/>
                      <a:pt x="0" y="481"/>
                      <a:pt x="0" y="456"/>
                    </a:cubicBezTo>
                    <a:cubicBezTo>
                      <a:pt x="33" y="457"/>
                      <a:pt x="65" y="457"/>
                      <a:pt x="88" y="448"/>
                    </a:cubicBezTo>
                    <a:cubicBezTo>
                      <a:pt x="117" y="323"/>
                      <a:pt x="88" y="138"/>
                      <a:pt x="104" y="0"/>
                    </a:cubicBezTo>
                    <a:cubicBezTo>
                      <a:pt x="240" y="0"/>
                      <a:pt x="376" y="0"/>
                      <a:pt x="512"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66" name="Freeform 9"/>
              <p:cNvSpPr>
                <a:spLocks noEditPoints="1"/>
              </p:cNvSpPr>
              <p:nvPr/>
            </p:nvSpPr>
            <p:spPr bwMode="black">
              <a:xfrm>
                <a:off x="5362432" y="6222861"/>
                <a:ext cx="143287" cy="206416"/>
              </a:xfrm>
              <a:custGeom>
                <a:avLst/>
                <a:gdLst/>
                <a:ahLst/>
                <a:cxnLst>
                  <a:cxn ang="0">
                    <a:pos x="208" y="105"/>
                  </a:cxn>
                  <a:cxn ang="0">
                    <a:pos x="348" y="437"/>
                  </a:cxn>
                  <a:cxn ang="0">
                    <a:pos x="224" y="513"/>
                  </a:cxn>
                  <a:cxn ang="0">
                    <a:pos x="112" y="169"/>
                  </a:cxn>
                  <a:cxn ang="0">
                    <a:pos x="208" y="105"/>
                  </a:cxn>
                  <a:cxn ang="0">
                    <a:pos x="208" y="589"/>
                  </a:cxn>
                  <a:cxn ang="0">
                    <a:pos x="392" y="89"/>
                  </a:cxn>
                  <a:cxn ang="0">
                    <a:pos x="152" y="45"/>
                  </a:cxn>
                  <a:cxn ang="0">
                    <a:pos x="84" y="105"/>
                  </a:cxn>
                  <a:cxn ang="0">
                    <a:pos x="84" y="41"/>
                  </a:cxn>
                  <a:cxn ang="0">
                    <a:pos x="0" y="41"/>
                  </a:cxn>
                  <a:cxn ang="0">
                    <a:pos x="0" y="781"/>
                  </a:cxn>
                  <a:cxn ang="0">
                    <a:pos x="92" y="781"/>
                  </a:cxn>
                  <a:cxn ang="0">
                    <a:pos x="92" y="525"/>
                  </a:cxn>
                  <a:cxn ang="0">
                    <a:pos x="208" y="589"/>
                  </a:cxn>
                </a:cxnLst>
                <a:rect l="0" t="0" r="r" b="b"/>
                <a:pathLst>
                  <a:path w="543" h="781">
                    <a:moveTo>
                      <a:pt x="208" y="105"/>
                    </a:moveTo>
                    <a:cubicBezTo>
                      <a:pt x="358" y="80"/>
                      <a:pt x="415" y="310"/>
                      <a:pt x="348" y="437"/>
                    </a:cubicBezTo>
                    <a:cubicBezTo>
                      <a:pt x="325" y="480"/>
                      <a:pt x="274" y="513"/>
                      <a:pt x="224" y="513"/>
                    </a:cubicBezTo>
                    <a:cubicBezTo>
                      <a:pt x="75" y="512"/>
                      <a:pt x="42" y="279"/>
                      <a:pt x="112" y="169"/>
                    </a:cubicBezTo>
                    <a:cubicBezTo>
                      <a:pt x="131" y="139"/>
                      <a:pt x="161" y="113"/>
                      <a:pt x="208" y="105"/>
                    </a:cubicBezTo>
                    <a:close/>
                    <a:moveTo>
                      <a:pt x="208" y="589"/>
                    </a:moveTo>
                    <a:cubicBezTo>
                      <a:pt x="461" y="617"/>
                      <a:pt x="543" y="244"/>
                      <a:pt x="392" y="89"/>
                    </a:cubicBezTo>
                    <a:cubicBezTo>
                      <a:pt x="348" y="44"/>
                      <a:pt x="242" y="0"/>
                      <a:pt x="152" y="45"/>
                    </a:cubicBezTo>
                    <a:cubicBezTo>
                      <a:pt x="126" y="58"/>
                      <a:pt x="105" y="92"/>
                      <a:pt x="84" y="105"/>
                    </a:cubicBezTo>
                    <a:cubicBezTo>
                      <a:pt x="84" y="84"/>
                      <a:pt x="84" y="62"/>
                      <a:pt x="84" y="41"/>
                    </a:cubicBezTo>
                    <a:cubicBezTo>
                      <a:pt x="56" y="41"/>
                      <a:pt x="28" y="41"/>
                      <a:pt x="0" y="41"/>
                    </a:cubicBezTo>
                    <a:cubicBezTo>
                      <a:pt x="0" y="288"/>
                      <a:pt x="0" y="534"/>
                      <a:pt x="0" y="781"/>
                    </a:cubicBezTo>
                    <a:cubicBezTo>
                      <a:pt x="31" y="781"/>
                      <a:pt x="61" y="781"/>
                      <a:pt x="92" y="781"/>
                    </a:cubicBezTo>
                    <a:cubicBezTo>
                      <a:pt x="92" y="696"/>
                      <a:pt x="92" y="610"/>
                      <a:pt x="92" y="525"/>
                    </a:cubicBezTo>
                    <a:cubicBezTo>
                      <a:pt x="135" y="560"/>
                      <a:pt x="154" y="583"/>
                      <a:pt x="208" y="58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67" name="Freeform 10"/>
              <p:cNvSpPr>
                <a:spLocks noEditPoints="1"/>
              </p:cNvSpPr>
              <p:nvPr/>
            </p:nvSpPr>
            <p:spPr bwMode="black">
              <a:xfrm>
                <a:off x="5201822" y="6218457"/>
                <a:ext cx="136240"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68" name="Freeform 11"/>
              <p:cNvSpPr>
                <a:spLocks noEditPoints="1"/>
              </p:cNvSpPr>
              <p:nvPr/>
            </p:nvSpPr>
            <p:spPr bwMode="black">
              <a:xfrm>
                <a:off x="4907613" y="6227559"/>
                <a:ext cx="141232" cy="161786"/>
              </a:xfrm>
              <a:custGeom>
                <a:avLst/>
                <a:gdLst/>
                <a:ahLst/>
                <a:cxnLst>
                  <a:cxn ang="0">
                    <a:pos x="245" y="92"/>
                  </a:cxn>
                  <a:cxn ang="0">
                    <a:pos x="377" y="448"/>
                  </a:cxn>
                  <a:cxn ang="0">
                    <a:pos x="137" y="420"/>
                  </a:cxn>
                  <a:cxn ang="0">
                    <a:pos x="245" y="92"/>
                  </a:cxn>
                  <a:cxn ang="0">
                    <a:pos x="61" y="116"/>
                  </a:cxn>
                  <a:cxn ang="0">
                    <a:pos x="57" y="460"/>
                  </a:cxn>
                  <a:cxn ang="0">
                    <a:pos x="485" y="448"/>
                  </a:cxn>
                  <a:cxn ang="0">
                    <a:pos x="477" y="124"/>
                  </a:cxn>
                  <a:cxn ang="0">
                    <a:pos x="229" y="16"/>
                  </a:cxn>
                  <a:cxn ang="0">
                    <a:pos x="61" y="116"/>
                  </a:cxn>
                </a:cxnLst>
                <a:rect l="0" t="0" r="r" b="b"/>
                <a:pathLst>
                  <a:path w="534" h="613">
                    <a:moveTo>
                      <a:pt x="245" y="92"/>
                    </a:moveTo>
                    <a:cubicBezTo>
                      <a:pt x="414" y="67"/>
                      <a:pt x="479" y="328"/>
                      <a:pt x="377" y="448"/>
                    </a:cubicBezTo>
                    <a:cubicBezTo>
                      <a:pt x="306" y="532"/>
                      <a:pt x="182" y="504"/>
                      <a:pt x="137" y="420"/>
                    </a:cubicBezTo>
                    <a:cubicBezTo>
                      <a:pt x="69" y="292"/>
                      <a:pt x="123" y="110"/>
                      <a:pt x="245" y="92"/>
                    </a:cubicBezTo>
                    <a:close/>
                    <a:moveTo>
                      <a:pt x="61" y="116"/>
                    </a:moveTo>
                    <a:cubicBezTo>
                      <a:pt x="19" y="181"/>
                      <a:pt x="0" y="361"/>
                      <a:pt x="57" y="460"/>
                    </a:cubicBezTo>
                    <a:cubicBezTo>
                      <a:pt x="146" y="613"/>
                      <a:pt x="405" y="609"/>
                      <a:pt x="485" y="448"/>
                    </a:cubicBezTo>
                    <a:cubicBezTo>
                      <a:pt x="534" y="350"/>
                      <a:pt x="522" y="201"/>
                      <a:pt x="477" y="124"/>
                    </a:cubicBezTo>
                    <a:cubicBezTo>
                      <a:pt x="440" y="61"/>
                      <a:pt x="351" y="0"/>
                      <a:pt x="229" y="16"/>
                    </a:cubicBezTo>
                    <a:cubicBezTo>
                      <a:pt x="150" y="26"/>
                      <a:pt x="93" y="67"/>
                      <a:pt x="61" y="11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69" name="Freeform 12"/>
              <p:cNvSpPr>
                <a:spLocks noEditPoints="1"/>
              </p:cNvSpPr>
              <p:nvPr/>
            </p:nvSpPr>
            <p:spPr bwMode="black">
              <a:xfrm>
                <a:off x="4671542" y="6218457"/>
                <a:ext cx="135947"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70" name="Freeform 13"/>
              <p:cNvSpPr>
                <a:spLocks noEditPoints="1"/>
              </p:cNvSpPr>
              <p:nvPr/>
            </p:nvSpPr>
            <p:spPr bwMode="black">
              <a:xfrm>
                <a:off x="4381738" y="6174707"/>
                <a:ext cx="150040" cy="211408"/>
              </a:xfrm>
              <a:custGeom>
                <a:avLst/>
                <a:gdLst/>
                <a:ahLst/>
                <a:cxnLst>
                  <a:cxn ang="0">
                    <a:pos x="244" y="307"/>
                  </a:cxn>
                  <a:cxn ang="0">
                    <a:pos x="288" y="699"/>
                  </a:cxn>
                  <a:cxn ang="0">
                    <a:pos x="244" y="307"/>
                  </a:cxn>
                  <a:cxn ang="0">
                    <a:pos x="432" y="3"/>
                  </a:cxn>
                  <a:cxn ang="0">
                    <a:pos x="260" y="23"/>
                  </a:cxn>
                  <a:cxn ang="0">
                    <a:pos x="8" y="439"/>
                  </a:cxn>
                  <a:cxn ang="0">
                    <a:pos x="100" y="715"/>
                  </a:cxn>
                  <a:cxn ang="0">
                    <a:pos x="388" y="747"/>
                  </a:cxn>
                  <a:cxn ang="0">
                    <a:pos x="408" y="263"/>
                  </a:cxn>
                  <a:cxn ang="0">
                    <a:pos x="164" y="251"/>
                  </a:cxn>
                  <a:cxn ang="0">
                    <a:pos x="84" y="323"/>
                  </a:cxn>
                  <a:cxn ang="0">
                    <a:pos x="148" y="143"/>
                  </a:cxn>
                  <a:cxn ang="0">
                    <a:pos x="504" y="7"/>
                  </a:cxn>
                  <a:cxn ang="0">
                    <a:pos x="432" y="3"/>
                  </a:cxn>
                </a:cxnLst>
                <a:rect l="0" t="0" r="r" b="b"/>
                <a:pathLst>
                  <a:path w="568" h="799">
                    <a:moveTo>
                      <a:pt x="244" y="307"/>
                    </a:moveTo>
                    <a:cubicBezTo>
                      <a:pt x="485" y="274"/>
                      <a:pt x="471" y="678"/>
                      <a:pt x="288" y="699"/>
                    </a:cubicBezTo>
                    <a:cubicBezTo>
                      <a:pt x="63" y="725"/>
                      <a:pt x="46" y="334"/>
                      <a:pt x="244" y="307"/>
                    </a:cubicBezTo>
                    <a:close/>
                    <a:moveTo>
                      <a:pt x="432" y="3"/>
                    </a:moveTo>
                    <a:cubicBezTo>
                      <a:pt x="406" y="36"/>
                      <a:pt x="317" y="19"/>
                      <a:pt x="260" y="23"/>
                    </a:cubicBezTo>
                    <a:cubicBezTo>
                      <a:pt x="39" y="40"/>
                      <a:pt x="0" y="201"/>
                      <a:pt x="8" y="439"/>
                    </a:cubicBezTo>
                    <a:cubicBezTo>
                      <a:pt x="12" y="559"/>
                      <a:pt x="40" y="658"/>
                      <a:pt x="100" y="715"/>
                    </a:cubicBezTo>
                    <a:cubicBezTo>
                      <a:pt x="156" y="768"/>
                      <a:pt x="292" y="799"/>
                      <a:pt x="388" y="747"/>
                    </a:cubicBezTo>
                    <a:cubicBezTo>
                      <a:pt x="541" y="665"/>
                      <a:pt x="568" y="367"/>
                      <a:pt x="408" y="263"/>
                    </a:cubicBezTo>
                    <a:cubicBezTo>
                      <a:pt x="354" y="228"/>
                      <a:pt x="246" y="206"/>
                      <a:pt x="164" y="251"/>
                    </a:cubicBezTo>
                    <a:cubicBezTo>
                      <a:pt x="131" y="270"/>
                      <a:pt x="118" y="292"/>
                      <a:pt x="84" y="323"/>
                    </a:cubicBezTo>
                    <a:cubicBezTo>
                      <a:pt x="95" y="231"/>
                      <a:pt x="96" y="181"/>
                      <a:pt x="148" y="143"/>
                    </a:cubicBezTo>
                    <a:cubicBezTo>
                      <a:pt x="254" y="66"/>
                      <a:pt x="517" y="178"/>
                      <a:pt x="504" y="7"/>
                    </a:cubicBezTo>
                    <a:cubicBezTo>
                      <a:pt x="478" y="8"/>
                      <a:pt x="460" y="0"/>
                      <a:pt x="432" y="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12" name="Group 111"/>
            <p:cNvGrpSpPr/>
            <p:nvPr/>
          </p:nvGrpSpPr>
          <p:grpSpPr bwMode="black">
            <a:xfrm>
              <a:off x="7952400" y="5217881"/>
              <a:ext cx="661303" cy="239595"/>
              <a:chOff x="11218145" y="6191686"/>
              <a:chExt cx="663815" cy="248839"/>
            </a:xfrm>
            <a:grpFill/>
            <a:effectLst/>
          </p:grpSpPr>
          <p:sp>
            <p:nvSpPr>
              <p:cNvPr id="156" name="Freeform 18"/>
              <p:cNvSpPr>
                <a:spLocks noEditPoints="1"/>
              </p:cNvSpPr>
              <p:nvPr/>
            </p:nvSpPr>
            <p:spPr bwMode="black">
              <a:xfrm>
                <a:off x="11218145" y="6205715"/>
                <a:ext cx="148048" cy="175369"/>
              </a:xfrm>
              <a:custGeom>
                <a:avLst/>
                <a:gdLst/>
                <a:ahLst/>
                <a:cxnLst>
                  <a:cxn ang="0">
                    <a:pos x="170" y="98"/>
                  </a:cxn>
                  <a:cxn ang="0">
                    <a:pos x="163" y="140"/>
                  </a:cxn>
                  <a:cxn ang="0">
                    <a:pos x="141"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1"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57" name="Freeform 19"/>
              <p:cNvSpPr>
                <a:spLocks noEditPoints="1"/>
              </p:cNvSpPr>
              <p:nvPr/>
            </p:nvSpPr>
            <p:spPr bwMode="black">
              <a:xfrm>
                <a:off x="11382068" y="6191686"/>
                <a:ext cx="114451" cy="192721"/>
              </a:xfrm>
              <a:custGeom>
                <a:avLst/>
                <a:gdLst/>
                <a:ahLst/>
                <a:cxnLst>
                  <a:cxn ang="0">
                    <a:pos x="33" y="155"/>
                  </a:cxn>
                  <a:cxn ang="0">
                    <a:pos x="45" y="185"/>
                  </a:cxn>
                  <a:cxn ang="0">
                    <a:pos x="76" y="195"/>
                  </a:cxn>
                  <a:cxn ang="0">
                    <a:pos x="100" y="191"/>
                  </a:cxn>
                  <a:cxn ang="0">
                    <a:pos x="119" y="181"/>
                  </a:cxn>
                  <a:cxn ang="0">
                    <a:pos x="119" y="209"/>
                  </a:cxn>
                  <a:cxn ang="0">
                    <a:pos x="112" y="213"/>
                  </a:cxn>
                  <a:cxn ang="0">
                    <a:pos x="100" y="216"/>
                  </a:cxn>
                  <a:cxn ang="0">
                    <a:pos x="86" y="219"/>
                  </a:cxn>
                  <a:cxn ang="0">
                    <a:pos x="68" y="221"/>
                  </a:cxn>
                  <a:cxn ang="0">
                    <a:pos x="40" y="216"/>
                  </a:cxn>
                  <a:cxn ang="0">
                    <a:pos x="18" y="202"/>
                  </a:cxn>
                  <a:cxn ang="0">
                    <a:pos x="4" y="178"/>
                  </a:cxn>
                  <a:cxn ang="0">
                    <a:pos x="0" y="147"/>
                  </a:cxn>
                  <a:cxn ang="0">
                    <a:pos x="6" y="112"/>
                  </a:cxn>
                  <a:cxn ang="0">
                    <a:pos x="22" y="88"/>
                  </a:cxn>
                  <a:cxn ang="0">
                    <a:pos x="44" y="74"/>
                  </a:cxn>
                  <a:cxn ang="0">
                    <a:pos x="68" y="70"/>
                  </a:cxn>
                  <a:cxn ang="0">
                    <a:pos x="95" y="75"/>
                  </a:cxn>
                  <a:cxn ang="0">
                    <a:pos x="115" y="89"/>
                  </a:cxn>
                  <a:cxn ang="0">
                    <a:pos x="127" y="111"/>
                  </a:cxn>
                  <a:cxn ang="0">
                    <a:pos x="131" y="139"/>
                  </a:cxn>
                  <a:cxn ang="0">
                    <a:pos x="131" y="155"/>
                  </a:cxn>
                  <a:cxn ang="0">
                    <a:pos x="33" y="155"/>
                  </a:cxn>
                  <a:cxn ang="0">
                    <a:pos x="83" y="46"/>
                  </a:cxn>
                  <a:cxn ang="0">
                    <a:pos x="55" y="46"/>
                  </a:cxn>
                  <a:cxn ang="0">
                    <a:pos x="24" y="0"/>
                  </a:cxn>
                  <a:cxn ang="0">
                    <a:pos x="46" y="0"/>
                  </a:cxn>
                  <a:cxn ang="0">
                    <a:pos x="69" y="30"/>
                  </a:cxn>
                  <a:cxn ang="0">
                    <a:pos x="92" y="0"/>
                  </a:cxn>
                  <a:cxn ang="0">
                    <a:pos x="114" y="0"/>
                  </a:cxn>
                  <a:cxn ang="0">
                    <a:pos x="83" y="46"/>
                  </a:cxn>
                  <a:cxn ang="0">
                    <a:pos x="97" y="116"/>
                  </a:cxn>
                  <a:cxn ang="0">
                    <a:pos x="91" y="105"/>
                  </a:cxn>
                  <a:cxn ang="0">
                    <a:pos x="82" y="98"/>
                  </a:cxn>
                  <a:cxn ang="0">
                    <a:pos x="68" y="95"/>
                  </a:cxn>
                  <a:cxn ang="0">
                    <a:pos x="56" y="98"/>
                  </a:cxn>
                  <a:cxn ang="0">
                    <a:pos x="45" y="105"/>
                  </a:cxn>
                  <a:cxn ang="0">
                    <a:pos x="37" y="116"/>
                  </a:cxn>
                  <a:cxn ang="0">
                    <a:pos x="33" y="130"/>
                  </a:cxn>
                  <a:cxn ang="0">
                    <a:pos x="98" y="130"/>
                  </a:cxn>
                  <a:cxn ang="0">
                    <a:pos x="97" y="116"/>
                  </a:cxn>
                </a:cxnLst>
                <a:rect l="0" t="0" r="r" b="b"/>
                <a:pathLst>
                  <a:path w="131" h="221">
                    <a:moveTo>
                      <a:pt x="33" y="155"/>
                    </a:moveTo>
                    <a:cubicBezTo>
                      <a:pt x="33" y="168"/>
                      <a:pt x="38" y="178"/>
                      <a:pt x="45" y="185"/>
                    </a:cubicBezTo>
                    <a:cubicBezTo>
                      <a:pt x="52" y="192"/>
                      <a:pt x="63" y="195"/>
                      <a:pt x="76" y="195"/>
                    </a:cubicBezTo>
                    <a:cubicBezTo>
                      <a:pt x="84" y="195"/>
                      <a:pt x="92" y="194"/>
                      <a:pt x="100" y="191"/>
                    </a:cubicBezTo>
                    <a:cubicBezTo>
                      <a:pt x="107" y="189"/>
                      <a:pt x="114" y="185"/>
                      <a:pt x="119" y="181"/>
                    </a:cubicBezTo>
                    <a:cubicBezTo>
                      <a:pt x="119" y="209"/>
                      <a:pt x="119" y="209"/>
                      <a:pt x="119" y="209"/>
                    </a:cubicBezTo>
                    <a:cubicBezTo>
                      <a:pt x="117" y="210"/>
                      <a:pt x="115" y="211"/>
                      <a:pt x="112" y="213"/>
                    </a:cubicBezTo>
                    <a:cubicBezTo>
                      <a:pt x="108" y="214"/>
                      <a:pt x="105" y="215"/>
                      <a:pt x="100" y="216"/>
                    </a:cubicBezTo>
                    <a:cubicBezTo>
                      <a:pt x="96" y="218"/>
                      <a:pt x="91" y="219"/>
                      <a:pt x="86" y="219"/>
                    </a:cubicBezTo>
                    <a:cubicBezTo>
                      <a:pt x="80" y="220"/>
                      <a:pt x="74" y="221"/>
                      <a:pt x="68" y="221"/>
                    </a:cubicBezTo>
                    <a:cubicBezTo>
                      <a:pt x="58" y="221"/>
                      <a:pt x="48" y="219"/>
                      <a:pt x="40" y="216"/>
                    </a:cubicBezTo>
                    <a:cubicBezTo>
                      <a:pt x="31" y="213"/>
                      <a:pt x="24" y="208"/>
                      <a:pt x="18" y="202"/>
                    </a:cubicBezTo>
                    <a:cubicBezTo>
                      <a:pt x="12" y="195"/>
                      <a:pt x="8" y="188"/>
                      <a:pt x="4" y="178"/>
                    </a:cubicBezTo>
                    <a:cubicBezTo>
                      <a:pt x="1" y="169"/>
                      <a:pt x="0" y="159"/>
                      <a:pt x="0" y="147"/>
                    </a:cubicBezTo>
                    <a:cubicBezTo>
                      <a:pt x="0" y="133"/>
                      <a:pt x="2" y="122"/>
                      <a:pt x="6" y="112"/>
                    </a:cubicBezTo>
                    <a:cubicBezTo>
                      <a:pt x="10" y="103"/>
                      <a:pt x="15" y="95"/>
                      <a:pt x="22" y="88"/>
                    </a:cubicBezTo>
                    <a:cubicBezTo>
                      <a:pt x="28" y="82"/>
                      <a:pt x="35" y="77"/>
                      <a:pt x="44" y="74"/>
                    </a:cubicBezTo>
                    <a:cubicBezTo>
                      <a:pt x="52" y="71"/>
                      <a:pt x="60" y="70"/>
                      <a:pt x="68" y="70"/>
                    </a:cubicBezTo>
                    <a:cubicBezTo>
                      <a:pt x="78" y="70"/>
                      <a:pt x="88" y="72"/>
                      <a:pt x="95" y="75"/>
                    </a:cubicBezTo>
                    <a:cubicBezTo>
                      <a:pt x="103" y="78"/>
                      <a:pt x="110" y="83"/>
                      <a:pt x="115" y="89"/>
                    </a:cubicBezTo>
                    <a:cubicBezTo>
                      <a:pt x="120" y="95"/>
                      <a:pt x="124" y="102"/>
                      <a:pt x="127" y="111"/>
                    </a:cubicBezTo>
                    <a:cubicBezTo>
                      <a:pt x="129" y="119"/>
                      <a:pt x="131" y="129"/>
                      <a:pt x="131" y="139"/>
                    </a:cubicBezTo>
                    <a:cubicBezTo>
                      <a:pt x="131" y="155"/>
                      <a:pt x="131" y="155"/>
                      <a:pt x="131" y="155"/>
                    </a:cubicBezTo>
                    <a:lnTo>
                      <a:pt x="33" y="155"/>
                    </a:lnTo>
                    <a:close/>
                    <a:moveTo>
                      <a:pt x="83" y="46"/>
                    </a:moveTo>
                    <a:cubicBezTo>
                      <a:pt x="55" y="46"/>
                      <a:pt x="55" y="46"/>
                      <a:pt x="55" y="46"/>
                    </a:cubicBezTo>
                    <a:cubicBezTo>
                      <a:pt x="24" y="0"/>
                      <a:pt x="24" y="0"/>
                      <a:pt x="24" y="0"/>
                    </a:cubicBezTo>
                    <a:cubicBezTo>
                      <a:pt x="46" y="0"/>
                      <a:pt x="46" y="0"/>
                      <a:pt x="46" y="0"/>
                    </a:cubicBezTo>
                    <a:cubicBezTo>
                      <a:pt x="69" y="30"/>
                      <a:pt x="69" y="30"/>
                      <a:pt x="69" y="30"/>
                    </a:cubicBezTo>
                    <a:cubicBezTo>
                      <a:pt x="92" y="0"/>
                      <a:pt x="92" y="0"/>
                      <a:pt x="92" y="0"/>
                    </a:cubicBezTo>
                    <a:cubicBezTo>
                      <a:pt x="114" y="0"/>
                      <a:pt x="114" y="0"/>
                      <a:pt x="114" y="0"/>
                    </a:cubicBezTo>
                    <a:lnTo>
                      <a:pt x="83" y="46"/>
                    </a:lnTo>
                    <a:close/>
                    <a:moveTo>
                      <a:pt x="97" y="116"/>
                    </a:moveTo>
                    <a:cubicBezTo>
                      <a:pt x="96" y="112"/>
                      <a:pt x="94" y="108"/>
                      <a:pt x="91" y="105"/>
                    </a:cubicBezTo>
                    <a:cubicBezTo>
                      <a:pt x="89" y="102"/>
                      <a:pt x="86" y="100"/>
                      <a:pt x="82" y="98"/>
                    </a:cubicBezTo>
                    <a:cubicBezTo>
                      <a:pt x="78" y="96"/>
                      <a:pt x="73" y="95"/>
                      <a:pt x="68" y="95"/>
                    </a:cubicBezTo>
                    <a:cubicBezTo>
                      <a:pt x="64" y="95"/>
                      <a:pt x="59" y="96"/>
                      <a:pt x="56" y="98"/>
                    </a:cubicBezTo>
                    <a:cubicBezTo>
                      <a:pt x="52" y="99"/>
                      <a:pt x="48" y="102"/>
                      <a:pt x="45" y="105"/>
                    </a:cubicBezTo>
                    <a:cubicBezTo>
                      <a:pt x="42" y="108"/>
                      <a:pt x="39" y="112"/>
                      <a:pt x="37" y="116"/>
                    </a:cubicBezTo>
                    <a:cubicBezTo>
                      <a:pt x="35" y="120"/>
                      <a:pt x="34" y="125"/>
                      <a:pt x="33" y="130"/>
                    </a:cubicBezTo>
                    <a:cubicBezTo>
                      <a:pt x="98" y="130"/>
                      <a:pt x="98" y="130"/>
                      <a:pt x="98" y="130"/>
                    </a:cubicBezTo>
                    <a:cubicBezTo>
                      <a:pt x="98" y="125"/>
                      <a:pt x="98" y="121"/>
                      <a:pt x="97" y="11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58" name="Freeform 20"/>
              <p:cNvSpPr>
                <a:spLocks/>
              </p:cNvSpPr>
              <p:nvPr/>
            </p:nvSpPr>
            <p:spPr bwMode="black">
              <a:xfrm>
                <a:off x="11518302" y="6195378"/>
                <a:ext cx="114820" cy="18570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59" name="Freeform 21"/>
              <p:cNvSpPr>
                <a:spLocks/>
              </p:cNvSpPr>
              <p:nvPr/>
            </p:nvSpPr>
            <p:spPr bwMode="black">
              <a:xfrm>
                <a:off x="11643828" y="6255557"/>
                <a:ext cx="111497" cy="128850"/>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1"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60" name="Freeform 22"/>
              <p:cNvSpPr>
                <a:spLocks noEditPoints="1"/>
              </p:cNvSpPr>
              <p:nvPr/>
            </p:nvSpPr>
            <p:spPr bwMode="black">
              <a:xfrm>
                <a:off x="11749418" y="6194270"/>
                <a:ext cx="70517" cy="24625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61" name="Freeform 23"/>
              <p:cNvSpPr>
                <a:spLocks noEditPoints="1"/>
              </p:cNvSpPr>
              <p:nvPr/>
            </p:nvSpPr>
            <p:spPr bwMode="black">
              <a:xfrm>
                <a:off x="11846886" y="6194270"/>
                <a:ext cx="35074" cy="186814"/>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13" name="Group 112"/>
            <p:cNvGrpSpPr/>
            <p:nvPr/>
          </p:nvGrpSpPr>
          <p:grpSpPr bwMode="black">
            <a:xfrm>
              <a:off x="4812021" y="5206181"/>
              <a:ext cx="838329" cy="251295"/>
              <a:chOff x="1471737" y="6192453"/>
              <a:chExt cx="841520" cy="260991"/>
            </a:xfrm>
            <a:grpFill/>
            <a:effectLst/>
          </p:grpSpPr>
          <p:sp>
            <p:nvSpPr>
              <p:cNvPr id="149" name="Freeform 20"/>
              <p:cNvSpPr>
                <a:spLocks noEditPoints="1"/>
              </p:cNvSpPr>
              <p:nvPr/>
            </p:nvSpPr>
            <p:spPr bwMode="black">
              <a:xfrm>
                <a:off x="1471737" y="6192453"/>
                <a:ext cx="132645" cy="207734"/>
              </a:xfrm>
              <a:custGeom>
                <a:avLst/>
                <a:gdLst/>
                <a:ahLst/>
                <a:cxnLst>
                  <a:cxn ang="0">
                    <a:pos x="170" y="163"/>
                  </a:cxn>
                  <a:cxn ang="0">
                    <a:pos x="162" y="205"/>
                  </a:cxn>
                  <a:cxn ang="0">
                    <a:pos x="140" y="238"/>
                  </a:cxn>
                  <a:cxn ang="0">
                    <a:pos x="105" y="259"/>
                  </a:cxn>
                  <a:cxn ang="0">
                    <a:pos x="60" y="266"/>
                  </a:cxn>
                  <a:cxn ang="0">
                    <a:pos x="0" y="266"/>
                  </a:cxn>
                  <a:cxn ang="0">
                    <a:pos x="0" y="65"/>
                  </a:cxn>
                  <a:cxn ang="0">
                    <a:pos x="62" y="65"/>
                  </a:cxn>
                  <a:cxn ang="0">
                    <a:pos x="143" y="90"/>
                  </a:cxn>
                  <a:cxn ang="0">
                    <a:pos x="170" y="163"/>
                  </a:cxn>
                  <a:cxn ang="0">
                    <a:pos x="84" y="46"/>
                  </a:cxn>
                  <a:cxn ang="0">
                    <a:pos x="56" y="46"/>
                  </a:cxn>
                  <a:cxn ang="0">
                    <a:pos x="25" y="0"/>
                  </a:cxn>
                  <a:cxn ang="0">
                    <a:pos x="46" y="0"/>
                  </a:cxn>
                  <a:cxn ang="0">
                    <a:pos x="70" y="30"/>
                  </a:cxn>
                  <a:cxn ang="0">
                    <a:pos x="92" y="0"/>
                  </a:cxn>
                  <a:cxn ang="0">
                    <a:pos x="114" y="0"/>
                  </a:cxn>
                  <a:cxn ang="0">
                    <a:pos x="84" y="46"/>
                  </a:cxn>
                  <a:cxn ang="0">
                    <a:pos x="134" y="164"/>
                  </a:cxn>
                  <a:cxn ang="0">
                    <a:pos x="129" y="134"/>
                  </a:cxn>
                  <a:cxn ang="0">
                    <a:pos x="115" y="112"/>
                  </a:cxn>
                  <a:cxn ang="0">
                    <a:pos x="92" y="98"/>
                  </a:cxn>
                  <a:cxn ang="0">
                    <a:pos x="60" y="94"/>
                  </a:cxn>
                  <a:cxn ang="0">
                    <a:pos x="33" y="94"/>
                  </a:cxn>
                  <a:cxn ang="0">
                    <a:pos x="33" y="237"/>
                  </a:cxn>
                  <a:cxn ang="0">
                    <a:pos x="60" y="237"/>
                  </a:cxn>
                  <a:cxn ang="0">
                    <a:pos x="92" y="232"/>
                  </a:cxn>
                  <a:cxn ang="0">
                    <a:pos x="115" y="217"/>
                  </a:cxn>
                  <a:cxn ang="0">
                    <a:pos x="129" y="194"/>
                  </a:cxn>
                  <a:cxn ang="0">
                    <a:pos x="134" y="164"/>
                  </a:cxn>
                </a:cxnLst>
                <a:rect l="0" t="0" r="r" b="b"/>
                <a:pathLst>
                  <a:path w="170" h="266">
                    <a:moveTo>
                      <a:pt x="170" y="163"/>
                    </a:moveTo>
                    <a:cubicBezTo>
                      <a:pt x="170" y="178"/>
                      <a:pt x="167" y="193"/>
                      <a:pt x="162" y="205"/>
                    </a:cubicBezTo>
                    <a:cubicBezTo>
                      <a:pt x="157" y="218"/>
                      <a:pt x="149" y="229"/>
                      <a:pt x="140" y="238"/>
                    </a:cubicBezTo>
                    <a:cubicBezTo>
                      <a:pt x="130" y="247"/>
                      <a:pt x="119" y="254"/>
                      <a:pt x="105" y="259"/>
                    </a:cubicBezTo>
                    <a:cubicBezTo>
                      <a:pt x="92" y="264"/>
                      <a:pt x="77" y="266"/>
                      <a:pt x="60" y="266"/>
                    </a:cubicBezTo>
                    <a:cubicBezTo>
                      <a:pt x="0" y="266"/>
                      <a:pt x="0" y="266"/>
                      <a:pt x="0" y="266"/>
                    </a:cubicBezTo>
                    <a:cubicBezTo>
                      <a:pt x="0" y="65"/>
                      <a:pt x="0" y="65"/>
                      <a:pt x="0" y="65"/>
                    </a:cubicBezTo>
                    <a:cubicBezTo>
                      <a:pt x="62" y="65"/>
                      <a:pt x="62" y="65"/>
                      <a:pt x="62" y="65"/>
                    </a:cubicBezTo>
                    <a:cubicBezTo>
                      <a:pt x="98" y="65"/>
                      <a:pt x="125" y="73"/>
                      <a:pt x="143" y="90"/>
                    </a:cubicBezTo>
                    <a:cubicBezTo>
                      <a:pt x="161" y="106"/>
                      <a:pt x="170" y="131"/>
                      <a:pt x="170" y="163"/>
                    </a:cubicBezTo>
                    <a:close/>
                    <a:moveTo>
                      <a:pt x="84" y="46"/>
                    </a:moveTo>
                    <a:cubicBezTo>
                      <a:pt x="56" y="46"/>
                      <a:pt x="56" y="46"/>
                      <a:pt x="56" y="46"/>
                    </a:cubicBezTo>
                    <a:cubicBezTo>
                      <a:pt x="25" y="0"/>
                      <a:pt x="25" y="0"/>
                      <a:pt x="25" y="0"/>
                    </a:cubicBezTo>
                    <a:cubicBezTo>
                      <a:pt x="46" y="0"/>
                      <a:pt x="46" y="0"/>
                      <a:pt x="46" y="0"/>
                    </a:cubicBezTo>
                    <a:cubicBezTo>
                      <a:pt x="70" y="30"/>
                      <a:pt x="70" y="30"/>
                      <a:pt x="70" y="30"/>
                    </a:cubicBezTo>
                    <a:cubicBezTo>
                      <a:pt x="92" y="0"/>
                      <a:pt x="92" y="0"/>
                      <a:pt x="92" y="0"/>
                    </a:cubicBezTo>
                    <a:cubicBezTo>
                      <a:pt x="114" y="0"/>
                      <a:pt x="114" y="0"/>
                      <a:pt x="114" y="0"/>
                    </a:cubicBezTo>
                    <a:lnTo>
                      <a:pt x="84" y="46"/>
                    </a:lnTo>
                    <a:close/>
                    <a:moveTo>
                      <a:pt x="134" y="164"/>
                    </a:moveTo>
                    <a:cubicBezTo>
                      <a:pt x="134" y="152"/>
                      <a:pt x="133" y="142"/>
                      <a:pt x="129" y="134"/>
                    </a:cubicBezTo>
                    <a:cubicBezTo>
                      <a:pt x="126" y="125"/>
                      <a:pt x="122" y="118"/>
                      <a:pt x="115" y="112"/>
                    </a:cubicBezTo>
                    <a:cubicBezTo>
                      <a:pt x="109" y="106"/>
                      <a:pt x="101" y="101"/>
                      <a:pt x="92" y="98"/>
                    </a:cubicBezTo>
                    <a:cubicBezTo>
                      <a:pt x="83" y="95"/>
                      <a:pt x="72" y="94"/>
                      <a:pt x="60" y="94"/>
                    </a:cubicBezTo>
                    <a:cubicBezTo>
                      <a:pt x="33" y="94"/>
                      <a:pt x="33" y="94"/>
                      <a:pt x="33" y="94"/>
                    </a:cubicBezTo>
                    <a:cubicBezTo>
                      <a:pt x="33" y="237"/>
                      <a:pt x="33" y="237"/>
                      <a:pt x="33" y="237"/>
                    </a:cubicBezTo>
                    <a:cubicBezTo>
                      <a:pt x="60" y="237"/>
                      <a:pt x="60" y="237"/>
                      <a:pt x="60" y="237"/>
                    </a:cubicBezTo>
                    <a:cubicBezTo>
                      <a:pt x="72" y="237"/>
                      <a:pt x="83" y="236"/>
                      <a:pt x="92" y="232"/>
                    </a:cubicBezTo>
                    <a:cubicBezTo>
                      <a:pt x="101" y="229"/>
                      <a:pt x="109" y="224"/>
                      <a:pt x="115" y="217"/>
                    </a:cubicBezTo>
                    <a:cubicBezTo>
                      <a:pt x="121" y="211"/>
                      <a:pt x="126" y="203"/>
                      <a:pt x="129" y="194"/>
                    </a:cubicBezTo>
                    <a:cubicBezTo>
                      <a:pt x="133" y="185"/>
                      <a:pt x="134" y="175"/>
                      <a:pt x="134" y="16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50" name="Freeform 21"/>
              <p:cNvSpPr>
                <a:spLocks noEditPoints="1"/>
              </p:cNvSpPr>
              <p:nvPr/>
            </p:nvSpPr>
            <p:spPr bwMode="black">
              <a:xfrm>
                <a:off x="1616291" y="6285404"/>
                <a:ext cx="94274" cy="117760"/>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51" name="Freeform 22"/>
              <p:cNvSpPr>
                <a:spLocks/>
              </p:cNvSpPr>
              <p:nvPr/>
            </p:nvSpPr>
            <p:spPr bwMode="black">
              <a:xfrm>
                <a:off x="1735043" y="6233801"/>
                <a:ext cx="102875" cy="1663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52" name="Freeform 23"/>
              <p:cNvSpPr>
                <a:spLocks/>
              </p:cNvSpPr>
              <p:nvPr/>
            </p:nvSpPr>
            <p:spPr bwMode="black">
              <a:xfrm>
                <a:off x="1847510" y="6287720"/>
                <a:ext cx="99897" cy="115445"/>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53" name="Freeform 24"/>
              <p:cNvSpPr>
                <a:spLocks noEditPoints="1"/>
              </p:cNvSpPr>
              <p:nvPr/>
            </p:nvSpPr>
            <p:spPr bwMode="black">
              <a:xfrm>
                <a:off x="1942115" y="6232809"/>
                <a:ext cx="63180" cy="22063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54" name="Freeform 25"/>
              <p:cNvSpPr>
                <a:spLocks noEditPoints="1"/>
              </p:cNvSpPr>
              <p:nvPr/>
            </p:nvSpPr>
            <p:spPr bwMode="black">
              <a:xfrm>
                <a:off x="2024150" y="6285404"/>
                <a:ext cx="102213" cy="117760"/>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8"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8" y="144"/>
                      <a:pt x="105" y="145"/>
                      <a:pt x="100" y="146"/>
                    </a:cubicBezTo>
                    <a:cubicBezTo>
                      <a:pt x="96" y="148"/>
                      <a:pt x="91" y="149"/>
                      <a:pt x="86" y="149"/>
                    </a:cubicBezTo>
                    <a:cubicBezTo>
                      <a:pt x="80" y="150"/>
                      <a:pt x="74"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8" y="0"/>
                      <a:pt x="88" y="2"/>
                      <a:pt x="96" y="5"/>
                    </a:cubicBezTo>
                    <a:cubicBezTo>
                      <a:pt x="103" y="8"/>
                      <a:pt x="110" y="13"/>
                      <a:pt x="115" y="19"/>
                    </a:cubicBezTo>
                    <a:cubicBezTo>
                      <a:pt x="120" y="25"/>
                      <a:pt x="124" y="32"/>
                      <a:pt x="127" y="41"/>
                    </a:cubicBezTo>
                    <a:cubicBezTo>
                      <a:pt x="129"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59" y="26"/>
                      <a:pt x="56" y="28"/>
                    </a:cubicBezTo>
                    <a:cubicBezTo>
                      <a:pt x="52" y="29"/>
                      <a:pt x="48" y="32"/>
                      <a:pt x="45" y="35"/>
                    </a:cubicBezTo>
                    <a:cubicBezTo>
                      <a:pt x="42" y="38"/>
                      <a:pt x="39" y="42"/>
                      <a:pt x="37" y="46"/>
                    </a:cubicBezTo>
                    <a:cubicBezTo>
                      <a:pt x="35" y="50"/>
                      <a:pt x="34" y="55"/>
                      <a:pt x="33" y="60"/>
                    </a:cubicBezTo>
                    <a:cubicBezTo>
                      <a:pt x="98" y="60"/>
                      <a:pt x="98" y="60"/>
                      <a:pt x="98" y="60"/>
                    </a:cubicBezTo>
                    <a:cubicBezTo>
                      <a:pt x="98"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55" name="Freeform 26"/>
              <p:cNvSpPr>
                <a:spLocks/>
              </p:cNvSpPr>
              <p:nvPr/>
            </p:nvSpPr>
            <p:spPr bwMode="black">
              <a:xfrm>
                <a:off x="2145879" y="6285404"/>
                <a:ext cx="167378" cy="114783"/>
              </a:xfrm>
              <a:custGeom>
                <a:avLst/>
                <a:gdLst/>
                <a:ahLst/>
                <a:cxnLst>
                  <a:cxn ang="0">
                    <a:pos x="182" y="147"/>
                  </a:cxn>
                  <a:cxn ang="0">
                    <a:pos x="182" y="66"/>
                  </a:cxn>
                  <a:cxn ang="0">
                    <a:pos x="180" y="46"/>
                  </a:cxn>
                  <a:cxn ang="0">
                    <a:pos x="174" y="34"/>
                  </a:cxn>
                  <a:cxn ang="0">
                    <a:pos x="165" y="28"/>
                  </a:cxn>
                  <a:cxn ang="0">
                    <a:pos x="153" y="26"/>
                  </a:cxn>
                  <a:cxn ang="0">
                    <a:pos x="141" y="30"/>
                  </a:cxn>
                  <a:cxn ang="0">
                    <a:pos x="132" y="38"/>
                  </a:cxn>
                  <a:cxn ang="0">
                    <a:pos x="125" y="51"/>
                  </a:cxn>
                  <a:cxn ang="0">
                    <a:pos x="123" y="66"/>
                  </a:cxn>
                  <a:cxn ang="0">
                    <a:pos x="123" y="147"/>
                  </a:cxn>
                  <a:cxn ang="0">
                    <a:pos x="91" y="147"/>
                  </a:cxn>
                  <a:cxn ang="0">
                    <a:pos x="91" y="63"/>
                  </a:cxn>
                  <a:cxn ang="0">
                    <a:pos x="89" y="46"/>
                  </a:cxn>
                  <a:cxn ang="0">
                    <a:pos x="83" y="35"/>
                  </a:cxn>
                  <a:cxn ang="0">
                    <a:pos x="74" y="28"/>
                  </a:cxn>
                  <a:cxn ang="0">
                    <a:pos x="62" y="26"/>
                  </a:cxn>
                  <a:cxn ang="0">
                    <a:pos x="50" y="29"/>
                  </a:cxn>
                  <a:cxn ang="0">
                    <a:pos x="41" y="37"/>
                  </a:cxn>
                  <a:cxn ang="0">
                    <a:pos x="35"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7" y="37"/>
                      <a:pt x="174" y="34"/>
                    </a:cubicBezTo>
                    <a:cubicBezTo>
                      <a:pt x="172" y="31"/>
                      <a:pt x="169" y="29"/>
                      <a:pt x="165" y="28"/>
                    </a:cubicBezTo>
                    <a:cubicBezTo>
                      <a:pt x="162" y="27"/>
                      <a:pt x="158" y="26"/>
                      <a:pt x="153" y="26"/>
                    </a:cubicBezTo>
                    <a:cubicBezTo>
                      <a:pt x="149" y="26"/>
                      <a:pt x="145" y="27"/>
                      <a:pt x="141" y="30"/>
                    </a:cubicBezTo>
                    <a:cubicBezTo>
                      <a:pt x="137" y="32"/>
                      <a:pt x="134" y="35"/>
                      <a:pt x="132"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7" y="41"/>
                      <a:pt x="85" y="38"/>
                      <a:pt x="83" y="35"/>
                    </a:cubicBezTo>
                    <a:cubicBezTo>
                      <a:pt x="80" y="32"/>
                      <a:pt x="78" y="30"/>
                      <a:pt x="74" y="28"/>
                    </a:cubicBezTo>
                    <a:cubicBezTo>
                      <a:pt x="71" y="27"/>
                      <a:pt x="67" y="26"/>
                      <a:pt x="62" y="26"/>
                    </a:cubicBezTo>
                    <a:cubicBezTo>
                      <a:pt x="58" y="26"/>
                      <a:pt x="54" y="27"/>
                      <a:pt x="50" y="29"/>
                    </a:cubicBezTo>
                    <a:cubicBezTo>
                      <a:pt x="47" y="31"/>
                      <a:pt x="44" y="34"/>
                      <a:pt x="41" y="37"/>
                    </a:cubicBezTo>
                    <a:cubicBezTo>
                      <a:pt x="38" y="41"/>
                      <a:pt x="36" y="45"/>
                      <a:pt x="35"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60" y="2"/>
                      <a:pt x="68" y="0"/>
                      <a:pt x="78" y="0"/>
                    </a:cubicBezTo>
                    <a:cubicBezTo>
                      <a:pt x="83" y="0"/>
                      <a:pt x="88" y="1"/>
                      <a:pt x="92" y="2"/>
                    </a:cubicBezTo>
                    <a:cubicBezTo>
                      <a:pt x="96" y="3"/>
                      <a:pt x="100" y="5"/>
                      <a:pt x="104" y="7"/>
                    </a:cubicBezTo>
                    <a:cubicBezTo>
                      <a:pt x="107" y="10"/>
                      <a:pt x="110" y="13"/>
                      <a:pt x="113" y="16"/>
                    </a:cubicBezTo>
                    <a:cubicBezTo>
                      <a:pt x="116" y="20"/>
                      <a:pt x="118" y="24"/>
                      <a:pt x="119" y="28"/>
                    </a:cubicBezTo>
                    <a:cubicBezTo>
                      <a:pt x="125" y="18"/>
                      <a:pt x="132" y="11"/>
                      <a:pt x="140" y="7"/>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14" name="Group 113"/>
            <p:cNvGrpSpPr/>
            <p:nvPr/>
          </p:nvGrpSpPr>
          <p:grpSpPr bwMode="black">
            <a:xfrm>
              <a:off x="8172360" y="2514600"/>
              <a:ext cx="556545" cy="346677"/>
              <a:chOff x="2481885" y="4360116"/>
              <a:chExt cx="558662" cy="360056"/>
            </a:xfrm>
            <a:grpFill/>
            <a:effectLst/>
          </p:grpSpPr>
          <p:sp>
            <p:nvSpPr>
              <p:cNvPr id="142" name="Freeform 21"/>
              <p:cNvSpPr>
                <a:spLocks/>
              </p:cNvSpPr>
              <p:nvPr/>
            </p:nvSpPr>
            <p:spPr bwMode="black">
              <a:xfrm>
                <a:off x="2481885" y="4360116"/>
                <a:ext cx="57060" cy="32954"/>
              </a:xfrm>
              <a:custGeom>
                <a:avLst/>
                <a:gdLst/>
                <a:ahLst/>
                <a:cxnLst>
                  <a:cxn ang="0">
                    <a:pos x="105" y="0"/>
                  </a:cxn>
                  <a:cxn ang="0">
                    <a:pos x="109" y="7"/>
                  </a:cxn>
                  <a:cxn ang="0">
                    <a:pos x="0" y="63"/>
                  </a:cxn>
                  <a:cxn ang="0">
                    <a:pos x="105" y="0"/>
                  </a:cxn>
                </a:cxnLst>
                <a:rect l="0" t="0" r="r" b="b"/>
                <a:pathLst>
                  <a:path w="109" h="63">
                    <a:moveTo>
                      <a:pt x="105" y="0"/>
                    </a:moveTo>
                    <a:cubicBezTo>
                      <a:pt x="109" y="3"/>
                      <a:pt x="107" y="0"/>
                      <a:pt x="109" y="7"/>
                    </a:cubicBezTo>
                    <a:cubicBezTo>
                      <a:pt x="86" y="35"/>
                      <a:pt x="38" y="52"/>
                      <a:pt x="0" y="63"/>
                    </a:cubicBezTo>
                    <a:cubicBezTo>
                      <a:pt x="7" y="20"/>
                      <a:pt x="73" y="19"/>
                      <a:pt x="105"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43" name="Freeform 22"/>
              <p:cNvSpPr>
                <a:spLocks/>
              </p:cNvSpPr>
              <p:nvPr/>
            </p:nvSpPr>
            <p:spPr bwMode="black">
              <a:xfrm>
                <a:off x="2481885" y="4385108"/>
                <a:ext cx="57503" cy="34059"/>
              </a:xfrm>
              <a:custGeom>
                <a:avLst/>
                <a:gdLst/>
                <a:ahLst/>
                <a:cxnLst>
                  <a:cxn ang="0">
                    <a:pos x="105" y="0"/>
                  </a:cxn>
                  <a:cxn ang="0">
                    <a:pos x="107" y="13"/>
                  </a:cxn>
                  <a:cxn ang="0">
                    <a:pos x="0" y="65"/>
                  </a:cxn>
                  <a:cxn ang="0">
                    <a:pos x="105" y="0"/>
                  </a:cxn>
                </a:cxnLst>
                <a:rect l="0" t="0" r="r" b="b"/>
                <a:pathLst>
                  <a:path w="110" h="65">
                    <a:moveTo>
                      <a:pt x="105" y="0"/>
                    </a:moveTo>
                    <a:cubicBezTo>
                      <a:pt x="110" y="4"/>
                      <a:pt x="110" y="7"/>
                      <a:pt x="107" y="13"/>
                    </a:cubicBezTo>
                    <a:cubicBezTo>
                      <a:pt x="94" y="38"/>
                      <a:pt x="29" y="57"/>
                      <a:pt x="0" y="65"/>
                    </a:cubicBezTo>
                    <a:cubicBezTo>
                      <a:pt x="8" y="21"/>
                      <a:pt x="74" y="21"/>
                      <a:pt x="105"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44" name="Freeform 23"/>
              <p:cNvSpPr>
                <a:spLocks/>
              </p:cNvSpPr>
              <p:nvPr/>
            </p:nvSpPr>
            <p:spPr bwMode="black">
              <a:xfrm>
                <a:off x="2500684" y="4428013"/>
                <a:ext cx="38704" cy="210991"/>
              </a:xfrm>
              <a:custGeom>
                <a:avLst/>
                <a:gdLst/>
                <a:ahLst/>
                <a:cxnLst>
                  <a:cxn ang="0">
                    <a:pos x="29" y="0"/>
                  </a:cxn>
                  <a:cxn ang="0">
                    <a:pos x="42" y="94"/>
                  </a:cxn>
                  <a:cxn ang="0">
                    <a:pos x="62" y="334"/>
                  </a:cxn>
                  <a:cxn ang="0">
                    <a:pos x="33" y="403"/>
                  </a:cxn>
                  <a:cxn ang="0">
                    <a:pos x="25" y="402"/>
                  </a:cxn>
                  <a:cxn ang="0">
                    <a:pos x="14" y="167"/>
                  </a:cxn>
                  <a:cxn ang="0">
                    <a:pos x="0" y="58"/>
                  </a:cxn>
                  <a:cxn ang="0">
                    <a:pos x="29" y="0"/>
                  </a:cxn>
                </a:cxnLst>
                <a:rect l="0" t="0" r="r" b="b"/>
                <a:pathLst>
                  <a:path w="74" h="403">
                    <a:moveTo>
                      <a:pt x="29" y="0"/>
                    </a:moveTo>
                    <a:cubicBezTo>
                      <a:pt x="33" y="32"/>
                      <a:pt x="38" y="63"/>
                      <a:pt x="42" y="94"/>
                    </a:cubicBezTo>
                    <a:cubicBezTo>
                      <a:pt x="52" y="149"/>
                      <a:pt x="74" y="272"/>
                      <a:pt x="62" y="334"/>
                    </a:cubicBezTo>
                    <a:cubicBezTo>
                      <a:pt x="56" y="362"/>
                      <a:pt x="41" y="380"/>
                      <a:pt x="33" y="403"/>
                    </a:cubicBezTo>
                    <a:cubicBezTo>
                      <a:pt x="30" y="403"/>
                      <a:pt x="28" y="402"/>
                      <a:pt x="25" y="402"/>
                    </a:cubicBezTo>
                    <a:cubicBezTo>
                      <a:pt x="29" y="321"/>
                      <a:pt x="26" y="241"/>
                      <a:pt x="14" y="167"/>
                    </a:cubicBezTo>
                    <a:cubicBezTo>
                      <a:pt x="9" y="131"/>
                      <a:pt x="5" y="94"/>
                      <a:pt x="0" y="58"/>
                    </a:cubicBezTo>
                    <a:cubicBezTo>
                      <a:pt x="10" y="39"/>
                      <a:pt x="19" y="19"/>
                      <a:pt x="29"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45" name="Freeform 24"/>
              <p:cNvSpPr>
                <a:spLocks/>
              </p:cNvSpPr>
              <p:nvPr/>
            </p:nvSpPr>
            <p:spPr bwMode="black">
              <a:xfrm>
                <a:off x="2559956" y="4430225"/>
                <a:ext cx="480591" cy="289947"/>
              </a:xfrm>
              <a:custGeom>
                <a:avLst/>
                <a:gdLst/>
                <a:ahLst/>
                <a:cxnLst>
                  <a:cxn ang="0">
                    <a:pos x="912" y="390"/>
                  </a:cxn>
                  <a:cxn ang="0">
                    <a:pos x="824" y="369"/>
                  </a:cxn>
                  <a:cxn ang="0">
                    <a:pos x="670" y="371"/>
                  </a:cxn>
                  <a:cxn ang="0">
                    <a:pos x="298" y="390"/>
                  </a:cxn>
                  <a:cxn ang="0">
                    <a:pos x="156" y="545"/>
                  </a:cxn>
                  <a:cxn ang="0">
                    <a:pos x="52" y="526"/>
                  </a:cxn>
                  <a:cxn ang="0">
                    <a:pos x="0" y="505"/>
                  </a:cxn>
                  <a:cxn ang="0">
                    <a:pos x="4" y="493"/>
                  </a:cxn>
                  <a:cxn ang="0">
                    <a:pos x="275" y="369"/>
                  </a:cxn>
                  <a:cxn ang="0">
                    <a:pos x="227" y="252"/>
                  </a:cxn>
                  <a:cxn ang="0">
                    <a:pos x="246" y="202"/>
                  </a:cxn>
                  <a:cxn ang="0">
                    <a:pos x="258" y="211"/>
                  </a:cxn>
                  <a:cxn ang="0">
                    <a:pos x="298" y="334"/>
                  </a:cxn>
                  <a:cxn ang="0">
                    <a:pos x="523" y="334"/>
                  </a:cxn>
                  <a:cxn ang="0">
                    <a:pos x="521" y="328"/>
                  </a:cxn>
                  <a:cxn ang="0">
                    <a:pos x="390" y="221"/>
                  </a:cxn>
                  <a:cxn ang="0">
                    <a:pos x="377" y="225"/>
                  </a:cxn>
                  <a:cxn ang="0">
                    <a:pos x="325" y="181"/>
                  </a:cxn>
                  <a:cxn ang="0">
                    <a:pos x="528" y="0"/>
                  </a:cxn>
                  <a:cxn ang="0">
                    <a:pos x="528" y="56"/>
                  </a:cxn>
                  <a:cxn ang="0">
                    <a:pos x="365" y="121"/>
                  </a:cxn>
                  <a:cxn ang="0">
                    <a:pos x="430" y="181"/>
                  </a:cxn>
                  <a:cxn ang="0">
                    <a:pos x="530" y="284"/>
                  </a:cxn>
                  <a:cxn ang="0">
                    <a:pos x="561" y="334"/>
                  </a:cxn>
                  <a:cxn ang="0">
                    <a:pos x="663" y="242"/>
                  </a:cxn>
                  <a:cxn ang="0">
                    <a:pos x="667" y="244"/>
                  </a:cxn>
                  <a:cxn ang="0">
                    <a:pos x="757" y="334"/>
                  </a:cxn>
                  <a:cxn ang="0">
                    <a:pos x="797" y="328"/>
                  </a:cxn>
                  <a:cxn ang="0">
                    <a:pos x="816" y="242"/>
                  </a:cxn>
                  <a:cxn ang="0">
                    <a:pos x="818" y="246"/>
                  </a:cxn>
                  <a:cxn ang="0">
                    <a:pos x="885" y="332"/>
                  </a:cxn>
                  <a:cxn ang="0">
                    <a:pos x="866" y="257"/>
                  </a:cxn>
                  <a:cxn ang="0">
                    <a:pos x="887" y="221"/>
                  </a:cxn>
                  <a:cxn ang="0">
                    <a:pos x="889" y="221"/>
                  </a:cxn>
                  <a:cxn ang="0">
                    <a:pos x="907" y="254"/>
                  </a:cxn>
                  <a:cxn ang="0">
                    <a:pos x="912" y="390"/>
                  </a:cxn>
                </a:cxnLst>
                <a:rect l="0" t="0" r="r" b="b"/>
                <a:pathLst>
                  <a:path w="919" h="554">
                    <a:moveTo>
                      <a:pt x="912" y="390"/>
                    </a:moveTo>
                    <a:cubicBezTo>
                      <a:pt x="878" y="390"/>
                      <a:pt x="837" y="390"/>
                      <a:pt x="824" y="369"/>
                    </a:cubicBezTo>
                    <a:cubicBezTo>
                      <a:pt x="794" y="405"/>
                      <a:pt x="705" y="389"/>
                      <a:pt x="670" y="371"/>
                    </a:cubicBezTo>
                    <a:cubicBezTo>
                      <a:pt x="608" y="410"/>
                      <a:pt x="398" y="390"/>
                      <a:pt x="298" y="390"/>
                    </a:cubicBezTo>
                    <a:cubicBezTo>
                      <a:pt x="298" y="458"/>
                      <a:pt x="212" y="533"/>
                      <a:pt x="156" y="545"/>
                    </a:cubicBezTo>
                    <a:cubicBezTo>
                      <a:pt x="116" y="554"/>
                      <a:pt x="78" y="536"/>
                      <a:pt x="52" y="526"/>
                    </a:cubicBezTo>
                    <a:cubicBezTo>
                      <a:pt x="35" y="519"/>
                      <a:pt x="18" y="512"/>
                      <a:pt x="0" y="505"/>
                    </a:cubicBezTo>
                    <a:cubicBezTo>
                      <a:pt x="2" y="501"/>
                      <a:pt x="3" y="497"/>
                      <a:pt x="4" y="493"/>
                    </a:cubicBezTo>
                    <a:cubicBezTo>
                      <a:pt x="124" y="533"/>
                      <a:pt x="253" y="464"/>
                      <a:pt x="275" y="369"/>
                    </a:cubicBezTo>
                    <a:cubicBezTo>
                      <a:pt x="287" y="315"/>
                      <a:pt x="246" y="277"/>
                      <a:pt x="227" y="252"/>
                    </a:cubicBezTo>
                    <a:cubicBezTo>
                      <a:pt x="233" y="235"/>
                      <a:pt x="240" y="218"/>
                      <a:pt x="246" y="202"/>
                    </a:cubicBezTo>
                    <a:cubicBezTo>
                      <a:pt x="250" y="205"/>
                      <a:pt x="254" y="208"/>
                      <a:pt x="258" y="211"/>
                    </a:cubicBezTo>
                    <a:cubicBezTo>
                      <a:pt x="277" y="251"/>
                      <a:pt x="298" y="267"/>
                      <a:pt x="298" y="334"/>
                    </a:cubicBezTo>
                    <a:cubicBezTo>
                      <a:pt x="373" y="334"/>
                      <a:pt x="448" y="334"/>
                      <a:pt x="523" y="334"/>
                    </a:cubicBezTo>
                    <a:cubicBezTo>
                      <a:pt x="522" y="332"/>
                      <a:pt x="521" y="330"/>
                      <a:pt x="521" y="328"/>
                    </a:cubicBezTo>
                    <a:cubicBezTo>
                      <a:pt x="480" y="293"/>
                      <a:pt x="449" y="237"/>
                      <a:pt x="390" y="221"/>
                    </a:cubicBezTo>
                    <a:cubicBezTo>
                      <a:pt x="384" y="229"/>
                      <a:pt x="384" y="231"/>
                      <a:pt x="377" y="225"/>
                    </a:cubicBezTo>
                    <a:cubicBezTo>
                      <a:pt x="356" y="216"/>
                      <a:pt x="339" y="196"/>
                      <a:pt x="325" y="181"/>
                    </a:cubicBezTo>
                    <a:cubicBezTo>
                      <a:pt x="324" y="59"/>
                      <a:pt x="436" y="25"/>
                      <a:pt x="528" y="0"/>
                    </a:cubicBezTo>
                    <a:cubicBezTo>
                      <a:pt x="528" y="19"/>
                      <a:pt x="528" y="37"/>
                      <a:pt x="528" y="56"/>
                    </a:cubicBezTo>
                    <a:cubicBezTo>
                      <a:pt x="488" y="65"/>
                      <a:pt x="387" y="95"/>
                      <a:pt x="365" y="121"/>
                    </a:cubicBezTo>
                    <a:cubicBezTo>
                      <a:pt x="371" y="148"/>
                      <a:pt x="411" y="166"/>
                      <a:pt x="430" y="181"/>
                    </a:cubicBezTo>
                    <a:cubicBezTo>
                      <a:pt x="467" y="209"/>
                      <a:pt x="503" y="246"/>
                      <a:pt x="530" y="284"/>
                    </a:cubicBezTo>
                    <a:cubicBezTo>
                      <a:pt x="540" y="301"/>
                      <a:pt x="551" y="318"/>
                      <a:pt x="561" y="334"/>
                    </a:cubicBezTo>
                    <a:cubicBezTo>
                      <a:pt x="684" y="337"/>
                      <a:pt x="635" y="316"/>
                      <a:pt x="663" y="242"/>
                    </a:cubicBezTo>
                    <a:cubicBezTo>
                      <a:pt x="664" y="243"/>
                      <a:pt x="665" y="243"/>
                      <a:pt x="667" y="244"/>
                    </a:cubicBezTo>
                    <a:cubicBezTo>
                      <a:pt x="674" y="294"/>
                      <a:pt x="696" y="334"/>
                      <a:pt x="757" y="334"/>
                    </a:cubicBezTo>
                    <a:cubicBezTo>
                      <a:pt x="772" y="334"/>
                      <a:pt x="788" y="335"/>
                      <a:pt x="797" y="328"/>
                    </a:cubicBezTo>
                    <a:cubicBezTo>
                      <a:pt x="814" y="317"/>
                      <a:pt x="809" y="263"/>
                      <a:pt x="816" y="242"/>
                    </a:cubicBezTo>
                    <a:cubicBezTo>
                      <a:pt x="817" y="243"/>
                      <a:pt x="818" y="245"/>
                      <a:pt x="818" y="246"/>
                    </a:cubicBezTo>
                    <a:cubicBezTo>
                      <a:pt x="831" y="274"/>
                      <a:pt x="834" y="354"/>
                      <a:pt x="885" y="332"/>
                    </a:cubicBezTo>
                    <a:cubicBezTo>
                      <a:pt x="914" y="318"/>
                      <a:pt x="877" y="266"/>
                      <a:pt x="866" y="257"/>
                    </a:cubicBezTo>
                    <a:cubicBezTo>
                      <a:pt x="873" y="245"/>
                      <a:pt x="880" y="233"/>
                      <a:pt x="887" y="221"/>
                    </a:cubicBezTo>
                    <a:cubicBezTo>
                      <a:pt x="888" y="221"/>
                      <a:pt x="889" y="221"/>
                      <a:pt x="889" y="221"/>
                    </a:cubicBezTo>
                    <a:cubicBezTo>
                      <a:pt x="895" y="232"/>
                      <a:pt x="901" y="243"/>
                      <a:pt x="907" y="254"/>
                    </a:cubicBezTo>
                    <a:cubicBezTo>
                      <a:pt x="919" y="288"/>
                      <a:pt x="912" y="346"/>
                      <a:pt x="912" y="39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46" name="Freeform 25"/>
              <p:cNvSpPr>
                <a:spLocks/>
              </p:cNvSpPr>
              <p:nvPr/>
            </p:nvSpPr>
            <p:spPr bwMode="black">
              <a:xfrm>
                <a:off x="2949648" y="4436418"/>
                <a:ext cx="39146" cy="38262"/>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7" y="41"/>
                      <a:pt x="59" y="57"/>
                      <a:pt x="50" y="73"/>
                    </a:cubicBezTo>
                    <a:cubicBezTo>
                      <a:pt x="34" y="64"/>
                      <a:pt x="17"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47" name="Freeform 26"/>
              <p:cNvSpPr>
                <a:spLocks/>
              </p:cNvSpPr>
              <p:nvPr/>
            </p:nvSpPr>
            <p:spPr bwMode="black">
              <a:xfrm>
                <a:off x="2981938" y="4466275"/>
                <a:ext cx="39367" cy="38262"/>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6" y="41"/>
                      <a:pt x="58" y="57"/>
                      <a:pt x="50"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48" name="Freeform 27"/>
              <p:cNvSpPr>
                <a:spLocks/>
              </p:cNvSpPr>
              <p:nvPr/>
            </p:nvSpPr>
            <p:spPr bwMode="black">
              <a:xfrm>
                <a:off x="2943898" y="4481535"/>
                <a:ext cx="39146" cy="3804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15" name="Group 114"/>
            <p:cNvGrpSpPr/>
            <p:nvPr/>
          </p:nvGrpSpPr>
          <p:grpSpPr bwMode="black">
            <a:xfrm>
              <a:off x="9182430" y="2598431"/>
              <a:ext cx="647370" cy="179015"/>
              <a:chOff x="6791943" y="4414224"/>
              <a:chExt cx="649833" cy="185924"/>
            </a:xfrm>
            <a:grpFill/>
            <a:effectLst/>
          </p:grpSpPr>
          <p:sp>
            <p:nvSpPr>
              <p:cNvPr id="136" name="Freeform 22"/>
              <p:cNvSpPr>
                <a:spLocks/>
              </p:cNvSpPr>
              <p:nvPr/>
            </p:nvSpPr>
            <p:spPr bwMode="black">
              <a:xfrm>
                <a:off x="6791943" y="4422166"/>
                <a:ext cx="145129" cy="177982"/>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7" y="0"/>
                  </a:cxn>
                  <a:cxn ang="0">
                    <a:pos x="126" y="1"/>
                  </a:cxn>
                  <a:cxn ang="0">
                    <a:pos x="142" y="4"/>
                  </a:cxn>
                  <a:cxn ang="0">
                    <a:pos x="155" y="7"/>
                  </a:cxn>
                  <a:cxn ang="0">
                    <a:pos x="164" y="11"/>
                  </a:cxn>
                  <a:cxn ang="0">
                    <a:pos x="164" y="45"/>
                  </a:cxn>
                  <a:cxn ang="0">
                    <a:pos x="153" y="39"/>
                  </a:cxn>
                  <a:cxn ang="0">
                    <a:pos x="139" y="34"/>
                  </a:cxn>
                  <a:cxn ang="0">
                    <a:pos x="123" y="31"/>
                  </a:cxn>
                  <a:cxn ang="0">
                    <a:pos x="105" y="29"/>
                  </a:cxn>
                  <a:cxn ang="0">
                    <a:pos x="78" y="35"/>
                  </a:cxn>
                  <a:cxn ang="0">
                    <a:pos x="56" y="50"/>
                  </a:cxn>
                  <a:cxn ang="0">
                    <a:pos x="41" y="73"/>
                  </a:cxn>
                  <a:cxn ang="0">
                    <a:pos x="35" y="105"/>
                  </a:cxn>
                  <a:cxn ang="0">
                    <a:pos x="40" y="138"/>
                  </a:cxn>
                  <a:cxn ang="0">
                    <a:pos x="54"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7" y="2"/>
                      <a:pt x="97" y="0"/>
                      <a:pt x="107"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5" y="29"/>
                    </a:cubicBezTo>
                    <a:cubicBezTo>
                      <a:pt x="96" y="29"/>
                      <a:pt x="87" y="31"/>
                      <a:pt x="78" y="35"/>
                    </a:cubicBezTo>
                    <a:cubicBezTo>
                      <a:pt x="69" y="38"/>
                      <a:pt x="62" y="43"/>
                      <a:pt x="56" y="50"/>
                    </a:cubicBezTo>
                    <a:cubicBezTo>
                      <a:pt x="49" y="56"/>
                      <a:pt x="44" y="64"/>
                      <a:pt x="41" y="73"/>
                    </a:cubicBezTo>
                    <a:cubicBezTo>
                      <a:pt x="37" y="83"/>
                      <a:pt x="35" y="93"/>
                      <a:pt x="35" y="105"/>
                    </a:cubicBezTo>
                    <a:cubicBezTo>
                      <a:pt x="35" y="118"/>
                      <a:pt x="37" y="129"/>
                      <a:pt x="40" y="138"/>
                    </a:cubicBezTo>
                    <a:cubicBezTo>
                      <a:pt x="44" y="148"/>
                      <a:pt x="48" y="155"/>
                      <a:pt x="54" y="161"/>
                    </a:cubicBezTo>
                    <a:cubicBezTo>
                      <a:pt x="60"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37" name="Freeform 23"/>
              <p:cNvSpPr>
                <a:spLocks/>
              </p:cNvSpPr>
              <p:nvPr/>
            </p:nvSpPr>
            <p:spPr bwMode="black">
              <a:xfrm>
                <a:off x="6967037" y="4472348"/>
                <a:ext cx="70760" cy="124551"/>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38" name="Freeform 24"/>
              <p:cNvSpPr>
                <a:spLocks noEditPoints="1"/>
              </p:cNvSpPr>
              <p:nvPr/>
            </p:nvSpPr>
            <p:spPr bwMode="black">
              <a:xfrm>
                <a:off x="7042129" y="4471626"/>
                <a:ext cx="102890" cy="128522"/>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39" name="Freeform 25"/>
              <p:cNvSpPr>
                <a:spLocks/>
              </p:cNvSpPr>
              <p:nvPr/>
            </p:nvSpPr>
            <p:spPr bwMode="black">
              <a:xfrm>
                <a:off x="7155489" y="4474153"/>
                <a:ext cx="104695" cy="122746"/>
              </a:xfrm>
              <a:custGeom>
                <a:avLst/>
                <a:gdLst/>
                <a:ahLst/>
                <a:cxnLst>
                  <a:cxn ang="0">
                    <a:pos x="108" y="279"/>
                  </a:cxn>
                  <a:cxn ang="0">
                    <a:pos x="290" y="279"/>
                  </a:cxn>
                  <a:cxn ang="0">
                    <a:pos x="290" y="340"/>
                  </a:cxn>
                  <a:cxn ang="0">
                    <a:pos x="0" y="340"/>
                  </a:cxn>
                  <a:cxn ang="0">
                    <a:pos x="0" y="314"/>
                  </a:cxn>
                  <a:cxn ang="0">
                    <a:pos x="184" y="61"/>
                  </a:cxn>
                  <a:cxn ang="0">
                    <a:pos x="19" y="61"/>
                  </a:cxn>
                  <a:cxn ang="0">
                    <a:pos x="19" y="0"/>
                  </a:cxn>
                  <a:cxn ang="0">
                    <a:pos x="290" y="0"/>
                  </a:cxn>
                  <a:cxn ang="0">
                    <a:pos x="290" y="30"/>
                  </a:cxn>
                  <a:cxn ang="0">
                    <a:pos x="108" y="279"/>
                  </a:cxn>
                </a:cxnLst>
                <a:rect l="0" t="0" r="r" b="b"/>
                <a:pathLst>
                  <a:path w="290" h="340">
                    <a:moveTo>
                      <a:pt x="108" y="279"/>
                    </a:moveTo>
                    <a:lnTo>
                      <a:pt x="290" y="279"/>
                    </a:lnTo>
                    <a:lnTo>
                      <a:pt x="290" y="340"/>
                    </a:lnTo>
                    <a:lnTo>
                      <a:pt x="0" y="340"/>
                    </a:lnTo>
                    <a:lnTo>
                      <a:pt x="0" y="314"/>
                    </a:lnTo>
                    <a:lnTo>
                      <a:pt x="184" y="61"/>
                    </a:lnTo>
                    <a:lnTo>
                      <a:pt x="19" y="61"/>
                    </a:lnTo>
                    <a:lnTo>
                      <a:pt x="19" y="0"/>
                    </a:lnTo>
                    <a:lnTo>
                      <a:pt x="290" y="0"/>
                    </a:lnTo>
                    <a:lnTo>
                      <a:pt x="290" y="30"/>
                    </a:lnTo>
                    <a:lnTo>
                      <a:pt x="108" y="27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40" name="Freeform 26"/>
              <p:cNvSpPr>
                <a:spLocks noEditPoints="1"/>
              </p:cNvSpPr>
              <p:nvPr/>
            </p:nvSpPr>
            <p:spPr bwMode="black">
              <a:xfrm>
                <a:off x="7275708" y="4414224"/>
                <a:ext cx="33936" cy="182675"/>
              </a:xfrm>
              <a:custGeom>
                <a:avLst/>
                <a:gdLst/>
                <a:ahLst/>
                <a:cxnLst>
                  <a:cxn ang="0">
                    <a:pos x="40" y="20"/>
                  </a:cxn>
                  <a:cxn ang="0">
                    <a:pos x="39"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9" y="12"/>
                  </a:cxn>
                  <a:cxn ang="0">
                    <a:pos x="40" y="20"/>
                  </a:cxn>
                  <a:cxn ang="0">
                    <a:pos x="4" y="214"/>
                  </a:cxn>
                  <a:cxn ang="0">
                    <a:pos x="4" y="70"/>
                  </a:cxn>
                  <a:cxn ang="0">
                    <a:pos x="36" y="70"/>
                  </a:cxn>
                  <a:cxn ang="0">
                    <a:pos x="36" y="214"/>
                  </a:cxn>
                  <a:cxn ang="0">
                    <a:pos x="4" y="214"/>
                  </a:cxn>
                </a:cxnLst>
                <a:rect l="0" t="0" r="r" b="b"/>
                <a:pathLst>
                  <a:path w="40" h="214">
                    <a:moveTo>
                      <a:pt x="40" y="20"/>
                    </a:moveTo>
                    <a:cubicBezTo>
                      <a:pt x="40" y="22"/>
                      <a:pt x="40" y="24"/>
                      <a:pt x="39" y="27"/>
                    </a:cubicBezTo>
                    <a:cubicBezTo>
                      <a:pt x="38" y="29"/>
                      <a:pt x="36" y="31"/>
                      <a:pt x="34" y="33"/>
                    </a:cubicBezTo>
                    <a:cubicBezTo>
                      <a:pt x="33" y="34"/>
                      <a:pt x="31"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6" y="1"/>
                      <a:pt x="28" y="2"/>
                    </a:cubicBezTo>
                    <a:cubicBezTo>
                      <a:pt x="30" y="3"/>
                      <a:pt x="33" y="4"/>
                      <a:pt x="34" y="6"/>
                    </a:cubicBezTo>
                    <a:cubicBezTo>
                      <a:pt x="36" y="8"/>
                      <a:pt x="38" y="10"/>
                      <a:pt x="39" y="12"/>
                    </a:cubicBezTo>
                    <a:cubicBezTo>
                      <a:pt x="40" y="14"/>
                      <a:pt x="40" y="17"/>
                      <a:pt x="40" y="20"/>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41" name="Freeform 27"/>
              <p:cNvSpPr>
                <a:spLocks noEditPoints="1"/>
              </p:cNvSpPr>
              <p:nvPr/>
            </p:nvSpPr>
            <p:spPr bwMode="black">
              <a:xfrm>
                <a:off x="7329499" y="4471626"/>
                <a:ext cx="112277" cy="128522"/>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16" name="Group 115"/>
            <p:cNvGrpSpPr/>
            <p:nvPr/>
          </p:nvGrpSpPr>
          <p:grpSpPr bwMode="black">
            <a:xfrm>
              <a:off x="7016417" y="5169907"/>
              <a:ext cx="715842" cy="287569"/>
              <a:chOff x="7844547" y="4357855"/>
              <a:chExt cx="718565" cy="298667"/>
            </a:xfrm>
            <a:grpFill/>
            <a:effectLst/>
          </p:grpSpPr>
          <p:sp>
            <p:nvSpPr>
              <p:cNvPr id="132" name="Freeform 18"/>
              <p:cNvSpPr>
                <a:spLocks/>
              </p:cNvSpPr>
              <p:nvPr/>
            </p:nvSpPr>
            <p:spPr bwMode="black">
              <a:xfrm>
                <a:off x="8301916" y="4357855"/>
                <a:ext cx="261196" cy="298667"/>
              </a:xfrm>
              <a:custGeom>
                <a:avLst/>
                <a:gdLst/>
                <a:ahLst/>
                <a:cxnLst>
                  <a:cxn ang="0">
                    <a:pos x="469" y="441"/>
                  </a:cxn>
                  <a:cxn ang="0">
                    <a:pos x="419" y="441"/>
                  </a:cxn>
                  <a:cxn ang="0">
                    <a:pos x="394" y="98"/>
                  </a:cxn>
                  <a:cxn ang="0">
                    <a:pos x="246" y="134"/>
                  </a:cxn>
                  <a:cxn ang="0">
                    <a:pos x="362" y="178"/>
                  </a:cxn>
                  <a:cxn ang="0">
                    <a:pos x="294" y="507"/>
                  </a:cxn>
                  <a:cxn ang="0">
                    <a:pos x="51" y="572"/>
                  </a:cxn>
                  <a:cxn ang="0">
                    <a:pos x="1" y="572"/>
                  </a:cxn>
                  <a:cxn ang="0">
                    <a:pos x="252" y="478"/>
                  </a:cxn>
                  <a:cxn ang="0">
                    <a:pos x="339" y="386"/>
                  </a:cxn>
                  <a:cxn ang="0">
                    <a:pos x="260" y="186"/>
                  </a:cxn>
                  <a:cxn ang="0">
                    <a:pos x="212" y="441"/>
                  </a:cxn>
                  <a:cxn ang="0">
                    <a:pos x="164" y="441"/>
                  </a:cxn>
                  <a:cxn ang="0">
                    <a:pos x="114" y="184"/>
                  </a:cxn>
                  <a:cxn ang="0">
                    <a:pos x="78" y="441"/>
                  </a:cxn>
                  <a:cxn ang="0">
                    <a:pos x="28" y="441"/>
                  </a:cxn>
                  <a:cxn ang="0">
                    <a:pos x="89" y="149"/>
                  </a:cxn>
                  <a:cxn ang="0">
                    <a:pos x="154" y="149"/>
                  </a:cxn>
                  <a:cxn ang="0">
                    <a:pos x="195" y="184"/>
                  </a:cxn>
                  <a:cxn ang="0">
                    <a:pos x="195" y="180"/>
                  </a:cxn>
                  <a:cxn ang="0">
                    <a:pos x="210" y="165"/>
                  </a:cxn>
                  <a:cxn ang="0">
                    <a:pos x="385" y="40"/>
                  </a:cxn>
                  <a:cxn ang="0">
                    <a:pos x="469" y="441"/>
                  </a:cxn>
                </a:cxnLst>
                <a:rect l="0" t="0" r="r" b="b"/>
                <a:pathLst>
                  <a:path w="501" h="572">
                    <a:moveTo>
                      <a:pt x="469" y="441"/>
                    </a:moveTo>
                    <a:cubicBezTo>
                      <a:pt x="453" y="441"/>
                      <a:pt x="436" y="441"/>
                      <a:pt x="419" y="441"/>
                    </a:cubicBezTo>
                    <a:cubicBezTo>
                      <a:pt x="421" y="345"/>
                      <a:pt x="436" y="150"/>
                      <a:pt x="394" y="98"/>
                    </a:cubicBezTo>
                    <a:cubicBezTo>
                      <a:pt x="362" y="56"/>
                      <a:pt x="225" y="53"/>
                      <a:pt x="246" y="134"/>
                    </a:cubicBezTo>
                    <a:cubicBezTo>
                      <a:pt x="285" y="158"/>
                      <a:pt x="332" y="139"/>
                      <a:pt x="362" y="178"/>
                    </a:cubicBezTo>
                    <a:cubicBezTo>
                      <a:pt x="436" y="278"/>
                      <a:pt x="383" y="468"/>
                      <a:pt x="294" y="507"/>
                    </a:cubicBezTo>
                    <a:cubicBezTo>
                      <a:pt x="229" y="535"/>
                      <a:pt x="52" y="488"/>
                      <a:pt x="51" y="572"/>
                    </a:cubicBezTo>
                    <a:cubicBezTo>
                      <a:pt x="34" y="572"/>
                      <a:pt x="17" y="572"/>
                      <a:pt x="1" y="572"/>
                    </a:cubicBezTo>
                    <a:cubicBezTo>
                      <a:pt x="2" y="437"/>
                      <a:pt x="141" y="502"/>
                      <a:pt x="252" y="478"/>
                    </a:cubicBezTo>
                    <a:cubicBezTo>
                      <a:pt x="301" y="467"/>
                      <a:pt x="326" y="432"/>
                      <a:pt x="339" y="386"/>
                    </a:cubicBezTo>
                    <a:cubicBezTo>
                      <a:pt x="359" y="310"/>
                      <a:pt x="354" y="161"/>
                      <a:pt x="260" y="186"/>
                    </a:cubicBezTo>
                    <a:cubicBezTo>
                      <a:pt x="188" y="205"/>
                      <a:pt x="210" y="352"/>
                      <a:pt x="212" y="441"/>
                    </a:cubicBezTo>
                    <a:cubicBezTo>
                      <a:pt x="196" y="441"/>
                      <a:pt x="180" y="441"/>
                      <a:pt x="164" y="441"/>
                    </a:cubicBezTo>
                    <a:cubicBezTo>
                      <a:pt x="165" y="373"/>
                      <a:pt x="187" y="171"/>
                      <a:pt x="114" y="184"/>
                    </a:cubicBezTo>
                    <a:cubicBezTo>
                      <a:pt x="58" y="194"/>
                      <a:pt x="76" y="370"/>
                      <a:pt x="78" y="441"/>
                    </a:cubicBezTo>
                    <a:cubicBezTo>
                      <a:pt x="61" y="441"/>
                      <a:pt x="44" y="441"/>
                      <a:pt x="28" y="441"/>
                    </a:cubicBezTo>
                    <a:cubicBezTo>
                      <a:pt x="26" y="325"/>
                      <a:pt x="0" y="181"/>
                      <a:pt x="89" y="149"/>
                    </a:cubicBezTo>
                    <a:cubicBezTo>
                      <a:pt x="107" y="143"/>
                      <a:pt x="136" y="142"/>
                      <a:pt x="154" y="149"/>
                    </a:cubicBezTo>
                    <a:cubicBezTo>
                      <a:pt x="172" y="157"/>
                      <a:pt x="181" y="173"/>
                      <a:pt x="195" y="184"/>
                    </a:cubicBezTo>
                    <a:cubicBezTo>
                      <a:pt x="195" y="183"/>
                      <a:pt x="195" y="181"/>
                      <a:pt x="195" y="180"/>
                    </a:cubicBezTo>
                    <a:cubicBezTo>
                      <a:pt x="200" y="175"/>
                      <a:pt x="205" y="170"/>
                      <a:pt x="210" y="165"/>
                    </a:cubicBezTo>
                    <a:cubicBezTo>
                      <a:pt x="138" y="64"/>
                      <a:pt x="291" y="0"/>
                      <a:pt x="385" y="40"/>
                    </a:cubicBezTo>
                    <a:cubicBezTo>
                      <a:pt x="501" y="90"/>
                      <a:pt x="471" y="279"/>
                      <a:pt x="469" y="44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33" name="Freeform 20"/>
              <p:cNvSpPr>
                <a:spLocks/>
              </p:cNvSpPr>
              <p:nvPr/>
            </p:nvSpPr>
            <p:spPr bwMode="black">
              <a:xfrm>
                <a:off x="7844547" y="4433018"/>
                <a:ext cx="175674" cy="223504"/>
              </a:xfrm>
              <a:custGeom>
                <a:avLst/>
                <a:gdLst/>
                <a:ahLst/>
                <a:cxnLst>
                  <a:cxn ang="0">
                    <a:pos x="27" y="0"/>
                  </a:cxn>
                  <a:cxn ang="0">
                    <a:pos x="258" y="0"/>
                  </a:cxn>
                  <a:cxn ang="0">
                    <a:pos x="258" y="40"/>
                  </a:cxn>
                  <a:cxn ang="0">
                    <a:pos x="192" y="40"/>
                  </a:cxn>
                  <a:cxn ang="0">
                    <a:pos x="192" y="119"/>
                  </a:cxn>
                  <a:cxn ang="0">
                    <a:pos x="302" y="286"/>
                  </a:cxn>
                  <a:cxn ang="0">
                    <a:pos x="198" y="376"/>
                  </a:cxn>
                  <a:cxn ang="0">
                    <a:pos x="50" y="428"/>
                  </a:cxn>
                  <a:cxn ang="0">
                    <a:pos x="0" y="428"/>
                  </a:cxn>
                  <a:cxn ang="0">
                    <a:pos x="246" y="301"/>
                  </a:cxn>
                  <a:cxn ang="0">
                    <a:pos x="221" y="148"/>
                  </a:cxn>
                  <a:cxn ang="0">
                    <a:pos x="215" y="149"/>
                  </a:cxn>
                  <a:cxn ang="0">
                    <a:pos x="192" y="297"/>
                  </a:cxn>
                  <a:cxn ang="0">
                    <a:pos x="142" y="297"/>
                  </a:cxn>
                  <a:cxn ang="0">
                    <a:pos x="142" y="40"/>
                  </a:cxn>
                  <a:cxn ang="0">
                    <a:pos x="77" y="40"/>
                  </a:cxn>
                  <a:cxn ang="0">
                    <a:pos x="77" y="297"/>
                  </a:cxn>
                  <a:cxn ang="0">
                    <a:pos x="27" y="297"/>
                  </a:cxn>
                  <a:cxn ang="0">
                    <a:pos x="27" y="0"/>
                  </a:cxn>
                </a:cxnLst>
                <a:rect l="0" t="0" r="r" b="b"/>
                <a:pathLst>
                  <a:path w="337" h="428">
                    <a:moveTo>
                      <a:pt x="27" y="0"/>
                    </a:moveTo>
                    <a:cubicBezTo>
                      <a:pt x="104" y="0"/>
                      <a:pt x="181" y="0"/>
                      <a:pt x="258" y="0"/>
                    </a:cubicBezTo>
                    <a:cubicBezTo>
                      <a:pt x="258" y="13"/>
                      <a:pt x="258" y="27"/>
                      <a:pt x="258" y="40"/>
                    </a:cubicBezTo>
                    <a:cubicBezTo>
                      <a:pt x="236" y="40"/>
                      <a:pt x="214" y="40"/>
                      <a:pt x="192" y="40"/>
                    </a:cubicBezTo>
                    <a:cubicBezTo>
                      <a:pt x="192" y="66"/>
                      <a:pt x="192" y="92"/>
                      <a:pt x="192" y="119"/>
                    </a:cubicBezTo>
                    <a:cubicBezTo>
                      <a:pt x="291" y="58"/>
                      <a:pt x="337" y="200"/>
                      <a:pt x="302" y="286"/>
                    </a:cubicBezTo>
                    <a:cubicBezTo>
                      <a:pt x="284" y="329"/>
                      <a:pt x="250" y="366"/>
                      <a:pt x="198" y="376"/>
                    </a:cubicBezTo>
                    <a:cubicBezTo>
                      <a:pt x="135" y="389"/>
                      <a:pt x="51" y="352"/>
                      <a:pt x="50" y="428"/>
                    </a:cubicBezTo>
                    <a:cubicBezTo>
                      <a:pt x="34" y="428"/>
                      <a:pt x="17" y="428"/>
                      <a:pt x="0" y="428"/>
                    </a:cubicBezTo>
                    <a:cubicBezTo>
                      <a:pt x="3" y="267"/>
                      <a:pt x="192" y="389"/>
                      <a:pt x="246" y="301"/>
                    </a:cubicBezTo>
                    <a:cubicBezTo>
                      <a:pt x="269" y="265"/>
                      <a:pt x="281" y="151"/>
                      <a:pt x="221" y="148"/>
                    </a:cubicBezTo>
                    <a:cubicBezTo>
                      <a:pt x="219" y="148"/>
                      <a:pt x="217" y="149"/>
                      <a:pt x="215" y="149"/>
                    </a:cubicBezTo>
                    <a:cubicBezTo>
                      <a:pt x="183" y="173"/>
                      <a:pt x="191" y="242"/>
                      <a:pt x="192" y="297"/>
                    </a:cubicBezTo>
                    <a:cubicBezTo>
                      <a:pt x="176" y="297"/>
                      <a:pt x="159" y="297"/>
                      <a:pt x="142" y="297"/>
                    </a:cubicBezTo>
                    <a:cubicBezTo>
                      <a:pt x="142" y="212"/>
                      <a:pt x="142" y="126"/>
                      <a:pt x="142" y="40"/>
                    </a:cubicBezTo>
                    <a:cubicBezTo>
                      <a:pt x="121" y="40"/>
                      <a:pt x="99" y="40"/>
                      <a:pt x="77" y="40"/>
                    </a:cubicBezTo>
                    <a:cubicBezTo>
                      <a:pt x="77" y="126"/>
                      <a:pt x="77" y="212"/>
                      <a:pt x="77" y="297"/>
                    </a:cubicBezTo>
                    <a:cubicBezTo>
                      <a:pt x="61" y="297"/>
                      <a:pt x="44" y="297"/>
                      <a:pt x="27" y="297"/>
                    </a:cubicBezTo>
                    <a:cubicBezTo>
                      <a:pt x="27" y="198"/>
                      <a:pt x="27" y="99"/>
                      <a:pt x="27"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34" name="Freeform 21"/>
              <p:cNvSpPr>
                <a:spLocks noEditPoints="1"/>
              </p:cNvSpPr>
              <p:nvPr/>
            </p:nvSpPr>
            <p:spPr bwMode="black">
              <a:xfrm>
                <a:off x="8021323" y="4423760"/>
                <a:ext cx="275744" cy="178980"/>
              </a:xfrm>
              <a:custGeom>
                <a:avLst/>
                <a:gdLst/>
                <a:ahLst/>
                <a:cxnLst>
                  <a:cxn ang="0">
                    <a:pos x="529" y="18"/>
                  </a:cxn>
                  <a:cxn ang="0">
                    <a:pos x="529" y="58"/>
                  </a:cxn>
                  <a:cxn ang="0">
                    <a:pos x="475" y="58"/>
                  </a:cxn>
                  <a:cxn ang="0">
                    <a:pos x="475" y="315"/>
                  </a:cxn>
                  <a:cxn ang="0">
                    <a:pos x="425" y="315"/>
                  </a:cxn>
                  <a:cxn ang="0">
                    <a:pos x="425" y="58"/>
                  </a:cxn>
                  <a:cxn ang="0">
                    <a:pos x="335" y="77"/>
                  </a:cxn>
                  <a:cxn ang="0">
                    <a:pos x="377" y="166"/>
                  </a:cxn>
                  <a:cxn ang="0">
                    <a:pos x="283" y="315"/>
                  </a:cxn>
                  <a:cxn ang="0">
                    <a:pos x="232" y="127"/>
                  </a:cxn>
                  <a:cxn ang="0">
                    <a:pos x="264" y="75"/>
                  </a:cxn>
                  <a:cxn ang="0">
                    <a:pos x="78" y="141"/>
                  </a:cxn>
                  <a:cxn ang="0">
                    <a:pos x="86" y="315"/>
                  </a:cxn>
                  <a:cxn ang="0">
                    <a:pos x="47" y="91"/>
                  </a:cxn>
                  <a:cxn ang="0">
                    <a:pos x="237" y="22"/>
                  </a:cxn>
                  <a:cxn ang="0">
                    <a:pos x="303" y="46"/>
                  </a:cxn>
                  <a:cxn ang="0">
                    <a:pos x="529" y="18"/>
                  </a:cxn>
                  <a:cxn ang="0">
                    <a:pos x="297" y="108"/>
                  </a:cxn>
                  <a:cxn ang="0">
                    <a:pos x="297" y="275"/>
                  </a:cxn>
                  <a:cxn ang="0">
                    <a:pos x="297" y="108"/>
                  </a:cxn>
                  <a:cxn ang="0">
                    <a:pos x="91" y="175"/>
                  </a:cxn>
                  <a:cxn ang="0">
                    <a:pos x="76" y="187"/>
                  </a:cxn>
                  <a:cxn ang="0">
                    <a:pos x="91" y="273"/>
                  </a:cxn>
                  <a:cxn ang="0">
                    <a:pos x="111" y="181"/>
                  </a:cxn>
                  <a:cxn ang="0">
                    <a:pos x="91" y="175"/>
                  </a:cxn>
                </a:cxnLst>
                <a:rect l="0" t="0" r="r" b="b"/>
                <a:pathLst>
                  <a:path w="529" h="343">
                    <a:moveTo>
                      <a:pt x="529" y="18"/>
                    </a:moveTo>
                    <a:cubicBezTo>
                      <a:pt x="529" y="31"/>
                      <a:pt x="529" y="45"/>
                      <a:pt x="529" y="58"/>
                    </a:cubicBezTo>
                    <a:cubicBezTo>
                      <a:pt x="511" y="58"/>
                      <a:pt x="493" y="58"/>
                      <a:pt x="475" y="58"/>
                    </a:cubicBezTo>
                    <a:cubicBezTo>
                      <a:pt x="475" y="144"/>
                      <a:pt x="475" y="230"/>
                      <a:pt x="475" y="315"/>
                    </a:cubicBezTo>
                    <a:cubicBezTo>
                      <a:pt x="459" y="315"/>
                      <a:pt x="442" y="315"/>
                      <a:pt x="425" y="315"/>
                    </a:cubicBezTo>
                    <a:cubicBezTo>
                      <a:pt x="425" y="230"/>
                      <a:pt x="425" y="144"/>
                      <a:pt x="425" y="58"/>
                    </a:cubicBezTo>
                    <a:cubicBezTo>
                      <a:pt x="393" y="58"/>
                      <a:pt x="354" y="62"/>
                      <a:pt x="335" y="77"/>
                    </a:cubicBezTo>
                    <a:cubicBezTo>
                      <a:pt x="354" y="103"/>
                      <a:pt x="370" y="129"/>
                      <a:pt x="377" y="166"/>
                    </a:cubicBezTo>
                    <a:cubicBezTo>
                      <a:pt x="391" y="232"/>
                      <a:pt x="359" y="334"/>
                      <a:pt x="283" y="315"/>
                    </a:cubicBezTo>
                    <a:cubicBezTo>
                      <a:pt x="218" y="299"/>
                      <a:pt x="204" y="196"/>
                      <a:pt x="232" y="127"/>
                    </a:cubicBezTo>
                    <a:cubicBezTo>
                      <a:pt x="242" y="110"/>
                      <a:pt x="253" y="93"/>
                      <a:pt x="264" y="75"/>
                    </a:cubicBezTo>
                    <a:cubicBezTo>
                      <a:pt x="187" y="49"/>
                      <a:pt x="96" y="58"/>
                      <a:pt x="78" y="141"/>
                    </a:cubicBezTo>
                    <a:cubicBezTo>
                      <a:pt x="203" y="95"/>
                      <a:pt x="212" y="343"/>
                      <a:pt x="86" y="315"/>
                    </a:cubicBezTo>
                    <a:cubicBezTo>
                      <a:pt x="0" y="296"/>
                      <a:pt x="7" y="154"/>
                      <a:pt x="47" y="91"/>
                    </a:cubicBezTo>
                    <a:cubicBezTo>
                      <a:pt x="78" y="43"/>
                      <a:pt x="152" y="0"/>
                      <a:pt x="237" y="22"/>
                    </a:cubicBezTo>
                    <a:cubicBezTo>
                      <a:pt x="259" y="30"/>
                      <a:pt x="281" y="38"/>
                      <a:pt x="303" y="46"/>
                    </a:cubicBezTo>
                    <a:cubicBezTo>
                      <a:pt x="349" y="10"/>
                      <a:pt x="447" y="17"/>
                      <a:pt x="529" y="18"/>
                    </a:cubicBezTo>
                    <a:close/>
                    <a:moveTo>
                      <a:pt x="297" y="108"/>
                    </a:moveTo>
                    <a:cubicBezTo>
                      <a:pt x="273" y="141"/>
                      <a:pt x="245" y="248"/>
                      <a:pt x="297" y="275"/>
                    </a:cubicBezTo>
                    <a:cubicBezTo>
                      <a:pt x="349" y="264"/>
                      <a:pt x="332" y="126"/>
                      <a:pt x="297" y="108"/>
                    </a:cubicBezTo>
                    <a:close/>
                    <a:moveTo>
                      <a:pt x="91" y="175"/>
                    </a:moveTo>
                    <a:cubicBezTo>
                      <a:pt x="85" y="179"/>
                      <a:pt x="80" y="180"/>
                      <a:pt x="76" y="187"/>
                    </a:cubicBezTo>
                    <a:cubicBezTo>
                      <a:pt x="55" y="208"/>
                      <a:pt x="73" y="265"/>
                      <a:pt x="91" y="273"/>
                    </a:cubicBezTo>
                    <a:cubicBezTo>
                      <a:pt x="132" y="284"/>
                      <a:pt x="139" y="196"/>
                      <a:pt x="111" y="181"/>
                    </a:cubicBezTo>
                    <a:cubicBezTo>
                      <a:pt x="105" y="176"/>
                      <a:pt x="102" y="175"/>
                      <a:pt x="91" y="1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35" name="Oval 134"/>
              <p:cNvSpPr>
                <a:spLocks noChangeAspect="1"/>
              </p:cNvSpPr>
              <p:nvPr/>
            </p:nvSpPr>
            <p:spPr bwMode="black">
              <a:xfrm>
                <a:off x="8159966" y="4376370"/>
                <a:ext cx="41897" cy="41897"/>
              </a:xfrm>
              <a:prstGeom prst="ellipse">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17" name="Group 116"/>
            <p:cNvGrpSpPr/>
            <p:nvPr/>
          </p:nvGrpSpPr>
          <p:grpSpPr bwMode="black">
            <a:xfrm>
              <a:off x="9381629" y="4215324"/>
              <a:ext cx="448171" cy="177422"/>
              <a:chOff x="4491504" y="4454449"/>
              <a:chExt cx="449878" cy="184270"/>
            </a:xfrm>
            <a:grpFill/>
            <a:effectLst/>
          </p:grpSpPr>
          <p:sp>
            <p:nvSpPr>
              <p:cNvPr id="128" name="Freeform 22"/>
              <p:cNvSpPr>
                <a:spLocks/>
              </p:cNvSpPr>
              <p:nvPr/>
            </p:nvSpPr>
            <p:spPr bwMode="black">
              <a:xfrm>
                <a:off x="4491504" y="4464526"/>
                <a:ext cx="127765" cy="170954"/>
              </a:xfrm>
              <a:custGeom>
                <a:avLst/>
                <a:gdLst/>
                <a:ahLst/>
                <a:cxnLst>
                  <a:cxn ang="0">
                    <a:pos x="218" y="69"/>
                  </a:cxn>
                  <a:cxn ang="0">
                    <a:pos x="218" y="475"/>
                  </a:cxn>
                  <a:cxn ang="0">
                    <a:pos x="137" y="475"/>
                  </a:cxn>
                  <a:cxn ang="0">
                    <a:pos x="137" y="69"/>
                  </a:cxn>
                  <a:cxn ang="0">
                    <a:pos x="0" y="69"/>
                  </a:cxn>
                  <a:cxn ang="0">
                    <a:pos x="0" y="0"/>
                  </a:cxn>
                  <a:cxn ang="0">
                    <a:pos x="355" y="0"/>
                  </a:cxn>
                  <a:cxn ang="0">
                    <a:pos x="355" y="69"/>
                  </a:cxn>
                  <a:cxn ang="0">
                    <a:pos x="218" y="69"/>
                  </a:cxn>
                </a:cxnLst>
                <a:rect l="0" t="0" r="r" b="b"/>
                <a:pathLst>
                  <a:path w="355" h="475">
                    <a:moveTo>
                      <a:pt x="218" y="69"/>
                    </a:moveTo>
                    <a:lnTo>
                      <a:pt x="218" y="475"/>
                    </a:lnTo>
                    <a:lnTo>
                      <a:pt x="137" y="475"/>
                    </a:lnTo>
                    <a:lnTo>
                      <a:pt x="137" y="69"/>
                    </a:lnTo>
                    <a:lnTo>
                      <a:pt x="0" y="69"/>
                    </a:lnTo>
                    <a:lnTo>
                      <a:pt x="0" y="0"/>
                    </a:lnTo>
                    <a:lnTo>
                      <a:pt x="355" y="0"/>
                    </a:lnTo>
                    <a:lnTo>
                      <a:pt x="355" y="69"/>
                    </a:lnTo>
                    <a:lnTo>
                      <a:pt x="218" y="6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29" name="Freeform 23"/>
              <p:cNvSpPr>
                <a:spLocks noEditPoints="1"/>
              </p:cNvSpPr>
              <p:nvPr/>
            </p:nvSpPr>
            <p:spPr bwMode="black">
              <a:xfrm>
                <a:off x="4590117" y="4510594"/>
                <a:ext cx="102932" cy="12812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30" name="Freeform 24"/>
              <p:cNvSpPr>
                <a:spLocks/>
              </p:cNvSpPr>
              <p:nvPr/>
            </p:nvSpPr>
            <p:spPr bwMode="black">
              <a:xfrm>
                <a:off x="4709965" y="4510594"/>
                <a:ext cx="95374" cy="128125"/>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1" y="151"/>
                      <a:pt x="51" y="149"/>
                      <a:pt x="42" y="145"/>
                    </a:cubicBezTo>
                    <a:cubicBezTo>
                      <a:pt x="33" y="142"/>
                      <a:pt x="26"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2"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8" y="34"/>
                      <a:pt x="102"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31" name="Freeform 25"/>
              <p:cNvSpPr>
                <a:spLocks/>
              </p:cNvSpPr>
              <p:nvPr/>
            </p:nvSpPr>
            <p:spPr bwMode="black">
              <a:xfrm>
                <a:off x="4829092" y="4454449"/>
                <a:ext cx="112290" cy="181031"/>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2"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2" y="163"/>
                    </a:lnTo>
                    <a:lnTo>
                      <a:pt x="156" y="326"/>
                    </a:lnTo>
                    <a:lnTo>
                      <a:pt x="312"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18" name="Group 117"/>
            <p:cNvGrpSpPr/>
            <p:nvPr/>
          </p:nvGrpSpPr>
          <p:grpSpPr bwMode="black">
            <a:xfrm>
              <a:off x="7067703" y="3112314"/>
              <a:ext cx="619311" cy="199008"/>
              <a:chOff x="3467068" y="4450074"/>
              <a:chExt cx="621665" cy="206687"/>
            </a:xfrm>
            <a:grpFill/>
            <a:effectLst/>
          </p:grpSpPr>
          <p:sp>
            <p:nvSpPr>
              <p:cNvPr id="122" name="Freeform 23"/>
              <p:cNvSpPr>
                <a:spLocks/>
              </p:cNvSpPr>
              <p:nvPr/>
            </p:nvSpPr>
            <p:spPr bwMode="black">
              <a:xfrm>
                <a:off x="3467068" y="4462515"/>
                <a:ext cx="144881" cy="190634"/>
              </a:xfrm>
              <a:custGeom>
                <a:avLst/>
                <a:gdLst/>
                <a:ahLst/>
                <a:cxnLst>
                  <a:cxn ang="0">
                    <a:pos x="109" y="201"/>
                  </a:cxn>
                  <a:cxn ang="0">
                    <a:pos x="39" y="112"/>
                  </a:cxn>
                  <a:cxn ang="0">
                    <a:pos x="36" y="107"/>
                  </a:cxn>
                  <a:cxn ang="0">
                    <a:pos x="34" y="103"/>
                  </a:cxn>
                  <a:cxn ang="0">
                    <a:pos x="33" y="103"/>
                  </a:cxn>
                  <a:cxn ang="0">
                    <a:pos x="33" y="201"/>
                  </a:cxn>
                  <a:cxn ang="0">
                    <a:pos x="0" y="201"/>
                  </a:cxn>
                  <a:cxn ang="0">
                    <a:pos x="0" y="0"/>
                  </a:cxn>
                  <a:cxn ang="0">
                    <a:pos x="33" y="0"/>
                  </a:cxn>
                  <a:cxn ang="0">
                    <a:pos x="33" y="95"/>
                  </a:cxn>
                  <a:cxn ang="0">
                    <a:pos x="34" y="95"/>
                  </a:cxn>
                  <a:cxn ang="0">
                    <a:pos x="36" y="90"/>
                  </a:cxn>
                  <a:cxn ang="0">
                    <a:pos x="39" y="86"/>
                  </a:cxn>
                  <a:cxn ang="0">
                    <a:pos x="106" y="0"/>
                  </a:cxn>
                  <a:cxn ang="0">
                    <a:pos x="147" y="0"/>
                  </a:cxn>
                  <a:cxn ang="0">
                    <a:pos x="67" y="96"/>
                  </a:cxn>
                  <a:cxn ang="0">
                    <a:pos x="153" y="201"/>
                  </a:cxn>
                  <a:cxn ang="0">
                    <a:pos x="109" y="201"/>
                  </a:cxn>
                </a:cxnLst>
                <a:rect l="0" t="0" r="r" b="b"/>
                <a:pathLst>
                  <a:path w="153" h="201">
                    <a:moveTo>
                      <a:pt x="109" y="201"/>
                    </a:moveTo>
                    <a:cubicBezTo>
                      <a:pt x="39" y="112"/>
                      <a:pt x="39" y="112"/>
                      <a:pt x="39" y="112"/>
                    </a:cubicBezTo>
                    <a:cubicBezTo>
                      <a:pt x="38" y="110"/>
                      <a:pt x="37" y="109"/>
                      <a:pt x="36" y="107"/>
                    </a:cubicBezTo>
                    <a:cubicBezTo>
                      <a:pt x="36" y="106"/>
                      <a:pt x="35" y="104"/>
                      <a:pt x="34" y="103"/>
                    </a:cubicBezTo>
                    <a:cubicBezTo>
                      <a:pt x="33" y="103"/>
                      <a:pt x="33" y="103"/>
                      <a:pt x="33" y="103"/>
                    </a:cubicBezTo>
                    <a:cubicBezTo>
                      <a:pt x="33" y="201"/>
                      <a:pt x="33" y="201"/>
                      <a:pt x="33" y="201"/>
                    </a:cubicBezTo>
                    <a:cubicBezTo>
                      <a:pt x="0" y="201"/>
                      <a:pt x="0" y="201"/>
                      <a:pt x="0" y="201"/>
                    </a:cubicBezTo>
                    <a:cubicBezTo>
                      <a:pt x="0" y="0"/>
                      <a:pt x="0" y="0"/>
                      <a:pt x="0" y="0"/>
                    </a:cubicBezTo>
                    <a:cubicBezTo>
                      <a:pt x="33" y="0"/>
                      <a:pt x="33" y="0"/>
                      <a:pt x="33" y="0"/>
                    </a:cubicBezTo>
                    <a:cubicBezTo>
                      <a:pt x="33" y="95"/>
                      <a:pt x="33" y="95"/>
                      <a:pt x="33" y="95"/>
                    </a:cubicBezTo>
                    <a:cubicBezTo>
                      <a:pt x="34" y="95"/>
                      <a:pt x="34" y="95"/>
                      <a:pt x="34" y="95"/>
                    </a:cubicBezTo>
                    <a:cubicBezTo>
                      <a:pt x="35" y="93"/>
                      <a:pt x="36" y="92"/>
                      <a:pt x="36" y="90"/>
                    </a:cubicBezTo>
                    <a:cubicBezTo>
                      <a:pt x="37" y="89"/>
                      <a:pt x="38" y="87"/>
                      <a:pt x="39" y="86"/>
                    </a:cubicBezTo>
                    <a:cubicBezTo>
                      <a:pt x="106" y="0"/>
                      <a:pt x="106" y="0"/>
                      <a:pt x="106" y="0"/>
                    </a:cubicBezTo>
                    <a:cubicBezTo>
                      <a:pt x="147" y="0"/>
                      <a:pt x="147" y="0"/>
                      <a:pt x="147" y="0"/>
                    </a:cubicBezTo>
                    <a:cubicBezTo>
                      <a:pt x="67" y="96"/>
                      <a:pt x="67" y="96"/>
                      <a:pt x="67" y="96"/>
                    </a:cubicBezTo>
                    <a:cubicBezTo>
                      <a:pt x="153" y="201"/>
                      <a:pt x="153" y="201"/>
                      <a:pt x="153" y="201"/>
                    </a:cubicBezTo>
                    <a:lnTo>
                      <a:pt x="10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23" name="Freeform 24"/>
              <p:cNvSpPr>
                <a:spLocks noEditPoints="1"/>
              </p:cNvSpPr>
              <p:nvPr/>
            </p:nvSpPr>
            <p:spPr bwMode="black">
              <a:xfrm>
                <a:off x="3623186" y="4450074"/>
                <a:ext cx="37324" cy="203075"/>
              </a:xfrm>
              <a:custGeom>
                <a:avLst/>
                <a:gdLst/>
                <a:ahLst/>
                <a:cxnLst>
                  <a:cxn ang="0">
                    <a:pos x="39" y="20"/>
                  </a:cxn>
                  <a:cxn ang="0">
                    <a:pos x="38" y="27"/>
                  </a:cxn>
                  <a:cxn ang="0">
                    <a:pos x="34" y="33"/>
                  </a:cxn>
                  <a:cxn ang="0">
                    <a:pos x="28" y="37"/>
                  </a:cxn>
                  <a:cxn ang="0">
                    <a:pos x="20" y="38"/>
                  </a:cxn>
                  <a:cxn ang="0">
                    <a:pos x="12" y="37"/>
                  </a:cxn>
                  <a:cxn ang="0">
                    <a:pos x="5" y="33"/>
                  </a:cxn>
                  <a:cxn ang="0">
                    <a:pos x="1" y="27"/>
                  </a:cxn>
                  <a:cxn ang="0">
                    <a:pos x="0" y="20"/>
                  </a:cxn>
                  <a:cxn ang="0">
                    <a:pos x="1" y="12"/>
                  </a:cxn>
                  <a:cxn ang="0">
                    <a:pos x="5" y="6"/>
                  </a:cxn>
                  <a:cxn ang="0">
                    <a:pos x="12" y="2"/>
                  </a:cxn>
                  <a:cxn ang="0">
                    <a:pos x="20" y="0"/>
                  </a:cxn>
                  <a:cxn ang="0">
                    <a:pos x="27" y="2"/>
                  </a:cxn>
                  <a:cxn ang="0">
                    <a:pos x="34" y="6"/>
                  </a:cxn>
                  <a:cxn ang="0">
                    <a:pos x="38" y="12"/>
                  </a:cxn>
                  <a:cxn ang="0">
                    <a:pos x="39" y="20"/>
                  </a:cxn>
                  <a:cxn ang="0">
                    <a:pos x="3" y="214"/>
                  </a:cxn>
                  <a:cxn ang="0">
                    <a:pos x="3" y="70"/>
                  </a:cxn>
                  <a:cxn ang="0">
                    <a:pos x="35" y="70"/>
                  </a:cxn>
                  <a:cxn ang="0">
                    <a:pos x="35" y="214"/>
                  </a:cxn>
                  <a:cxn ang="0">
                    <a:pos x="3" y="214"/>
                  </a:cxn>
                </a:cxnLst>
                <a:rect l="0" t="0" r="r" b="b"/>
                <a:pathLst>
                  <a:path w="39" h="214">
                    <a:moveTo>
                      <a:pt x="39" y="20"/>
                    </a:moveTo>
                    <a:cubicBezTo>
                      <a:pt x="39" y="22"/>
                      <a:pt x="39" y="24"/>
                      <a:pt x="38" y="27"/>
                    </a:cubicBezTo>
                    <a:cubicBezTo>
                      <a:pt x="37" y="29"/>
                      <a:pt x="36" y="31"/>
                      <a:pt x="34" y="33"/>
                    </a:cubicBezTo>
                    <a:cubicBezTo>
                      <a:pt x="32" y="34"/>
                      <a:pt x="30" y="36"/>
                      <a:pt x="28" y="37"/>
                    </a:cubicBezTo>
                    <a:cubicBezTo>
                      <a:pt x="25" y="38"/>
                      <a:pt x="22" y="38"/>
                      <a:pt x="20" y="38"/>
                    </a:cubicBezTo>
                    <a:cubicBezTo>
                      <a:pt x="17" y="38"/>
                      <a:pt x="14" y="38"/>
                      <a:pt x="12" y="37"/>
                    </a:cubicBezTo>
                    <a:cubicBezTo>
                      <a:pt x="9" y="36"/>
                      <a:pt x="7" y="34"/>
                      <a:pt x="5" y="33"/>
                    </a:cubicBezTo>
                    <a:cubicBezTo>
                      <a:pt x="4" y="31"/>
                      <a:pt x="2" y="29"/>
                      <a:pt x="1" y="27"/>
                    </a:cubicBezTo>
                    <a:cubicBezTo>
                      <a:pt x="0" y="24"/>
                      <a:pt x="0" y="22"/>
                      <a:pt x="0" y="20"/>
                    </a:cubicBezTo>
                    <a:cubicBezTo>
                      <a:pt x="0" y="17"/>
                      <a:pt x="0" y="14"/>
                      <a:pt x="1" y="12"/>
                    </a:cubicBezTo>
                    <a:cubicBezTo>
                      <a:pt x="2" y="10"/>
                      <a:pt x="4" y="8"/>
                      <a:pt x="5" y="6"/>
                    </a:cubicBezTo>
                    <a:cubicBezTo>
                      <a:pt x="7" y="4"/>
                      <a:pt x="9" y="3"/>
                      <a:pt x="12" y="2"/>
                    </a:cubicBezTo>
                    <a:cubicBezTo>
                      <a:pt x="14" y="1"/>
                      <a:pt x="17" y="0"/>
                      <a:pt x="20" y="0"/>
                    </a:cubicBezTo>
                    <a:cubicBezTo>
                      <a:pt x="22" y="0"/>
                      <a:pt x="25" y="1"/>
                      <a:pt x="27" y="2"/>
                    </a:cubicBezTo>
                    <a:cubicBezTo>
                      <a:pt x="30" y="3"/>
                      <a:pt x="32" y="4"/>
                      <a:pt x="34" y="6"/>
                    </a:cubicBezTo>
                    <a:cubicBezTo>
                      <a:pt x="35" y="8"/>
                      <a:pt x="37" y="10"/>
                      <a:pt x="38" y="12"/>
                    </a:cubicBezTo>
                    <a:cubicBezTo>
                      <a:pt x="39" y="14"/>
                      <a:pt x="39" y="17"/>
                      <a:pt x="39" y="20"/>
                    </a:cubicBezTo>
                    <a:close/>
                    <a:moveTo>
                      <a:pt x="3" y="214"/>
                    </a:moveTo>
                    <a:cubicBezTo>
                      <a:pt x="3" y="70"/>
                      <a:pt x="3" y="70"/>
                      <a:pt x="3" y="70"/>
                    </a:cubicBezTo>
                    <a:cubicBezTo>
                      <a:pt x="35" y="70"/>
                      <a:pt x="35" y="70"/>
                      <a:pt x="35" y="70"/>
                    </a:cubicBezTo>
                    <a:cubicBezTo>
                      <a:pt x="35" y="214"/>
                      <a:pt x="35" y="214"/>
                      <a:pt x="35"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24" name="Freeform 25"/>
              <p:cNvSpPr>
                <a:spLocks noEditPoints="1"/>
              </p:cNvSpPr>
              <p:nvPr/>
            </p:nvSpPr>
            <p:spPr bwMode="black">
              <a:xfrm>
                <a:off x="3689808" y="4450074"/>
                <a:ext cx="37725" cy="20307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8"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25" name="Freeform 26"/>
              <p:cNvSpPr>
                <a:spLocks/>
              </p:cNvSpPr>
              <p:nvPr/>
            </p:nvSpPr>
            <p:spPr bwMode="black">
              <a:xfrm>
                <a:off x="3745593" y="4475759"/>
                <a:ext cx="86287" cy="181002"/>
              </a:xfrm>
              <a:custGeom>
                <a:avLst/>
                <a:gdLst/>
                <a:ahLst/>
                <a:cxnLst>
                  <a:cxn ang="0">
                    <a:pos x="86" y="188"/>
                  </a:cxn>
                  <a:cxn ang="0">
                    <a:pos x="80" y="189"/>
                  </a:cxn>
                  <a:cxn ang="0">
                    <a:pos x="73" y="190"/>
                  </a:cxn>
                  <a:cxn ang="0">
                    <a:pos x="66" y="191"/>
                  </a:cxn>
                  <a:cxn ang="0">
                    <a:pos x="34" y="179"/>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6" y="164"/>
                  </a:cxn>
                  <a:cxn ang="0">
                    <a:pos x="84"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4" y="160"/>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4"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26" name="Freeform 27"/>
              <p:cNvSpPr>
                <a:spLocks noEditPoints="1"/>
              </p:cNvSpPr>
              <p:nvPr/>
            </p:nvSpPr>
            <p:spPr bwMode="black">
              <a:xfrm>
                <a:off x="3841512" y="4513886"/>
                <a:ext cx="140065" cy="142875"/>
              </a:xfrm>
              <a:custGeom>
                <a:avLst/>
                <a:gdLst/>
                <a:ahLst/>
                <a:cxnLst>
                  <a:cxn ang="0">
                    <a:pos x="148" y="74"/>
                  </a:cxn>
                  <a:cxn ang="0">
                    <a:pos x="142" y="106"/>
                  </a:cxn>
                  <a:cxn ang="0">
                    <a:pos x="127" y="130"/>
                  </a:cxn>
                  <a:cxn ang="0">
                    <a:pos x="103" y="145"/>
                  </a:cxn>
                  <a:cxn ang="0">
                    <a:pos x="72"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6" y="54"/>
                  </a:cxn>
                  <a:cxn ang="0">
                    <a:pos x="33" y="76"/>
                  </a:cxn>
                  <a:cxn ang="0">
                    <a:pos x="36" y="97"/>
                  </a:cxn>
                  <a:cxn ang="0">
                    <a:pos x="45" y="112"/>
                  </a:cxn>
                  <a:cxn ang="0">
                    <a:pos x="58" y="121"/>
                  </a:cxn>
                  <a:cxn ang="0">
                    <a:pos x="74" y="124"/>
                  </a:cxn>
                  <a:cxn ang="0">
                    <a:pos x="104" y="112"/>
                  </a:cxn>
                  <a:cxn ang="0">
                    <a:pos x="114" y="75"/>
                  </a:cxn>
                </a:cxnLst>
                <a:rect l="0" t="0" r="r" b="b"/>
                <a:pathLst>
                  <a:path w="148" h="151">
                    <a:moveTo>
                      <a:pt x="148" y="74"/>
                    </a:moveTo>
                    <a:cubicBezTo>
                      <a:pt x="148" y="86"/>
                      <a:pt x="146" y="96"/>
                      <a:pt x="142" y="106"/>
                    </a:cubicBezTo>
                    <a:cubicBezTo>
                      <a:pt x="139" y="115"/>
                      <a:pt x="133" y="124"/>
                      <a:pt x="127" y="130"/>
                    </a:cubicBezTo>
                    <a:cubicBezTo>
                      <a:pt x="120" y="137"/>
                      <a:pt x="112" y="142"/>
                      <a:pt x="103" y="145"/>
                    </a:cubicBezTo>
                    <a:cubicBezTo>
                      <a:pt x="94" y="149"/>
                      <a:pt x="84" y="151"/>
                      <a:pt x="72"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4"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6" y="26"/>
                      <a:pt x="74" y="26"/>
                    </a:cubicBezTo>
                    <a:cubicBezTo>
                      <a:pt x="68" y="26"/>
                      <a:pt x="63" y="27"/>
                      <a:pt x="58" y="29"/>
                    </a:cubicBezTo>
                    <a:cubicBezTo>
                      <a:pt x="53" y="31"/>
                      <a:pt x="49" y="34"/>
                      <a:pt x="45" y="38"/>
                    </a:cubicBezTo>
                    <a:cubicBezTo>
                      <a:pt x="41" y="42"/>
                      <a:pt x="39" y="48"/>
                      <a:pt x="36" y="54"/>
                    </a:cubicBezTo>
                    <a:cubicBezTo>
                      <a:pt x="34" y="60"/>
                      <a:pt x="33" y="67"/>
                      <a:pt x="33" y="76"/>
                    </a:cubicBezTo>
                    <a:cubicBezTo>
                      <a:pt x="33" y="84"/>
                      <a:pt x="34" y="91"/>
                      <a:pt x="36" y="97"/>
                    </a:cubicBezTo>
                    <a:cubicBezTo>
                      <a:pt x="38" y="103"/>
                      <a:pt x="41" y="108"/>
                      <a:pt x="45" y="112"/>
                    </a:cubicBezTo>
                    <a:cubicBezTo>
                      <a:pt x="49" y="116"/>
                      <a:pt x="53" y="119"/>
                      <a:pt x="58" y="121"/>
                    </a:cubicBezTo>
                    <a:cubicBezTo>
                      <a:pt x="63" y="123"/>
                      <a:pt x="68" y="124"/>
                      <a:pt x="74" y="124"/>
                    </a:cubicBezTo>
                    <a:cubicBezTo>
                      <a:pt x="87" y="124"/>
                      <a:pt x="97" y="120"/>
                      <a:pt x="104" y="112"/>
                    </a:cubicBezTo>
                    <a:cubicBezTo>
                      <a:pt x="110" y="103"/>
                      <a:pt x="114" y="91"/>
                      <a:pt x="114"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27" name="Freeform 28"/>
              <p:cNvSpPr>
                <a:spLocks/>
              </p:cNvSpPr>
              <p:nvPr/>
            </p:nvSpPr>
            <p:spPr bwMode="black">
              <a:xfrm>
                <a:off x="3998834" y="4513886"/>
                <a:ext cx="89899" cy="142875"/>
              </a:xfrm>
              <a:custGeom>
                <a:avLst/>
                <a:gdLst/>
                <a:ahLst/>
                <a:cxnLst>
                  <a:cxn ang="0">
                    <a:pos x="95" y="106"/>
                  </a:cxn>
                  <a:cxn ang="0">
                    <a:pos x="91"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2" y="110"/>
                  </a:cxn>
                  <a:cxn ang="0">
                    <a:pos x="61" y="103"/>
                  </a:cxn>
                  <a:cxn ang="0">
                    <a:pos x="57" y="98"/>
                  </a:cxn>
                  <a:cxn ang="0">
                    <a:pos x="49" y="93"/>
                  </a:cxn>
                  <a:cxn ang="0">
                    <a:pos x="34" y="86"/>
                  </a:cxn>
                  <a:cxn ang="0">
                    <a:pos x="20" y="79"/>
                  </a:cxn>
                  <a:cxn ang="0">
                    <a:pos x="9" y="70"/>
                  </a:cxn>
                  <a:cxn ang="0">
                    <a:pos x="3"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2" y="28"/>
                  </a:cxn>
                  <a:cxn ang="0">
                    <a:pos x="63" y="26"/>
                  </a:cxn>
                  <a:cxn ang="0">
                    <a:pos x="54" y="25"/>
                  </a:cxn>
                  <a:cxn ang="0">
                    <a:pos x="39" y="30"/>
                  </a:cxn>
                  <a:cxn ang="0">
                    <a:pos x="33" y="41"/>
                  </a:cxn>
                  <a:cxn ang="0">
                    <a:pos x="34" y="48"/>
                  </a:cxn>
                  <a:cxn ang="0">
                    <a:pos x="38" y="53"/>
                  </a:cxn>
                  <a:cxn ang="0">
                    <a:pos x="46" y="58"/>
                  </a:cxn>
                  <a:cxn ang="0">
                    <a:pos x="58" y="63"/>
                  </a:cxn>
                  <a:cxn ang="0">
                    <a:pos x="73" y="70"/>
                  </a:cxn>
                  <a:cxn ang="0">
                    <a:pos x="85" y="79"/>
                  </a:cxn>
                  <a:cxn ang="0">
                    <a:pos x="92" y="91"/>
                  </a:cxn>
                  <a:cxn ang="0">
                    <a:pos x="95" y="106"/>
                  </a:cxn>
                </a:cxnLst>
                <a:rect l="0" t="0" r="r" b="b"/>
                <a:pathLst>
                  <a:path w="95" h="151">
                    <a:moveTo>
                      <a:pt x="95" y="106"/>
                    </a:moveTo>
                    <a:cubicBezTo>
                      <a:pt x="95" y="112"/>
                      <a:pt x="94" y="118"/>
                      <a:pt x="91" y="123"/>
                    </a:cubicBezTo>
                    <a:cubicBezTo>
                      <a:pt x="89" y="129"/>
                      <a:pt x="85" y="134"/>
                      <a:pt x="81" y="138"/>
                    </a:cubicBezTo>
                    <a:cubicBezTo>
                      <a:pt x="76" y="142"/>
                      <a:pt x="70" y="145"/>
                      <a:pt x="63" y="147"/>
                    </a:cubicBezTo>
                    <a:cubicBezTo>
                      <a:pt x="56" y="150"/>
                      <a:pt x="47" y="151"/>
                      <a:pt x="38" y="151"/>
                    </a:cubicBezTo>
                    <a:cubicBezTo>
                      <a:pt x="35" y="151"/>
                      <a:pt x="32" y="150"/>
                      <a:pt x="29" y="150"/>
                    </a:cubicBezTo>
                    <a:cubicBezTo>
                      <a:pt x="25" y="150"/>
                      <a:pt x="22" y="149"/>
                      <a:pt x="19" y="148"/>
                    </a:cubicBezTo>
                    <a:cubicBezTo>
                      <a:pt x="15" y="148"/>
                      <a:pt x="12" y="147"/>
                      <a:pt x="9" y="146"/>
                    </a:cubicBezTo>
                    <a:cubicBezTo>
                      <a:pt x="5" y="145"/>
                      <a:pt x="3" y="144"/>
                      <a:pt x="0" y="143"/>
                    </a:cubicBezTo>
                    <a:cubicBezTo>
                      <a:pt x="0" y="112"/>
                      <a:pt x="0" y="112"/>
                      <a:pt x="0" y="112"/>
                    </a:cubicBezTo>
                    <a:cubicBezTo>
                      <a:pt x="3" y="114"/>
                      <a:pt x="6" y="116"/>
                      <a:pt x="10" y="118"/>
                    </a:cubicBezTo>
                    <a:cubicBezTo>
                      <a:pt x="13" y="119"/>
                      <a:pt x="17" y="121"/>
                      <a:pt x="20" y="122"/>
                    </a:cubicBezTo>
                    <a:cubicBezTo>
                      <a:pt x="23" y="123"/>
                      <a:pt x="27" y="124"/>
                      <a:pt x="30" y="124"/>
                    </a:cubicBezTo>
                    <a:cubicBezTo>
                      <a:pt x="33" y="125"/>
                      <a:pt x="36" y="125"/>
                      <a:pt x="39" y="125"/>
                    </a:cubicBezTo>
                    <a:cubicBezTo>
                      <a:pt x="47" y="125"/>
                      <a:pt x="53" y="124"/>
                      <a:pt x="57" y="121"/>
                    </a:cubicBezTo>
                    <a:cubicBezTo>
                      <a:pt x="61" y="118"/>
                      <a:pt x="62" y="115"/>
                      <a:pt x="62" y="110"/>
                    </a:cubicBezTo>
                    <a:cubicBezTo>
                      <a:pt x="62" y="107"/>
                      <a:pt x="62" y="105"/>
                      <a:pt x="61" y="103"/>
                    </a:cubicBezTo>
                    <a:cubicBezTo>
                      <a:pt x="61" y="102"/>
                      <a:pt x="59" y="100"/>
                      <a:pt x="57" y="98"/>
                    </a:cubicBezTo>
                    <a:cubicBezTo>
                      <a:pt x="55" y="96"/>
                      <a:pt x="52" y="95"/>
                      <a:pt x="49" y="93"/>
                    </a:cubicBezTo>
                    <a:cubicBezTo>
                      <a:pt x="45" y="91"/>
                      <a:pt x="40" y="89"/>
                      <a:pt x="34" y="86"/>
                    </a:cubicBezTo>
                    <a:cubicBezTo>
                      <a:pt x="29" y="84"/>
                      <a:pt x="24" y="82"/>
                      <a:pt x="20" y="79"/>
                    </a:cubicBezTo>
                    <a:cubicBezTo>
                      <a:pt x="16" y="77"/>
                      <a:pt x="12" y="74"/>
                      <a:pt x="9" y="70"/>
                    </a:cubicBezTo>
                    <a:cubicBezTo>
                      <a:pt x="6" y="67"/>
                      <a:pt x="4" y="63"/>
                      <a:pt x="3" y="59"/>
                    </a:cubicBezTo>
                    <a:cubicBezTo>
                      <a:pt x="1" y="55"/>
                      <a:pt x="0" y="50"/>
                      <a:pt x="0" y="44"/>
                    </a:cubicBezTo>
                    <a:cubicBezTo>
                      <a:pt x="0" y="37"/>
                      <a:pt x="1"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7" y="6"/>
                    </a:cubicBezTo>
                    <a:cubicBezTo>
                      <a:pt x="87" y="35"/>
                      <a:pt x="87" y="35"/>
                      <a:pt x="87" y="35"/>
                    </a:cubicBezTo>
                    <a:cubicBezTo>
                      <a:pt x="85" y="34"/>
                      <a:pt x="83" y="32"/>
                      <a:pt x="80" y="31"/>
                    </a:cubicBezTo>
                    <a:cubicBezTo>
                      <a:pt x="77" y="30"/>
                      <a:pt x="75" y="29"/>
                      <a:pt x="72" y="28"/>
                    </a:cubicBezTo>
                    <a:cubicBezTo>
                      <a:pt x="69" y="27"/>
                      <a:pt x="66" y="26"/>
                      <a:pt x="63" y="26"/>
                    </a:cubicBezTo>
                    <a:cubicBezTo>
                      <a:pt x="60" y="26"/>
                      <a:pt x="57" y="25"/>
                      <a:pt x="54" y="25"/>
                    </a:cubicBezTo>
                    <a:cubicBezTo>
                      <a:pt x="48" y="25"/>
                      <a:pt x="42" y="27"/>
                      <a:pt x="39"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4" y="66"/>
                      <a:pt x="69" y="68"/>
                      <a:pt x="73" y="70"/>
                    </a:cubicBezTo>
                    <a:cubicBezTo>
                      <a:pt x="78" y="73"/>
                      <a:pt x="81" y="76"/>
                      <a:pt x="85" y="79"/>
                    </a:cubicBezTo>
                    <a:cubicBezTo>
                      <a:pt x="88" y="83"/>
                      <a:pt x="91" y="86"/>
                      <a:pt x="92"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19" name="Group 118"/>
            <p:cNvGrpSpPr/>
            <p:nvPr/>
          </p:nvGrpSpPr>
          <p:grpSpPr bwMode="black">
            <a:xfrm>
              <a:off x="9219226" y="3072921"/>
              <a:ext cx="610574" cy="277794"/>
              <a:chOff x="8669045" y="5484723"/>
              <a:chExt cx="612897" cy="288514"/>
            </a:xfrm>
            <a:grpFill/>
            <a:effectLst/>
          </p:grpSpPr>
          <p:sp>
            <p:nvSpPr>
              <p:cNvPr id="120" name="Freeform 16"/>
              <p:cNvSpPr>
                <a:spLocks noEditPoints="1"/>
              </p:cNvSpPr>
              <p:nvPr/>
            </p:nvSpPr>
            <p:spPr bwMode="black">
              <a:xfrm>
                <a:off x="8669045"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5"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7"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3" y="182"/>
                    </a:cubicBezTo>
                    <a:cubicBezTo>
                      <a:pt x="61" y="175"/>
                      <a:pt x="67" y="170"/>
                      <a:pt x="72" y="165"/>
                    </a:cubicBezTo>
                    <a:cubicBezTo>
                      <a:pt x="74" y="169"/>
                      <a:pt x="74" y="169"/>
                      <a:pt x="74" y="169"/>
                    </a:cubicBezTo>
                    <a:cubicBezTo>
                      <a:pt x="70" y="174"/>
                      <a:pt x="66" y="180"/>
                      <a:pt x="62" y="185"/>
                    </a:cubicBezTo>
                    <a:cubicBezTo>
                      <a:pt x="57" y="192"/>
                      <a:pt x="53"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4"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2" y="13"/>
                    </a:cubicBezTo>
                    <a:cubicBezTo>
                      <a:pt x="119"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3" y="219"/>
                      <a:pt x="108" y="218"/>
                      <a:pt x="102" y="217"/>
                    </a:cubicBezTo>
                    <a:cubicBezTo>
                      <a:pt x="102" y="211"/>
                      <a:pt x="102" y="211"/>
                      <a:pt x="102" y="211"/>
                    </a:cubicBezTo>
                    <a:cubicBezTo>
                      <a:pt x="111"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1" y="177"/>
                    </a:cubicBezTo>
                    <a:cubicBezTo>
                      <a:pt x="113"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5" y="33"/>
                      <a:pt x="105" y="33"/>
                      <a:pt x="105"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3"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8"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7" y="223"/>
                      <a:pt x="184" y="221"/>
                      <a:pt x="179" y="219"/>
                    </a:cubicBezTo>
                    <a:cubicBezTo>
                      <a:pt x="175" y="218"/>
                      <a:pt x="169" y="217"/>
                      <a:pt x="163" y="216"/>
                    </a:cubicBezTo>
                    <a:cubicBezTo>
                      <a:pt x="163" y="210"/>
                      <a:pt x="163" y="210"/>
                      <a:pt x="163" y="210"/>
                    </a:cubicBezTo>
                    <a:cubicBezTo>
                      <a:pt x="172" y="213"/>
                      <a:pt x="181" y="214"/>
                      <a:pt x="189"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2" y="74"/>
                      <a:pt x="157" y="75"/>
                    </a:cubicBezTo>
                    <a:lnTo>
                      <a:pt x="152" y="63"/>
                    </a:lnTo>
                    <a:close/>
                    <a:moveTo>
                      <a:pt x="163" y="101"/>
                    </a:moveTo>
                    <a:cubicBezTo>
                      <a:pt x="169" y="108"/>
                      <a:pt x="174" y="115"/>
                      <a:pt x="177" y="123"/>
                    </a:cubicBezTo>
                    <a:cubicBezTo>
                      <a:pt x="180" y="127"/>
                      <a:pt x="183" y="133"/>
                      <a:pt x="184" y="139"/>
                    </a:cubicBezTo>
                    <a:cubicBezTo>
                      <a:pt x="186" y="143"/>
                      <a:pt x="187" y="146"/>
                      <a:pt x="187" y="150"/>
                    </a:cubicBezTo>
                    <a:cubicBezTo>
                      <a:pt x="187" y="152"/>
                      <a:pt x="186" y="154"/>
                      <a:pt x="185" y="156"/>
                    </a:cubicBezTo>
                    <a:cubicBezTo>
                      <a:pt x="183" y="158"/>
                      <a:pt x="182" y="159"/>
                      <a:pt x="181" y="159"/>
                    </a:cubicBezTo>
                    <a:cubicBezTo>
                      <a:pt x="179" y="159"/>
                      <a:pt x="178"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21" name="Freeform 17"/>
              <p:cNvSpPr>
                <a:spLocks noEditPoints="1"/>
              </p:cNvSpPr>
              <p:nvPr/>
            </p:nvSpPr>
            <p:spPr bwMode="black">
              <a:xfrm>
                <a:off x="8988230"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4"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6"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2" y="182"/>
                    </a:cubicBezTo>
                    <a:cubicBezTo>
                      <a:pt x="61" y="175"/>
                      <a:pt x="67" y="170"/>
                      <a:pt x="72" y="165"/>
                    </a:cubicBezTo>
                    <a:cubicBezTo>
                      <a:pt x="74" y="169"/>
                      <a:pt x="74" y="169"/>
                      <a:pt x="74" y="169"/>
                    </a:cubicBezTo>
                    <a:cubicBezTo>
                      <a:pt x="70" y="174"/>
                      <a:pt x="66" y="180"/>
                      <a:pt x="62" y="185"/>
                    </a:cubicBezTo>
                    <a:cubicBezTo>
                      <a:pt x="57" y="192"/>
                      <a:pt x="52"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3"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1" y="13"/>
                    </a:cubicBezTo>
                    <a:cubicBezTo>
                      <a:pt x="118"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2" y="219"/>
                      <a:pt x="108" y="218"/>
                      <a:pt x="102" y="217"/>
                    </a:cubicBezTo>
                    <a:cubicBezTo>
                      <a:pt x="102" y="211"/>
                      <a:pt x="102" y="211"/>
                      <a:pt x="102" y="211"/>
                    </a:cubicBezTo>
                    <a:cubicBezTo>
                      <a:pt x="110"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0" y="177"/>
                    </a:cubicBezTo>
                    <a:cubicBezTo>
                      <a:pt x="112"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4" y="33"/>
                      <a:pt x="104" y="33"/>
                      <a:pt x="104"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2"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7"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6" y="223"/>
                      <a:pt x="184" y="221"/>
                      <a:pt x="179" y="219"/>
                    </a:cubicBezTo>
                    <a:cubicBezTo>
                      <a:pt x="175" y="218"/>
                      <a:pt x="169" y="217"/>
                      <a:pt x="163" y="216"/>
                    </a:cubicBezTo>
                    <a:cubicBezTo>
                      <a:pt x="163" y="210"/>
                      <a:pt x="163" y="210"/>
                      <a:pt x="163" y="210"/>
                    </a:cubicBezTo>
                    <a:cubicBezTo>
                      <a:pt x="172" y="213"/>
                      <a:pt x="181" y="214"/>
                      <a:pt x="188"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1" y="74"/>
                      <a:pt x="157" y="75"/>
                    </a:cubicBezTo>
                    <a:lnTo>
                      <a:pt x="152" y="63"/>
                    </a:lnTo>
                    <a:close/>
                    <a:moveTo>
                      <a:pt x="163" y="101"/>
                    </a:moveTo>
                    <a:cubicBezTo>
                      <a:pt x="169" y="108"/>
                      <a:pt x="174" y="115"/>
                      <a:pt x="177" y="123"/>
                    </a:cubicBezTo>
                    <a:cubicBezTo>
                      <a:pt x="180" y="127"/>
                      <a:pt x="183" y="133"/>
                      <a:pt x="184" y="139"/>
                    </a:cubicBezTo>
                    <a:cubicBezTo>
                      <a:pt x="186" y="143"/>
                      <a:pt x="186" y="146"/>
                      <a:pt x="186" y="150"/>
                    </a:cubicBezTo>
                    <a:cubicBezTo>
                      <a:pt x="186" y="152"/>
                      <a:pt x="186" y="154"/>
                      <a:pt x="185" y="156"/>
                    </a:cubicBezTo>
                    <a:cubicBezTo>
                      <a:pt x="183" y="158"/>
                      <a:pt x="182" y="159"/>
                      <a:pt x="181" y="159"/>
                    </a:cubicBezTo>
                    <a:cubicBezTo>
                      <a:pt x="179" y="159"/>
                      <a:pt x="177"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sp>
        <p:nvSpPr>
          <p:cNvPr id="337" name="Rectangle 336"/>
          <p:cNvSpPr/>
          <p:nvPr/>
        </p:nvSpPr>
        <p:spPr>
          <a:xfrm>
            <a:off x="1829406" y="1238366"/>
            <a:ext cx="8533189" cy="1013576"/>
          </a:xfrm>
          <a:prstGeom prst="rect">
            <a:avLst/>
          </a:prstGeom>
        </p:spPr>
        <p:txBody>
          <a:bodyPr wrap="square" lIns="179259" tIns="0" rIns="268889" bIns="8963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altLang="zh-CN" sz="5881" b="0" i="0" u="none" strike="noStrike" kern="0" cap="none" spc="-147" normalizeH="0" baseline="0" noProof="0">
                <a:ln>
                  <a:noFill/>
                </a:ln>
                <a:gradFill>
                  <a:gsLst>
                    <a:gs pos="5000">
                      <a:srgbClr val="FFFFFF"/>
                    </a:gs>
                    <a:gs pos="27083">
                      <a:srgbClr val="FFFFFF"/>
                    </a:gs>
                  </a:gsLst>
                  <a:lin ang="5400000" scaled="0"/>
                </a:gradFill>
                <a:effectLst/>
                <a:uLnTx/>
                <a:uFillTx/>
                <a:latin typeface="Segoe UI Light"/>
                <a:ea typeface="+mn-ea"/>
                <a:cs typeface="Segoe UI Semibold" panose="020B0702040204020203" pitchFamily="34" charset="0"/>
              </a:rPr>
              <a:t>Thank You!</a:t>
            </a:r>
            <a:endParaRPr kumimoji="0" lang="en-US" sz="5881" b="0" i="0" u="none" strike="noStrike" kern="0" cap="none" spc="-147" normalizeH="0" baseline="0" noProof="0">
              <a:ln>
                <a:noFill/>
              </a:ln>
              <a:gradFill>
                <a:gsLst>
                  <a:gs pos="5000">
                    <a:srgbClr val="FFFFFF"/>
                  </a:gs>
                  <a:gs pos="27083">
                    <a:srgbClr val="FFFFFF"/>
                  </a:gs>
                </a:gsLst>
                <a:lin ang="5400000" scaled="0"/>
              </a:gradFill>
              <a:effectLst/>
              <a:uLnTx/>
              <a:uFillTx/>
              <a:latin typeface="Segoe UI Light"/>
              <a:ea typeface="+mn-ea"/>
              <a:cs typeface="Segoe UI Semibold" panose="020B0702040204020203" pitchFamily="34" charset="0"/>
            </a:endParaRPr>
          </a:p>
        </p:txBody>
      </p:sp>
    </p:spTree>
    <p:extLst>
      <p:ext uri="{BB962C8B-B14F-4D97-AF65-F5344CB8AC3E}">
        <p14:creationId xmlns:p14="http://schemas.microsoft.com/office/powerpoint/2010/main" val="16715401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Circular Arrow 44"/>
          <p:cNvSpPr/>
          <p:nvPr/>
        </p:nvSpPr>
        <p:spPr>
          <a:xfrm>
            <a:off x="5513826" y="3178702"/>
            <a:ext cx="1454527" cy="1454527"/>
          </a:xfrm>
          <a:prstGeom prst="circularArrow">
            <a:avLst>
              <a:gd name="adj1" fmla="val 5085"/>
              <a:gd name="adj2" fmla="val 327528"/>
              <a:gd name="adj3" fmla="val 20192361"/>
              <a:gd name="adj4" fmla="val 16200324"/>
              <a:gd name="adj5" fmla="val 5932"/>
            </a:avLst>
          </a:prstGeom>
          <a:solidFill>
            <a:schemeClr val="tx1"/>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71" name="Circular Arrow 45"/>
          <p:cNvSpPr/>
          <p:nvPr/>
        </p:nvSpPr>
        <p:spPr>
          <a:xfrm>
            <a:off x="5525070" y="3213206"/>
            <a:ext cx="1454527" cy="1454527"/>
          </a:xfrm>
          <a:prstGeom prst="circularArrow">
            <a:avLst>
              <a:gd name="adj1" fmla="val 5085"/>
              <a:gd name="adj2" fmla="val 327528"/>
              <a:gd name="adj3" fmla="val 2912753"/>
              <a:gd name="adj4" fmla="val 20519953"/>
              <a:gd name="adj5" fmla="val 5932"/>
            </a:avLst>
          </a:prstGeom>
          <a:solidFill>
            <a:schemeClr val="tx1"/>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74" name="Circular Arrow 47"/>
          <p:cNvSpPr/>
          <p:nvPr/>
        </p:nvSpPr>
        <p:spPr>
          <a:xfrm>
            <a:off x="5466335" y="3213204"/>
            <a:ext cx="1454527" cy="1454527"/>
          </a:xfrm>
          <a:prstGeom prst="circularArrow">
            <a:avLst>
              <a:gd name="adj1" fmla="val 5085"/>
              <a:gd name="adj2" fmla="val 327528"/>
              <a:gd name="adj3" fmla="val 11552519"/>
              <a:gd name="adj4" fmla="val 7559718"/>
              <a:gd name="adj5" fmla="val 5932"/>
            </a:avLst>
          </a:prstGeom>
          <a:solidFill>
            <a:schemeClr val="tx1"/>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75" name="Circular Arrow 48"/>
          <p:cNvSpPr/>
          <p:nvPr/>
        </p:nvSpPr>
        <p:spPr>
          <a:xfrm>
            <a:off x="5477582" y="3178700"/>
            <a:ext cx="1454527" cy="1454527"/>
          </a:xfrm>
          <a:prstGeom prst="circularArrow">
            <a:avLst>
              <a:gd name="adj1" fmla="val 5085"/>
              <a:gd name="adj2" fmla="val 327528"/>
              <a:gd name="adj3" fmla="val 15872148"/>
              <a:gd name="adj4" fmla="val 11880111"/>
              <a:gd name="adj5" fmla="val 5932"/>
            </a:avLst>
          </a:prstGeom>
          <a:solidFill>
            <a:schemeClr val="tx1"/>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2" name="Title 1"/>
          <p:cNvSpPr>
            <a:spLocks noGrp="1"/>
          </p:cNvSpPr>
          <p:nvPr>
            <p:ph type="title"/>
          </p:nvPr>
        </p:nvSpPr>
        <p:spPr>
          <a:xfrm>
            <a:off x="295153" y="121906"/>
            <a:ext cx="10401103" cy="655619"/>
          </a:xfrm>
        </p:spPr>
        <p:txBody>
          <a:bodyPr>
            <a:noAutofit/>
          </a:bodyPr>
          <a:lstStyle/>
          <a:p>
            <a:r>
              <a:rPr lang="en-US" sz="4000" dirty="0"/>
              <a:t>Your datacenter cloud readiness assessment</a:t>
            </a:r>
          </a:p>
        </p:txBody>
      </p:sp>
      <p:grpSp>
        <p:nvGrpSpPr>
          <p:cNvPr id="17" name="Group 16">
            <a:extLst>
              <a:ext uri="{FF2B5EF4-FFF2-40B4-BE49-F238E27FC236}">
                <a16:creationId xmlns:a16="http://schemas.microsoft.com/office/drawing/2014/main" id="{52D10112-7A15-4A2B-A37D-0E8312C68135}"/>
              </a:ext>
            </a:extLst>
          </p:cNvPr>
          <p:cNvGrpSpPr/>
          <p:nvPr/>
        </p:nvGrpSpPr>
        <p:grpSpPr>
          <a:xfrm>
            <a:off x="270068" y="3939945"/>
            <a:ext cx="6705130" cy="2239644"/>
            <a:chOff x="270068" y="3939945"/>
            <a:chExt cx="6705130" cy="2239644"/>
          </a:xfrm>
        </p:grpSpPr>
        <p:sp>
          <p:nvSpPr>
            <p:cNvPr id="60" name="Freeform 115"/>
            <p:cNvSpPr/>
            <p:nvPr/>
          </p:nvSpPr>
          <p:spPr>
            <a:xfrm rot="16200000">
              <a:off x="4954703" y="3806777"/>
              <a:ext cx="1585731" cy="2455259"/>
            </a:xfrm>
            <a:custGeom>
              <a:avLst/>
              <a:gdLst>
                <a:gd name="connsiteX0" fmla="*/ 980064 w 1427049"/>
                <a:gd name="connsiteY0" fmla="*/ 0 h 2209564"/>
                <a:gd name="connsiteX1" fmla="*/ 980064 w 1427049"/>
                <a:gd name="connsiteY1" fmla="*/ 1540937 h 2209564"/>
                <a:gd name="connsiteX2" fmla="*/ 980064 w 1427049"/>
                <a:gd name="connsiteY2" fmla="*/ 1574188 h 2209564"/>
                <a:gd name="connsiteX3" fmla="*/ 981743 w 1427049"/>
                <a:gd name="connsiteY3" fmla="*/ 1574188 h 2209564"/>
                <a:gd name="connsiteX4" fmla="*/ 983802 w 1427049"/>
                <a:gd name="connsiteY4" fmla="*/ 1614967 h 2209564"/>
                <a:gd name="connsiteX5" fmla="*/ 985100 w 1427049"/>
                <a:gd name="connsiteY5" fmla="*/ 1623468 h 2209564"/>
                <a:gd name="connsiteX6" fmla="*/ 987498 w 1427049"/>
                <a:gd name="connsiteY6" fmla="*/ 1639179 h 2209564"/>
                <a:gd name="connsiteX7" fmla="*/ 988407 w 1427049"/>
                <a:gd name="connsiteY7" fmla="*/ 1651202 h 2209564"/>
                <a:gd name="connsiteX8" fmla="*/ 991146 w 1427049"/>
                <a:gd name="connsiteY8" fmla="*/ 1663082 h 2209564"/>
                <a:gd name="connsiteX9" fmla="*/ 994774 w 1427049"/>
                <a:gd name="connsiteY9" fmla="*/ 1686857 h 2209564"/>
                <a:gd name="connsiteX10" fmla="*/ 1001958 w 1427049"/>
                <a:gd name="connsiteY10" fmla="*/ 1710000 h 2209564"/>
                <a:gd name="connsiteX11" fmla="*/ 1006251 w 1427049"/>
                <a:gd name="connsiteY11" fmla="*/ 1728627 h 2209564"/>
                <a:gd name="connsiteX12" fmla="*/ 1010023 w 1427049"/>
                <a:gd name="connsiteY12" fmla="*/ 1747722 h 2209564"/>
                <a:gd name="connsiteX13" fmla="*/ 1011502 w 1427049"/>
                <a:gd name="connsiteY13" fmla="*/ 1751413 h 2209564"/>
                <a:gd name="connsiteX14" fmla="*/ 1012616 w 1427049"/>
                <a:gd name="connsiteY14" fmla="*/ 1756246 h 2209564"/>
                <a:gd name="connsiteX15" fmla="*/ 1030044 w 1427049"/>
                <a:gd name="connsiteY15" fmla="*/ 1800478 h 2209564"/>
                <a:gd name="connsiteX16" fmla="*/ 1035434 w 1427049"/>
                <a:gd name="connsiteY16" fmla="*/ 1817841 h 2209564"/>
                <a:gd name="connsiteX17" fmla="*/ 1036963 w 1427049"/>
                <a:gd name="connsiteY17" fmla="*/ 1822768 h 2209564"/>
                <a:gd name="connsiteX18" fmla="*/ 1043760 w 1427049"/>
                <a:gd name="connsiteY18" fmla="*/ 1835291 h 2209564"/>
                <a:gd name="connsiteX19" fmla="*/ 1051463 w 1427049"/>
                <a:gd name="connsiteY19" fmla="*/ 1854840 h 2209564"/>
                <a:gd name="connsiteX20" fmla="*/ 1056451 w 1427049"/>
                <a:gd name="connsiteY20" fmla="*/ 1863518 h 2209564"/>
                <a:gd name="connsiteX21" fmla="*/ 1059275 w 1427049"/>
                <a:gd name="connsiteY21" fmla="*/ 1870560 h 2209564"/>
                <a:gd name="connsiteX22" fmla="*/ 1072724 w 1427049"/>
                <a:gd name="connsiteY22" fmla="*/ 1891830 h 2209564"/>
                <a:gd name="connsiteX23" fmla="*/ 1103714 w 1427049"/>
                <a:gd name="connsiteY23" fmla="*/ 1945748 h 2209564"/>
                <a:gd name="connsiteX24" fmla="*/ 1103718 w 1427049"/>
                <a:gd name="connsiteY24" fmla="*/ 1945755 h 2209564"/>
                <a:gd name="connsiteX25" fmla="*/ 1103720 w 1427049"/>
                <a:gd name="connsiteY25" fmla="*/ 1945758 h 2209564"/>
                <a:gd name="connsiteX26" fmla="*/ 1103737 w 1427049"/>
                <a:gd name="connsiteY26" fmla="*/ 1945778 h 2209564"/>
                <a:gd name="connsiteX27" fmla="*/ 1119611 w 1427049"/>
                <a:gd name="connsiteY27" fmla="*/ 1965981 h 2209564"/>
                <a:gd name="connsiteX28" fmla="*/ 1129160 w 1427049"/>
                <a:gd name="connsiteY28" fmla="*/ 1981082 h 2209564"/>
                <a:gd name="connsiteX29" fmla="*/ 1145053 w 1427049"/>
                <a:gd name="connsiteY29" fmla="*/ 1998362 h 2209564"/>
                <a:gd name="connsiteX30" fmla="*/ 1168158 w 1427049"/>
                <a:gd name="connsiteY30" fmla="*/ 2027769 h 2209564"/>
                <a:gd name="connsiteX31" fmla="*/ 1183278 w 1427049"/>
                <a:gd name="connsiteY31" fmla="*/ 2042183 h 2209564"/>
                <a:gd name="connsiteX32" fmla="*/ 1192132 w 1427049"/>
                <a:gd name="connsiteY32" fmla="*/ 2052914 h 2209564"/>
                <a:gd name="connsiteX33" fmla="*/ 1204969 w 1427049"/>
                <a:gd name="connsiteY33" fmla="*/ 2063506 h 2209564"/>
                <a:gd name="connsiteX34" fmla="*/ 1217278 w 1427049"/>
                <a:gd name="connsiteY34" fmla="*/ 2076889 h 2209564"/>
                <a:gd name="connsiteX35" fmla="*/ 1228941 w 1427049"/>
                <a:gd name="connsiteY35" fmla="*/ 2085718 h 2209564"/>
                <a:gd name="connsiteX36" fmla="*/ 1243550 w 1427049"/>
                <a:gd name="connsiteY36" fmla="*/ 2099645 h 2209564"/>
                <a:gd name="connsiteX37" fmla="*/ 1281300 w 1427049"/>
                <a:gd name="connsiteY37" fmla="*/ 2126485 h 2209564"/>
                <a:gd name="connsiteX38" fmla="*/ 1299289 w 1427049"/>
                <a:gd name="connsiteY38" fmla="*/ 2141327 h 2209564"/>
                <a:gd name="connsiteX39" fmla="*/ 1310288 w 1427049"/>
                <a:gd name="connsiteY39" fmla="*/ 2147297 h 2209564"/>
                <a:gd name="connsiteX40" fmla="*/ 1321232 w 1427049"/>
                <a:gd name="connsiteY40" fmla="*/ 2155581 h 2209564"/>
                <a:gd name="connsiteX41" fmla="*/ 1324648 w 1427049"/>
                <a:gd name="connsiteY41" fmla="*/ 2157303 h 2209564"/>
                <a:gd name="connsiteX42" fmla="*/ 1328666 w 1427049"/>
                <a:gd name="connsiteY42" fmla="*/ 2160160 h 2209564"/>
                <a:gd name="connsiteX43" fmla="*/ 1422278 w 1427049"/>
                <a:gd name="connsiteY43" fmla="*/ 2208083 h 2209564"/>
                <a:gd name="connsiteX44" fmla="*/ 1427049 w 1427049"/>
                <a:gd name="connsiteY44" fmla="*/ 2209564 h 2209564"/>
                <a:gd name="connsiteX45" fmla="*/ 136476 w 1427049"/>
                <a:gd name="connsiteY45" fmla="*/ 2209564 h 2209564"/>
                <a:gd name="connsiteX46" fmla="*/ 133918 w 1427049"/>
                <a:gd name="connsiteY46" fmla="*/ 2204253 h 2209564"/>
                <a:gd name="connsiteX47" fmla="*/ 0 w 1427049"/>
                <a:gd name="connsiteY47" fmla="*/ 1540937 h 2209564"/>
                <a:gd name="connsiteX48" fmla="*/ 891830 w 1427049"/>
                <a:gd name="connsiteY48" fmla="*/ 42505 h 2209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427049" h="2209564">
                  <a:moveTo>
                    <a:pt x="980064" y="0"/>
                  </a:moveTo>
                  <a:lnTo>
                    <a:pt x="980064" y="1540937"/>
                  </a:lnTo>
                  <a:lnTo>
                    <a:pt x="980064" y="1574188"/>
                  </a:lnTo>
                  <a:lnTo>
                    <a:pt x="981743" y="1574188"/>
                  </a:lnTo>
                  <a:lnTo>
                    <a:pt x="983802" y="1614967"/>
                  </a:lnTo>
                  <a:lnTo>
                    <a:pt x="985100" y="1623468"/>
                  </a:lnTo>
                  <a:lnTo>
                    <a:pt x="987498" y="1639179"/>
                  </a:lnTo>
                  <a:lnTo>
                    <a:pt x="988407" y="1651202"/>
                  </a:lnTo>
                  <a:lnTo>
                    <a:pt x="991146" y="1663082"/>
                  </a:lnTo>
                  <a:lnTo>
                    <a:pt x="994774" y="1686857"/>
                  </a:lnTo>
                  <a:lnTo>
                    <a:pt x="1001958" y="1710000"/>
                  </a:lnTo>
                  <a:lnTo>
                    <a:pt x="1006251" y="1728627"/>
                  </a:lnTo>
                  <a:lnTo>
                    <a:pt x="1010023" y="1747722"/>
                  </a:lnTo>
                  <a:lnTo>
                    <a:pt x="1011502" y="1751413"/>
                  </a:lnTo>
                  <a:lnTo>
                    <a:pt x="1012616" y="1756246"/>
                  </a:lnTo>
                  <a:lnTo>
                    <a:pt x="1030044" y="1800478"/>
                  </a:lnTo>
                  <a:lnTo>
                    <a:pt x="1035434" y="1817841"/>
                  </a:lnTo>
                  <a:lnTo>
                    <a:pt x="1036963" y="1822768"/>
                  </a:lnTo>
                  <a:lnTo>
                    <a:pt x="1043760" y="1835291"/>
                  </a:lnTo>
                  <a:lnTo>
                    <a:pt x="1051463" y="1854840"/>
                  </a:lnTo>
                  <a:lnTo>
                    <a:pt x="1056451" y="1863518"/>
                  </a:lnTo>
                  <a:lnTo>
                    <a:pt x="1059275" y="1870560"/>
                  </a:lnTo>
                  <a:lnTo>
                    <a:pt x="1072724" y="1891830"/>
                  </a:lnTo>
                  <a:lnTo>
                    <a:pt x="1103714" y="1945748"/>
                  </a:lnTo>
                  <a:lnTo>
                    <a:pt x="1103718" y="1945755"/>
                  </a:lnTo>
                  <a:lnTo>
                    <a:pt x="1103720" y="1945758"/>
                  </a:lnTo>
                  <a:lnTo>
                    <a:pt x="1103737" y="1945778"/>
                  </a:lnTo>
                  <a:lnTo>
                    <a:pt x="1119611" y="1965981"/>
                  </a:lnTo>
                  <a:lnTo>
                    <a:pt x="1129160" y="1981082"/>
                  </a:lnTo>
                  <a:lnTo>
                    <a:pt x="1145053" y="1998362"/>
                  </a:lnTo>
                  <a:lnTo>
                    <a:pt x="1168158" y="2027769"/>
                  </a:lnTo>
                  <a:lnTo>
                    <a:pt x="1183278" y="2042183"/>
                  </a:lnTo>
                  <a:lnTo>
                    <a:pt x="1192132" y="2052914"/>
                  </a:lnTo>
                  <a:lnTo>
                    <a:pt x="1204969" y="2063506"/>
                  </a:lnTo>
                  <a:lnTo>
                    <a:pt x="1217278" y="2076889"/>
                  </a:lnTo>
                  <a:lnTo>
                    <a:pt x="1228941" y="2085718"/>
                  </a:lnTo>
                  <a:lnTo>
                    <a:pt x="1243550" y="2099645"/>
                  </a:lnTo>
                  <a:lnTo>
                    <a:pt x="1281300" y="2126485"/>
                  </a:lnTo>
                  <a:lnTo>
                    <a:pt x="1299289" y="2141327"/>
                  </a:lnTo>
                  <a:lnTo>
                    <a:pt x="1310288" y="2147297"/>
                  </a:lnTo>
                  <a:lnTo>
                    <a:pt x="1321232" y="2155581"/>
                  </a:lnTo>
                  <a:lnTo>
                    <a:pt x="1324648" y="2157303"/>
                  </a:lnTo>
                  <a:lnTo>
                    <a:pt x="1328666" y="2160160"/>
                  </a:lnTo>
                  <a:cubicBezTo>
                    <a:pt x="1358522" y="2178301"/>
                    <a:pt x="1389795" y="2194344"/>
                    <a:pt x="1422278" y="2208083"/>
                  </a:cubicBezTo>
                  <a:lnTo>
                    <a:pt x="1427049" y="2209564"/>
                  </a:lnTo>
                  <a:lnTo>
                    <a:pt x="136476" y="2209564"/>
                  </a:lnTo>
                  <a:lnTo>
                    <a:pt x="133918" y="2204253"/>
                  </a:lnTo>
                  <a:cubicBezTo>
                    <a:pt x="47685" y="2000376"/>
                    <a:pt x="0" y="1776225"/>
                    <a:pt x="0" y="1540937"/>
                  </a:cubicBezTo>
                  <a:cubicBezTo>
                    <a:pt x="0" y="893894"/>
                    <a:pt x="360616" y="331078"/>
                    <a:pt x="891830" y="42505"/>
                  </a:cubicBezTo>
                  <a:close/>
                </a:path>
              </a:pathLst>
            </a:custGeom>
            <a:solidFill>
              <a:schemeClr val="accent4"/>
            </a:solidFill>
            <a:ln w="12700" cap="flat" cmpd="sng" algn="ctr">
              <a:noFill/>
              <a:prstDash val="solid"/>
              <a:miter lim="800000"/>
            </a:ln>
            <a:effectLst/>
          </p:spPr>
          <p:txBody>
            <a:bodyPr vert="vert" rtlCol="0" anchor="ctr"/>
            <a:lstStyle/>
            <a:p>
              <a:pPr algn="ctr" defTabSz="896042">
                <a:defRPr/>
              </a:pPr>
              <a:endParaRPr lang="en-US" sz="1200" b="1" kern="0" dirty="0">
                <a:solidFill>
                  <a:prstClr val="white"/>
                </a:solidFill>
                <a:latin typeface="Calibri" panose="020F0502020204030204"/>
              </a:endParaRPr>
            </a:p>
          </p:txBody>
        </p:sp>
        <p:grpSp>
          <p:nvGrpSpPr>
            <p:cNvPr id="16" name="Group 15">
              <a:extLst>
                <a:ext uri="{FF2B5EF4-FFF2-40B4-BE49-F238E27FC236}">
                  <a16:creationId xmlns:a16="http://schemas.microsoft.com/office/drawing/2014/main" id="{4E66A237-F9C2-4548-9BD1-4A26631FC063}"/>
                </a:ext>
              </a:extLst>
            </p:cNvPr>
            <p:cNvGrpSpPr/>
            <p:nvPr/>
          </p:nvGrpSpPr>
          <p:grpSpPr>
            <a:xfrm>
              <a:off x="270068" y="3939945"/>
              <a:ext cx="6680173" cy="2239644"/>
              <a:chOff x="270068" y="3939945"/>
              <a:chExt cx="6680173" cy="2239644"/>
            </a:xfrm>
          </p:grpSpPr>
          <p:cxnSp>
            <p:nvCxnSpPr>
              <p:cNvPr id="55" name="Straight Connector 54"/>
              <p:cNvCxnSpPr/>
              <p:nvPr/>
            </p:nvCxnSpPr>
            <p:spPr>
              <a:xfrm>
                <a:off x="3944881" y="3939945"/>
                <a:ext cx="0" cy="2239644"/>
              </a:xfrm>
              <a:prstGeom prst="line">
                <a:avLst/>
              </a:prstGeom>
              <a:ln>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26EB2982-C8CE-46AD-A9E2-324DBCEB78DD}"/>
                  </a:ext>
                </a:extLst>
              </p:cNvPr>
              <p:cNvGrpSpPr/>
              <p:nvPr/>
            </p:nvGrpSpPr>
            <p:grpSpPr>
              <a:xfrm>
                <a:off x="270068" y="3939945"/>
                <a:ext cx="6680173" cy="1754518"/>
                <a:chOff x="270068" y="3939945"/>
                <a:chExt cx="6680173" cy="1754518"/>
              </a:xfrm>
            </p:grpSpPr>
            <p:sp>
              <p:nvSpPr>
                <p:cNvPr id="61" name="TextBox 60"/>
                <p:cNvSpPr txBox="1"/>
                <p:nvPr/>
              </p:nvSpPr>
              <p:spPr>
                <a:xfrm>
                  <a:off x="4920733" y="4968155"/>
                  <a:ext cx="2029508" cy="307777"/>
                </a:xfrm>
                <a:prstGeom prst="rect">
                  <a:avLst/>
                </a:prstGeom>
                <a:noFill/>
              </p:spPr>
              <p:txBody>
                <a:bodyPr wrap="square" rtlCol="0">
                  <a:spAutoFit/>
                </a:bodyPr>
                <a:lstStyle/>
                <a:p>
                  <a:pPr algn="ctr" defTabSz="896042">
                    <a:defRPr/>
                  </a:pPr>
                  <a:r>
                    <a:rPr lang="en-US" sz="1400" b="1" kern="0" dirty="0">
                      <a:solidFill>
                        <a:srgbClr val="FFFFFF"/>
                      </a:solidFill>
                      <a:latin typeface="Segoe UI Semilight"/>
                    </a:rPr>
                    <a:t>3: Why</a:t>
                  </a:r>
                </a:p>
              </p:txBody>
            </p:sp>
            <p:sp>
              <p:nvSpPr>
                <p:cNvPr id="56" name="Isosceles Triangle 55"/>
                <p:cNvSpPr/>
                <p:nvPr/>
              </p:nvSpPr>
              <p:spPr bwMode="auto">
                <a:xfrm rot="5400000">
                  <a:off x="3883748" y="4997899"/>
                  <a:ext cx="294757" cy="172493"/>
                </a:xfrm>
                <a:prstGeom prst="triangl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ts val="300"/>
                    </a:spcBef>
                  </a:pPr>
                  <a:endParaRPr lang="en-US" sz="1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8" name="Rectangle 67"/>
                <p:cNvSpPr/>
                <p:nvPr/>
              </p:nvSpPr>
              <p:spPr>
                <a:xfrm>
                  <a:off x="270068" y="3939945"/>
                  <a:ext cx="3563151" cy="1754518"/>
                </a:xfrm>
                <a:prstGeom prst="rect">
                  <a:avLst/>
                </a:prstGeom>
                <a:solidFill>
                  <a:schemeClr val="bg1">
                    <a:lumMod val="95000"/>
                  </a:schemeClr>
                </a:solidFill>
                <a:ln w="6350">
                  <a:noFill/>
                </a:ln>
              </p:spPr>
              <p:style>
                <a:lnRef idx="2">
                  <a:schemeClr val="accent5">
                    <a:hueOff val="-9385555"/>
                    <a:satOff val="-911"/>
                    <a:lumOff val="17057"/>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2971" lvl="1" indent="-172971" defTabSz="533196">
                    <a:spcBef>
                      <a:spcPts val="600"/>
                    </a:spcBef>
                    <a:buFont typeface="Arial" panose="020B0604020202020204" pitchFamily="34" charset="0"/>
                    <a:buChar char="•"/>
                  </a:pPr>
                  <a:r>
                    <a:rPr lang="en-US" sz="1371" dirty="0">
                      <a:solidFill>
                        <a:srgbClr val="353535"/>
                      </a:solidFill>
                    </a:rPr>
                    <a:t>Cost model transformation </a:t>
                  </a:r>
                  <a:r>
                    <a:rPr lang="en-US" sz="1371" dirty="0" err="1">
                      <a:solidFill>
                        <a:srgbClr val="353535"/>
                      </a:solidFill>
                    </a:rPr>
                    <a:t>CapEx</a:t>
                  </a:r>
                  <a:r>
                    <a:rPr lang="en-US" sz="1371" dirty="0">
                      <a:solidFill>
                        <a:srgbClr val="353535"/>
                      </a:solidFill>
                    </a:rPr>
                    <a:t> to </a:t>
                  </a:r>
                  <a:r>
                    <a:rPr lang="en-US" sz="1371" dirty="0" err="1">
                      <a:solidFill>
                        <a:srgbClr val="353535"/>
                      </a:solidFill>
                    </a:rPr>
                    <a:t>OpEx</a:t>
                  </a:r>
                  <a:endParaRPr lang="en-US" sz="1371" dirty="0">
                    <a:solidFill>
                      <a:srgbClr val="353535"/>
                    </a:solidFill>
                  </a:endParaRPr>
                </a:p>
                <a:p>
                  <a:pPr marL="172971" lvl="1" indent="-172971" defTabSz="533196">
                    <a:spcBef>
                      <a:spcPts val="600"/>
                    </a:spcBef>
                    <a:buFont typeface="Arial" panose="020B0604020202020204" pitchFamily="34" charset="0"/>
                    <a:buChar char="•"/>
                  </a:pPr>
                  <a:r>
                    <a:rPr lang="en-US" sz="1371" dirty="0">
                      <a:solidFill>
                        <a:srgbClr val="353535"/>
                      </a:solidFill>
                    </a:rPr>
                    <a:t>Datacenter modernization insight</a:t>
                  </a:r>
                </a:p>
                <a:p>
                  <a:pPr marL="172971" lvl="1" indent="-172971" defTabSz="533196">
                    <a:spcBef>
                      <a:spcPts val="600"/>
                    </a:spcBef>
                    <a:buFont typeface="Arial" panose="020B0604020202020204" pitchFamily="34" charset="0"/>
                    <a:buChar char="•"/>
                  </a:pPr>
                  <a:r>
                    <a:rPr lang="en-US" sz="1371" dirty="0">
                      <a:solidFill>
                        <a:srgbClr val="353535"/>
                      </a:solidFill>
                    </a:rPr>
                    <a:t>Modern security and new capabilities such as advanced analytics &amp; AI</a:t>
                  </a:r>
                </a:p>
                <a:p>
                  <a:pPr marL="172971" lvl="1" indent="-172971" defTabSz="533196">
                    <a:spcBef>
                      <a:spcPts val="600"/>
                    </a:spcBef>
                    <a:buFont typeface="Arial" panose="020B0604020202020204" pitchFamily="34" charset="0"/>
                    <a:buChar char="•"/>
                  </a:pPr>
                  <a:r>
                    <a:rPr lang="en-US" sz="1371" dirty="0">
                      <a:solidFill>
                        <a:srgbClr val="353535"/>
                      </a:solidFill>
                    </a:rPr>
                    <a:t>Cloud scale and elasticity </a:t>
                  </a:r>
                </a:p>
                <a:p>
                  <a:pPr marL="172971" lvl="1" indent="-172971" defTabSz="533196">
                    <a:spcBef>
                      <a:spcPts val="600"/>
                    </a:spcBef>
                    <a:buFont typeface="Arial" panose="020B0604020202020204" pitchFamily="34" charset="0"/>
                    <a:buChar char="•"/>
                  </a:pPr>
                  <a:r>
                    <a:rPr lang="en-US" sz="1371" dirty="0">
                      <a:solidFill>
                        <a:srgbClr val="353535"/>
                      </a:solidFill>
                    </a:rPr>
                    <a:t>Pay for what you use – consumption </a:t>
                  </a:r>
                </a:p>
              </p:txBody>
            </p:sp>
          </p:grpSp>
        </p:grpSp>
      </p:grpSp>
      <p:grpSp>
        <p:nvGrpSpPr>
          <p:cNvPr id="18" name="Group 17">
            <a:extLst>
              <a:ext uri="{FF2B5EF4-FFF2-40B4-BE49-F238E27FC236}">
                <a16:creationId xmlns:a16="http://schemas.microsoft.com/office/drawing/2014/main" id="{51C0529C-70B1-470A-8856-80F9CC9949D4}"/>
              </a:ext>
            </a:extLst>
          </p:cNvPr>
          <p:cNvGrpSpPr/>
          <p:nvPr/>
        </p:nvGrpSpPr>
        <p:grpSpPr>
          <a:xfrm>
            <a:off x="5480601" y="1290845"/>
            <a:ext cx="6443653" cy="2335373"/>
            <a:chOff x="5480601" y="1290845"/>
            <a:chExt cx="6443653" cy="2335373"/>
          </a:xfrm>
        </p:grpSpPr>
        <p:cxnSp>
          <p:nvCxnSpPr>
            <p:cNvPr id="52" name="Straight Connector 51"/>
            <p:cNvCxnSpPr/>
            <p:nvPr/>
          </p:nvCxnSpPr>
          <p:spPr>
            <a:xfrm flipH="1">
              <a:off x="8357538" y="1290845"/>
              <a:ext cx="0" cy="2239644"/>
            </a:xfrm>
            <a:prstGeom prst="line">
              <a:avLst/>
            </a:prstGeom>
            <a:ln>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3E38A4F-4ED1-4E1E-930E-3197BCD39CE8}"/>
                </a:ext>
              </a:extLst>
            </p:cNvPr>
            <p:cNvGrpSpPr/>
            <p:nvPr/>
          </p:nvGrpSpPr>
          <p:grpSpPr>
            <a:xfrm>
              <a:off x="5480601" y="1354824"/>
              <a:ext cx="6443653" cy="2271394"/>
              <a:chOff x="5480601" y="1354824"/>
              <a:chExt cx="6443653" cy="2271394"/>
            </a:xfrm>
          </p:grpSpPr>
          <p:sp>
            <p:nvSpPr>
              <p:cNvPr id="47" name="Freeform 113"/>
              <p:cNvSpPr/>
              <p:nvPr/>
            </p:nvSpPr>
            <p:spPr>
              <a:xfrm rot="5400000">
                <a:off x="5915365" y="1605723"/>
                <a:ext cx="1585731" cy="2455259"/>
              </a:xfrm>
              <a:custGeom>
                <a:avLst/>
                <a:gdLst>
                  <a:gd name="connsiteX0" fmla="*/ 980064 w 1427049"/>
                  <a:gd name="connsiteY0" fmla="*/ 0 h 2209564"/>
                  <a:gd name="connsiteX1" fmla="*/ 980064 w 1427049"/>
                  <a:gd name="connsiteY1" fmla="*/ 1540937 h 2209564"/>
                  <a:gd name="connsiteX2" fmla="*/ 980064 w 1427049"/>
                  <a:gd name="connsiteY2" fmla="*/ 1574188 h 2209564"/>
                  <a:gd name="connsiteX3" fmla="*/ 981743 w 1427049"/>
                  <a:gd name="connsiteY3" fmla="*/ 1574188 h 2209564"/>
                  <a:gd name="connsiteX4" fmla="*/ 983802 w 1427049"/>
                  <a:gd name="connsiteY4" fmla="*/ 1614967 h 2209564"/>
                  <a:gd name="connsiteX5" fmla="*/ 985100 w 1427049"/>
                  <a:gd name="connsiteY5" fmla="*/ 1623468 h 2209564"/>
                  <a:gd name="connsiteX6" fmla="*/ 987498 w 1427049"/>
                  <a:gd name="connsiteY6" fmla="*/ 1639179 h 2209564"/>
                  <a:gd name="connsiteX7" fmla="*/ 988407 w 1427049"/>
                  <a:gd name="connsiteY7" fmla="*/ 1651202 h 2209564"/>
                  <a:gd name="connsiteX8" fmla="*/ 991146 w 1427049"/>
                  <a:gd name="connsiteY8" fmla="*/ 1663082 h 2209564"/>
                  <a:gd name="connsiteX9" fmla="*/ 994774 w 1427049"/>
                  <a:gd name="connsiteY9" fmla="*/ 1686857 h 2209564"/>
                  <a:gd name="connsiteX10" fmla="*/ 1001958 w 1427049"/>
                  <a:gd name="connsiteY10" fmla="*/ 1710000 h 2209564"/>
                  <a:gd name="connsiteX11" fmla="*/ 1006251 w 1427049"/>
                  <a:gd name="connsiteY11" fmla="*/ 1728627 h 2209564"/>
                  <a:gd name="connsiteX12" fmla="*/ 1010023 w 1427049"/>
                  <a:gd name="connsiteY12" fmla="*/ 1747722 h 2209564"/>
                  <a:gd name="connsiteX13" fmla="*/ 1011502 w 1427049"/>
                  <a:gd name="connsiteY13" fmla="*/ 1751413 h 2209564"/>
                  <a:gd name="connsiteX14" fmla="*/ 1012616 w 1427049"/>
                  <a:gd name="connsiteY14" fmla="*/ 1756246 h 2209564"/>
                  <a:gd name="connsiteX15" fmla="*/ 1030044 w 1427049"/>
                  <a:gd name="connsiteY15" fmla="*/ 1800478 h 2209564"/>
                  <a:gd name="connsiteX16" fmla="*/ 1035434 w 1427049"/>
                  <a:gd name="connsiteY16" fmla="*/ 1817841 h 2209564"/>
                  <a:gd name="connsiteX17" fmla="*/ 1036963 w 1427049"/>
                  <a:gd name="connsiteY17" fmla="*/ 1822768 h 2209564"/>
                  <a:gd name="connsiteX18" fmla="*/ 1043760 w 1427049"/>
                  <a:gd name="connsiteY18" fmla="*/ 1835291 h 2209564"/>
                  <a:gd name="connsiteX19" fmla="*/ 1051463 w 1427049"/>
                  <a:gd name="connsiteY19" fmla="*/ 1854840 h 2209564"/>
                  <a:gd name="connsiteX20" fmla="*/ 1056451 w 1427049"/>
                  <a:gd name="connsiteY20" fmla="*/ 1863518 h 2209564"/>
                  <a:gd name="connsiteX21" fmla="*/ 1059275 w 1427049"/>
                  <a:gd name="connsiteY21" fmla="*/ 1870560 h 2209564"/>
                  <a:gd name="connsiteX22" fmla="*/ 1072724 w 1427049"/>
                  <a:gd name="connsiteY22" fmla="*/ 1891830 h 2209564"/>
                  <a:gd name="connsiteX23" fmla="*/ 1103714 w 1427049"/>
                  <a:gd name="connsiteY23" fmla="*/ 1945748 h 2209564"/>
                  <a:gd name="connsiteX24" fmla="*/ 1103718 w 1427049"/>
                  <a:gd name="connsiteY24" fmla="*/ 1945755 h 2209564"/>
                  <a:gd name="connsiteX25" fmla="*/ 1103720 w 1427049"/>
                  <a:gd name="connsiteY25" fmla="*/ 1945758 h 2209564"/>
                  <a:gd name="connsiteX26" fmla="*/ 1103737 w 1427049"/>
                  <a:gd name="connsiteY26" fmla="*/ 1945778 h 2209564"/>
                  <a:gd name="connsiteX27" fmla="*/ 1119611 w 1427049"/>
                  <a:gd name="connsiteY27" fmla="*/ 1965981 h 2209564"/>
                  <a:gd name="connsiteX28" fmla="*/ 1129160 w 1427049"/>
                  <a:gd name="connsiteY28" fmla="*/ 1981082 h 2209564"/>
                  <a:gd name="connsiteX29" fmla="*/ 1145053 w 1427049"/>
                  <a:gd name="connsiteY29" fmla="*/ 1998362 h 2209564"/>
                  <a:gd name="connsiteX30" fmla="*/ 1168158 w 1427049"/>
                  <a:gd name="connsiteY30" fmla="*/ 2027769 h 2209564"/>
                  <a:gd name="connsiteX31" fmla="*/ 1183278 w 1427049"/>
                  <a:gd name="connsiteY31" fmla="*/ 2042183 h 2209564"/>
                  <a:gd name="connsiteX32" fmla="*/ 1192132 w 1427049"/>
                  <a:gd name="connsiteY32" fmla="*/ 2052914 h 2209564"/>
                  <a:gd name="connsiteX33" fmla="*/ 1204969 w 1427049"/>
                  <a:gd name="connsiteY33" fmla="*/ 2063506 h 2209564"/>
                  <a:gd name="connsiteX34" fmla="*/ 1217278 w 1427049"/>
                  <a:gd name="connsiteY34" fmla="*/ 2076889 h 2209564"/>
                  <a:gd name="connsiteX35" fmla="*/ 1228941 w 1427049"/>
                  <a:gd name="connsiteY35" fmla="*/ 2085718 h 2209564"/>
                  <a:gd name="connsiteX36" fmla="*/ 1243550 w 1427049"/>
                  <a:gd name="connsiteY36" fmla="*/ 2099645 h 2209564"/>
                  <a:gd name="connsiteX37" fmla="*/ 1281300 w 1427049"/>
                  <a:gd name="connsiteY37" fmla="*/ 2126485 h 2209564"/>
                  <a:gd name="connsiteX38" fmla="*/ 1299289 w 1427049"/>
                  <a:gd name="connsiteY38" fmla="*/ 2141327 h 2209564"/>
                  <a:gd name="connsiteX39" fmla="*/ 1310288 w 1427049"/>
                  <a:gd name="connsiteY39" fmla="*/ 2147297 h 2209564"/>
                  <a:gd name="connsiteX40" fmla="*/ 1321232 w 1427049"/>
                  <a:gd name="connsiteY40" fmla="*/ 2155581 h 2209564"/>
                  <a:gd name="connsiteX41" fmla="*/ 1324648 w 1427049"/>
                  <a:gd name="connsiteY41" fmla="*/ 2157303 h 2209564"/>
                  <a:gd name="connsiteX42" fmla="*/ 1328666 w 1427049"/>
                  <a:gd name="connsiteY42" fmla="*/ 2160160 h 2209564"/>
                  <a:gd name="connsiteX43" fmla="*/ 1422278 w 1427049"/>
                  <a:gd name="connsiteY43" fmla="*/ 2208083 h 2209564"/>
                  <a:gd name="connsiteX44" fmla="*/ 1427049 w 1427049"/>
                  <a:gd name="connsiteY44" fmla="*/ 2209564 h 2209564"/>
                  <a:gd name="connsiteX45" fmla="*/ 136476 w 1427049"/>
                  <a:gd name="connsiteY45" fmla="*/ 2209564 h 2209564"/>
                  <a:gd name="connsiteX46" fmla="*/ 133918 w 1427049"/>
                  <a:gd name="connsiteY46" fmla="*/ 2204253 h 2209564"/>
                  <a:gd name="connsiteX47" fmla="*/ 0 w 1427049"/>
                  <a:gd name="connsiteY47" fmla="*/ 1540937 h 2209564"/>
                  <a:gd name="connsiteX48" fmla="*/ 891830 w 1427049"/>
                  <a:gd name="connsiteY48" fmla="*/ 42505 h 2209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427049" h="2209564">
                    <a:moveTo>
                      <a:pt x="980064" y="0"/>
                    </a:moveTo>
                    <a:lnTo>
                      <a:pt x="980064" y="1540937"/>
                    </a:lnTo>
                    <a:lnTo>
                      <a:pt x="980064" y="1574188"/>
                    </a:lnTo>
                    <a:lnTo>
                      <a:pt x="981743" y="1574188"/>
                    </a:lnTo>
                    <a:lnTo>
                      <a:pt x="983802" y="1614967"/>
                    </a:lnTo>
                    <a:lnTo>
                      <a:pt x="985100" y="1623468"/>
                    </a:lnTo>
                    <a:lnTo>
                      <a:pt x="987498" y="1639179"/>
                    </a:lnTo>
                    <a:lnTo>
                      <a:pt x="988407" y="1651202"/>
                    </a:lnTo>
                    <a:lnTo>
                      <a:pt x="991146" y="1663082"/>
                    </a:lnTo>
                    <a:lnTo>
                      <a:pt x="994774" y="1686857"/>
                    </a:lnTo>
                    <a:lnTo>
                      <a:pt x="1001958" y="1710000"/>
                    </a:lnTo>
                    <a:lnTo>
                      <a:pt x="1006251" y="1728627"/>
                    </a:lnTo>
                    <a:lnTo>
                      <a:pt x="1010023" y="1747722"/>
                    </a:lnTo>
                    <a:lnTo>
                      <a:pt x="1011502" y="1751413"/>
                    </a:lnTo>
                    <a:lnTo>
                      <a:pt x="1012616" y="1756246"/>
                    </a:lnTo>
                    <a:lnTo>
                      <a:pt x="1030044" y="1800478"/>
                    </a:lnTo>
                    <a:lnTo>
                      <a:pt x="1035434" y="1817841"/>
                    </a:lnTo>
                    <a:lnTo>
                      <a:pt x="1036963" y="1822768"/>
                    </a:lnTo>
                    <a:lnTo>
                      <a:pt x="1043760" y="1835291"/>
                    </a:lnTo>
                    <a:lnTo>
                      <a:pt x="1051463" y="1854840"/>
                    </a:lnTo>
                    <a:lnTo>
                      <a:pt x="1056451" y="1863518"/>
                    </a:lnTo>
                    <a:lnTo>
                      <a:pt x="1059275" y="1870560"/>
                    </a:lnTo>
                    <a:lnTo>
                      <a:pt x="1072724" y="1891830"/>
                    </a:lnTo>
                    <a:lnTo>
                      <a:pt x="1103714" y="1945748"/>
                    </a:lnTo>
                    <a:lnTo>
                      <a:pt x="1103718" y="1945755"/>
                    </a:lnTo>
                    <a:lnTo>
                      <a:pt x="1103720" y="1945758"/>
                    </a:lnTo>
                    <a:lnTo>
                      <a:pt x="1103737" y="1945778"/>
                    </a:lnTo>
                    <a:lnTo>
                      <a:pt x="1119611" y="1965981"/>
                    </a:lnTo>
                    <a:lnTo>
                      <a:pt x="1129160" y="1981082"/>
                    </a:lnTo>
                    <a:lnTo>
                      <a:pt x="1145053" y="1998362"/>
                    </a:lnTo>
                    <a:lnTo>
                      <a:pt x="1168158" y="2027769"/>
                    </a:lnTo>
                    <a:lnTo>
                      <a:pt x="1183278" y="2042183"/>
                    </a:lnTo>
                    <a:lnTo>
                      <a:pt x="1192132" y="2052914"/>
                    </a:lnTo>
                    <a:lnTo>
                      <a:pt x="1204969" y="2063506"/>
                    </a:lnTo>
                    <a:lnTo>
                      <a:pt x="1217278" y="2076889"/>
                    </a:lnTo>
                    <a:lnTo>
                      <a:pt x="1228941" y="2085718"/>
                    </a:lnTo>
                    <a:lnTo>
                      <a:pt x="1243550" y="2099645"/>
                    </a:lnTo>
                    <a:lnTo>
                      <a:pt x="1281300" y="2126485"/>
                    </a:lnTo>
                    <a:lnTo>
                      <a:pt x="1299289" y="2141327"/>
                    </a:lnTo>
                    <a:lnTo>
                      <a:pt x="1310288" y="2147297"/>
                    </a:lnTo>
                    <a:lnTo>
                      <a:pt x="1321232" y="2155581"/>
                    </a:lnTo>
                    <a:lnTo>
                      <a:pt x="1324648" y="2157303"/>
                    </a:lnTo>
                    <a:lnTo>
                      <a:pt x="1328666" y="2160160"/>
                    </a:lnTo>
                    <a:cubicBezTo>
                      <a:pt x="1358522" y="2178301"/>
                      <a:pt x="1389795" y="2194344"/>
                      <a:pt x="1422278" y="2208083"/>
                    </a:cubicBezTo>
                    <a:lnTo>
                      <a:pt x="1427049" y="2209564"/>
                    </a:lnTo>
                    <a:lnTo>
                      <a:pt x="136476" y="2209564"/>
                    </a:lnTo>
                    <a:lnTo>
                      <a:pt x="133918" y="2204253"/>
                    </a:lnTo>
                    <a:cubicBezTo>
                      <a:pt x="47685" y="2000376"/>
                      <a:pt x="0" y="1776225"/>
                      <a:pt x="0" y="1540937"/>
                    </a:cubicBezTo>
                    <a:cubicBezTo>
                      <a:pt x="0" y="893894"/>
                      <a:pt x="360616" y="331078"/>
                      <a:pt x="891830" y="42505"/>
                    </a:cubicBezTo>
                    <a:close/>
                  </a:path>
                </a:pathLst>
              </a:custGeom>
              <a:solidFill>
                <a:schemeClr val="accent2"/>
              </a:solidFill>
              <a:ln w="12700" cap="flat" cmpd="sng" algn="ctr">
                <a:noFill/>
                <a:prstDash val="solid"/>
                <a:miter lim="800000"/>
              </a:ln>
              <a:effectLst/>
            </p:spPr>
            <p:txBody>
              <a:bodyPr vert="vert270" rtlCol="0" anchor="ctr"/>
              <a:lstStyle/>
              <a:p>
                <a:pPr algn="ctr" defTabSz="896042">
                  <a:defRPr/>
                </a:pPr>
                <a:endParaRPr lang="en-US" sz="1200" b="1" kern="0" dirty="0">
                  <a:solidFill>
                    <a:prstClr val="white"/>
                  </a:solidFill>
                  <a:latin typeface="Calibri" panose="020F0502020204030204"/>
                </a:endParaRPr>
              </a:p>
            </p:txBody>
          </p:sp>
          <p:sp>
            <p:nvSpPr>
              <p:cNvPr id="51" name="TextBox 50"/>
              <p:cNvSpPr txBox="1"/>
              <p:nvPr/>
            </p:nvSpPr>
            <p:spPr>
              <a:xfrm>
                <a:off x="5653093" y="2294695"/>
                <a:ext cx="1460003" cy="307777"/>
              </a:xfrm>
              <a:prstGeom prst="rect">
                <a:avLst/>
              </a:prstGeom>
              <a:noFill/>
            </p:spPr>
            <p:txBody>
              <a:bodyPr wrap="square" rtlCol="0">
                <a:spAutoFit/>
              </a:bodyPr>
              <a:lstStyle/>
              <a:p>
                <a:pPr algn="ctr" defTabSz="696921">
                  <a:spcBef>
                    <a:spcPct val="0"/>
                  </a:spcBef>
                  <a:spcAft>
                    <a:spcPct val="35000"/>
                  </a:spcAft>
                  <a:defRPr/>
                </a:pPr>
                <a:r>
                  <a:rPr lang="en-US" sz="1400" b="1" dirty="0">
                    <a:solidFill>
                      <a:srgbClr val="FFFFFF"/>
                    </a:solidFill>
                    <a:latin typeface="Segoe UI Semilight"/>
                  </a:rPr>
                  <a:t>1: What</a:t>
                </a:r>
              </a:p>
            </p:txBody>
          </p:sp>
          <p:sp>
            <p:nvSpPr>
              <p:cNvPr id="53" name="Isosceles Triangle 52"/>
              <p:cNvSpPr/>
              <p:nvPr/>
            </p:nvSpPr>
            <p:spPr bwMode="auto">
              <a:xfrm rot="16200000" flipH="1">
                <a:off x="8123913" y="2324421"/>
                <a:ext cx="294757" cy="172493"/>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ts val="300"/>
                  </a:spcBef>
                </a:pPr>
                <a:endParaRPr lang="en-US" sz="1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9" name="Rectangle 68"/>
              <p:cNvSpPr/>
              <p:nvPr/>
            </p:nvSpPr>
            <p:spPr>
              <a:xfrm>
                <a:off x="8456579" y="1354824"/>
                <a:ext cx="3467675" cy="2022540"/>
              </a:xfrm>
              <a:prstGeom prst="rect">
                <a:avLst/>
              </a:prstGeom>
              <a:solidFill>
                <a:schemeClr val="bg1">
                  <a:lumMod val="95000"/>
                </a:schemeClr>
              </a:solidFill>
              <a:ln w="6350">
                <a:noFill/>
              </a:ln>
            </p:spPr>
            <p:style>
              <a:lnRef idx="2">
                <a:schemeClr val="accent5">
                  <a:hueOff val="-3128519"/>
                  <a:satOff val="-304"/>
                  <a:lumOff val="5686"/>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2971" lvl="1" indent="-172971" defTabSz="533196">
                  <a:spcBef>
                    <a:spcPts val="600"/>
                  </a:spcBef>
                  <a:buFont typeface="Arial" panose="020B0604020202020204" pitchFamily="34" charset="0"/>
                  <a:buChar char="•"/>
                </a:pPr>
                <a:r>
                  <a:rPr lang="en-US" sz="1371" dirty="0">
                    <a:solidFill>
                      <a:srgbClr val="353535"/>
                    </a:solidFill>
                    <a:latin typeface="Segoe UI Semilight"/>
                  </a:rPr>
                  <a:t>Free assessment of your physical and virtual environments with dependency discovery</a:t>
                </a:r>
              </a:p>
              <a:p>
                <a:pPr marL="172971" lvl="1" indent="-172971" defTabSz="533196">
                  <a:spcBef>
                    <a:spcPts val="600"/>
                  </a:spcBef>
                  <a:buFont typeface="Arial" panose="020B0604020202020204" pitchFamily="34" charset="0"/>
                  <a:buChar char="•"/>
                </a:pPr>
                <a:r>
                  <a:rPr lang="en-US" sz="1371" dirty="0">
                    <a:solidFill>
                      <a:srgbClr val="353535"/>
                    </a:solidFill>
                    <a:latin typeface="Segoe UI Semilight"/>
                  </a:rPr>
                  <a:t>Azure readiness report would be generated </a:t>
                </a:r>
                <a:endParaRPr lang="en-US" sz="1371" baseline="30000" dirty="0">
                  <a:solidFill>
                    <a:srgbClr val="353535"/>
                  </a:solidFill>
                  <a:latin typeface="Segoe UI Semilight"/>
                </a:endParaRPr>
              </a:p>
              <a:p>
                <a:pPr marL="172971" lvl="1" indent="-172971" defTabSz="533196">
                  <a:spcBef>
                    <a:spcPts val="600"/>
                  </a:spcBef>
                  <a:buFont typeface="Arial" panose="020B0604020202020204" pitchFamily="34" charset="0"/>
                  <a:buChar char="•"/>
                </a:pPr>
                <a:r>
                  <a:rPr lang="en-US" sz="1371" dirty="0">
                    <a:solidFill>
                      <a:srgbClr val="353535"/>
                    </a:solidFill>
                    <a:latin typeface="Segoe UI Semilight"/>
                  </a:rPr>
                  <a:t>Indicative cost of Azure server, network, and storage infrastructure based on current utilization </a:t>
                </a:r>
              </a:p>
            </p:txBody>
          </p:sp>
        </p:grpSp>
      </p:grpSp>
      <p:grpSp>
        <p:nvGrpSpPr>
          <p:cNvPr id="13" name="Group 12">
            <a:extLst>
              <a:ext uri="{FF2B5EF4-FFF2-40B4-BE49-F238E27FC236}">
                <a16:creationId xmlns:a16="http://schemas.microsoft.com/office/drawing/2014/main" id="{941BFDBC-33FA-4802-BE93-3F22B4D3F2F0}"/>
              </a:ext>
            </a:extLst>
          </p:cNvPr>
          <p:cNvGrpSpPr/>
          <p:nvPr/>
        </p:nvGrpSpPr>
        <p:grpSpPr>
          <a:xfrm>
            <a:off x="270067" y="1290845"/>
            <a:ext cx="5641610" cy="3381864"/>
            <a:chOff x="270067" y="1290845"/>
            <a:chExt cx="5641610" cy="3381864"/>
          </a:xfrm>
        </p:grpSpPr>
        <p:cxnSp>
          <p:nvCxnSpPr>
            <p:cNvPr id="10" name="Straight Connector 9"/>
            <p:cNvCxnSpPr/>
            <p:nvPr/>
          </p:nvCxnSpPr>
          <p:spPr>
            <a:xfrm>
              <a:off x="3944881" y="1290845"/>
              <a:ext cx="0" cy="2239644"/>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C0892B23-5A66-4D71-B707-2B0414EAA743}"/>
                </a:ext>
              </a:extLst>
            </p:cNvPr>
            <p:cNvGrpSpPr/>
            <p:nvPr/>
          </p:nvGrpSpPr>
          <p:grpSpPr>
            <a:xfrm>
              <a:off x="270067" y="1290846"/>
              <a:ext cx="5641610" cy="3381863"/>
              <a:chOff x="270067" y="1290846"/>
              <a:chExt cx="5641610" cy="3381863"/>
            </a:xfrm>
          </p:grpSpPr>
          <p:sp>
            <p:nvSpPr>
              <p:cNvPr id="42" name="Freeform 112"/>
              <p:cNvSpPr/>
              <p:nvPr/>
            </p:nvSpPr>
            <p:spPr>
              <a:xfrm>
                <a:off x="4325946" y="2217450"/>
                <a:ext cx="1585731" cy="2455259"/>
              </a:xfrm>
              <a:custGeom>
                <a:avLst/>
                <a:gdLst>
                  <a:gd name="connsiteX0" fmla="*/ 980064 w 1427049"/>
                  <a:gd name="connsiteY0" fmla="*/ 0 h 2209564"/>
                  <a:gd name="connsiteX1" fmla="*/ 980064 w 1427049"/>
                  <a:gd name="connsiteY1" fmla="*/ 1540937 h 2209564"/>
                  <a:gd name="connsiteX2" fmla="*/ 980064 w 1427049"/>
                  <a:gd name="connsiteY2" fmla="*/ 1574188 h 2209564"/>
                  <a:gd name="connsiteX3" fmla="*/ 981743 w 1427049"/>
                  <a:gd name="connsiteY3" fmla="*/ 1574188 h 2209564"/>
                  <a:gd name="connsiteX4" fmla="*/ 983802 w 1427049"/>
                  <a:gd name="connsiteY4" fmla="*/ 1614967 h 2209564"/>
                  <a:gd name="connsiteX5" fmla="*/ 985100 w 1427049"/>
                  <a:gd name="connsiteY5" fmla="*/ 1623468 h 2209564"/>
                  <a:gd name="connsiteX6" fmla="*/ 987498 w 1427049"/>
                  <a:gd name="connsiteY6" fmla="*/ 1639179 h 2209564"/>
                  <a:gd name="connsiteX7" fmla="*/ 988407 w 1427049"/>
                  <a:gd name="connsiteY7" fmla="*/ 1651202 h 2209564"/>
                  <a:gd name="connsiteX8" fmla="*/ 991146 w 1427049"/>
                  <a:gd name="connsiteY8" fmla="*/ 1663082 h 2209564"/>
                  <a:gd name="connsiteX9" fmla="*/ 994774 w 1427049"/>
                  <a:gd name="connsiteY9" fmla="*/ 1686857 h 2209564"/>
                  <a:gd name="connsiteX10" fmla="*/ 1001958 w 1427049"/>
                  <a:gd name="connsiteY10" fmla="*/ 1710000 h 2209564"/>
                  <a:gd name="connsiteX11" fmla="*/ 1006251 w 1427049"/>
                  <a:gd name="connsiteY11" fmla="*/ 1728627 h 2209564"/>
                  <a:gd name="connsiteX12" fmla="*/ 1010023 w 1427049"/>
                  <a:gd name="connsiteY12" fmla="*/ 1747722 h 2209564"/>
                  <a:gd name="connsiteX13" fmla="*/ 1011502 w 1427049"/>
                  <a:gd name="connsiteY13" fmla="*/ 1751413 h 2209564"/>
                  <a:gd name="connsiteX14" fmla="*/ 1012616 w 1427049"/>
                  <a:gd name="connsiteY14" fmla="*/ 1756246 h 2209564"/>
                  <a:gd name="connsiteX15" fmla="*/ 1030044 w 1427049"/>
                  <a:gd name="connsiteY15" fmla="*/ 1800478 h 2209564"/>
                  <a:gd name="connsiteX16" fmla="*/ 1035434 w 1427049"/>
                  <a:gd name="connsiteY16" fmla="*/ 1817841 h 2209564"/>
                  <a:gd name="connsiteX17" fmla="*/ 1036963 w 1427049"/>
                  <a:gd name="connsiteY17" fmla="*/ 1822768 h 2209564"/>
                  <a:gd name="connsiteX18" fmla="*/ 1043760 w 1427049"/>
                  <a:gd name="connsiteY18" fmla="*/ 1835291 h 2209564"/>
                  <a:gd name="connsiteX19" fmla="*/ 1051463 w 1427049"/>
                  <a:gd name="connsiteY19" fmla="*/ 1854840 h 2209564"/>
                  <a:gd name="connsiteX20" fmla="*/ 1056451 w 1427049"/>
                  <a:gd name="connsiteY20" fmla="*/ 1863518 h 2209564"/>
                  <a:gd name="connsiteX21" fmla="*/ 1059275 w 1427049"/>
                  <a:gd name="connsiteY21" fmla="*/ 1870560 h 2209564"/>
                  <a:gd name="connsiteX22" fmla="*/ 1072724 w 1427049"/>
                  <a:gd name="connsiteY22" fmla="*/ 1891830 h 2209564"/>
                  <a:gd name="connsiteX23" fmla="*/ 1103714 w 1427049"/>
                  <a:gd name="connsiteY23" fmla="*/ 1945748 h 2209564"/>
                  <a:gd name="connsiteX24" fmla="*/ 1103718 w 1427049"/>
                  <a:gd name="connsiteY24" fmla="*/ 1945755 h 2209564"/>
                  <a:gd name="connsiteX25" fmla="*/ 1103720 w 1427049"/>
                  <a:gd name="connsiteY25" fmla="*/ 1945758 h 2209564"/>
                  <a:gd name="connsiteX26" fmla="*/ 1103737 w 1427049"/>
                  <a:gd name="connsiteY26" fmla="*/ 1945778 h 2209564"/>
                  <a:gd name="connsiteX27" fmla="*/ 1119611 w 1427049"/>
                  <a:gd name="connsiteY27" fmla="*/ 1965981 h 2209564"/>
                  <a:gd name="connsiteX28" fmla="*/ 1129160 w 1427049"/>
                  <a:gd name="connsiteY28" fmla="*/ 1981082 h 2209564"/>
                  <a:gd name="connsiteX29" fmla="*/ 1145053 w 1427049"/>
                  <a:gd name="connsiteY29" fmla="*/ 1998362 h 2209564"/>
                  <a:gd name="connsiteX30" fmla="*/ 1168158 w 1427049"/>
                  <a:gd name="connsiteY30" fmla="*/ 2027769 h 2209564"/>
                  <a:gd name="connsiteX31" fmla="*/ 1183278 w 1427049"/>
                  <a:gd name="connsiteY31" fmla="*/ 2042183 h 2209564"/>
                  <a:gd name="connsiteX32" fmla="*/ 1192132 w 1427049"/>
                  <a:gd name="connsiteY32" fmla="*/ 2052914 h 2209564"/>
                  <a:gd name="connsiteX33" fmla="*/ 1204969 w 1427049"/>
                  <a:gd name="connsiteY33" fmla="*/ 2063506 h 2209564"/>
                  <a:gd name="connsiteX34" fmla="*/ 1217278 w 1427049"/>
                  <a:gd name="connsiteY34" fmla="*/ 2076889 h 2209564"/>
                  <a:gd name="connsiteX35" fmla="*/ 1228941 w 1427049"/>
                  <a:gd name="connsiteY35" fmla="*/ 2085718 h 2209564"/>
                  <a:gd name="connsiteX36" fmla="*/ 1243550 w 1427049"/>
                  <a:gd name="connsiteY36" fmla="*/ 2099645 h 2209564"/>
                  <a:gd name="connsiteX37" fmla="*/ 1281300 w 1427049"/>
                  <a:gd name="connsiteY37" fmla="*/ 2126485 h 2209564"/>
                  <a:gd name="connsiteX38" fmla="*/ 1299289 w 1427049"/>
                  <a:gd name="connsiteY38" fmla="*/ 2141327 h 2209564"/>
                  <a:gd name="connsiteX39" fmla="*/ 1310288 w 1427049"/>
                  <a:gd name="connsiteY39" fmla="*/ 2147297 h 2209564"/>
                  <a:gd name="connsiteX40" fmla="*/ 1321232 w 1427049"/>
                  <a:gd name="connsiteY40" fmla="*/ 2155581 h 2209564"/>
                  <a:gd name="connsiteX41" fmla="*/ 1324648 w 1427049"/>
                  <a:gd name="connsiteY41" fmla="*/ 2157303 h 2209564"/>
                  <a:gd name="connsiteX42" fmla="*/ 1328666 w 1427049"/>
                  <a:gd name="connsiteY42" fmla="*/ 2160160 h 2209564"/>
                  <a:gd name="connsiteX43" fmla="*/ 1422278 w 1427049"/>
                  <a:gd name="connsiteY43" fmla="*/ 2208083 h 2209564"/>
                  <a:gd name="connsiteX44" fmla="*/ 1427049 w 1427049"/>
                  <a:gd name="connsiteY44" fmla="*/ 2209564 h 2209564"/>
                  <a:gd name="connsiteX45" fmla="*/ 136476 w 1427049"/>
                  <a:gd name="connsiteY45" fmla="*/ 2209564 h 2209564"/>
                  <a:gd name="connsiteX46" fmla="*/ 133918 w 1427049"/>
                  <a:gd name="connsiteY46" fmla="*/ 2204253 h 2209564"/>
                  <a:gd name="connsiteX47" fmla="*/ 0 w 1427049"/>
                  <a:gd name="connsiteY47" fmla="*/ 1540937 h 2209564"/>
                  <a:gd name="connsiteX48" fmla="*/ 891830 w 1427049"/>
                  <a:gd name="connsiteY48" fmla="*/ 42505 h 2209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427049" h="2209564">
                    <a:moveTo>
                      <a:pt x="980064" y="0"/>
                    </a:moveTo>
                    <a:lnTo>
                      <a:pt x="980064" y="1540937"/>
                    </a:lnTo>
                    <a:lnTo>
                      <a:pt x="980064" y="1574188"/>
                    </a:lnTo>
                    <a:lnTo>
                      <a:pt x="981743" y="1574188"/>
                    </a:lnTo>
                    <a:lnTo>
                      <a:pt x="983802" y="1614967"/>
                    </a:lnTo>
                    <a:lnTo>
                      <a:pt x="985100" y="1623468"/>
                    </a:lnTo>
                    <a:lnTo>
                      <a:pt x="987498" y="1639179"/>
                    </a:lnTo>
                    <a:lnTo>
                      <a:pt x="988407" y="1651202"/>
                    </a:lnTo>
                    <a:lnTo>
                      <a:pt x="991146" y="1663082"/>
                    </a:lnTo>
                    <a:lnTo>
                      <a:pt x="994774" y="1686857"/>
                    </a:lnTo>
                    <a:lnTo>
                      <a:pt x="1001958" y="1710000"/>
                    </a:lnTo>
                    <a:lnTo>
                      <a:pt x="1006251" y="1728627"/>
                    </a:lnTo>
                    <a:lnTo>
                      <a:pt x="1010023" y="1747722"/>
                    </a:lnTo>
                    <a:lnTo>
                      <a:pt x="1011502" y="1751413"/>
                    </a:lnTo>
                    <a:lnTo>
                      <a:pt x="1012616" y="1756246"/>
                    </a:lnTo>
                    <a:lnTo>
                      <a:pt x="1030044" y="1800478"/>
                    </a:lnTo>
                    <a:lnTo>
                      <a:pt x="1035434" y="1817841"/>
                    </a:lnTo>
                    <a:lnTo>
                      <a:pt x="1036963" y="1822768"/>
                    </a:lnTo>
                    <a:lnTo>
                      <a:pt x="1043760" y="1835291"/>
                    </a:lnTo>
                    <a:lnTo>
                      <a:pt x="1051463" y="1854840"/>
                    </a:lnTo>
                    <a:lnTo>
                      <a:pt x="1056451" y="1863518"/>
                    </a:lnTo>
                    <a:lnTo>
                      <a:pt x="1059275" y="1870560"/>
                    </a:lnTo>
                    <a:lnTo>
                      <a:pt x="1072724" y="1891830"/>
                    </a:lnTo>
                    <a:lnTo>
                      <a:pt x="1103714" y="1945748"/>
                    </a:lnTo>
                    <a:lnTo>
                      <a:pt x="1103718" y="1945755"/>
                    </a:lnTo>
                    <a:lnTo>
                      <a:pt x="1103720" y="1945758"/>
                    </a:lnTo>
                    <a:lnTo>
                      <a:pt x="1103737" y="1945778"/>
                    </a:lnTo>
                    <a:lnTo>
                      <a:pt x="1119611" y="1965981"/>
                    </a:lnTo>
                    <a:lnTo>
                      <a:pt x="1129160" y="1981082"/>
                    </a:lnTo>
                    <a:lnTo>
                      <a:pt x="1145053" y="1998362"/>
                    </a:lnTo>
                    <a:lnTo>
                      <a:pt x="1168158" y="2027769"/>
                    </a:lnTo>
                    <a:lnTo>
                      <a:pt x="1183278" y="2042183"/>
                    </a:lnTo>
                    <a:lnTo>
                      <a:pt x="1192132" y="2052914"/>
                    </a:lnTo>
                    <a:lnTo>
                      <a:pt x="1204969" y="2063506"/>
                    </a:lnTo>
                    <a:lnTo>
                      <a:pt x="1217278" y="2076889"/>
                    </a:lnTo>
                    <a:lnTo>
                      <a:pt x="1228941" y="2085718"/>
                    </a:lnTo>
                    <a:lnTo>
                      <a:pt x="1243550" y="2099645"/>
                    </a:lnTo>
                    <a:lnTo>
                      <a:pt x="1281300" y="2126485"/>
                    </a:lnTo>
                    <a:lnTo>
                      <a:pt x="1299289" y="2141327"/>
                    </a:lnTo>
                    <a:lnTo>
                      <a:pt x="1310288" y="2147297"/>
                    </a:lnTo>
                    <a:lnTo>
                      <a:pt x="1321232" y="2155581"/>
                    </a:lnTo>
                    <a:lnTo>
                      <a:pt x="1324648" y="2157303"/>
                    </a:lnTo>
                    <a:lnTo>
                      <a:pt x="1328666" y="2160160"/>
                    </a:lnTo>
                    <a:cubicBezTo>
                      <a:pt x="1358522" y="2178301"/>
                      <a:pt x="1389795" y="2194344"/>
                      <a:pt x="1422278" y="2208083"/>
                    </a:cubicBezTo>
                    <a:lnTo>
                      <a:pt x="1427049" y="2209564"/>
                    </a:lnTo>
                    <a:lnTo>
                      <a:pt x="136476" y="2209564"/>
                    </a:lnTo>
                    <a:lnTo>
                      <a:pt x="133918" y="2204253"/>
                    </a:lnTo>
                    <a:cubicBezTo>
                      <a:pt x="47685" y="2000376"/>
                      <a:pt x="0" y="1776225"/>
                      <a:pt x="0" y="1540937"/>
                    </a:cubicBezTo>
                    <a:cubicBezTo>
                      <a:pt x="0" y="893894"/>
                      <a:pt x="360616" y="331078"/>
                      <a:pt x="891830" y="42505"/>
                    </a:cubicBezTo>
                    <a:close/>
                  </a:path>
                </a:pathLst>
              </a:custGeom>
              <a:solidFill>
                <a:schemeClr val="accent1"/>
              </a:solidFill>
              <a:ln w="12700" cap="flat" cmpd="sng" algn="ctr">
                <a:noFill/>
                <a:prstDash val="solid"/>
                <a:miter lim="800000"/>
              </a:ln>
              <a:effectLst/>
            </p:spPr>
            <p:txBody>
              <a:bodyPr vert="vert270" rtlCol="0" anchor="ctr">
                <a:normAutofit/>
              </a:bodyPr>
              <a:lstStyle/>
              <a:p>
                <a:pPr algn="ctr" defTabSz="896042">
                  <a:defRPr/>
                </a:pPr>
                <a:endParaRPr lang="en-US" sz="1200" b="1" kern="0" dirty="0">
                  <a:solidFill>
                    <a:prstClr val="white"/>
                  </a:solidFill>
                  <a:latin typeface="Calibri" panose="020F0502020204030204"/>
                </a:endParaRPr>
              </a:p>
            </p:txBody>
          </p:sp>
          <p:sp>
            <p:nvSpPr>
              <p:cNvPr id="43" name="TextBox 42"/>
              <p:cNvSpPr txBox="1"/>
              <p:nvPr/>
            </p:nvSpPr>
            <p:spPr>
              <a:xfrm>
                <a:off x="4409665" y="3445079"/>
                <a:ext cx="945007" cy="523220"/>
              </a:xfrm>
              <a:prstGeom prst="rect">
                <a:avLst/>
              </a:prstGeom>
              <a:noFill/>
            </p:spPr>
            <p:txBody>
              <a:bodyPr wrap="square" rtlCol="0">
                <a:spAutoFit/>
              </a:bodyPr>
              <a:lstStyle/>
              <a:p>
                <a:pPr algn="ctr" defTabSz="896042">
                  <a:defRPr/>
                </a:pPr>
                <a:r>
                  <a:rPr lang="en-US" sz="1400" b="1" kern="0" dirty="0">
                    <a:solidFill>
                      <a:prstClr val="white"/>
                    </a:solidFill>
                    <a:latin typeface="Segoe UI Semilight"/>
                  </a:rPr>
                  <a:t>4: Next</a:t>
                </a:r>
                <a:br>
                  <a:rPr lang="en-US" sz="1400" b="1" kern="0" dirty="0">
                    <a:solidFill>
                      <a:prstClr val="white"/>
                    </a:solidFill>
                    <a:latin typeface="Segoe UI Semilight"/>
                  </a:rPr>
                </a:br>
                <a:r>
                  <a:rPr lang="en-US" sz="1400" b="1" kern="0" dirty="0">
                    <a:solidFill>
                      <a:prstClr val="white"/>
                    </a:solidFill>
                    <a:latin typeface="Segoe UI Semilight"/>
                  </a:rPr>
                  <a:t>Steps</a:t>
                </a:r>
                <a:endParaRPr lang="en-US" sz="1200" b="1" kern="0" dirty="0">
                  <a:solidFill>
                    <a:prstClr val="white"/>
                  </a:solidFill>
                  <a:latin typeface="Segoe UI Semilight"/>
                </a:endParaRPr>
              </a:p>
            </p:txBody>
          </p:sp>
          <p:sp>
            <p:nvSpPr>
              <p:cNvPr id="46" name="Isosceles Triangle 45"/>
              <p:cNvSpPr/>
              <p:nvPr/>
            </p:nvSpPr>
            <p:spPr bwMode="auto">
              <a:xfrm rot="5400000">
                <a:off x="3883748" y="2324421"/>
                <a:ext cx="294757" cy="172493"/>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ts val="300"/>
                  </a:spcBef>
                </a:pPr>
                <a:endParaRPr lang="en-US" sz="1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0" name="Rectangle 69"/>
              <p:cNvSpPr/>
              <p:nvPr/>
            </p:nvSpPr>
            <p:spPr>
              <a:xfrm>
                <a:off x="270067" y="1290846"/>
                <a:ext cx="3563152" cy="1811585"/>
              </a:xfrm>
              <a:prstGeom prst="rect">
                <a:avLst/>
              </a:prstGeom>
              <a:solidFill>
                <a:schemeClr val="bg1">
                  <a:lumMod val="95000"/>
                </a:schemeClr>
              </a:solidFill>
              <a:ln w="6350">
                <a:noFill/>
              </a:ln>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2971" lvl="1" indent="-172971" defTabSz="533196">
                  <a:spcBef>
                    <a:spcPts val="600"/>
                  </a:spcBef>
                  <a:buFontTx/>
                  <a:buChar char="•"/>
                </a:pPr>
                <a:r>
                  <a:rPr lang="en-US" sz="1371" dirty="0">
                    <a:solidFill>
                      <a:srgbClr val="353535"/>
                    </a:solidFill>
                    <a:latin typeface="Segoe UI Semilight"/>
                  </a:rPr>
                  <a:t>Following on from the assessment we will arrange a meeting to discuss your assessment with you </a:t>
                </a:r>
              </a:p>
              <a:p>
                <a:pPr marL="172971" lvl="1" indent="-172971" defTabSz="533196">
                  <a:spcBef>
                    <a:spcPts val="600"/>
                  </a:spcBef>
                  <a:buFontTx/>
                  <a:buChar char="•"/>
                </a:pPr>
                <a:r>
                  <a:rPr lang="en-US" sz="1371" dirty="0">
                    <a:solidFill>
                      <a:srgbClr val="353535"/>
                    </a:solidFill>
                    <a:latin typeface="Segoe UI Semilight"/>
                  </a:rPr>
                  <a:t>Should you wish to proceed with your migration to Azure we will arrange a meeting to schedule the next actions</a:t>
                </a:r>
              </a:p>
              <a:p>
                <a:pPr marL="172971" lvl="1" indent="-172971" defTabSz="533196">
                  <a:spcBef>
                    <a:spcPts val="600"/>
                  </a:spcBef>
                  <a:buFontTx/>
                  <a:buChar char="•"/>
                </a:pPr>
                <a:endParaRPr lang="en-US" sz="1371" dirty="0">
                  <a:solidFill>
                    <a:srgbClr val="353535"/>
                  </a:solidFill>
                  <a:latin typeface="Segoe UI Semilight"/>
                </a:endParaRPr>
              </a:p>
            </p:txBody>
          </p:sp>
        </p:grpSp>
      </p:grpSp>
      <p:grpSp>
        <p:nvGrpSpPr>
          <p:cNvPr id="12" name="Group 11">
            <a:extLst>
              <a:ext uri="{FF2B5EF4-FFF2-40B4-BE49-F238E27FC236}">
                <a16:creationId xmlns:a16="http://schemas.microsoft.com/office/drawing/2014/main" id="{F7AD6454-B51F-4E74-9F58-5432D6AA95D6}"/>
              </a:ext>
            </a:extLst>
          </p:cNvPr>
          <p:cNvGrpSpPr/>
          <p:nvPr/>
        </p:nvGrpSpPr>
        <p:grpSpPr>
          <a:xfrm>
            <a:off x="5495705" y="3234531"/>
            <a:ext cx="1454527" cy="1454525"/>
            <a:chOff x="5495705" y="3234531"/>
            <a:chExt cx="1454527" cy="1454525"/>
          </a:xfrm>
        </p:grpSpPr>
        <p:sp>
          <p:nvSpPr>
            <p:cNvPr id="72" name="Circular Arrow 46"/>
            <p:cNvSpPr/>
            <p:nvPr/>
          </p:nvSpPr>
          <p:spPr>
            <a:xfrm>
              <a:off x="5495705" y="3234531"/>
              <a:ext cx="1454527" cy="1454525"/>
            </a:xfrm>
            <a:prstGeom prst="circularArrow">
              <a:avLst>
                <a:gd name="adj1" fmla="val 5085"/>
                <a:gd name="adj2" fmla="val 327528"/>
                <a:gd name="adj3" fmla="val 7232777"/>
                <a:gd name="adj4" fmla="val 3239695"/>
                <a:gd name="adj5" fmla="val 5932"/>
              </a:avLst>
            </a:prstGeom>
            <a:solidFill>
              <a:schemeClr val="tx1"/>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pic>
          <p:nvPicPr>
            <p:cNvPr id="39" name="Picture 38">
              <a:extLst>
                <a:ext uri="{FF2B5EF4-FFF2-40B4-BE49-F238E27FC236}">
                  <a16:creationId xmlns:a16="http://schemas.microsoft.com/office/drawing/2014/main" id="{3F1EDA62-9B3E-4F68-A871-2D3D345A8B6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68595" y="3627171"/>
              <a:ext cx="876497" cy="500855"/>
            </a:xfrm>
            <a:prstGeom prst="rect">
              <a:avLst/>
            </a:prstGeom>
          </p:spPr>
        </p:pic>
      </p:grpSp>
      <p:grpSp>
        <p:nvGrpSpPr>
          <p:cNvPr id="15" name="Group 14">
            <a:extLst>
              <a:ext uri="{FF2B5EF4-FFF2-40B4-BE49-F238E27FC236}">
                <a16:creationId xmlns:a16="http://schemas.microsoft.com/office/drawing/2014/main" id="{D410248A-5C43-40A7-AFFD-CE2AAAAA3E41}"/>
              </a:ext>
            </a:extLst>
          </p:cNvPr>
          <p:cNvGrpSpPr/>
          <p:nvPr/>
        </p:nvGrpSpPr>
        <p:grpSpPr>
          <a:xfrm>
            <a:off x="6533585" y="3206084"/>
            <a:ext cx="5399636" cy="2973506"/>
            <a:chOff x="6533585" y="3206084"/>
            <a:chExt cx="5399636" cy="2973506"/>
          </a:xfrm>
        </p:grpSpPr>
        <p:cxnSp>
          <p:nvCxnSpPr>
            <p:cNvPr id="57" name="Straight Connector 56"/>
            <p:cNvCxnSpPr/>
            <p:nvPr/>
          </p:nvCxnSpPr>
          <p:spPr>
            <a:xfrm flipH="1">
              <a:off x="8357538" y="3939946"/>
              <a:ext cx="0" cy="2239644"/>
            </a:xfrm>
            <a:prstGeom prst="line">
              <a:avLst/>
            </a:prstGeom>
            <a:solidFill>
              <a:schemeClr val="accent5">
                <a:lumMod val="75000"/>
              </a:schemeClr>
            </a:solidFill>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71EC5864-C583-4C70-845A-F0610CD7A30B}"/>
                </a:ext>
              </a:extLst>
            </p:cNvPr>
            <p:cNvGrpSpPr/>
            <p:nvPr/>
          </p:nvGrpSpPr>
          <p:grpSpPr>
            <a:xfrm>
              <a:off x="6533585" y="3206084"/>
              <a:ext cx="5399636" cy="2455259"/>
              <a:chOff x="6533585" y="3206084"/>
              <a:chExt cx="5399636" cy="2455259"/>
            </a:xfrm>
          </p:grpSpPr>
          <p:grpSp>
            <p:nvGrpSpPr>
              <p:cNvPr id="4" name="Group 3">
                <a:extLst>
                  <a:ext uri="{FF2B5EF4-FFF2-40B4-BE49-F238E27FC236}">
                    <a16:creationId xmlns:a16="http://schemas.microsoft.com/office/drawing/2014/main" id="{8098C241-EA0A-4313-BDC3-629DDBAB11CF}"/>
                  </a:ext>
                </a:extLst>
              </p:cNvPr>
              <p:cNvGrpSpPr/>
              <p:nvPr/>
            </p:nvGrpSpPr>
            <p:grpSpPr>
              <a:xfrm>
                <a:off x="6533585" y="3206084"/>
                <a:ext cx="5399636" cy="2455259"/>
                <a:chOff x="6534255" y="3195050"/>
                <a:chExt cx="5399636" cy="2455259"/>
              </a:xfrm>
            </p:grpSpPr>
            <p:sp>
              <p:nvSpPr>
                <p:cNvPr id="63" name="Freeform 114"/>
                <p:cNvSpPr/>
                <p:nvPr/>
              </p:nvSpPr>
              <p:spPr>
                <a:xfrm flipH="1" flipV="1">
                  <a:off x="6534255" y="3195050"/>
                  <a:ext cx="1585731" cy="2455259"/>
                </a:xfrm>
                <a:custGeom>
                  <a:avLst/>
                  <a:gdLst>
                    <a:gd name="connsiteX0" fmla="*/ 980064 w 1427049"/>
                    <a:gd name="connsiteY0" fmla="*/ 0 h 2209564"/>
                    <a:gd name="connsiteX1" fmla="*/ 980064 w 1427049"/>
                    <a:gd name="connsiteY1" fmla="*/ 1540937 h 2209564"/>
                    <a:gd name="connsiteX2" fmla="*/ 980064 w 1427049"/>
                    <a:gd name="connsiteY2" fmla="*/ 1574188 h 2209564"/>
                    <a:gd name="connsiteX3" fmla="*/ 981743 w 1427049"/>
                    <a:gd name="connsiteY3" fmla="*/ 1574188 h 2209564"/>
                    <a:gd name="connsiteX4" fmla="*/ 983802 w 1427049"/>
                    <a:gd name="connsiteY4" fmla="*/ 1614967 h 2209564"/>
                    <a:gd name="connsiteX5" fmla="*/ 985100 w 1427049"/>
                    <a:gd name="connsiteY5" fmla="*/ 1623468 h 2209564"/>
                    <a:gd name="connsiteX6" fmla="*/ 987498 w 1427049"/>
                    <a:gd name="connsiteY6" fmla="*/ 1639179 h 2209564"/>
                    <a:gd name="connsiteX7" fmla="*/ 988407 w 1427049"/>
                    <a:gd name="connsiteY7" fmla="*/ 1651202 h 2209564"/>
                    <a:gd name="connsiteX8" fmla="*/ 991146 w 1427049"/>
                    <a:gd name="connsiteY8" fmla="*/ 1663082 h 2209564"/>
                    <a:gd name="connsiteX9" fmla="*/ 994774 w 1427049"/>
                    <a:gd name="connsiteY9" fmla="*/ 1686857 h 2209564"/>
                    <a:gd name="connsiteX10" fmla="*/ 1001958 w 1427049"/>
                    <a:gd name="connsiteY10" fmla="*/ 1710000 h 2209564"/>
                    <a:gd name="connsiteX11" fmla="*/ 1006251 w 1427049"/>
                    <a:gd name="connsiteY11" fmla="*/ 1728627 h 2209564"/>
                    <a:gd name="connsiteX12" fmla="*/ 1010023 w 1427049"/>
                    <a:gd name="connsiteY12" fmla="*/ 1747722 h 2209564"/>
                    <a:gd name="connsiteX13" fmla="*/ 1011502 w 1427049"/>
                    <a:gd name="connsiteY13" fmla="*/ 1751413 h 2209564"/>
                    <a:gd name="connsiteX14" fmla="*/ 1012616 w 1427049"/>
                    <a:gd name="connsiteY14" fmla="*/ 1756246 h 2209564"/>
                    <a:gd name="connsiteX15" fmla="*/ 1030044 w 1427049"/>
                    <a:gd name="connsiteY15" fmla="*/ 1800478 h 2209564"/>
                    <a:gd name="connsiteX16" fmla="*/ 1035434 w 1427049"/>
                    <a:gd name="connsiteY16" fmla="*/ 1817841 h 2209564"/>
                    <a:gd name="connsiteX17" fmla="*/ 1036963 w 1427049"/>
                    <a:gd name="connsiteY17" fmla="*/ 1822768 h 2209564"/>
                    <a:gd name="connsiteX18" fmla="*/ 1043760 w 1427049"/>
                    <a:gd name="connsiteY18" fmla="*/ 1835291 h 2209564"/>
                    <a:gd name="connsiteX19" fmla="*/ 1051463 w 1427049"/>
                    <a:gd name="connsiteY19" fmla="*/ 1854840 h 2209564"/>
                    <a:gd name="connsiteX20" fmla="*/ 1056451 w 1427049"/>
                    <a:gd name="connsiteY20" fmla="*/ 1863518 h 2209564"/>
                    <a:gd name="connsiteX21" fmla="*/ 1059275 w 1427049"/>
                    <a:gd name="connsiteY21" fmla="*/ 1870560 h 2209564"/>
                    <a:gd name="connsiteX22" fmla="*/ 1072724 w 1427049"/>
                    <a:gd name="connsiteY22" fmla="*/ 1891830 h 2209564"/>
                    <a:gd name="connsiteX23" fmla="*/ 1103714 w 1427049"/>
                    <a:gd name="connsiteY23" fmla="*/ 1945748 h 2209564"/>
                    <a:gd name="connsiteX24" fmla="*/ 1103718 w 1427049"/>
                    <a:gd name="connsiteY24" fmla="*/ 1945755 h 2209564"/>
                    <a:gd name="connsiteX25" fmla="*/ 1103720 w 1427049"/>
                    <a:gd name="connsiteY25" fmla="*/ 1945758 h 2209564"/>
                    <a:gd name="connsiteX26" fmla="*/ 1103737 w 1427049"/>
                    <a:gd name="connsiteY26" fmla="*/ 1945778 h 2209564"/>
                    <a:gd name="connsiteX27" fmla="*/ 1119611 w 1427049"/>
                    <a:gd name="connsiteY27" fmla="*/ 1965981 h 2209564"/>
                    <a:gd name="connsiteX28" fmla="*/ 1129160 w 1427049"/>
                    <a:gd name="connsiteY28" fmla="*/ 1981082 h 2209564"/>
                    <a:gd name="connsiteX29" fmla="*/ 1145053 w 1427049"/>
                    <a:gd name="connsiteY29" fmla="*/ 1998362 h 2209564"/>
                    <a:gd name="connsiteX30" fmla="*/ 1168158 w 1427049"/>
                    <a:gd name="connsiteY30" fmla="*/ 2027769 h 2209564"/>
                    <a:gd name="connsiteX31" fmla="*/ 1183278 w 1427049"/>
                    <a:gd name="connsiteY31" fmla="*/ 2042183 h 2209564"/>
                    <a:gd name="connsiteX32" fmla="*/ 1192132 w 1427049"/>
                    <a:gd name="connsiteY32" fmla="*/ 2052914 h 2209564"/>
                    <a:gd name="connsiteX33" fmla="*/ 1204969 w 1427049"/>
                    <a:gd name="connsiteY33" fmla="*/ 2063506 h 2209564"/>
                    <a:gd name="connsiteX34" fmla="*/ 1217278 w 1427049"/>
                    <a:gd name="connsiteY34" fmla="*/ 2076889 h 2209564"/>
                    <a:gd name="connsiteX35" fmla="*/ 1228941 w 1427049"/>
                    <a:gd name="connsiteY35" fmla="*/ 2085718 h 2209564"/>
                    <a:gd name="connsiteX36" fmla="*/ 1243550 w 1427049"/>
                    <a:gd name="connsiteY36" fmla="*/ 2099645 h 2209564"/>
                    <a:gd name="connsiteX37" fmla="*/ 1281300 w 1427049"/>
                    <a:gd name="connsiteY37" fmla="*/ 2126485 h 2209564"/>
                    <a:gd name="connsiteX38" fmla="*/ 1299289 w 1427049"/>
                    <a:gd name="connsiteY38" fmla="*/ 2141327 h 2209564"/>
                    <a:gd name="connsiteX39" fmla="*/ 1310288 w 1427049"/>
                    <a:gd name="connsiteY39" fmla="*/ 2147297 h 2209564"/>
                    <a:gd name="connsiteX40" fmla="*/ 1321232 w 1427049"/>
                    <a:gd name="connsiteY40" fmla="*/ 2155581 h 2209564"/>
                    <a:gd name="connsiteX41" fmla="*/ 1324648 w 1427049"/>
                    <a:gd name="connsiteY41" fmla="*/ 2157303 h 2209564"/>
                    <a:gd name="connsiteX42" fmla="*/ 1328666 w 1427049"/>
                    <a:gd name="connsiteY42" fmla="*/ 2160160 h 2209564"/>
                    <a:gd name="connsiteX43" fmla="*/ 1422278 w 1427049"/>
                    <a:gd name="connsiteY43" fmla="*/ 2208083 h 2209564"/>
                    <a:gd name="connsiteX44" fmla="*/ 1427049 w 1427049"/>
                    <a:gd name="connsiteY44" fmla="*/ 2209564 h 2209564"/>
                    <a:gd name="connsiteX45" fmla="*/ 136476 w 1427049"/>
                    <a:gd name="connsiteY45" fmla="*/ 2209564 h 2209564"/>
                    <a:gd name="connsiteX46" fmla="*/ 133918 w 1427049"/>
                    <a:gd name="connsiteY46" fmla="*/ 2204253 h 2209564"/>
                    <a:gd name="connsiteX47" fmla="*/ 0 w 1427049"/>
                    <a:gd name="connsiteY47" fmla="*/ 1540937 h 2209564"/>
                    <a:gd name="connsiteX48" fmla="*/ 891830 w 1427049"/>
                    <a:gd name="connsiteY48" fmla="*/ 42505 h 2209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427049" h="2209564">
                      <a:moveTo>
                        <a:pt x="980064" y="0"/>
                      </a:moveTo>
                      <a:lnTo>
                        <a:pt x="980064" y="1540937"/>
                      </a:lnTo>
                      <a:lnTo>
                        <a:pt x="980064" y="1574188"/>
                      </a:lnTo>
                      <a:lnTo>
                        <a:pt x="981743" y="1574188"/>
                      </a:lnTo>
                      <a:lnTo>
                        <a:pt x="983802" y="1614967"/>
                      </a:lnTo>
                      <a:lnTo>
                        <a:pt x="985100" y="1623468"/>
                      </a:lnTo>
                      <a:lnTo>
                        <a:pt x="987498" y="1639179"/>
                      </a:lnTo>
                      <a:lnTo>
                        <a:pt x="988407" y="1651202"/>
                      </a:lnTo>
                      <a:lnTo>
                        <a:pt x="991146" y="1663082"/>
                      </a:lnTo>
                      <a:lnTo>
                        <a:pt x="994774" y="1686857"/>
                      </a:lnTo>
                      <a:lnTo>
                        <a:pt x="1001958" y="1710000"/>
                      </a:lnTo>
                      <a:lnTo>
                        <a:pt x="1006251" y="1728627"/>
                      </a:lnTo>
                      <a:lnTo>
                        <a:pt x="1010023" y="1747722"/>
                      </a:lnTo>
                      <a:lnTo>
                        <a:pt x="1011502" y="1751413"/>
                      </a:lnTo>
                      <a:lnTo>
                        <a:pt x="1012616" y="1756246"/>
                      </a:lnTo>
                      <a:lnTo>
                        <a:pt x="1030044" y="1800478"/>
                      </a:lnTo>
                      <a:lnTo>
                        <a:pt x="1035434" y="1817841"/>
                      </a:lnTo>
                      <a:lnTo>
                        <a:pt x="1036963" y="1822768"/>
                      </a:lnTo>
                      <a:lnTo>
                        <a:pt x="1043760" y="1835291"/>
                      </a:lnTo>
                      <a:lnTo>
                        <a:pt x="1051463" y="1854840"/>
                      </a:lnTo>
                      <a:lnTo>
                        <a:pt x="1056451" y="1863518"/>
                      </a:lnTo>
                      <a:lnTo>
                        <a:pt x="1059275" y="1870560"/>
                      </a:lnTo>
                      <a:lnTo>
                        <a:pt x="1072724" y="1891830"/>
                      </a:lnTo>
                      <a:lnTo>
                        <a:pt x="1103714" y="1945748"/>
                      </a:lnTo>
                      <a:lnTo>
                        <a:pt x="1103718" y="1945755"/>
                      </a:lnTo>
                      <a:lnTo>
                        <a:pt x="1103720" y="1945758"/>
                      </a:lnTo>
                      <a:lnTo>
                        <a:pt x="1103737" y="1945778"/>
                      </a:lnTo>
                      <a:lnTo>
                        <a:pt x="1119611" y="1965981"/>
                      </a:lnTo>
                      <a:lnTo>
                        <a:pt x="1129160" y="1981082"/>
                      </a:lnTo>
                      <a:lnTo>
                        <a:pt x="1145053" y="1998362"/>
                      </a:lnTo>
                      <a:lnTo>
                        <a:pt x="1168158" y="2027769"/>
                      </a:lnTo>
                      <a:lnTo>
                        <a:pt x="1183278" y="2042183"/>
                      </a:lnTo>
                      <a:lnTo>
                        <a:pt x="1192132" y="2052914"/>
                      </a:lnTo>
                      <a:lnTo>
                        <a:pt x="1204969" y="2063506"/>
                      </a:lnTo>
                      <a:lnTo>
                        <a:pt x="1217278" y="2076889"/>
                      </a:lnTo>
                      <a:lnTo>
                        <a:pt x="1228941" y="2085718"/>
                      </a:lnTo>
                      <a:lnTo>
                        <a:pt x="1243550" y="2099645"/>
                      </a:lnTo>
                      <a:lnTo>
                        <a:pt x="1281300" y="2126485"/>
                      </a:lnTo>
                      <a:lnTo>
                        <a:pt x="1299289" y="2141327"/>
                      </a:lnTo>
                      <a:lnTo>
                        <a:pt x="1310288" y="2147297"/>
                      </a:lnTo>
                      <a:lnTo>
                        <a:pt x="1321232" y="2155581"/>
                      </a:lnTo>
                      <a:lnTo>
                        <a:pt x="1324648" y="2157303"/>
                      </a:lnTo>
                      <a:lnTo>
                        <a:pt x="1328666" y="2160160"/>
                      </a:lnTo>
                      <a:cubicBezTo>
                        <a:pt x="1358522" y="2178301"/>
                        <a:pt x="1389795" y="2194344"/>
                        <a:pt x="1422278" y="2208083"/>
                      </a:cubicBezTo>
                      <a:lnTo>
                        <a:pt x="1427049" y="2209564"/>
                      </a:lnTo>
                      <a:lnTo>
                        <a:pt x="136476" y="2209564"/>
                      </a:lnTo>
                      <a:lnTo>
                        <a:pt x="133918" y="2204253"/>
                      </a:lnTo>
                      <a:cubicBezTo>
                        <a:pt x="47685" y="2000376"/>
                        <a:pt x="0" y="1776225"/>
                        <a:pt x="0" y="1540937"/>
                      </a:cubicBezTo>
                      <a:cubicBezTo>
                        <a:pt x="0" y="893894"/>
                        <a:pt x="360616" y="331078"/>
                        <a:pt x="891830" y="42505"/>
                      </a:cubicBezTo>
                      <a:close/>
                    </a:path>
                  </a:pathLst>
                </a:custGeom>
                <a:solidFill>
                  <a:schemeClr val="accent5">
                    <a:lumMod val="75000"/>
                  </a:schemeClr>
                </a:solidFill>
                <a:ln w="12700" cap="flat" cmpd="sng" algn="ctr">
                  <a:noFill/>
                  <a:prstDash val="solid"/>
                  <a:miter lim="800000"/>
                </a:ln>
                <a:effectLst/>
              </p:spPr>
              <p:txBody>
                <a:bodyPr vert="vert" rtlCol="0" anchor="ctr"/>
                <a:lstStyle/>
                <a:p>
                  <a:pPr algn="ctr" defTabSz="896042">
                    <a:defRPr/>
                  </a:pPr>
                  <a:endParaRPr lang="en-US" sz="1200" b="1" kern="0" dirty="0">
                    <a:solidFill>
                      <a:prstClr val="white"/>
                    </a:solidFill>
                    <a:latin typeface="Calibri" panose="020F0502020204030204"/>
                  </a:endParaRPr>
                </a:p>
              </p:txBody>
            </p:sp>
            <p:sp>
              <p:nvSpPr>
                <p:cNvPr id="58" name="Isosceles Triangle 57"/>
                <p:cNvSpPr/>
                <p:nvPr/>
              </p:nvSpPr>
              <p:spPr bwMode="auto">
                <a:xfrm rot="16200000" flipH="1">
                  <a:off x="8123913" y="4997900"/>
                  <a:ext cx="294757" cy="172493"/>
                </a:xfrm>
                <a:prstGeom prst="triangl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ts val="300"/>
                    </a:spcBef>
                  </a:pPr>
                  <a:endParaRPr lang="en-US" sz="1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7" name="Rectangle 66"/>
                <p:cNvSpPr/>
                <p:nvPr/>
              </p:nvSpPr>
              <p:spPr>
                <a:xfrm>
                  <a:off x="8469201" y="3939946"/>
                  <a:ext cx="3464690" cy="1389675"/>
                </a:xfrm>
                <a:prstGeom prst="rect">
                  <a:avLst/>
                </a:prstGeom>
                <a:solidFill>
                  <a:schemeClr val="bg1">
                    <a:lumMod val="95000"/>
                  </a:schemeClr>
                </a:solidFill>
                <a:ln w="6350">
                  <a:noFill/>
                </a:ln>
              </p:spPr>
              <p:style>
                <a:lnRef idx="2">
                  <a:schemeClr val="accent5">
                    <a:hueOff val="-6257037"/>
                    <a:satOff val="-607"/>
                    <a:lumOff val="11371"/>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2971" lvl="1" indent="-172971" defTabSz="533196">
                    <a:spcBef>
                      <a:spcPts val="600"/>
                    </a:spcBef>
                    <a:buFont typeface="Arial" panose="020B0604020202020204" pitchFamily="34" charset="0"/>
                    <a:buChar char="•"/>
                  </a:pPr>
                  <a:r>
                    <a:rPr lang="en-US" sz="1371" dirty="0">
                      <a:solidFill>
                        <a:srgbClr val="353535"/>
                      </a:solidFill>
                      <a:latin typeface="Segoe UI Semilight"/>
                    </a:rPr>
                    <a:t>Agent-based and agent-less options </a:t>
                  </a:r>
                </a:p>
                <a:p>
                  <a:pPr marL="172971" lvl="1" indent="-172971" defTabSz="533196">
                    <a:spcBef>
                      <a:spcPts val="600"/>
                    </a:spcBef>
                    <a:buFont typeface="Arial" panose="020B0604020202020204" pitchFamily="34" charset="0"/>
                    <a:buChar char="•"/>
                  </a:pPr>
                  <a:r>
                    <a:rPr lang="en-US" sz="1371" dirty="0">
                      <a:solidFill>
                        <a:srgbClr val="353535"/>
                      </a:solidFill>
                      <a:latin typeface="Segoe UI Semilight"/>
                    </a:rPr>
                    <a:t>Assessment will take place over 2-4 weeks depending on your environment</a:t>
                  </a:r>
                </a:p>
                <a:p>
                  <a:pPr marL="172971" lvl="1" indent="-172971" defTabSz="533196">
                    <a:spcBef>
                      <a:spcPts val="600"/>
                    </a:spcBef>
                    <a:buFont typeface="Arial" panose="020B0604020202020204" pitchFamily="34" charset="0"/>
                    <a:buChar char="•"/>
                  </a:pPr>
                  <a:r>
                    <a:rPr lang="en-US" sz="1371" dirty="0">
                      <a:solidFill>
                        <a:srgbClr val="353535"/>
                      </a:solidFill>
                      <a:latin typeface="Segoe UI Semilight"/>
                    </a:rPr>
                    <a:t>Only metadata is collected – </a:t>
                  </a:r>
                  <a:r>
                    <a:rPr lang="en-US" sz="1371" b="1" dirty="0">
                      <a:solidFill>
                        <a:srgbClr val="353535"/>
                      </a:solidFill>
                      <a:latin typeface="Segoe UI Semilight"/>
                    </a:rPr>
                    <a:t>no customer data </a:t>
                  </a:r>
                  <a:endParaRPr lang="en-US" sz="1371" dirty="0">
                    <a:solidFill>
                      <a:srgbClr val="353535"/>
                    </a:solidFill>
                    <a:latin typeface="Segoe UI Semilight"/>
                  </a:endParaRPr>
                </a:p>
              </p:txBody>
            </p:sp>
          </p:grpSp>
          <p:sp>
            <p:nvSpPr>
              <p:cNvPr id="64" name="TextBox 63"/>
              <p:cNvSpPr txBox="1"/>
              <p:nvPr/>
            </p:nvSpPr>
            <p:spPr>
              <a:xfrm>
                <a:off x="7050820" y="3851313"/>
                <a:ext cx="947418" cy="307777"/>
              </a:xfrm>
              <a:prstGeom prst="rect">
                <a:avLst/>
              </a:prstGeom>
              <a:noFill/>
            </p:spPr>
            <p:txBody>
              <a:bodyPr wrap="square" rtlCol="0">
                <a:spAutoFit/>
              </a:bodyPr>
              <a:lstStyle/>
              <a:p>
                <a:pPr algn="ctr" defTabSz="896042">
                  <a:defRPr/>
                </a:pPr>
                <a:r>
                  <a:rPr lang="en-US" sz="1400" b="1" kern="0" dirty="0">
                    <a:solidFill>
                      <a:srgbClr val="FFFFFF"/>
                    </a:solidFill>
                    <a:latin typeface="Segoe UI Semilight"/>
                  </a:rPr>
                  <a:t>2: How</a:t>
                </a:r>
              </a:p>
            </p:txBody>
          </p:sp>
        </p:grpSp>
      </p:grpSp>
    </p:spTree>
    <p:extLst>
      <p:ext uri="{BB962C8B-B14F-4D97-AF65-F5344CB8AC3E}">
        <p14:creationId xmlns:p14="http://schemas.microsoft.com/office/powerpoint/2010/main" val="2954533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1000"/>
                                        <p:tgtEl>
                                          <p:spTgt spid="15"/>
                                        </p:tgtEl>
                                      </p:cBhvr>
                                    </p:animEffect>
                                    <p:anim calcmode="lin" valueType="num">
                                      <p:cBhvr>
                                        <p:cTn id="13" dur="1000" fill="hold"/>
                                        <p:tgtEl>
                                          <p:spTgt spid="15"/>
                                        </p:tgtEl>
                                        <p:attrNameLst>
                                          <p:attrName>ppt_x</p:attrName>
                                        </p:attrNameLst>
                                      </p:cBhvr>
                                      <p:tavLst>
                                        <p:tav tm="0">
                                          <p:val>
                                            <p:strVal val="#ppt_x"/>
                                          </p:val>
                                        </p:tav>
                                        <p:tav tm="100000">
                                          <p:val>
                                            <p:strVal val="#ppt_x"/>
                                          </p:val>
                                        </p:tav>
                                      </p:tavLst>
                                    </p:anim>
                                    <p:anim calcmode="lin" valueType="num">
                                      <p:cBhvr>
                                        <p:cTn id="14"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2" presetClass="entr" presetSubtype="4" fill="hold" nodeType="click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wipe(down)">
                                      <p:cBhvr>
                                        <p:cTn id="19" dur="500"/>
                                        <p:tgtEl>
                                          <p:spTgt spid="17"/>
                                        </p:tgtEl>
                                      </p:cBhvr>
                                    </p:animEffect>
                                  </p:childTnLst>
                                </p:cTn>
                              </p:par>
                            </p:childTnLst>
                          </p:cTn>
                        </p:par>
                      </p:childTnLst>
                    </p:cTn>
                  </p:par>
                  <p:par>
                    <p:cTn id="20" fill="hold">
                      <p:stCondLst>
                        <p:cond delay="indefinite"/>
                      </p:stCondLst>
                      <p:childTnLst>
                        <p:par>
                          <p:cTn id="21" fill="hold">
                            <p:stCondLst>
                              <p:cond delay="0"/>
                            </p:stCondLst>
                            <p:childTnLst>
                              <p:par>
                                <p:cTn id="22" presetID="6" presetClass="entr" presetSubtype="16" fill="hold" nodeType="click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circle(in)">
                                      <p:cBhvr>
                                        <p:cTn id="24" dur="2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Freeform: Shape 1">
            <a:extLst>
              <a:ext uri="{FF2B5EF4-FFF2-40B4-BE49-F238E27FC236}">
                <a16:creationId xmlns:a16="http://schemas.microsoft.com/office/drawing/2014/main" id="{419E00C2-2AA7-419F-91AD-B6D498D8B067}"/>
              </a:ext>
            </a:extLst>
          </p:cNvPr>
          <p:cNvSpPr/>
          <p:nvPr/>
        </p:nvSpPr>
        <p:spPr bwMode="auto">
          <a:xfrm>
            <a:off x="2203427" y="826563"/>
            <a:ext cx="7785148" cy="4296825"/>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 name="Rectangle 2"/>
          <p:cNvSpPr/>
          <p:nvPr/>
        </p:nvSpPr>
        <p:spPr bwMode="auto">
          <a:xfrm>
            <a:off x="2610345" y="4811839"/>
            <a:ext cx="1020118" cy="70773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 name="Rectangle 43"/>
          <p:cNvSpPr/>
          <p:nvPr/>
        </p:nvSpPr>
        <p:spPr bwMode="auto">
          <a:xfrm>
            <a:off x="4451584" y="4698302"/>
            <a:ext cx="913294" cy="962514"/>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 name="Rectangle 44"/>
          <p:cNvSpPr/>
          <p:nvPr/>
        </p:nvSpPr>
        <p:spPr bwMode="auto">
          <a:xfrm>
            <a:off x="6523902" y="4836708"/>
            <a:ext cx="685703" cy="685703"/>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Rectangle 45"/>
          <p:cNvSpPr/>
          <p:nvPr/>
        </p:nvSpPr>
        <p:spPr bwMode="auto">
          <a:xfrm>
            <a:off x="8254161" y="4836708"/>
            <a:ext cx="896466" cy="685703"/>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10">
            <a:extLst>
              <a:ext uri="{FF2B5EF4-FFF2-40B4-BE49-F238E27FC236}">
                <a16:creationId xmlns:a16="http://schemas.microsoft.com/office/drawing/2014/main" id="{896338E4-5E15-43CE-8AF9-7CEA7FF4CEDC}"/>
              </a:ext>
            </a:extLst>
          </p:cNvPr>
          <p:cNvSpPr txBox="1"/>
          <p:nvPr/>
        </p:nvSpPr>
        <p:spPr>
          <a:xfrm>
            <a:off x="7706325" y="5754782"/>
            <a:ext cx="2097380" cy="459613"/>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927" fontAlgn="base">
              <a:lnSpc>
                <a:spcPct val="90000"/>
              </a:lnSpc>
              <a:spcBef>
                <a:spcPct val="0"/>
              </a:spcBef>
              <a:spcAft>
                <a:spcPct val="0"/>
              </a:spcAft>
              <a:defRPr/>
            </a:pPr>
            <a:r>
              <a:rPr lang="en-US" sz="2600" spc="29">
                <a:solidFill>
                  <a:srgbClr val="0078D7"/>
                </a:solidFill>
                <a:latin typeface="Segoe UI Light"/>
                <a:cs typeface="Segoe UI" pitchFamily="34" charset="0"/>
              </a:rPr>
              <a:t>Trusted</a:t>
            </a:r>
          </a:p>
        </p:txBody>
      </p:sp>
      <p:sp>
        <p:nvSpPr>
          <p:cNvPr id="25" name="TextBox 10">
            <a:extLst>
              <a:ext uri="{FF2B5EF4-FFF2-40B4-BE49-F238E27FC236}">
                <a16:creationId xmlns:a16="http://schemas.microsoft.com/office/drawing/2014/main" id="{8BD8644E-02C1-4F61-928F-E8902B1F0AC2}"/>
              </a:ext>
            </a:extLst>
          </p:cNvPr>
          <p:cNvSpPr txBox="1"/>
          <p:nvPr/>
        </p:nvSpPr>
        <p:spPr>
          <a:xfrm>
            <a:off x="2058402" y="5754782"/>
            <a:ext cx="2097380" cy="459613"/>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927" fontAlgn="base">
              <a:lnSpc>
                <a:spcPct val="90000"/>
              </a:lnSpc>
              <a:spcBef>
                <a:spcPct val="0"/>
              </a:spcBef>
              <a:spcAft>
                <a:spcPct val="0"/>
              </a:spcAft>
              <a:defRPr/>
            </a:pPr>
            <a:r>
              <a:rPr lang="en-US" sz="2600" spc="29">
                <a:solidFill>
                  <a:srgbClr val="0078D7"/>
                </a:solidFill>
                <a:latin typeface="Segoe UI Light"/>
                <a:cs typeface="Segoe UI" pitchFamily="34" charset="0"/>
              </a:rPr>
              <a:t>Productive</a:t>
            </a:r>
          </a:p>
        </p:txBody>
      </p:sp>
      <p:sp>
        <p:nvSpPr>
          <p:cNvPr id="26" name="TextBox 10">
            <a:extLst>
              <a:ext uri="{FF2B5EF4-FFF2-40B4-BE49-F238E27FC236}">
                <a16:creationId xmlns:a16="http://schemas.microsoft.com/office/drawing/2014/main" id="{FF250B0B-16D0-4242-B609-FCD6071403FF}"/>
              </a:ext>
            </a:extLst>
          </p:cNvPr>
          <p:cNvSpPr txBox="1"/>
          <p:nvPr/>
        </p:nvSpPr>
        <p:spPr>
          <a:xfrm>
            <a:off x="5793436" y="5754782"/>
            <a:ext cx="2097380" cy="459613"/>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927" fontAlgn="base">
              <a:lnSpc>
                <a:spcPct val="90000"/>
              </a:lnSpc>
              <a:spcBef>
                <a:spcPct val="0"/>
              </a:spcBef>
              <a:spcAft>
                <a:spcPct val="0"/>
              </a:spcAft>
              <a:defRPr/>
            </a:pPr>
            <a:r>
              <a:rPr lang="en-US" sz="2600" spc="29">
                <a:solidFill>
                  <a:srgbClr val="0078D7"/>
                </a:solidFill>
                <a:latin typeface="Segoe UI Light"/>
                <a:cs typeface="Segoe UI" pitchFamily="34" charset="0"/>
              </a:rPr>
              <a:t>Intelligent</a:t>
            </a:r>
          </a:p>
        </p:txBody>
      </p:sp>
      <p:sp>
        <p:nvSpPr>
          <p:cNvPr id="27" name="TextBox 10">
            <a:extLst>
              <a:ext uri="{FF2B5EF4-FFF2-40B4-BE49-F238E27FC236}">
                <a16:creationId xmlns:a16="http://schemas.microsoft.com/office/drawing/2014/main" id="{2F69F83B-0A06-4322-8678-085D0848E284}"/>
              </a:ext>
            </a:extLst>
          </p:cNvPr>
          <p:cNvSpPr txBox="1"/>
          <p:nvPr/>
        </p:nvSpPr>
        <p:spPr>
          <a:xfrm>
            <a:off x="3875251" y="5754782"/>
            <a:ext cx="2097380" cy="459613"/>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927" fontAlgn="base">
              <a:lnSpc>
                <a:spcPct val="90000"/>
              </a:lnSpc>
              <a:spcBef>
                <a:spcPct val="0"/>
              </a:spcBef>
              <a:spcAft>
                <a:spcPct val="0"/>
              </a:spcAft>
              <a:defRPr/>
            </a:pPr>
            <a:r>
              <a:rPr lang="en-US" sz="2600" spc="29">
                <a:solidFill>
                  <a:srgbClr val="0078D7"/>
                </a:solidFill>
                <a:latin typeface="Segoe UI Light"/>
                <a:cs typeface="Segoe UI" pitchFamily="34" charset="0"/>
              </a:rPr>
              <a:t>Hybrid</a:t>
            </a:r>
          </a:p>
        </p:txBody>
      </p:sp>
      <p:sp>
        <p:nvSpPr>
          <p:cNvPr id="35" name="speedometer_2">
            <a:extLst>
              <a:ext uri="{FF2B5EF4-FFF2-40B4-BE49-F238E27FC236}">
                <a16:creationId xmlns:a16="http://schemas.microsoft.com/office/drawing/2014/main" id="{46821C48-C0E2-4818-81B4-7D5236DC9004}"/>
              </a:ext>
            </a:extLst>
          </p:cNvPr>
          <p:cNvSpPr>
            <a:spLocks noChangeAspect="1" noEditPoints="1"/>
          </p:cNvSpPr>
          <p:nvPr/>
        </p:nvSpPr>
        <p:spPr bwMode="auto">
          <a:xfrm>
            <a:off x="2740243" y="4697218"/>
            <a:ext cx="732318" cy="732317"/>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cs typeface="Segoe UI" pitchFamily="34" charset="0"/>
            </a:endParaRPr>
          </a:p>
        </p:txBody>
      </p:sp>
      <p:grpSp>
        <p:nvGrpSpPr>
          <p:cNvPr id="36" name="Group 35">
            <a:extLst>
              <a:ext uri="{FF2B5EF4-FFF2-40B4-BE49-F238E27FC236}">
                <a16:creationId xmlns:a16="http://schemas.microsoft.com/office/drawing/2014/main" id="{77AD9DD7-EB86-45CE-9B27-089347C7D079}"/>
              </a:ext>
            </a:extLst>
          </p:cNvPr>
          <p:cNvGrpSpPr/>
          <p:nvPr/>
        </p:nvGrpSpPr>
        <p:grpSpPr>
          <a:xfrm>
            <a:off x="4566337" y="4734168"/>
            <a:ext cx="674103" cy="658416"/>
            <a:chOff x="2088630" y="3287843"/>
            <a:chExt cx="429718" cy="419725"/>
          </a:xfrm>
          <a:noFill/>
        </p:grpSpPr>
        <p:sp>
          <p:nvSpPr>
            <p:cNvPr id="37" name="Rectangle 36">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cs typeface="Segoe UI" pitchFamily="34" charset="0"/>
              </a:endParaRPr>
            </a:p>
          </p:txBody>
        </p:sp>
        <p:sp>
          <p:nvSpPr>
            <p:cNvPr id="38" name="Rectangle 37">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cs typeface="Segoe UI" pitchFamily="34" charset="0"/>
              </a:endParaRPr>
            </a:p>
          </p:txBody>
        </p:sp>
      </p:grpSp>
      <p:sp>
        <p:nvSpPr>
          <p:cNvPr id="39"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6593706" y="4691152"/>
            <a:ext cx="501429" cy="744448"/>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cs typeface="Segoe UI" pitchFamily="34" charset="0"/>
            </a:endParaRPr>
          </a:p>
        </p:txBody>
      </p:sp>
      <p:sp>
        <p:nvSpPr>
          <p:cNvPr id="40" name="Freeform 39"/>
          <p:cNvSpPr>
            <a:spLocks noChangeArrowheads="1"/>
          </p:cNvSpPr>
          <p:nvPr/>
        </p:nvSpPr>
        <p:spPr bwMode="auto">
          <a:xfrm>
            <a:off x="8360442" y="4698302"/>
            <a:ext cx="790186" cy="781888"/>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a:solidFill>
                <a:srgbClr val="505050"/>
              </a:solidFill>
              <a:latin typeface="Segoe UI"/>
            </a:endParaRPr>
          </a:p>
        </p:txBody>
      </p:sp>
      <p:sp>
        <p:nvSpPr>
          <p:cNvPr id="43" name="MS cloud text">
            <a:extLst>
              <a:ext uri="{FF2B5EF4-FFF2-40B4-BE49-F238E27FC236}">
                <a16:creationId xmlns:a16="http://schemas.microsoft.com/office/drawing/2014/main" id="{9E59C516-6363-4A74-B86F-292983DE1AF7}"/>
              </a:ext>
            </a:extLst>
          </p:cNvPr>
          <p:cNvSpPr txBox="1">
            <a:spLocks/>
          </p:cNvSpPr>
          <p:nvPr/>
        </p:nvSpPr>
        <p:spPr>
          <a:xfrm>
            <a:off x="2932029" y="2919145"/>
            <a:ext cx="6711446" cy="1144340"/>
          </a:xfrm>
          <a:prstGeom prst="rect">
            <a:avLst/>
          </a:prstGeom>
        </p:spPr>
        <p:txBody>
          <a:bodyPr vert="horz" wrap="square" lIns="143407" tIns="89630" rIns="143407" bIns="89630"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896214">
              <a:defRPr/>
            </a:pPr>
            <a:r>
              <a:rPr lang="en-US" sz="5499" kern="0" spc="-100" dirty="0">
                <a:solidFill>
                  <a:srgbClr val="002050"/>
                </a:solidFill>
                <a:latin typeface="Segoe UI Semilight"/>
                <a:cs typeface="Segoe UI Semilight" panose="020B0402040204020203" pitchFamily="34" charset="0"/>
              </a:rPr>
              <a:t>Azure. Cloud for all.</a:t>
            </a:r>
            <a:endParaRPr lang="en-US" sz="5499" kern="0" spc="-100" dirty="0">
              <a:solidFill>
                <a:srgbClr val="002050"/>
              </a:solidFill>
              <a:latin typeface="Segoe UI Light"/>
              <a:cs typeface="Segoe UI Semilight" panose="020B0402040204020203" pitchFamily="34" charset="0"/>
            </a:endParaRPr>
          </a:p>
        </p:txBody>
      </p:sp>
      <p:sp>
        <p:nvSpPr>
          <p:cNvPr id="18" name="Title 1">
            <a:extLst>
              <a:ext uri="{FF2B5EF4-FFF2-40B4-BE49-F238E27FC236}">
                <a16:creationId xmlns:a16="http://schemas.microsoft.com/office/drawing/2014/main" id="{59B666FD-1933-4269-B1C3-7C025AA5DEF6}"/>
              </a:ext>
            </a:extLst>
          </p:cNvPr>
          <p:cNvSpPr>
            <a:spLocks noGrp="1"/>
          </p:cNvSpPr>
          <p:nvPr>
            <p:ph type="title"/>
          </p:nvPr>
        </p:nvSpPr>
        <p:spPr>
          <a:xfrm>
            <a:off x="295153" y="121906"/>
            <a:ext cx="10401103" cy="655619"/>
          </a:xfrm>
        </p:spPr>
        <p:txBody>
          <a:bodyPr>
            <a:noAutofit/>
          </a:bodyPr>
          <a:lstStyle/>
          <a:p>
            <a:r>
              <a:rPr lang="en-US" sz="4000" kern="0" dirty="0">
                <a:solidFill>
                  <a:srgbClr val="002050"/>
                </a:solidFill>
                <a:latin typeface="Segoe UI Semilight"/>
                <a:cs typeface="Segoe UI Semilight" panose="020B0402040204020203" pitchFamily="34" charset="0"/>
              </a:rPr>
              <a:t>Why Microsoft Azure?</a:t>
            </a:r>
            <a:endParaRPr lang="en-US" sz="4000" dirty="0"/>
          </a:p>
        </p:txBody>
      </p:sp>
    </p:spTree>
    <p:extLst>
      <p:ext uri="{BB962C8B-B14F-4D97-AF65-F5344CB8AC3E}">
        <p14:creationId xmlns:p14="http://schemas.microsoft.com/office/powerpoint/2010/main" val="30951011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400"/>
                                        <p:tgtEl>
                                          <p:spTgt spid="43"/>
                                        </p:tgtEl>
                                      </p:cBhvr>
                                    </p:animEffect>
                                  </p:childTnLst>
                                </p:cTn>
                              </p:par>
                              <p:par>
                                <p:cTn id="8" presetID="42" presetClass="path" presetSubtype="0" decel="100000" fill="hold" grpId="1" nodeType="withEffect">
                                  <p:stCondLst>
                                    <p:cond delay="300"/>
                                  </p:stCondLst>
                                  <p:childTnLst>
                                    <p:animMotion origin="layout" path="M 4.79167E-6 2.22222E-6 L 4.79167E-6 0.09629 " pathEditMode="relative" rAng="0" ptsTypes="AA">
                                      <p:cBhvr>
                                        <p:cTn id="9" dur="700" spd="-100000" fill="hold"/>
                                        <p:tgtEl>
                                          <p:spTgt spid="43"/>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p:bldP spid="43" grpId="1"/>
    </p:bld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TextBox 10">
            <a:extLst>
              <a:ext uri="{FF2B5EF4-FFF2-40B4-BE49-F238E27FC236}">
                <a16:creationId xmlns:a16="http://schemas.microsoft.com/office/drawing/2014/main" id="{896338E4-5E15-43CE-8AF9-7CEA7FF4CEDC}"/>
              </a:ext>
            </a:extLst>
          </p:cNvPr>
          <p:cNvSpPr txBox="1"/>
          <p:nvPr/>
        </p:nvSpPr>
        <p:spPr>
          <a:xfrm>
            <a:off x="9147292" y="4269499"/>
            <a:ext cx="2097678" cy="4524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600" b="1" i="0" u="none" strike="noStrike" kern="1200" cap="none" spc="29" normalizeH="0" baseline="0" noProof="0">
                <a:ln>
                  <a:noFill/>
                </a:ln>
                <a:solidFill>
                  <a:srgbClr val="0078D7"/>
                </a:solidFill>
                <a:effectLst/>
                <a:uLnTx/>
                <a:uFillTx/>
                <a:latin typeface="Segoe UI"/>
                <a:ea typeface="+mn-ea"/>
                <a:cs typeface="Segoe UI" pitchFamily="34" charset="0"/>
              </a:rPr>
              <a:t>Trusted</a:t>
            </a:r>
          </a:p>
        </p:txBody>
      </p:sp>
      <p:sp>
        <p:nvSpPr>
          <p:cNvPr id="19" name="TextBox 10">
            <a:extLst>
              <a:ext uri="{FF2B5EF4-FFF2-40B4-BE49-F238E27FC236}">
                <a16:creationId xmlns:a16="http://schemas.microsoft.com/office/drawing/2014/main" id="{8BD8644E-02C1-4F61-928F-E8902B1F0AC2}"/>
              </a:ext>
            </a:extLst>
          </p:cNvPr>
          <p:cNvSpPr txBox="1"/>
          <p:nvPr/>
        </p:nvSpPr>
        <p:spPr>
          <a:xfrm>
            <a:off x="1084161" y="4269499"/>
            <a:ext cx="2097678" cy="4524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600" b="1" i="0" u="none" strike="noStrike" kern="1200" cap="none" spc="29" normalizeH="0" baseline="0" noProof="0" dirty="0">
                <a:ln>
                  <a:noFill/>
                </a:ln>
                <a:solidFill>
                  <a:srgbClr val="0078D7"/>
                </a:solidFill>
                <a:effectLst/>
                <a:uLnTx/>
                <a:uFillTx/>
                <a:latin typeface="Segoe UI"/>
                <a:ea typeface="+mn-ea"/>
                <a:cs typeface="Segoe UI" pitchFamily="34" charset="0"/>
              </a:rPr>
              <a:t>Productive</a:t>
            </a:r>
          </a:p>
        </p:txBody>
      </p:sp>
      <p:sp>
        <p:nvSpPr>
          <p:cNvPr id="20" name="TextBox 10">
            <a:extLst>
              <a:ext uri="{FF2B5EF4-FFF2-40B4-BE49-F238E27FC236}">
                <a16:creationId xmlns:a16="http://schemas.microsoft.com/office/drawing/2014/main" id="{FF250B0B-16D0-4242-B609-FCD6071403FF}"/>
              </a:ext>
            </a:extLst>
          </p:cNvPr>
          <p:cNvSpPr txBox="1"/>
          <p:nvPr/>
        </p:nvSpPr>
        <p:spPr>
          <a:xfrm>
            <a:off x="6456502" y="4269499"/>
            <a:ext cx="2097678" cy="4524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600" b="1" i="0" u="none" strike="noStrike" kern="1200" cap="none" spc="29" normalizeH="0" baseline="0" noProof="0">
                <a:ln>
                  <a:noFill/>
                </a:ln>
                <a:solidFill>
                  <a:srgbClr val="0078D7"/>
                </a:solidFill>
                <a:effectLst/>
                <a:uLnTx/>
                <a:uFillTx/>
                <a:latin typeface="Segoe UI"/>
                <a:ea typeface="+mn-ea"/>
                <a:cs typeface="Segoe UI" pitchFamily="34" charset="0"/>
              </a:rPr>
              <a:t>Intelligent</a:t>
            </a:r>
          </a:p>
        </p:txBody>
      </p:sp>
      <p:sp>
        <p:nvSpPr>
          <p:cNvPr id="21" name="TextBox 10">
            <a:extLst>
              <a:ext uri="{FF2B5EF4-FFF2-40B4-BE49-F238E27FC236}">
                <a16:creationId xmlns:a16="http://schemas.microsoft.com/office/drawing/2014/main" id="{2F69F83B-0A06-4322-8678-085D0848E284}"/>
              </a:ext>
            </a:extLst>
          </p:cNvPr>
          <p:cNvSpPr txBox="1"/>
          <p:nvPr/>
        </p:nvSpPr>
        <p:spPr>
          <a:xfrm>
            <a:off x="3775068" y="4269499"/>
            <a:ext cx="2097678" cy="4524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600" b="1" i="0" u="none" strike="noStrike" kern="1200" cap="none" spc="29" normalizeH="0" baseline="0" noProof="0">
                <a:ln>
                  <a:noFill/>
                </a:ln>
                <a:solidFill>
                  <a:srgbClr val="0078D7"/>
                </a:solidFill>
                <a:effectLst/>
                <a:uLnTx/>
                <a:uFillTx/>
                <a:latin typeface="Segoe UI"/>
                <a:ea typeface="+mn-ea"/>
                <a:cs typeface="Segoe UI" pitchFamily="34" charset="0"/>
              </a:rPr>
              <a:t>Hybrid</a:t>
            </a:r>
          </a:p>
        </p:txBody>
      </p:sp>
      <p:sp>
        <p:nvSpPr>
          <p:cNvPr id="22" name="Oval 21">
            <a:extLst>
              <a:ext uri="{FF2B5EF4-FFF2-40B4-BE49-F238E27FC236}">
                <a16:creationId xmlns:a16="http://schemas.microsoft.com/office/drawing/2014/main" id="{8356B447-D388-4785-B3F6-4488C99BB77B}"/>
              </a:ext>
            </a:extLst>
          </p:cNvPr>
          <p:cNvSpPr/>
          <p:nvPr/>
        </p:nvSpPr>
        <p:spPr bwMode="auto">
          <a:xfrm rot="16200000">
            <a:off x="2045971" y="3692362"/>
            <a:ext cx="166541" cy="16654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23" name="Straight Connector 22">
            <a:extLst>
              <a:ext uri="{FF2B5EF4-FFF2-40B4-BE49-F238E27FC236}">
                <a16:creationId xmlns:a16="http://schemas.microsoft.com/office/drawing/2014/main" id="{0E56090D-DF36-436E-BAD8-6044593294A5}"/>
              </a:ext>
            </a:extLst>
          </p:cNvPr>
          <p:cNvCxnSpPr/>
          <p:nvPr/>
        </p:nvCxnSpPr>
        <p:spPr>
          <a:xfrm>
            <a:off x="2302801" y="3778922"/>
            <a:ext cx="2371541" cy="0"/>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8356B447-D388-4785-B3F6-4488C99BB77B}"/>
              </a:ext>
            </a:extLst>
          </p:cNvPr>
          <p:cNvSpPr/>
          <p:nvPr/>
        </p:nvSpPr>
        <p:spPr bwMode="auto">
          <a:xfrm rot="16200000">
            <a:off x="4738372" y="3692363"/>
            <a:ext cx="166541" cy="16654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5" name="Oval 24">
            <a:extLst>
              <a:ext uri="{FF2B5EF4-FFF2-40B4-BE49-F238E27FC236}">
                <a16:creationId xmlns:a16="http://schemas.microsoft.com/office/drawing/2014/main" id="{8356B447-D388-4785-B3F6-4488C99BB77B}"/>
              </a:ext>
            </a:extLst>
          </p:cNvPr>
          <p:cNvSpPr/>
          <p:nvPr/>
        </p:nvSpPr>
        <p:spPr bwMode="auto">
          <a:xfrm rot="16200000">
            <a:off x="7418072" y="3692363"/>
            <a:ext cx="166541" cy="16654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6" name="Oval 25">
            <a:extLst>
              <a:ext uri="{FF2B5EF4-FFF2-40B4-BE49-F238E27FC236}">
                <a16:creationId xmlns:a16="http://schemas.microsoft.com/office/drawing/2014/main" id="{8356B447-D388-4785-B3F6-4488C99BB77B}"/>
              </a:ext>
            </a:extLst>
          </p:cNvPr>
          <p:cNvSpPr/>
          <p:nvPr/>
        </p:nvSpPr>
        <p:spPr bwMode="auto">
          <a:xfrm rot="16200000">
            <a:off x="10110473" y="3692364"/>
            <a:ext cx="166541" cy="16654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27" name="Straight Connector 26">
            <a:extLst>
              <a:ext uri="{FF2B5EF4-FFF2-40B4-BE49-F238E27FC236}">
                <a16:creationId xmlns:a16="http://schemas.microsoft.com/office/drawing/2014/main" id="{0E56090D-DF36-436E-BAD8-6044593294A5}"/>
              </a:ext>
            </a:extLst>
          </p:cNvPr>
          <p:cNvCxnSpPr/>
          <p:nvPr/>
        </p:nvCxnSpPr>
        <p:spPr>
          <a:xfrm>
            <a:off x="4944401" y="3778922"/>
            <a:ext cx="2371541" cy="0"/>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0E56090D-DF36-436E-BAD8-6044593294A5}"/>
              </a:ext>
            </a:extLst>
          </p:cNvPr>
          <p:cNvCxnSpPr/>
          <p:nvPr/>
        </p:nvCxnSpPr>
        <p:spPr>
          <a:xfrm>
            <a:off x="7674901" y="3778922"/>
            <a:ext cx="2371541" cy="0"/>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9" name="speedometer_2">
            <a:extLst>
              <a:ext uri="{FF2B5EF4-FFF2-40B4-BE49-F238E27FC236}">
                <a16:creationId xmlns:a16="http://schemas.microsoft.com/office/drawing/2014/main" id="{46821C48-C0E2-4818-81B4-7D5236DC9004}"/>
              </a:ext>
            </a:extLst>
          </p:cNvPr>
          <p:cNvSpPr>
            <a:spLocks noChangeAspect="1" noEditPoints="1"/>
          </p:cNvSpPr>
          <p:nvPr/>
        </p:nvSpPr>
        <p:spPr bwMode="auto">
          <a:xfrm>
            <a:off x="1653890" y="2312885"/>
            <a:ext cx="950701" cy="95069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50800">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30" name="Group 29">
            <a:extLst>
              <a:ext uri="{FF2B5EF4-FFF2-40B4-BE49-F238E27FC236}">
                <a16:creationId xmlns:a16="http://schemas.microsoft.com/office/drawing/2014/main" id="{77AD9DD7-EB86-45CE-9B27-089347C7D079}"/>
              </a:ext>
            </a:extLst>
          </p:cNvPr>
          <p:cNvGrpSpPr/>
          <p:nvPr/>
        </p:nvGrpSpPr>
        <p:grpSpPr>
          <a:xfrm>
            <a:off x="4384080" y="2360854"/>
            <a:ext cx="875123" cy="854760"/>
            <a:chOff x="2088630" y="3287843"/>
            <a:chExt cx="429718" cy="419725"/>
          </a:xfrm>
          <a:noFill/>
        </p:grpSpPr>
        <p:sp>
          <p:nvSpPr>
            <p:cNvPr id="31" name="Rectangle 30">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50800">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2" name="Rectangle 31">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50800">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33"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7182159" y="2305010"/>
            <a:ext cx="650956" cy="966448"/>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50800">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4" name="Freeform 33"/>
          <p:cNvSpPr>
            <a:spLocks noChangeArrowheads="1"/>
          </p:cNvSpPr>
          <p:nvPr/>
        </p:nvSpPr>
        <p:spPr bwMode="auto">
          <a:xfrm>
            <a:off x="9683739" y="2306580"/>
            <a:ext cx="1025824" cy="1015053"/>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50800"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2544935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anim calcmode="lin" valueType="num">
                                      <p:cBhvr>
                                        <p:cTn id="8" dur="500" fill="hold"/>
                                        <p:tgtEl>
                                          <p:spTgt spid="19"/>
                                        </p:tgtEl>
                                        <p:attrNameLst>
                                          <p:attrName>ppt_x</p:attrName>
                                        </p:attrNameLst>
                                      </p:cBhvr>
                                      <p:tavLst>
                                        <p:tav tm="0">
                                          <p:val>
                                            <p:strVal val="#ppt_x"/>
                                          </p:val>
                                        </p:tav>
                                        <p:tav tm="100000">
                                          <p:val>
                                            <p:strVal val="#ppt_x"/>
                                          </p:val>
                                        </p:tav>
                                      </p:tavLst>
                                    </p:anim>
                                    <p:anim calcmode="lin" valueType="num">
                                      <p:cBhvr>
                                        <p:cTn id="9" dur="500" fill="hold"/>
                                        <p:tgtEl>
                                          <p:spTgt spid="19"/>
                                        </p:tgtEl>
                                        <p:attrNameLst>
                                          <p:attrName>ppt_y</p:attrName>
                                        </p:attrNameLst>
                                      </p:cBhvr>
                                      <p:tavLst>
                                        <p:tav tm="0">
                                          <p:val>
                                            <p:strVal val="#ppt_y-.1"/>
                                          </p:val>
                                        </p:tav>
                                        <p:tav tm="100000">
                                          <p:val>
                                            <p:strVal val="#ppt_y"/>
                                          </p:val>
                                        </p:tav>
                                      </p:tavLst>
                                    </p:anim>
                                  </p:childTnLst>
                                </p:cTn>
                              </p:par>
                              <p:par>
                                <p:cTn id="10" presetID="23" presetClass="entr" presetSubtype="272" fill="hold" grpId="0" nodeType="withEffect">
                                  <p:stCondLst>
                                    <p:cond delay="0"/>
                                  </p:stCondLst>
                                  <p:childTnLst>
                                    <p:set>
                                      <p:cBhvr>
                                        <p:cTn id="11" dur="1" fill="hold">
                                          <p:stCondLst>
                                            <p:cond delay="0"/>
                                          </p:stCondLst>
                                        </p:cTn>
                                        <p:tgtEl>
                                          <p:spTgt spid="22"/>
                                        </p:tgtEl>
                                        <p:attrNameLst>
                                          <p:attrName>style.visibility</p:attrName>
                                        </p:attrNameLst>
                                      </p:cBhvr>
                                      <p:to>
                                        <p:strVal val="visible"/>
                                      </p:to>
                                    </p:set>
                                    <p:anim calcmode="lin" valueType="num">
                                      <p:cBhvr>
                                        <p:cTn id="12" dur="500" fill="hold"/>
                                        <p:tgtEl>
                                          <p:spTgt spid="22"/>
                                        </p:tgtEl>
                                        <p:attrNameLst>
                                          <p:attrName>ppt_w</p:attrName>
                                        </p:attrNameLst>
                                      </p:cBhvr>
                                      <p:tavLst>
                                        <p:tav tm="0">
                                          <p:val>
                                            <p:strVal val="2/3*#ppt_w"/>
                                          </p:val>
                                        </p:tav>
                                        <p:tav tm="100000">
                                          <p:val>
                                            <p:strVal val="#ppt_w"/>
                                          </p:val>
                                        </p:tav>
                                      </p:tavLst>
                                    </p:anim>
                                    <p:anim calcmode="lin" valueType="num">
                                      <p:cBhvr>
                                        <p:cTn id="13" dur="500" fill="hold"/>
                                        <p:tgtEl>
                                          <p:spTgt spid="22"/>
                                        </p:tgtEl>
                                        <p:attrNameLst>
                                          <p:attrName>ppt_h</p:attrName>
                                        </p:attrNameLst>
                                      </p:cBhvr>
                                      <p:tavLst>
                                        <p:tav tm="0">
                                          <p:val>
                                            <p:strVal val="2/3*#ppt_h"/>
                                          </p:val>
                                        </p:tav>
                                        <p:tav tm="100000">
                                          <p:val>
                                            <p:strVal val="#ppt_h"/>
                                          </p:val>
                                        </p:tav>
                                      </p:tavLst>
                                    </p:anim>
                                  </p:childTnLst>
                                </p:cTn>
                              </p:par>
                              <p:par>
                                <p:cTn id="14" presetID="10" presetClass="entr" presetSubtype="0" fill="hold" grpId="0" nodeType="withEffect">
                                  <p:stCondLst>
                                    <p:cond delay="0"/>
                                  </p:stCondLst>
                                  <p:childTnLst>
                                    <p:set>
                                      <p:cBhvr>
                                        <p:cTn id="15" dur="1" fill="hold">
                                          <p:stCondLst>
                                            <p:cond delay="0"/>
                                          </p:stCondLst>
                                        </p:cTn>
                                        <p:tgtEl>
                                          <p:spTgt spid="29"/>
                                        </p:tgtEl>
                                        <p:attrNameLst>
                                          <p:attrName>style.visibility</p:attrName>
                                        </p:attrNameLst>
                                      </p:cBhvr>
                                      <p:to>
                                        <p:strVal val="visible"/>
                                      </p:to>
                                    </p:set>
                                    <p:animEffect transition="in" filter="fade">
                                      <p:cBhvr>
                                        <p:cTn id="16" dur="500"/>
                                        <p:tgtEl>
                                          <p:spTgt spid="29"/>
                                        </p:tgtEl>
                                      </p:cBhvr>
                                    </p:animEffect>
                                  </p:childTnLst>
                                </p:cTn>
                              </p:par>
                              <p:par>
                                <p:cTn id="17" presetID="47" presetClass="entr" presetSubtype="0" fill="hold" grpId="0" nodeType="withEffect">
                                  <p:stCondLst>
                                    <p:cond delay="200"/>
                                  </p:stCondLst>
                                  <p:childTnLst>
                                    <p:set>
                                      <p:cBhvr>
                                        <p:cTn id="18" dur="1" fill="hold">
                                          <p:stCondLst>
                                            <p:cond delay="0"/>
                                          </p:stCondLst>
                                        </p:cTn>
                                        <p:tgtEl>
                                          <p:spTgt spid="21"/>
                                        </p:tgtEl>
                                        <p:attrNameLst>
                                          <p:attrName>style.visibility</p:attrName>
                                        </p:attrNameLst>
                                      </p:cBhvr>
                                      <p:to>
                                        <p:strVal val="visible"/>
                                      </p:to>
                                    </p:set>
                                    <p:animEffect transition="in" filter="fade">
                                      <p:cBhvr>
                                        <p:cTn id="19" dur="500"/>
                                        <p:tgtEl>
                                          <p:spTgt spid="21"/>
                                        </p:tgtEl>
                                      </p:cBhvr>
                                    </p:animEffect>
                                    <p:anim calcmode="lin" valueType="num">
                                      <p:cBhvr>
                                        <p:cTn id="20" dur="500" fill="hold"/>
                                        <p:tgtEl>
                                          <p:spTgt spid="21"/>
                                        </p:tgtEl>
                                        <p:attrNameLst>
                                          <p:attrName>ppt_x</p:attrName>
                                        </p:attrNameLst>
                                      </p:cBhvr>
                                      <p:tavLst>
                                        <p:tav tm="0">
                                          <p:val>
                                            <p:strVal val="#ppt_x"/>
                                          </p:val>
                                        </p:tav>
                                        <p:tav tm="100000">
                                          <p:val>
                                            <p:strVal val="#ppt_x"/>
                                          </p:val>
                                        </p:tav>
                                      </p:tavLst>
                                    </p:anim>
                                    <p:anim calcmode="lin" valueType="num">
                                      <p:cBhvr>
                                        <p:cTn id="21" dur="500" fill="hold"/>
                                        <p:tgtEl>
                                          <p:spTgt spid="21"/>
                                        </p:tgtEl>
                                        <p:attrNameLst>
                                          <p:attrName>ppt_y</p:attrName>
                                        </p:attrNameLst>
                                      </p:cBhvr>
                                      <p:tavLst>
                                        <p:tav tm="0">
                                          <p:val>
                                            <p:strVal val="#ppt_y-.1"/>
                                          </p:val>
                                        </p:tav>
                                        <p:tav tm="100000">
                                          <p:val>
                                            <p:strVal val="#ppt_y"/>
                                          </p:val>
                                        </p:tav>
                                      </p:tavLst>
                                    </p:anim>
                                  </p:childTnLst>
                                </p:cTn>
                              </p:par>
                              <p:par>
                                <p:cTn id="22" presetID="23" presetClass="entr" presetSubtype="272" fill="hold" grpId="0" nodeType="withEffect">
                                  <p:stCondLst>
                                    <p:cond delay="200"/>
                                  </p:stCondLst>
                                  <p:childTnLst>
                                    <p:set>
                                      <p:cBhvr>
                                        <p:cTn id="23" dur="1" fill="hold">
                                          <p:stCondLst>
                                            <p:cond delay="0"/>
                                          </p:stCondLst>
                                        </p:cTn>
                                        <p:tgtEl>
                                          <p:spTgt spid="24"/>
                                        </p:tgtEl>
                                        <p:attrNameLst>
                                          <p:attrName>style.visibility</p:attrName>
                                        </p:attrNameLst>
                                      </p:cBhvr>
                                      <p:to>
                                        <p:strVal val="visible"/>
                                      </p:to>
                                    </p:set>
                                    <p:anim calcmode="lin" valueType="num">
                                      <p:cBhvr>
                                        <p:cTn id="24" dur="500" fill="hold"/>
                                        <p:tgtEl>
                                          <p:spTgt spid="24"/>
                                        </p:tgtEl>
                                        <p:attrNameLst>
                                          <p:attrName>ppt_w</p:attrName>
                                        </p:attrNameLst>
                                      </p:cBhvr>
                                      <p:tavLst>
                                        <p:tav tm="0">
                                          <p:val>
                                            <p:strVal val="2/3*#ppt_w"/>
                                          </p:val>
                                        </p:tav>
                                        <p:tav tm="100000">
                                          <p:val>
                                            <p:strVal val="#ppt_w"/>
                                          </p:val>
                                        </p:tav>
                                      </p:tavLst>
                                    </p:anim>
                                    <p:anim calcmode="lin" valueType="num">
                                      <p:cBhvr>
                                        <p:cTn id="25" dur="500" fill="hold"/>
                                        <p:tgtEl>
                                          <p:spTgt spid="24"/>
                                        </p:tgtEl>
                                        <p:attrNameLst>
                                          <p:attrName>ppt_h</p:attrName>
                                        </p:attrNameLst>
                                      </p:cBhvr>
                                      <p:tavLst>
                                        <p:tav tm="0">
                                          <p:val>
                                            <p:strVal val="2/3*#ppt_h"/>
                                          </p:val>
                                        </p:tav>
                                        <p:tav tm="100000">
                                          <p:val>
                                            <p:strVal val="#ppt_h"/>
                                          </p:val>
                                        </p:tav>
                                      </p:tavLst>
                                    </p:anim>
                                  </p:childTnLst>
                                </p:cTn>
                              </p:par>
                              <p:par>
                                <p:cTn id="26" presetID="10" presetClass="entr" presetSubtype="0" fill="hold" nodeType="withEffect">
                                  <p:stCondLst>
                                    <p:cond delay="200"/>
                                  </p:stCondLst>
                                  <p:childTnLst>
                                    <p:set>
                                      <p:cBhvr>
                                        <p:cTn id="27" dur="1" fill="hold">
                                          <p:stCondLst>
                                            <p:cond delay="0"/>
                                          </p:stCondLst>
                                        </p:cTn>
                                        <p:tgtEl>
                                          <p:spTgt spid="30"/>
                                        </p:tgtEl>
                                        <p:attrNameLst>
                                          <p:attrName>style.visibility</p:attrName>
                                        </p:attrNameLst>
                                      </p:cBhvr>
                                      <p:to>
                                        <p:strVal val="visible"/>
                                      </p:to>
                                    </p:set>
                                    <p:animEffect transition="in" filter="fade">
                                      <p:cBhvr>
                                        <p:cTn id="28" dur="500"/>
                                        <p:tgtEl>
                                          <p:spTgt spid="30"/>
                                        </p:tgtEl>
                                      </p:cBhvr>
                                    </p:animEffect>
                                  </p:childTnLst>
                                </p:cTn>
                              </p:par>
                              <p:par>
                                <p:cTn id="29" presetID="47" presetClass="entr" presetSubtype="0" fill="hold" grpId="0" nodeType="withEffect">
                                  <p:stCondLst>
                                    <p:cond delay="40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500"/>
                                        <p:tgtEl>
                                          <p:spTgt spid="20"/>
                                        </p:tgtEl>
                                      </p:cBhvr>
                                    </p:animEffect>
                                    <p:anim calcmode="lin" valueType="num">
                                      <p:cBhvr>
                                        <p:cTn id="32" dur="500" fill="hold"/>
                                        <p:tgtEl>
                                          <p:spTgt spid="20"/>
                                        </p:tgtEl>
                                        <p:attrNameLst>
                                          <p:attrName>ppt_x</p:attrName>
                                        </p:attrNameLst>
                                      </p:cBhvr>
                                      <p:tavLst>
                                        <p:tav tm="0">
                                          <p:val>
                                            <p:strVal val="#ppt_x"/>
                                          </p:val>
                                        </p:tav>
                                        <p:tav tm="100000">
                                          <p:val>
                                            <p:strVal val="#ppt_x"/>
                                          </p:val>
                                        </p:tav>
                                      </p:tavLst>
                                    </p:anim>
                                    <p:anim calcmode="lin" valueType="num">
                                      <p:cBhvr>
                                        <p:cTn id="33" dur="500" fill="hold"/>
                                        <p:tgtEl>
                                          <p:spTgt spid="20"/>
                                        </p:tgtEl>
                                        <p:attrNameLst>
                                          <p:attrName>ppt_y</p:attrName>
                                        </p:attrNameLst>
                                      </p:cBhvr>
                                      <p:tavLst>
                                        <p:tav tm="0">
                                          <p:val>
                                            <p:strVal val="#ppt_y-.1"/>
                                          </p:val>
                                        </p:tav>
                                        <p:tav tm="100000">
                                          <p:val>
                                            <p:strVal val="#ppt_y"/>
                                          </p:val>
                                        </p:tav>
                                      </p:tavLst>
                                    </p:anim>
                                  </p:childTnLst>
                                </p:cTn>
                              </p:par>
                              <p:par>
                                <p:cTn id="34" presetID="23" presetClass="entr" presetSubtype="272" fill="hold" grpId="0" nodeType="withEffect">
                                  <p:stCondLst>
                                    <p:cond delay="400"/>
                                  </p:stCondLst>
                                  <p:childTnLst>
                                    <p:set>
                                      <p:cBhvr>
                                        <p:cTn id="35" dur="1" fill="hold">
                                          <p:stCondLst>
                                            <p:cond delay="0"/>
                                          </p:stCondLst>
                                        </p:cTn>
                                        <p:tgtEl>
                                          <p:spTgt spid="25"/>
                                        </p:tgtEl>
                                        <p:attrNameLst>
                                          <p:attrName>style.visibility</p:attrName>
                                        </p:attrNameLst>
                                      </p:cBhvr>
                                      <p:to>
                                        <p:strVal val="visible"/>
                                      </p:to>
                                    </p:set>
                                    <p:anim calcmode="lin" valueType="num">
                                      <p:cBhvr>
                                        <p:cTn id="36" dur="500" fill="hold"/>
                                        <p:tgtEl>
                                          <p:spTgt spid="25"/>
                                        </p:tgtEl>
                                        <p:attrNameLst>
                                          <p:attrName>ppt_w</p:attrName>
                                        </p:attrNameLst>
                                      </p:cBhvr>
                                      <p:tavLst>
                                        <p:tav tm="0">
                                          <p:val>
                                            <p:strVal val="2/3*#ppt_w"/>
                                          </p:val>
                                        </p:tav>
                                        <p:tav tm="100000">
                                          <p:val>
                                            <p:strVal val="#ppt_w"/>
                                          </p:val>
                                        </p:tav>
                                      </p:tavLst>
                                    </p:anim>
                                    <p:anim calcmode="lin" valueType="num">
                                      <p:cBhvr>
                                        <p:cTn id="37" dur="500" fill="hold"/>
                                        <p:tgtEl>
                                          <p:spTgt spid="25"/>
                                        </p:tgtEl>
                                        <p:attrNameLst>
                                          <p:attrName>ppt_h</p:attrName>
                                        </p:attrNameLst>
                                      </p:cBhvr>
                                      <p:tavLst>
                                        <p:tav tm="0">
                                          <p:val>
                                            <p:strVal val="2/3*#ppt_h"/>
                                          </p:val>
                                        </p:tav>
                                        <p:tav tm="100000">
                                          <p:val>
                                            <p:strVal val="#ppt_h"/>
                                          </p:val>
                                        </p:tav>
                                      </p:tavLst>
                                    </p:anim>
                                  </p:childTnLst>
                                </p:cTn>
                              </p:par>
                              <p:par>
                                <p:cTn id="38" presetID="10" presetClass="entr" presetSubtype="0" fill="hold" grpId="0" nodeType="withEffect">
                                  <p:stCondLst>
                                    <p:cond delay="400"/>
                                  </p:stCondLst>
                                  <p:childTnLst>
                                    <p:set>
                                      <p:cBhvr>
                                        <p:cTn id="39" dur="1" fill="hold">
                                          <p:stCondLst>
                                            <p:cond delay="0"/>
                                          </p:stCondLst>
                                        </p:cTn>
                                        <p:tgtEl>
                                          <p:spTgt spid="33"/>
                                        </p:tgtEl>
                                        <p:attrNameLst>
                                          <p:attrName>style.visibility</p:attrName>
                                        </p:attrNameLst>
                                      </p:cBhvr>
                                      <p:to>
                                        <p:strVal val="visible"/>
                                      </p:to>
                                    </p:set>
                                    <p:animEffect transition="in" filter="fade">
                                      <p:cBhvr>
                                        <p:cTn id="40" dur="500"/>
                                        <p:tgtEl>
                                          <p:spTgt spid="33"/>
                                        </p:tgtEl>
                                      </p:cBhvr>
                                    </p:animEffect>
                                  </p:childTnLst>
                                </p:cTn>
                              </p:par>
                              <p:par>
                                <p:cTn id="41" presetID="47" presetClass="entr" presetSubtype="0" fill="hold" grpId="0" nodeType="withEffect">
                                  <p:stCondLst>
                                    <p:cond delay="400"/>
                                  </p:stCondLst>
                                  <p:childTnLst>
                                    <p:set>
                                      <p:cBhvr>
                                        <p:cTn id="42" dur="1" fill="hold">
                                          <p:stCondLst>
                                            <p:cond delay="0"/>
                                          </p:stCondLst>
                                        </p:cTn>
                                        <p:tgtEl>
                                          <p:spTgt spid="18"/>
                                        </p:tgtEl>
                                        <p:attrNameLst>
                                          <p:attrName>style.visibility</p:attrName>
                                        </p:attrNameLst>
                                      </p:cBhvr>
                                      <p:to>
                                        <p:strVal val="visible"/>
                                      </p:to>
                                    </p:set>
                                    <p:animEffect transition="in" filter="fade">
                                      <p:cBhvr>
                                        <p:cTn id="43" dur="500"/>
                                        <p:tgtEl>
                                          <p:spTgt spid="18"/>
                                        </p:tgtEl>
                                      </p:cBhvr>
                                    </p:animEffect>
                                    <p:anim calcmode="lin" valueType="num">
                                      <p:cBhvr>
                                        <p:cTn id="44" dur="500" fill="hold"/>
                                        <p:tgtEl>
                                          <p:spTgt spid="18"/>
                                        </p:tgtEl>
                                        <p:attrNameLst>
                                          <p:attrName>ppt_x</p:attrName>
                                        </p:attrNameLst>
                                      </p:cBhvr>
                                      <p:tavLst>
                                        <p:tav tm="0">
                                          <p:val>
                                            <p:strVal val="#ppt_x"/>
                                          </p:val>
                                        </p:tav>
                                        <p:tav tm="100000">
                                          <p:val>
                                            <p:strVal val="#ppt_x"/>
                                          </p:val>
                                        </p:tav>
                                      </p:tavLst>
                                    </p:anim>
                                    <p:anim calcmode="lin" valueType="num">
                                      <p:cBhvr>
                                        <p:cTn id="45" dur="500" fill="hold"/>
                                        <p:tgtEl>
                                          <p:spTgt spid="18"/>
                                        </p:tgtEl>
                                        <p:attrNameLst>
                                          <p:attrName>ppt_y</p:attrName>
                                        </p:attrNameLst>
                                      </p:cBhvr>
                                      <p:tavLst>
                                        <p:tav tm="0">
                                          <p:val>
                                            <p:strVal val="#ppt_y-.1"/>
                                          </p:val>
                                        </p:tav>
                                        <p:tav tm="100000">
                                          <p:val>
                                            <p:strVal val="#ppt_y"/>
                                          </p:val>
                                        </p:tav>
                                      </p:tavLst>
                                    </p:anim>
                                  </p:childTnLst>
                                </p:cTn>
                              </p:par>
                              <p:par>
                                <p:cTn id="46" presetID="23" presetClass="entr" presetSubtype="272" fill="hold" grpId="0" nodeType="withEffect">
                                  <p:stCondLst>
                                    <p:cond delay="600"/>
                                  </p:stCondLst>
                                  <p:childTnLst>
                                    <p:set>
                                      <p:cBhvr>
                                        <p:cTn id="47" dur="1" fill="hold">
                                          <p:stCondLst>
                                            <p:cond delay="0"/>
                                          </p:stCondLst>
                                        </p:cTn>
                                        <p:tgtEl>
                                          <p:spTgt spid="26"/>
                                        </p:tgtEl>
                                        <p:attrNameLst>
                                          <p:attrName>style.visibility</p:attrName>
                                        </p:attrNameLst>
                                      </p:cBhvr>
                                      <p:to>
                                        <p:strVal val="visible"/>
                                      </p:to>
                                    </p:set>
                                    <p:anim calcmode="lin" valueType="num">
                                      <p:cBhvr>
                                        <p:cTn id="48" dur="500" fill="hold"/>
                                        <p:tgtEl>
                                          <p:spTgt spid="26"/>
                                        </p:tgtEl>
                                        <p:attrNameLst>
                                          <p:attrName>ppt_w</p:attrName>
                                        </p:attrNameLst>
                                      </p:cBhvr>
                                      <p:tavLst>
                                        <p:tav tm="0">
                                          <p:val>
                                            <p:strVal val="2/3*#ppt_w"/>
                                          </p:val>
                                        </p:tav>
                                        <p:tav tm="100000">
                                          <p:val>
                                            <p:strVal val="#ppt_w"/>
                                          </p:val>
                                        </p:tav>
                                      </p:tavLst>
                                    </p:anim>
                                    <p:anim calcmode="lin" valueType="num">
                                      <p:cBhvr>
                                        <p:cTn id="49" dur="500" fill="hold"/>
                                        <p:tgtEl>
                                          <p:spTgt spid="26"/>
                                        </p:tgtEl>
                                        <p:attrNameLst>
                                          <p:attrName>ppt_h</p:attrName>
                                        </p:attrNameLst>
                                      </p:cBhvr>
                                      <p:tavLst>
                                        <p:tav tm="0">
                                          <p:val>
                                            <p:strVal val="2/3*#ppt_h"/>
                                          </p:val>
                                        </p:tav>
                                        <p:tav tm="100000">
                                          <p:val>
                                            <p:strVal val="#ppt_h"/>
                                          </p:val>
                                        </p:tav>
                                      </p:tavLst>
                                    </p:anim>
                                  </p:childTnLst>
                                </p:cTn>
                              </p:par>
                              <p:par>
                                <p:cTn id="50" presetID="10" presetClass="entr" presetSubtype="0" fill="hold" grpId="0" nodeType="withEffect">
                                  <p:stCondLst>
                                    <p:cond delay="600"/>
                                  </p:stCondLst>
                                  <p:childTnLst>
                                    <p:set>
                                      <p:cBhvr>
                                        <p:cTn id="51" dur="1" fill="hold">
                                          <p:stCondLst>
                                            <p:cond delay="0"/>
                                          </p:stCondLst>
                                        </p:cTn>
                                        <p:tgtEl>
                                          <p:spTgt spid="34"/>
                                        </p:tgtEl>
                                        <p:attrNameLst>
                                          <p:attrName>style.visibility</p:attrName>
                                        </p:attrNameLst>
                                      </p:cBhvr>
                                      <p:to>
                                        <p:strVal val="visible"/>
                                      </p:to>
                                    </p:set>
                                    <p:animEffect transition="in" filter="fade">
                                      <p:cBhvr>
                                        <p:cTn id="52" dur="500"/>
                                        <p:tgtEl>
                                          <p:spTgt spid="34"/>
                                        </p:tgtEl>
                                      </p:cBhvr>
                                    </p:animEffect>
                                  </p:childTnLst>
                                </p:cTn>
                              </p:par>
                              <p:par>
                                <p:cTn id="53" presetID="16" presetClass="entr" presetSubtype="37" fill="hold" nodeType="withEffect">
                                  <p:stCondLst>
                                    <p:cond delay="600"/>
                                  </p:stCondLst>
                                  <p:childTnLst>
                                    <p:set>
                                      <p:cBhvr>
                                        <p:cTn id="54" dur="1" fill="hold">
                                          <p:stCondLst>
                                            <p:cond delay="0"/>
                                          </p:stCondLst>
                                        </p:cTn>
                                        <p:tgtEl>
                                          <p:spTgt spid="23"/>
                                        </p:tgtEl>
                                        <p:attrNameLst>
                                          <p:attrName>style.visibility</p:attrName>
                                        </p:attrNameLst>
                                      </p:cBhvr>
                                      <p:to>
                                        <p:strVal val="visible"/>
                                      </p:to>
                                    </p:set>
                                    <p:animEffect transition="in" filter="barn(outVertical)">
                                      <p:cBhvr>
                                        <p:cTn id="55" dur="500"/>
                                        <p:tgtEl>
                                          <p:spTgt spid="23"/>
                                        </p:tgtEl>
                                      </p:cBhvr>
                                    </p:animEffect>
                                  </p:childTnLst>
                                </p:cTn>
                              </p:par>
                              <p:par>
                                <p:cTn id="56" presetID="16" presetClass="entr" presetSubtype="37" fill="hold" nodeType="withEffect">
                                  <p:stCondLst>
                                    <p:cond delay="600"/>
                                  </p:stCondLst>
                                  <p:childTnLst>
                                    <p:set>
                                      <p:cBhvr>
                                        <p:cTn id="57" dur="1" fill="hold">
                                          <p:stCondLst>
                                            <p:cond delay="0"/>
                                          </p:stCondLst>
                                        </p:cTn>
                                        <p:tgtEl>
                                          <p:spTgt spid="27"/>
                                        </p:tgtEl>
                                        <p:attrNameLst>
                                          <p:attrName>style.visibility</p:attrName>
                                        </p:attrNameLst>
                                      </p:cBhvr>
                                      <p:to>
                                        <p:strVal val="visible"/>
                                      </p:to>
                                    </p:set>
                                    <p:animEffect transition="in" filter="barn(outVertical)">
                                      <p:cBhvr>
                                        <p:cTn id="58" dur="500"/>
                                        <p:tgtEl>
                                          <p:spTgt spid="27"/>
                                        </p:tgtEl>
                                      </p:cBhvr>
                                    </p:animEffect>
                                  </p:childTnLst>
                                </p:cTn>
                              </p:par>
                              <p:par>
                                <p:cTn id="59" presetID="16" presetClass="entr" presetSubtype="37" fill="hold" nodeType="withEffect">
                                  <p:stCondLst>
                                    <p:cond delay="600"/>
                                  </p:stCondLst>
                                  <p:childTnLst>
                                    <p:set>
                                      <p:cBhvr>
                                        <p:cTn id="60" dur="1" fill="hold">
                                          <p:stCondLst>
                                            <p:cond delay="0"/>
                                          </p:stCondLst>
                                        </p:cTn>
                                        <p:tgtEl>
                                          <p:spTgt spid="28"/>
                                        </p:tgtEl>
                                        <p:attrNameLst>
                                          <p:attrName>style.visibility</p:attrName>
                                        </p:attrNameLst>
                                      </p:cBhvr>
                                      <p:to>
                                        <p:strVal val="visible"/>
                                      </p:to>
                                    </p:set>
                                    <p:animEffect transition="in" filter="barn(outVertical)">
                                      <p:cBhvr>
                                        <p:cTn id="61"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P spid="20" grpId="0"/>
      <p:bldP spid="21" grpId="0"/>
      <p:bldP spid="22" grpId="0" animBg="1"/>
      <p:bldP spid="24" grpId="0" animBg="1"/>
      <p:bldP spid="25" grpId="0" animBg="1"/>
      <p:bldP spid="26" grpId="0" animBg="1"/>
      <p:bldP spid="29" grpId="0" animBg="1"/>
      <p:bldP spid="33" grpId="0" animBg="1"/>
      <p:bldP spid="34" grpId="0" animBg="1"/>
    </p:bld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TextBox 10">
            <a:extLst>
              <a:ext uri="{FF2B5EF4-FFF2-40B4-BE49-F238E27FC236}">
                <a16:creationId xmlns:a16="http://schemas.microsoft.com/office/drawing/2014/main" id="{896338E4-5E15-43CE-8AF9-7CEA7FF4CEDC}"/>
              </a:ext>
            </a:extLst>
          </p:cNvPr>
          <p:cNvSpPr txBox="1"/>
          <p:nvPr/>
        </p:nvSpPr>
        <p:spPr>
          <a:xfrm>
            <a:off x="8608253" y="5225320"/>
            <a:ext cx="2097678" cy="3693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29" normalizeH="0" baseline="0" noProof="0" dirty="0">
                <a:ln>
                  <a:noFill/>
                </a:ln>
                <a:solidFill>
                  <a:srgbClr val="0078D7"/>
                </a:solidFill>
                <a:effectLst/>
                <a:uLnTx/>
                <a:uFillTx/>
                <a:latin typeface="Segoe UI"/>
                <a:ea typeface="+mn-ea"/>
                <a:cs typeface="Segoe UI" pitchFamily="34" charset="0"/>
              </a:rPr>
              <a:t>Trusted</a:t>
            </a:r>
          </a:p>
        </p:txBody>
      </p:sp>
      <p:sp>
        <p:nvSpPr>
          <p:cNvPr id="25" name="TextBox 10">
            <a:extLst>
              <a:ext uri="{FF2B5EF4-FFF2-40B4-BE49-F238E27FC236}">
                <a16:creationId xmlns:a16="http://schemas.microsoft.com/office/drawing/2014/main" id="{8BD8644E-02C1-4F61-928F-E8902B1F0AC2}"/>
              </a:ext>
            </a:extLst>
          </p:cNvPr>
          <p:cNvSpPr txBox="1"/>
          <p:nvPr/>
        </p:nvSpPr>
        <p:spPr>
          <a:xfrm>
            <a:off x="1689528" y="5225320"/>
            <a:ext cx="2097678" cy="3693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29" normalizeH="0" baseline="0" noProof="0" dirty="0">
                <a:ln>
                  <a:noFill/>
                </a:ln>
                <a:solidFill>
                  <a:srgbClr val="0078D7"/>
                </a:solidFill>
                <a:effectLst/>
                <a:uLnTx/>
                <a:uFillTx/>
                <a:latin typeface="Segoe UI"/>
                <a:ea typeface="+mn-ea"/>
                <a:cs typeface="Segoe UI" pitchFamily="34" charset="0"/>
              </a:rPr>
              <a:t>Productive</a:t>
            </a:r>
          </a:p>
        </p:txBody>
      </p:sp>
      <p:sp>
        <p:nvSpPr>
          <p:cNvPr id="26" name="TextBox 10">
            <a:extLst>
              <a:ext uri="{FF2B5EF4-FFF2-40B4-BE49-F238E27FC236}">
                <a16:creationId xmlns:a16="http://schemas.microsoft.com/office/drawing/2014/main" id="{FF250B0B-16D0-4242-B609-FCD6071403FF}"/>
              </a:ext>
            </a:extLst>
          </p:cNvPr>
          <p:cNvSpPr txBox="1"/>
          <p:nvPr/>
        </p:nvSpPr>
        <p:spPr>
          <a:xfrm>
            <a:off x="6277979" y="5225320"/>
            <a:ext cx="2097678" cy="3693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29" normalizeH="0" baseline="0" noProof="0" dirty="0">
                <a:ln>
                  <a:noFill/>
                </a:ln>
                <a:solidFill>
                  <a:srgbClr val="0078D7"/>
                </a:solidFill>
                <a:effectLst/>
                <a:uLnTx/>
                <a:uFillTx/>
                <a:latin typeface="Segoe UI"/>
                <a:ea typeface="+mn-ea"/>
                <a:cs typeface="Segoe UI" pitchFamily="34" charset="0"/>
              </a:rPr>
              <a:t>Intelligent</a:t>
            </a:r>
          </a:p>
        </p:txBody>
      </p:sp>
      <p:sp>
        <p:nvSpPr>
          <p:cNvPr id="27" name="TextBox 10">
            <a:extLst>
              <a:ext uri="{FF2B5EF4-FFF2-40B4-BE49-F238E27FC236}">
                <a16:creationId xmlns:a16="http://schemas.microsoft.com/office/drawing/2014/main" id="{2F69F83B-0A06-4322-8678-085D0848E284}"/>
              </a:ext>
            </a:extLst>
          </p:cNvPr>
          <p:cNvSpPr txBox="1"/>
          <p:nvPr/>
        </p:nvSpPr>
        <p:spPr>
          <a:xfrm>
            <a:off x="4014635" y="5225320"/>
            <a:ext cx="2097678" cy="3693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29" normalizeH="0" baseline="0" noProof="0" dirty="0">
                <a:ln>
                  <a:noFill/>
                </a:ln>
                <a:solidFill>
                  <a:srgbClr val="0078D7"/>
                </a:solidFill>
                <a:effectLst/>
                <a:uLnTx/>
                <a:uFillTx/>
                <a:latin typeface="Segoe UI"/>
                <a:ea typeface="+mn-ea"/>
                <a:cs typeface="Segoe UI" pitchFamily="34" charset="0"/>
              </a:rPr>
              <a:t>Hybrid</a:t>
            </a:r>
          </a:p>
        </p:txBody>
      </p:sp>
      <p:sp>
        <p:nvSpPr>
          <p:cNvPr id="35" name="speedometer_2">
            <a:extLst>
              <a:ext uri="{FF2B5EF4-FFF2-40B4-BE49-F238E27FC236}">
                <a16:creationId xmlns:a16="http://schemas.microsoft.com/office/drawing/2014/main" id="{46821C48-C0E2-4818-81B4-7D5236DC9004}"/>
              </a:ext>
            </a:extLst>
          </p:cNvPr>
          <p:cNvSpPr>
            <a:spLocks noChangeAspect="1" noEditPoints="1"/>
          </p:cNvSpPr>
          <p:nvPr/>
        </p:nvSpPr>
        <p:spPr bwMode="auto">
          <a:xfrm>
            <a:off x="2417600" y="3752932"/>
            <a:ext cx="640154" cy="640152"/>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3492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36" name="Group 35">
            <a:extLst>
              <a:ext uri="{FF2B5EF4-FFF2-40B4-BE49-F238E27FC236}">
                <a16:creationId xmlns:a16="http://schemas.microsoft.com/office/drawing/2014/main" id="{77AD9DD7-EB86-45CE-9B27-089347C7D079}"/>
              </a:ext>
            </a:extLst>
          </p:cNvPr>
          <p:cNvGrpSpPr/>
          <p:nvPr/>
        </p:nvGrpSpPr>
        <p:grpSpPr>
          <a:xfrm>
            <a:off x="4748286" y="3785231"/>
            <a:ext cx="589266" cy="575554"/>
            <a:chOff x="2088630" y="3287843"/>
            <a:chExt cx="429718" cy="419725"/>
          </a:xfrm>
          <a:noFill/>
        </p:grpSpPr>
        <p:sp>
          <p:nvSpPr>
            <p:cNvPr id="37" name="Rectangle 36">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3492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8" name="Rectangle 37">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3492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39"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7109952" y="3747628"/>
            <a:ext cx="438324" cy="65076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3492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0" name="Freeform 39"/>
          <p:cNvSpPr>
            <a:spLocks noChangeArrowheads="1"/>
          </p:cNvSpPr>
          <p:nvPr/>
        </p:nvSpPr>
        <p:spPr bwMode="auto">
          <a:xfrm>
            <a:off x="9312242" y="3757138"/>
            <a:ext cx="690740" cy="68348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3492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 name="MS cloud text">
            <a:extLst>
              <a:ext uri="{FF2B5EF4-FFF2-40B4-BE49-F238E27FC236}">
                <a16:creationId xmlns:a16="http://schemas.microsoft.com/office/drawing/2014/main" id="{9E59C516-6363-4A74-B86F-292983DE1AF7}"/>
              </a:ext>
            </a:extLst>
          </p:cNvPr>
          <p:cNvSpPr txBox="1">
            <a:spLocks/>
          </p:cNvSpPr>
          <p:nvPr/>
        </p:nvSpPr>
        <p:spPr>
          <a:xfrm>
            <a:off x="0" y="2055473"/>
            <a:ext cx="12192000" cy="1144502"/>
          </a:xfrm>
          <a:prstGeom prst="rect">
            <a:avLst/>
          </a:prstGeom>
        </p:spPr>
        <p:txBody>
          <a:bodyPr vert="horz" wrap="square" lIns="143428" tIns="89642" rIns="143428" bIns="89642"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marL="0" marR="0" lvl="0" indent="0" algn="ctr" defTabSz="896386" rtl="0" eaLnBrk="1" fontAlgn="auto" latinLnBrk="0" hangingPunct="1">
              <a:lnSpc>
                <a:spcPct val="90000"/>
              </a:lnSpc>
              <a:spcBef>
                <a:spcPct val="0"/>
              </a:spcBef>
              <a:spcAft>
                <a:spcPts val="0"/>
              </a:spcAft>
              <a:buClrTx/>
              <a:buSzTx/>
              <a:buFontTx/>
              <a:buNone/>
              <a:tabLst/>
              <a:defRPr/>
            </a:pPr>
            <a:r>
              <a:rPr kumimoji="0" lang="en-US" sz="5500" b="0" i="0" u="none" strike="noStrike" kern="0" cap="none" spc="-100" normalizeH="0" baseline="0" noProof="0" dirty="0">
                <a:ln w="3175">
                  <a:noFill/>
                </a:ln>
                <a:solidFill>
                  <a:srgbClr val="002050"/>
                </a:solidFill>
                <a:effectLst/>
                <a:uLnTx/>
                <a:uFillTx/>
                <a:latin typeface="Segoe UI Semilight"/>
                <a:ea typeface="+mn-ea"/>
                <a:cs typeface="Segoe UI Semilight" panose="020B0402040204020203" pitchFamily="34" charset="0"/>
              </a:rPr>
              <a:t>Azure. Cloud for all.</a:t>
            </a:r>
            <a:endParaRPr kumimoji="0" lang="en-US" sz="5500" b="0" i="0" u="none" strike="noStrike" kern="0" cap="none" spc="-100" normalizeH="0" baseline="0" noProof="0" dirty="0">
              <a:ln w="3175">
                <a:noFill/>
              </a:ln>
              <a:solidFill>
                <a:srgbClr val="002050"/>
              </a:solidFill>
              <a:effectLst/>
              <a:uLnTx/>
              <a:uFillTx/>
              <a:latin typeface="Segoe UI Light"/>
              <a:ea typeface="+mn-ea"/>
              <a:cs typeface="Segoe UI Semilight" panose="020B0402040204020203" pitchFamily="34" charset="0"/>
            </a:endParaRPr>
          </a:p>
          <a:p>
            <a:pPr marL="0" marR="0" lvl="0" indent="0" algn="ctr" defTabSz="896386" rtl="0" eaLnBrk="1" fontAlgn="auto" latinLnBrk="0" hangingPunct="1">
              <a:lnSpc>
                <a:spcPct val="90000"/>
              </a:lnSpc>
              <a:spcBef>
                <a:spcPct val="0"/>
              </a:spcBef>
              <a:spcAft>
                <a:spcPts val="0"/>
              </a:spcAft>
              <a:buClrTx/>
              <a:buSzTx/>
              <a:buFontTx/>
              <a:buNone/>
              <a:tabLst/>
              <a:defRPr/>
            </a:pPr>
            <a:endParaRPr kumimoji="0" lang="en-US" sz="5500" b="0" i="0" u="none" strike="noStrike" kern="0" cap="none" spc="-100" normalizeH="0" baseline="0" noProof="0" dirty="0">
              <a:ln w="3175">
                <a:noFill/>
              </a:ln>
              <a:solidFill>
                <a:srgbClr val="002050"/>
              </a:solidFill>
              <a:effectLst/>
              <a:uLnTx/>
              <a:uFillTx/>
              <a:latin typeface="Segoe UI Light"/>
              <a:ea typeface="+mn-ea"/>
              <a:cs typeface="Segoe UI Semilight" panose="020B0402040204020203" pitchFamily="34" charset="0"/>
            </a:endParaRPr>
          </a:p>
        </p:txBody>
      </p:sp>
      <p:sp>
        <p:nvSpPr>
          <p:cNvPr id="13" name="Oval 12">
            <a:extLst>
              <a:ext uri="{FF2B5EF4-FFF2-40B4-BE49-F238E27FC236}">
                <a16:creationId xmlns:a16="http://schemas.microsoft.com/office/drawing/2014/main" id="{8356B447-D388-4785-B3F6-4488C99BB77B}"/>
              </a:ext>
            </a:extLst>
          </p:cNvPr>
          <p:cNvSpPr/>
          <p:nvPr/>
        </p:nvSpPr>
        <p:spPr bwMode="auto">
          <a:xfrm rot="16200000">
            <a:off x="2637677" y="4768977"/>
            <a:ext cx="146912" cy="14691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 name="Oval 14">
            <a:extLst>
              <a:ext uri="{FF2B5EF4-FFF2-40B4-BE49-F238E27FC236}">
                <a16:creationId xmlns:a16="http://schemas.microsoft.com/office/drawing/2014/main" id="{8356B447-D388-4785-B3F6-4488C99BB77B}"/>
              </a:ext>
            </a:extLst>
          </p:cNvPr>
          <p:cNvSpPr/>
          <p:nvPr/>
        </p:nvSpPr>
        <p:spPr bwMode="auto">
          <a:xfrm rot="16200000">
            <a:off x="4962276" y="4768978"/>
            <a:ext cx="146912" cy="14691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 name="Oval 15">
            <a:extLst>
              <a:ext uri="{FF2B5EF4-FFF2-40B4-BE49-F238E27FC236}">
                <a16:creationId xmlns:a16="http://schemas.microsoft.com/office/drawing/2014/main" id="{8356B447-D388-4785-B3F6-4488C99BB77B}"/>
              </a:ext>
            </a:extLst>
          </p:cNvPr>
          <p:cNvSpPr/>
          <p:nvPr/>
        </p:nvSpPr>
        <p:spPr bwMode="auto">
          <a:xfrm rot="16200000">
            <a:off x="7250545" y="4768978"/>
            <a:ext cx="146912" cy="14691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 name="Oval 16">
            <a:extLst>
              <a:ext uri="{FF2B5EF4-FFF2-40B4-BE49-F238E27FC236}">
                <a16:creationId xmlns:a16="http://schemas.microsoft.com/office/drawing/2014/main" id="{8356B447-D388-4785-B3F6-4488C99BB77B}"/>
              </a:ext>
            </a:extLst>
          </p:cNvPr>
          <p:cNvSpPr/>
          <p:nvPr/>
        </p:nvSpPr>
        <p:spPr bwMode="auto">
          <a:xfrm rot="16200000">
            <a:off x="9606693" y="4768978"/>
            <a:ext cx="146910" cy="146910"/>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32" name="Straight Connector 31">
            <a:extLst>
              <a:ext uri="{FF2B5EF4-FFF2-40B4-BE49-F238E27FC236}">
                <a16:creationId xmlns:a16="http://schemas.microsoft.com/office/drawing/2014/main" id="{0E56090D-DF36-436E-BAD8-6044593294A5}"/>
              </a:ext>
            </a:extLst>
          </p:cNvPr>
          <p:cNvCxnSpPr/>
          <p:nvPr/>
        </p:nvCxnSpPr>
        <p:spPr>
          <a:xfrm flipV="1">
            <a:off x="2860066" y="4837471"/>
            <a:ext cx="2042298" cy="4962"/>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E56090D-DF36-436E-BAD8-6044593294A5}"/>
              </a:ext>
            </a:extLst>
          </p:cNvPr>
          <p:cNvCxnSpPr/>
          <p:nvPr/>
        </p:nvCxnSpPr>
        <p:spPr>
          <a:xfrm>
            <a:off x="5160278" y="4835555"/>
            <a:ext cx="2019237" cy="7815"/>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E56090D-DF36-436E-BAD8-6044593294A5}"/>
              </a:ext>
            </a:extLst>
          </p:cNvPr>
          <p:cNvCxnSpPr/>
          <p:nvPr/>
        </p:nvCxnSpPr>
        <p:spPr>
          <a:xfrm>
            <a:off x="7467599" y="4835506"/>
            <a:ext cx="2071215" cy="6927"/>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1817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400"/>
                                        <p:tgtEl>
                                          <p:spTgt spid="19"/>
                                        </p:tgtEl>
                                      </p:cBhvr>
                                    </p:animEffect>
                                  </p:childTnLst>
                                </p:cTn>
                              </p:par>
                              <p:par>
                                <p:cTn id="8" presetID="42" presetClass="path" presetSubtype="0" decel="100000" fill="hold" grpId="1" nodeType="withEffect">
                                  <p:stCondLst>
                                    <p:cond delay="300"/>
                                  </p:stCondLst>
                                  <p:childTnLst>
                                    <p:animMotion origin="layout" path="M 4.79167E-6 2.22222E-6 L 4.79167E-6 0.09629 " pathEditMode="relative" rAng="0" ptsTypes="AA">
                                      <p:cBhvr>
                                        <p:cTn id="9" dur="700" spd="-100000" fill="hold"/>
                                        <p:tgtEl>
                                          <p:spTgt spid="19"/>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7.xml><?xml version="1.0" encoding="utf-8"?>
<p:sld xmlns:a="http://schemas.openxmlformats.org/drawingml/2006/main" xmlns:r="http://schemas.openxmlformats.org/officeDocument/2006/relationships" xmlns:p="http://schemas.openxmlformats.org/presentationml/2006/main" show="0">
  <p:cSld>
    <p:bg>
      <p:bgPr>
        <a:solidFill>
          <a:srgbClr val="F2F2F2"/>
        </a:solidFill>
        <a:effectLst/>
      </p:bgPr>
    </p:bg>
    <p:spTree>
      <p:nvGrpSpPr>
        <p:cNvPr id="1" name=""/>
        <p:cNvGrpSpPr/>
        <p:nvPr/>
      </p:nvGrpSpPr>
      <p:grpSpPr>
        <a:xfrm>
          <a:off x="0" y="0"/>
          <a:ext cx="0" cy="0"/>
          <a:chOff x="0" y="0"/>
          <a:chExt cx="0" cy="0"/>
        </a:xfrm>
      </p:grpSpPr>
      <p:sp>
        <p:nvSpPr>
          <p:cNvPr id="12" name="Rectangle 11"/>
          <p:cNvSpPr/>
          <p:nvPr/>
        </p:nvSpPr>
        <p:spPr bwMode="auto">
          <a:xfrm>
            <a:off x="1954222" y="3921071"/>
            <a:ext cx="10237778" cy="2936929"/>
          </a:xfrm>
          <a:prstGeom prst="rect">
            <a:avLst/>
          </a:prstGeom>
          <a:solidFill>
            <a:schemeClr val="bg1">
              <a:alpha val="7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4" name="Straight Connector 63">
            <a:extLst>
              <a:ext uri="{FF2B5EF4-FFF2-40B4-BE49-F238E27FC236}">
                <a16:creationId xmlns:a16="http://schemas.microsoft.com/office/drawing/2014/main" id="{782DAFC6-595D-41F3-B9CC-8E8DAC9CE0FA}"/>
              </a:ext>
            </a:extLst>
          </p:cNvPr>
          <p:cNvCxnSpPr>
            <a:cxnSpLocks/>
          </p:cNvCxnSpPr>
          <p:nvPr/>
        </p:nvCxnSpPr>
        <p:spPr>
          <a:xfrm>
            <a:off x="1954222" y="487"/>
            <a:ext cx="0" cy="6888317"/>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92" name="Rectangle 91">
            <a:extLst>
              <a:ext uri="{FF2B5EF4-FFF2-40B4-BE49-F238E27FC236}">
                <a16:creationId xmlns:a16="http://schemas.microsoft.com/office/drawing/2014/main" id="{FEC29ACE-ED39-4DC1-832C-5A285BD670DB}"/>
              </a:ext>
            </a:extLst>
          </p:cNvPr>
          <p:cNvSpPr/>
          <p:nvPr/>
        </p:nvSpPr>
        <p:spPr>
          <a:xfrm>
            <a:off x="551627" y="5744961"/>
            <a:ext cx="889779" cy="331899"/>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Trusted</a:t>
            </a:r>
          </a:p>
        </p:txBody>
      </p:sp>
      <p:sp>
        <p:nvSpPr>
          <p:cNvPr id="93" name="Rectangle 92">
            <a:extLst>
              <a:ext uri="{FF2B5EF4-FFF2-40B4-BE49-F238E27FC236}">
                <a16:creationId xmlns:a16="http://schemas.microsoft.com/office/drawing/2014/main" id="{38253431-7CCA-4219-9552-3F83C6EF0C7B}"/>
              </a:ext>
            </a:extLst>
          </p:cNvPr>
          <p:cNvSpPr/>
          <p:nvPr/>
        </p:nvSpPr>
        <p:spPr>
          <a:xfrm>
            <a:off x="587173" y="3102867"/>
            <a:ext cx="818686" cy="333617"/>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Hybrid</a:t>
            </a:r>
          </a:p>
        </p:txBody>
      </p:sp>
      <p:sp>
        <p:nvSpPr>
          <p:cNvPr id="94" name="Rectangle 93">
            <a:extLst>
              <a:ext uri="{FF2B5EF4-FFF2-40B4-BE49-F238E27FC236}">
                <a16:creationId xmlns:a16="http://schemas.microsoft.com/office/drawing/2014/main" id="{3E3DB39F-D6D7-452A-91C7-CFB3763AD5CB}"/>
              </a:ext>
            </a:extLst>
          </p:cNvPr>
          <p:cNvSpPr/>
          <p:nvPr/>
        </p:nvSpPr>
        <p:spPr>
          <a:xfrm>
            <a:off x="426693" y="4423914"/>
            <a:ext cx="1139646" cy="331899"/>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Intelligent</a:t>
            </a:r>
          </a:p>
        </p:txBody>
      </p:sp>
      <p:sp>
        <p:nvSpPr>
          <p:cNvPr id="95" name="light">
            <a:extLst>
              <a:ext uri="{FF2B5EF4-FFF2-40B4-BE49-F238E27FC236}">
                <a16:creationId xmlns:a16="http://schemas.microsoft.com/office/drawing/2014/main" id="{830932B8-BC4C-4481-A2C6-60A5B625AB44}"/>
              </a:ext>
            </a:extLst>
          </p:cNvPr>
          <p:cNvSpPr>
            <a:spLocks noChangeAspect="1" noEditPoints="1"/>
          </p:cNvSpPr>
          <p:nvPr/>
        </p:nvSpPr>
        <p:spPr bwMode="auto">
          <a:xfrm>
            <a:off x="853641" y="3796742"/>
            <a:ext cx="285750" cy="424238"/>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96" name="Freeform 60">
            <a:extLst>
              <a:ext uri="{FF2B5EF4-FFF2-40B4-BE49-F238E27FC236}">
                <a16:creationId xmlns:a16="http://schemas.microsoft.com/office/drawing/2014/main" id="{8FBBBFF7-5D7B-4946-A8A3-BB8BEDDE8671}"/>
              </a:ext>
            </a:extLst>
          </p:cNvPr>
          <p:cNvSpPr>
            <a:spLocks noChangeArrowheads="1"/>
          </p:cNvSpPr>
          <p:nvPr/>
        </p:nvSpPr>
        <p:spPr bwMode="auto">
          <a:xfrm>
            <a:off x="760880" y="5091515"/>
            <a:ext cx="471273" cy="466323"/>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99" name="Group 98">
            <a:extLst>
              <a:ext uri="{FF2B5EF4-FFF2-40B4-BE49-F238E27FC236}">
                <a16:creationId xmlns:a16="http://schemas.microsoft.com/office/drawing/2014/main" id="{6F7B5166-8C23-4293-BFE4-E0BD2A13DD0F}"/>
              </a:ext>
            </a:extLst>
          </p:cNvPr>
          <p:cNvGrpSpPr/>
          <p:nvPr/>
        </p:nvGrpSpPr>
        <p:grpSpPr>
          <a:xfrm>
            <a:off x="756911" y="2522228"/>
            <a:ext cx="451261" cy="440761"/>
            <a:chOff x="2088630" y="3287843"/>
            <a:chExt cx="429718" cy="419725"/>
          </a:xfrm>
          <a:noFill/>
        </p:grpSpPr>
        <p:sp>
          <p:nvSpPr>
            <p:cNvPr id="100" name="Rectangle 99">
              <a:extLst>
                <a:ext uri="{FF2B5EF4-FFF2-40B4-BE49-F238E27FC236}">
                  <a16:creationId xmlns:a16="http://schemas.microsoft.com/office/drawing/2014/main" id="{C840E4CD-B3CC-41AD-A838-A57FE913746E}"/>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01" name="Rectangle 100">
              <a:extLst>
                <a:ext uri="{FF2B5EF4-FFF2-40B4-BE49-F238E27FC236}">
                  <a16:creationId xmlns:a16="http://schemas.microsoft.com/office/drawing/2014/main" id="{53D7E4AA-A2E3-4EDC-8544-064D7D0780BC}"/>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102" name="Rectangle 101">
            <a:extLst>
              <a:ext uri="{FF2B5EF4-FFF2-40B4-BE49-F238E27FC236}">
                <a16:creationId xmlns:a16="http://schemas.microsoft.com/office/drawing/2014/main" id="{698FCEC8-52FF-464E-A563-A99A52D27BDA}"/>
              </a:ext>
            </a:extLst>
          </p:cNvPr>
          <p:cNvSpPr/>
          <p:nvPr/>
        </p:nvSpPr>
        <p:spPr>
          <a:xfrm>
            <a:off x="163345" y="1714440"/>
            <a:ext cx="1662952" cy="452590"/>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2353" b="0" i="0" u="none" strike="noStrike" kern="0" cap="none" spc="49"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Productive</a:t>
            </a:r>
          </a:p>
        </p:txBody>
      </p:sp>
      <p:sp>
        <p:nvSpPr>
          <p:cNvPr id="103" name="speedometer_2">
            <a:extLst>
              <a:ext uri="{FF2B5EF4-FFF2-40B4-BE49-F238E27FC236}">
                <a16:creationId xmlns:a16="http://schemas.microsoft.com/office/drawing/2014/main" id="{BFC0E3B5-0EEA-4AD2-9349-41F88A04DA69}"/>
              </a:ext>
            </a:extLst>
          </p:cNvPr>
          <p:cNvSpPr>
            <a:spLocks noChangeAspect="1" noEditPoints="1"/>
          </p:cNvSpPr>
          <p:nvPr/>
        </p:nvSpPr>
        <p:spPr bwMode="auto">
          <a:xfrm>
            <a:off x="693072" y="991480"/>
            <a:ext cx="600077" cy="600075"/>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0" name="Title 1">
            <a:extLst>
              <a:ext uri="{FF2B5EF4-FFF2-40B4-BE49-F238E27FC236}">
                <a16:creationId xmlns:a16="http://schemas.microsoft.com/office/drawing/2014/main" id="{A6A2D36D-1B5B-4FBD-9FD5-8462900FB166}"/>
              </a:ext>
            </a:extLst>
          </p:cNvPr>
          <p:cNvSpPr txBox="1">
            <a:spLocks/>
          </p:cNvSpPr>
          <p:nvPr/>
        </p:nvSpPr>
        <p:spPr>
          <a:xfrm>
            <a:off x="2647792" y="520123"/>
            <a:ext cx="8523818"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588"/>
              </a:spcAft>
              <a:buClrTx/>
              <a:buSzTx/>
              <a:buFontTx/>
              <a:buNone/>
              <a:tabLst/>
              <a:defRPr/>
            </a:pPr>
            <a:r>
              <a:rPr kumimoji="0" lang="en-US" sz="3600" b="0" i="0" u="none" strike="noStrike" kern="1200" cap="none" spc="-100" normalizeH="0" baseline="0" noProof="0" dirty="0">
                <a:ln w="3175">
                  <a:noFill/>
                </a:ln>
                <a:solidFill>
                  <a:srgbClr val="4F504F"/>
                </a:solidFill>
                <a:effectLst/>
                <a:uLnTx/>
                <a:uFillTx/>
                <a:latin typeface="Segoe UI Light"/>
                <a:ea typeface="+mn-ea"/>
                <a:cs typeface="Segoe UI" pitchFamily="34" charset="0"/>
              </a:rPr>
              <a:t>Unparalleled developer productivity</a:t>
            </a:r>
          </a:p>
        </p:txBody>
      </p:sp>
      <p:sp>
        <p:nvSpPr>
          <p:cNvPr id="62" name="Rectangle 61">
            <a:extLst>
              <a:ext uri="{FF2B5EF4-FFF2-40B4-BE49-F238E27FC236}">
                <a16:creationId xmlns:a16="http://schemas.microsoft.com/office/drawing/2014/main" id="{88B2E40D-B0D1-4BEB-A2FB-79233FE853A4}"/>
              </a:ext>
            </a:extLst>
          </p:cNvPr>
          <p:cNvSpPr/>
          <p:nvPr/>
        </p:nvSpPr>
        <p:spPr>
          <a:xfrm>
            <a:off x="8646874" y="2533505"/>
            <a:ext cx="2948228" cy="867562"/>
          </a:xfrm>
          <a:prstGeom prst="rect">
            <a:avLst/>
          </a:prstGeom>
          <a:noFill/>
          <a:ln w="9525" cap="flat" cmpd="sng" algn="ctr">
            <a:noFill/>
            <a:prstDash val="solid"/>
          </a:ln>
          <a:effectLst/>
        </p:spPr>
        <p:txBody>
          <a:bodyPr wrap="none" rtlCol="0" anchor="t" anchorCtr="0"/>
          <a:lstStyle/>
          <a:p>
            <a:pPr marL="0" marR="0" lvl="0" indent="0" algn="ctr" defTabSz="914225" rtl="0" eaLnBrk="1" fontAlgn="auto" latinLnBrk="0" hangingPunct="1">
              <a:lnSpc>
                <a:spcPct val="100000"/>
              </a:lnSpc>
              <a:spcBef>
                <a:spcPts val="0"/>
              </a:spcBef>
              <a:spcAft>
                <a:spcPts val="588"/>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a:ea typeface="+mn-ea"/>
                <a:cs typeface="Segoe UI Semibold" panose="020B0702040204020203" pitchFamily="34" charset="0"/>
              </a:rPr>
              <a:t>Unified management</a:t>
            </a:r>
          </a:p>
          <a:p>
            <a:pPr marL="0" marR="0" lvl="0" indent="0" algn="ctr" defTabSz="914225" rtl="0" eaLnBrk="1" fontAlgn="auto" latinLnBrk="0" hangingPunct="1">
              <a:lnSpc>
                <a:spcPct val="10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0">
                      <a:srgbClr val="4F504F"/>
                    </a:gs>
                    <a:gs pos="100000">
                      <a:srgbClr val="4F504F"/>
                    </a:gs>
                  </a:gsLst>
                  <a:lin ang="5400000" scaled="0"/>
                </a:gradFill>
                <a:effectLst/>
                <a:uLnTx/>
                <a:uFillTx/>
                <a:latin typeface="Segoe UI Semilight"/>
                <a:ea typeface="+mn-ea"/>
                <a:cs typeface="Segoe UI Semibold" panose="020B0702040204020203" pitchFamily="34" charset="0"/>
              </a:rPr>
              <a:t>Single cloud  </a:t>
            </a:r>
            <a:r>
              <a:rPr kumimoji="0" lang="en-US" sz="1600" b="0" i="0" u="none" strike="noStrike" kern="1200" cap="none" spc="0" normalizeH="0" baseline="0" noProof="0" dirty="0">
                <a:ln>
                  <a:noFill/>
                </a:ln>
                <a:gradFill>
                  <a:gsLst>
                    <a:gs pos="0">
                      <a:srgbClr val="FFFFFF">
                        <a:lumMod val="65000"/>
                      </a:srgbClr>
                    </a:gs>
                    <a:gs pos="100000">
                      <a:srgbClr val="FFFFFF">
                        <a:lumMod val="65000"/>
                      </a:srgbClr>
                    </a:gs>
                  </a:gsLst>
                  <a:lin ang="5400000" scaled="0"/>
                </a:gradFill>
                <a:effectLst/>
                <a:uLnTx/>
                <a:uFillTx/>
                <a:latin typeface="Segoe UI Semilight"/>
                <a:ea typeface="+mn-ea"/>
                <a:cs typeface="Segoe UI Semibold" panose="020B0702040204020203" pitchFamily="34" charset="0"/>
              </a:rPr>
              <a:t>|</a:t>
            </a:r>
            <a:r>
              <a:rPr kumimoji="0" lang="en-US" sz="1600" b="0" i="0" u="none" strike="noStrike" kern="1200" cap="none" spc="0" normalizeH="0" baseline="0" noProof="0" dirty="0">
                <a:ln>
                  <a:noFill/>
                </a:ln>
                <a:gradFill>
                  <a:gsLst>
                    <a:gs pos="0">
                      <a:srgbClr val="4F504F"/>
                    </a:gs>
                    <a:gs pos="100000">
                      <a:srgbClr val="4F504F"/>
                    </a:gs>
                  </a:gsLst>
                  <a:lin ang="5400000" scaled="0"/>
                </a:gradFill>
                <a:effectLst/>
                <a:uLnTx/>
                <a:uFillTx/>
                <a:latin typeface="Segoe UI Semilight"/>
                <a:ea typeface="+mn-ea"/>
                <a:cs typeface="Segoe UI Semibold" panose="020B0702040204020203" pitchFamily="34" charset="0"/>
              </a:rPr>
              <a:t>  Policy</a:t>
            </a:r>
          </a:p>
          <a:p>
            <a:pPr marL="0" marR="0" lvl="0" indent="0" algn="ctr" defTabSz="914225" rtl="0" eaLnBrk="1" fontAlgn="auto" latinLnBrk="0" hangingPunct="1">
              <a:lnSpc>
                <a:spcPct val="100000"/>
              </a:lnSpc>
              <a:spcBef>
                <a:spcPts val="0"/>
              </a:spcBef>
              <a:spcAft>
                <a:spcPts val="588"/>
              </a:spcAft>
              <a:buClrTx/>
              <a:buSzTx/>
              <a:buFontTx/>
              <a:buNone/>
              <a:tabLst/>
              <a:defRPr/>
            </a:pPr>
            <a:endParaRPr kumimoji="0" lang="en-US" sz="2000" b="0" i="0" u="none" strike="noStrike" kern="1200" cap="none" spc="0" normalizeH="0" baseline="0" noProof="0" dirty="0">
              <a:ln>
                <a:noFill/>
              </a:ln>
              <a:gradFill>
                <a:gsLst>
                  <a:gs pos="0">
                    <a:srgbClr val="4F504F"/>
                  </a:gs>
                  <a:gs pos="100000">
                    <a:srgbClr val="4F504F"/>
                  </a:gs>
                </a:gsLst>
                <a:lin ang="5400000" scaled="0"/>
              </a:gradFill>
              <a:effectLst/>
              <a:uLnTx/>
              <a:uFillTx/>
              <a:latin typeface="Segoe UI Semilight"/>
              <a:ea typeface="+mn-ea"/>
              <a:cs typeface="Segoe UI Semibold" panose="020B0702040204020203" pitchFamily="34" charset="0"/>
            </a:endParaRPr>
          </a:p>
        </p:txBody>
      </p:sp>
      <p:sp>
        <p:nvSpPr>
          <p:cNvPr id="63" name="Rectangle 62">
            <a:extLst>
              <a:ext uri="{FF2B5EF4-FFF2-40B4-BE49-F238E27FC236}">
                <a16:creationId xmlns:a16="http://schemas.microsoft.com/office/drawing/2014/main" id="{37C39AD3-141D-469A-BE7A-9E5982A6B280}"/>
              </a:ext>
            </a:extLst>
          </p:cNvPr>
          <p:cNvSpPr/>
          <p:nvPr/>
        </p:nvSpPr>
        <p:spPr>
          <a:xfrm>
            <a:off x="5271876" y="2533505"/>
            <a:ext cx="3417720" cy="867562"/>
          </a:xfrm>
          <a:prstGeom prst="rect">
            <a:avLst/>
          </a:prstGeom>
          <a:noFill/>
          <a:ln w="9525" cap="flat" cmpd="sng" algn="ctr">
            <a:noFill/>
            <a:prstDash val="solid"/>
          </a:ln>
          <a:effectLst/>
        </p:spPr>
        <p:txBody>
          <a:bodyPr wrap="none" rtlCol="0" anchor="t" anchorCtr="0"/>
          <a:lstStyle/>
          <a:p>
            <a:pPr marL="0" marR="0" lvl="0" indent="0" algn="ctr" defTabSz="914225" rtl="0" eaLnBrk="1" fontAlgn="auto" latinLnBrk="0" hangingPunct="1">
              <a:lnSpc>
                <a:spcPct val="100000"/>
              </a:lnSpc>
              <a:spcBef>
                <a:spcPts val="0"/>
              </a:spcBef>
              <a:spcAft>
                <a:spcPts val="588"/>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a:ea typeface="+mn-ea"/>
                <a:cs typeface="Segoe UI Semibold" panose="020B0702040204020203" pitchFamily="34" charset="0"/>
              </a:rPr>
              <a:t>100+ services</a:t>
            </a:r>
          </a:p>
          <a:p>
            <a:pPr marL="0" marR="0" lvl="0" indent="0" algn="ctr" defTabSz="914225" rtl="0" eaLnBrk="1" fontAlgn="auto" latinLnBrk="0" hangingPunct="1">
              <a:lnSpc>
                <a:spcPct val="10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0">
                      <a:srgbClr val="4F504F"/>
                    </a:gs>
                    <a:gs pos="100000">
                      <a:srgbClr val="4F504F"/>
                    </a:gs>
                  </a:gsLst>
                  <a:lin ang="5400000" scaled="0"/>
                </a:gradFill>
                <a:effectLst/>
                <a:uLnTx/>
                <a:uFillTx/>
                <a:latin typeface="Segoe UI Semilight"/>
                <a:ea typeface="+mn-ea"/>
                <a:cs typeface="Segoe UI Semibold" panose="020B0702040204020203" pitchFamily="34" charset="0"/>
              </a:rPr>
              <a:t>Azure Functions</a:t>
            </a:r>
            <a:br>
              <a:rPr kumimoji="0" lang="en-US" sz="1600" b="0" i="0" u="none" strike="noStrike" kern="1200" cap="none" spc="0" normalizeH="0" baseline="0" noProof="0" dirty="0">
                <a:ln>
                  <a:noFill/>
                </a:ln>
                <a:gradFill>
                  <a:gsLst>
                    <a:gs pos="0">
                      <a:srgbClr val="4F504F"/>
                    </a:gs>
                    <a:gs pos="100000">
                      <a:srgbClr val="4F504F"/>
                    </a:gs>
                  </a:gsLst>
                  <a:lin ang="5400000" scaled="0"/>
                </a:gradFill>
                <a:effectLst/>
                <a:uLnTx/>
                <a:uFillTx/>
                <a:latin typeface="Segoe UI Semilight"/>
                <a:ea typeface="+mn-ea"/>
                <a:cs typeface="Segoe UI Semibold" panose="020B0702040204020203" pitchFamily="34" charset="0"/>
              </a:rPr>
            </a:br>
            <a:r>
              <a:rPr kumimoji="0" lang="en-US" sz="1600" b="0" i="0" u="none" strike="noStrike" kern="1200" cap="none" spc="0" normalizeH="0" baseline="0" noProof="0" dirty="0">
                <a:ln>
                  <a:noFill/>
                </a:ln>
                <a:gradFill>
                  <a:gsLst>
                    <a:gs pos="0">
                      <a:srgbClr val="4F504F"/>
                    </a:gs>
                    <a:gs pos="100000">
                      <a:srgbClr val="4F504F"/>
                    </a:gs>
                  </a:gsLst>
                  <a:lin ang="5400000" scaled="0"/>
                </a:gradFill>
                <a:effectLst/>
                <a:uLnTx/>
                <a:uFillTx/>
                <a:latin typeface="Segoe UI Semilight"/>
                <a:ea typeface="+mn-ea"/>
                <a:cs typeface="Segoe UI Semibold" panose="020B0702040204020203" pitchFamily="34" charset="0"/>
              </a:rPr>
              <a:t>Kubernetes  </a:t>
            </a:r>
            <a:r>
              <a:rPr kumimoji="0" lang="en-US" sz="1600" b="0" i="0" u="none" strike="noStrike" kern="1200" cap="none" spc="0" normalizeH="0" baseline="0" noProof="0" dirty="0">
                <a:ln>
                  <a:noFill/>
                </a:ln>
                <a:gradFill>
                  <a:gsLst>
                    <a:gs pos="0">
                      <a:srgbClr val="FFFFFF">
                        <a:lumMod val="65000"/>
                      </a:srgbClr>
                    </a:gs>
                    <a:gs pos="100000">
                      <a:srgbClr val="FFFFFF">
                        <a:lumMod val="65000"/>
                      </a:srgbClr>
                    </a:gs>
                  </a:gsLst>
                  <a:lin ang="5400000" scaled="0"/>
                </a:gradFill>
                <a:effectLst/>
                <a:uLnTx/>
                <a:uFillTx/>
                <a:latin typeface="Segoe UI Semilight"/>
                <a:ea typeface="+mn-ea"/>
                <a:cs typeface="Segoe UI Semibold" panose="020B0702040204020203" pitchFamily="34" charset="0"/>
              </a:rPr>
              <a:t>|</a:t>
            </a:r>
            <a:r>
              <a:rPr kumimoji="0" lang="en-US" sz="1600" b="0" i="0" u="none" strike="noStrike" kern="1200" cap="none" spc="0" normalizeH="0" baseline="0" noProof="0" dirty="0">
                <a:ln>
                  <a:noFill/>
                </a:ln>
                <a:gradFill>
                  <a:gsLst>
                    <a:gs pos="0">
                      <a:srgbClr val="4F504F"/>
                    </a:gs>
                    <a:gs pos="100000">
                      <a:srgbClr val="4F504F"/>
                    </a:gs>
                  </a:gsLst>
                  <a:lin ang="5400000" scaled="0"/>
                </a:gradFill>
                <a:effectLst/>
                <a:uLnTx/>
                <a:uFillTx/>
                <a:latin typeface="Segoe UI Semilight"/>
                <a:ea typeface="+mn-ea"/>
                <a:cs typeface="Segoe UI Semibold" panose="020B0702040204020203" pitchFamily="34" charset="0"/>
              </a:rPr>
              <a:t>  Logic Apps</a:t>
            </a:r>
          </a:p>
        </p:txBody>
      </p:sp>
      <p:grpSp>
        <p:nvGrpSpPr>
          <p:cNvPr id="86" name="Group 85"/>
          <p:cNvGrpSpPr/>
          <p:nvPr/>
        </p:nvGrpSpPr>
        <p:grpSpPr>
          <a:xfrm>
            <a:off x="3318547" y="1587371"/>
            <a:ext cx="839730" cy="764914"/>
            <a:chOff x="1687513" y="3995738"/>
            <a:chExt cx="3902075" cy="3554412"/>
          </a:xfrm>
          <a:solidFill>
            <a:srgbClr val="001F54"/>
          </a:solidFill>
        </p:grpSpPr>
        <p:sp>
          <p:nvSpPr>
            <p:cNvPr id="87" name="Freeform 1"/>
            <p:cNvSpPr>
              <a:spLocks noChangeArrowheads="1"/>
            </p:cNvSpPr>
            <p:nvPr/>
          </p:nvSpPr>
          <p:spPr bwMode="auto">
            <a:xfrm>
              <a:off x="2960688" y="3995738"/>
              <a:ext cx="1357312" cy="3554412"/>
            </a:xfrm>
            <a:custGeom>
              <a:avLst/>
              <a:gdLst>
                <a:gd name="T0" fmla="*/ 3215 w 3770"/>
                <a:gd name="T1" fmla="*/ 2209 h 9873"/>
                <a:gd name="T2" fmla="*/ 3067 w 3770"/>
                <a:gd name="T3" fmla="*/ 2615 h 9873"/>
                <a:gd name="T4" fmla="*/ 2794 w 3770"/>
                <a:gd name="T5" fmla="*/ 2942 h 9873"/>
                <a:gd name="T6" fmla="*/ 2427 w 3770"/>
                <a:gd name="T7" fmla="*/ 3146 h 9873"/>
                <a:gd name="T8" fmla="*/ 2381 w 3770"/>
                <a:gd name="T9" fmla="*/ 8881 h 9873"/>
                <a:gd name="T10" fmla="*/ 2248 w 3770"/>
                <a:gd name="T11" fmla="*/ 9123 h 9873"/>
                <a:gd name="T12" fmla="*/ 2029 w 3770"/>
                <a:gd name="T13" fmla="*/ 9295 h 9873"/>
                <a:gd name="T14" fmla="*/ 1819 w 3770"/>
                <a:gd name="T15" fmla="*/ 9349 h 9873"/>
                <a:gd name="T16" fmla="*/ 1592 w 3770"/>
                <a:gd name="T17" fmla="*/ 9279 h 9873"/>
                <a:gd name="T18" fmla="*/ 1405 w 3770"/>
                <a:gd name="T19" fmla="*/ 9123 h 9873"/>
                <a:gd name="T20" fmla="*/ 1296 w 3770"/>
                <a:gd name="T21" fmla="*/ 8827 h 9873"/>
                <a:gd name="T22" fmla="*/ 1155 w 3770"/>
                <a:gd name="T23" fmla="*/ 3060 h 9873"/>
                <a:gd name="T24" fmla="*/ 819 w 3770"/>
                <a:gd name="T25" fmla="*/ 2747 h 9873"/>
                <a:gd name="T26" fmla="*/ 601 w 3770"/>
                <a:gd name="T27" fmla="*/ 2357 h 9873"/>
                <a:gd name="T28" fmla="*/ 531 w 3770"/>
                <a:gd name="T29" fmla="*/ 1920 h 9873"/>
                <a:gd name="T30" fmla="*/ 648 w 3770"/>
                <a:gd name="T31" fmla="*/ 1405 h 9873"/>
                <a:gd name="T32" fmla="*/ 913 w 3770"/>
                <a:gd name="T33" fmla="*/ 960 h 9873"/>
                <a:gd name="T34" fmla="*/ 1085 w 3770"/>
                <a:gd name="T35" fmla="*/ 882 h 9873"/>
                <a:gd name="T36" fmla="*/ 1109 w 3770"/>
                <a:gd name="T37" fmla="*/ 1623 h 9873"/>
                <a:gd name="T38" fmla="*/ 1233 w 3770"/>
                <a:gd name="T39" fmla="*/ 1998 h 9873"/>
                <a:gd name="T40" fmla="*/ 1507 w 3770"/>
                <a:gd name="T41" fmla="*/ 2248 h 9873"/>
                <a:gd name="T42" fmla="*/ 1905 w 3770"/>
                <a:gd name="T43" fmla="*/ 2341 h 9873"/>
                <a:gd name="T44" fmla="*/ 2185 w 3770"/>
                <a:gd name="T45" fmla="*/ 2272 h 9873"/>
                <a:gd name="T46" fmla="*/ 2497 w 3770"/>
                <a:gd name="T47" fmla="*/ 2029 h 9873"/>
                <a:gd name="T48" fmla="*/ 2693 w 3770"/>
                <a:gd name="T49" fmla="*/ 1678 h 9873"/>
                <a:gd name="T50" fmla="*/ 2724 w 3770"/>
                <a:gd name="T51" fmla="*/ 859 h 9873"/>
                <a:gd name="T52" fmla="*/ 2997 w 3770"/>
                <a:gd name="T53" fmla="*/ 1116 h 9873"/>
                <a:gd name="T54" fmla="*/ 3169 w 3770"/>
                <a:gd name="T55" fmla="*/ 1452 h 9873"/>
                <a:gd name="T56" fmla="*/ 2162 w 3770"/>
                <a:gd name="T57" fmla="*/ 0 h 9873"/>
                <a:gd name="T58" fmla="*/ 2131 w 3770"/>
                <a:gd name="T59" fmla="*/ 1655 h 9873"/>
                <a:gd name="T60" fmla="*/ 1928 w 3770"/>
                <a:gd name="T61" fmla="*/ 1811 h 9873"/>
                <a:gd name="T62" fmla="*/ 1748 w 3770"/>
                <a:gd name="T63" fmla="*/ 1764 h 9873"/>
                <a:gd name="T64" fmla="*/ 1623 w 3770"/>
                <a:gd name="T65" fmla="*/ 1576 h 9873"/>
                <a:gd name="T66" fmla="*/ 1256 w 3770"/>
                <a:gd name="T67" fmla="*/ 149 h 9873"/>
                <a:gd name="T68" fmla="*/ 773 w 3770"/>
                <a:gd name="T69" fmla="*/ 382 h 9873"/>
                <a:gd name="T70" fmla="*/ 476 w 3770"/>
                <a:gd name="T71" fmla="*/ 648 h 9873"/>
                <a:gd name="T72" fmla="*/ 219 w 3770"/>
                <a:gd name="T73" fmla="*/ 1015 h 9873"/>
                <a:gd name="T74" fmla="*/ 0 w 3770"/>
                <a:gd name="T75" fmla="*/ 1967 h 9873"/>
                <a:gd name="T76" fmla="*/ 55 w 3770"/>
                <a:gd name="T77" fmla="*/ 2396 h 9873"/>
                <a:gd name="T78" fmla="*/ 258 w 3770"/>
                <a:gd name="T79" fmla="*/ 2888 h 9873"/>
                <a:gd name="T80" fmla="*/ 617 w 3770"/>
                <a:gd name="T81" fmla="*/ 3309 h 9873"/>
                <a:gd name="T82" fmla="*/ 773 w 3770"/>
                <a:gd name="T83" fmla="*/ 8780 h 9873"/>
                <a:gd name="T84" fmla="*/ 882 w 3770"/>
                <a:gd name="T85" fmla="*/ 9295 h 9873"/>
                <a:gd name="T86" fmla="*/ 1148 w 3770"/>
                <a:gd name="T87" fmla="*/ 9623 h 9873"/>
                <a:gd name="T88" fmla="*/ 1647 w 3770"/>
                <a:gd name="T89" fmla="*/ 9856 h 9873"/>
                <a:gd name="T90" fmla="*/ 2068 w 3770"/>
                <a:gd name="T91" fmla="*/ 9841 h 9873"/>
                <a:gd name="T92" fmla="*/ 2505 w 3770"/>
                <a:gd name="T93" fmla="*/ 9599 h 9873"/>
                <a:gd name="T94" fmla="*/ 2771 w 3770"/>
                <a:gd name="T95" fmla="*/ 9295 h 9873"/>
                <a:gd name="T96" fmla="*/ 2919 w 3770"/>
                <a:gd name="T97" fmla="*/ 8819 h 9873"/>
                <a:gd name="T98" fmla="*/ 3192 w 3770"/>
                <a:gd name="T99" fmla="*/ 3239 h 9873"/>
                <a:gd name="T100" fmla="*/ 3544 w 3770"/>
                <a:gd name="T101" fmla="*/ 2770 h 9873"/>
                <a:gd name="T102" fmla="*/ 3769 w 3770"/>
                <a:gd name="T103" fmla="*/ 1897 h 9873"/>
                <a:gd name="T104" fmla="*/ 3676 w 3770"/>
                <a:gd name="T105" fmla="*/ 1343 h 9873"/>
                <a:gd name="T106" fmla="*/ 3332 w 3770"/>
                <a:gd name="T107" fmla="*/ 726 h 9873"/>
                <a:gd name="T108" fmla="*/ 2763 w 3770"/>
                <a:gd name="T109" fmla="*/ 266 h 9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70" h="9873">
                  <a:moveTo>
                    <a:pt x="3246" y="1951"/>
                  </a:moveTo>
                  <a:lnTo>
                    <a:pt x="3246" y="1951"/>
                  </a:lnTo>
                  <a:lnTo>
                    <a:pt x="3239" y="2037"/>
                  </a:lnTo>
                  <a:lnTo>
                    <a:pt x="3231" y="2123"/>
                  </a:lnTo>
                  <a:lnTo>
                    <a:pt x="3215" y="2209"/>
                  </a:lnTo>
                  <a:lnTo>
                    <a:pt x="3200" y="2295"/>
                  </a:lnTo>
                  <a:lnTo>
                    <a:pt x="3177" y="2380"/>
                  </a:lnTo>
                  <a:lnTo>
                    <a:pt x="3146" y="2458"/>
                  </a:lnTo>
                  <a:lnTo>
                    <a:pt x="3107" y="2537"/>
                  </a:lnTo>
                  <a:lnTo>
                    <a:pt x="3067" y="2615"/>
                  </a:lnTo>
                  <a:lnTo>
                    <a:pt x="3020" y="2685"/>
                  </a:lnTo>
                  <a:lnTo>
                    <a:pt x="2974" y="2755"/>
                  </a:lnTo>
                  <a:lnTo>
                    <a:pt x="2919" y="2817"/>
                  </a:lnTo>
                  <a:lnTo>
                    <a:pt x="2856" y="2880"/>
                  </a:lnTo>
                  <a:lnTo>
                    <a:pt x="2794" y="2942"/>
                  </a:lnTo>
                  <a:lnTo>
                    <a:pt x="2724" y="2997"/>
                  </a:lnTo>
                  <a:lnTo>
                    <a:pt x="2646" y="3052"/>
                  </a:lnTo>
                  <a:lnTo>
                    <a:pt x="2568" y="3099"/>
                  </a:lnTo>
                  <a:lnTo>
                    <a:pt x="2568" y="3099"/>
                  </a:lnTo>
                  <a:lnTo>
                    <a:pt x="2427" y="3146"/>
                  </a:lnTo>
                  <a:lnTo>
                    <a:pt x="2427" y="3146"/>
                  </a:lnTo>
                  <a:lnTo>
                    <a:pt x="2396" y="8772"/>
                  </a:lnTo>
                  <a:lnTo>
                    <a:pt x="2396" y="8772"/>
                  </a:lnTo>
                  <a:lnTo>
                    <a:pt x="2388" y="8827"/>
                  </a:lnTo>
                  <a:lnTo>
                    <a:pt x="2381" y="8881"/>
                  </a:lnTo>
                  <a:lnTo>
                    <a:pt x="2365" y="8928"/>
                  </a:lnTo>
                  <a:lnTo>
                    <a:pt x="2342" y="8982"/>
                  </a:lnTo>
                  <a:lnTo>
                    <a:pt x="2318" y="9029"/>
                  </a:lnTo>
                  <a:lnTo>
                    <a:pt x="2287" y="9076"/>
                  </a:lnTo>
                  <a:lnTo>
                    <a:pt x="2248" y="9123"/>
                  </a:lnTo>
                  <a:lnTo>
                    <a:pt x="2217" y="9162"/>
                  </a:lnTo>
                  <a:lnTo>
                    <a:pt x="2170" y="9201"/>
                  </a:lnTo>
                  <a:lnTo>
                    <a:pt x="2123" y="9240"/>
                  </a:lnTo>
                  <a:lnTo>
                    <a:pt x="2076" y="9272"/>
                  </a:lnTo>
                  <a:lnTo>
                    <a:pt x="2029" y="9295"/>
                  </a:lnTo>
                  <a:lnTo>
                    <a:pt x="1975" y="9319"/>
                  </a:lnTo>
                  <a:lnTo>
                    <a:pt x="1928" y="9334"/>
                  </a:lnTo>
                  <a:lnTo>
                    <a:pt x="1873" y="9341"/>
                  </a:lnTo>
                  <a:lnTo>
                    <a:pt x="1819" y="9349"/>
                  </a:lnTo>
                  <a:lnTo>
                    <a:pt x="1819" y="9349"/>
                  </a:lnTo>
                  <a:lnTo>
                    <a:pt x="1780" y="9341"/>
                  </a:lnTo>
                  <a:lnTo>
                    <a:pt x="1740" y="9334"/>
                  </a:lnTo>
                  <a:lnTo>
                    <a:pt x="1694" y="9326"/>
                  </a:lnTo>
                  <a:lnTo>
                    <a:pt x="1647" y="9303"/>
                  </a:lnTo>
                  <a:lnTo>
                    <a:pt x="1592" y="9279"/>
                  </a:lnTo>
                  <a:lnTo>
                    <a:pt x="1546" y="9248"/>
                  </a:lnTo>
                  <a:lnTo>
                    <a:pt x="1491" y="9209"/>
                  </a:lnTo>
                  <a:lnTo>
                    <a:pt x="1436" y="9162"/>
                  </a:lnTo>
                  <a:lnTo>
                    <a:pt x="1436" y="9162"/>
                  </a:lnTo>
                  <a:lnTo>
                    <a:pt x="1405" y="9123"/>
                  </a:lnTo>
                  <a:lnTo>
                    <a:pt x="1374" y="9076"/>
                  </a:lnTo>
                  <a:lnTo>
                    <a:pt x="1335" y="8990"/>
                  </a:lnTo>
                  <a:lnTo>
                    <a:pt x="1303" y="8905"/>
                  </a:lnTo>
                  <a:lnTo>
                    <a:pt x="1296" y="8827"/>
                  </a:lnTo>
                  <a:lnTo>
                    <a:pt x="1296" y="8827"/>
                  </a:lnTo>
                  <a:lnTo>
                    <a:pt x="1327" y="3200"/>
                  </a:lnTo>
                  <a:lnTo>
                    <a:pt x="1327" y="3200"/>
                  </a:lnTo>
                  <a:lnTo>
                    <a:pt x="1233" y="3107"/>
                  </a:lnTo>
                  <a:lnTo>
                    <a:pt x="1233" y="3107"/>
                  </a:lnTo>
                  <a:lnTo>
                    <a:pt x="1155" y="3060"/>
                  </a:lnTo>
                  <a:lnTo>
                    <a:pt x="1085" y="3005"/>
                  </a:lnTo>
                  <a:lnTo>
                    <a:pt x="1015" y="2950"/>
                  </a:lnTo>
                  <a:lnTo>
                    <a:pt x="944" y="2888"/>
                  </a:lnTo>
                  <a:lnTo>
                    <a:pt x="882" y="2817"/>
                  </a:lnTo>
                  <a:lnTo>
                    <a:pt x="819" y="2747"/>
                  </a:lnTo>
                  <a:lnTo>
                    <a:pt x="773" y="2677"/>
                  </a:lnTo>
                  <a:lnTo>
                    <a:pt x="719" y="2599"/>
                  </a:lnTo>
                  <a:lnTo>
                    <a:pt x="680" y="2521"/>
                  </a:lnTo>
                  <a:lnTo>
                    <a:pt x="640" y="2443"/>
                  </a:lnTo>
                  <a:lnTo>
                    <a:pt x="601" y="2357"/>
                  </a:lnTo>
                  <a:lnTo>
                    <a:pt x="578" y="2272"/>
                  </a:lnTo>
                  <a:lnTo>
                    <a:pt x="554" y="2186"/>
                  </a:lnTo>
                  <a:lnTo>
                    <a:pt x="539" y="2092"/>
                  </a:lnTo>
                  <a:lnTo>
                    <a:pt x="531" y="2006"/>
                  </a:lnTo>
                  <a:lnTo>
                    <a:pt x="531" y="1920"/>
                  </a:lnTo>
                  <a:lnTo>
                    <a:pt x="531" y="1920"/>
                  </a:lnTo>
                  <a:lnTo>
                    <a:pt x="547" y="1788"/>
                  </a:lnTo>
                  <a:lnTo>
                    <a:pt x="578" y="1662"/>
                  </a:lnTo>
                  <a:lnTo>
                    <a:pt x="609" y="1530"/>
                  </a:lnTo>
                  <a:lnTo>
                    <a:pt x="648" y="1405"/>
                  </a:lnTo>
                  <a:lnTo>
                    <a:pt x="703" y="1280"/>
                  </a:lnTo>
                  <a:lnTo>
                    <a:pt x="757" y="1163"/>
                  </a:lnTo>
                  <a:lnTo>
                    <a:pt x="827" y="1054"/>
                  </a:lnTo>
                  <a:lnTo>
                    <a:pt x="913" y="960"/>
                  </a:lnTo>
                  <a:lnTo>
                    <a:pt x="913" y="960"/>
                  </a:lnTo>
                  <a:lnTo>
                    <a:pt x="937" y="945"/>
                  </a:lnTo>
                  <a:lnTo>
                    <a:pt x="960" y="929"/>
                  </a:lnTo>
                  <a:lnTo>
                    <a:pt x="1007" y="913"/>
                  </a:lnTo>
                  <a:lnTo>
                    <a:pt x="1062" y="890"/>
                  </a:lnTo>
                  <a:lnTo>
                    <a:pt x="1085" y="882"/>
                  </a:lnTo>
                  <a:lnTo>
                    <a:pt x="1109" y="867"/>
                  </a:lnTo>
                  <a:lnTo>
                    <a:pt x="1109" y="867"/>
                  </a:lnTo>
                  <a:lnTo>
                    <a:pt x="1101" y="1530"/>
                  </a:lnTo>
                  <a:lnTo>
                    <a:pt x="1101" y="1530"/>
                  </a:lnTo>
                  <a:lnTo>
                    <a:pt x="1109" y="1623"/>
                  </a:lnTo>
                  <a:lnTo>
                    <a:pt x="1117" y="1702"/>
                  </a:lnTo>
                  <a:lnTo>
                    <a:pt x="1132" y="1788"/>
                  </a:lnTo>
                  <a:lnTo>
                    <a:pt x="1163" y="1858"/>
                  </a:lnTo>
                  <a:lnTo>
                    <a:pt x="1194" y="1928"/>
                  </a:lnTo>
                  <a:lnTo>
                    <a:pt x="1233" y="1998"/>
                  </a:lnTo>
                  <a:lnTo>
                    <a:pt x="1272" y="2060"/>
                  </a:lnTo>
                  <a:lnTo>
                    <a:pt x="1327" y="2115"/>
                  </a:lnTo>
                  <a:lnTo>
                    <a:pt x="1382" y="2162"/>
                  </a:lnTo>
                  <a:lnTo>
                    <a:pt x="1444" y="2209"/>
                  </a:lnTo>
                  <a:lnTo>
                    <a:pt x="1507" y="2248"/>
                  </a:lnTo>
                  <a:lnTo>
                    <a:pt x="1577" y="2279"/>
                  </a:lnTo>
                  <a:lnTo>
                    <a:pt x="1654" y="2303"/>
                  </a:lnTo>
                  <a:lnTo>
                    <a:pt x="1733" y="2326"/>
                  </a:lnTo>
                  <a:lnTo>
                    <a:pt x="1819" y="2334"/>
                  </a:lnTo>
                  <a:lnTo>
                    <a:pt x="1905" y="2341"/>
                  </a:lnTo>
                  <a:lnTo>
                    <a:pt x="1905" y="2341"/>
                  </a:lnTo>
                  <a:lnTo>
                    <a:pt x="1982" y="2334"/>
                  </a:lnTo>
                  <a:lnTo>
                    <a:pt x="2052" y="2319"/>
                  </a:lnTo>
                  <a:lnTo>
                    <a:pt x="2123" y="2303"/>
                  </a:lnTo>
                  <a:lnTo>
                    <a:pt x="2185" y="2272"/>
                  </a:lnTo>
                  <a:lnTo>
                    <a:pt x="2256" y="2232"/>
                  </a:lnTo>
                  <a:lnTo>
                    <a:pt x="2318" y="2193"/>
                  </a:lnTo>
                  <a:lnTo>
                    <a:pt x="2381" y="2146"/>
                  </a:lnTo>
                  <a:lnTo>
                    <a:pt x="2443" y="2092"/>
                  </a:lnTo>
                  <a:lnTo>
                    <a:pt x="2497" y="2029"/>
                  </a:lnTo>
                  <a:lnTo>
                    <a:pt x="2544" y="1967"/>
                  </a:lnTo>
                  <a:lnTo>
                    <a:pt x="2591" y="1905"/>
                  </a:lnTo>
                  <a:lnTo>
                    <a:pt x="2630" y="1835"/>
                  </a:lnTo>
                  <a:lnTo>
                    <a:pt x="2662" y="1756"/>
                  </a:lnTo>
                  <a:lnTo>
                    <a:pt x="2693" y="1678"/>
                  </a:lnTo>
                  <a:lnTo>
                    <a:pt x="2709" y="1600"/>
                  </a:lnTo>
                  <a:lnTo>
                    <a:pt x="2724" y="1522"/>
                  </a:lnTo>
                  <a:lnTo>
                    <a:pt x="2724" y="1522"/>
                  </a:lnTo>
                  <a:lnTo>
                    <a:pt x="2724" y="859"/>
                  </a:lnTo>
                  <a:lnTo>
                    <a:pt x="2724" y="859"/>
                  </a:lnTo>
                  <a:lnTo>
                    <a:pt x="2787" y="898"/>
                  </a:lnTo>
                  <a:lnTo>
                    <a:pt x="2848" y="953"/>
                  </a:lnTo>
                  <a:lnTo>
                    <a:pt x="2895" y="999"/>
                  </a:lnTo>
                  <a:lnTo>
                    <a:pt x="2950" y="1062"/>
                  </a:lnTo>
                  <a:lnTo>
                    <a:pt x="2997" y="1116"/>
                  </a:lnTo>
                  <a:lnTo>
                    <a:pt x="3036" y="1178"/>
                  </a:lnTo>
                  <a:lnTo>
                    <a:pt x="3075" y="1241"/>
                  </a:lnTo>
                  <a:lnTo>
                    <a:pt x="3114" y="1311"/>
                  </a:lnTo>
                  <a:lnTo>
                    <a:pt x="3146" y="1382"/>
                  </a:lnTo>
                  <a:lnTo>
                    <a:pt x="3169" y="1452"/>
                  </a:lnTo>
                  <a:lnTo>
                    <a:pt x="3192" y="1530"/>
                  </a:lnTo>
                  <a:lnTo>
                    <a:pt x="3215" y="1608"/>
                  </a:lnTo>
                  <a:lnTo>
                    <a:pt x="3239" y="1772"/>
                  </a:lnTo>
                  <a:lnTo>
                    <a:pt x="3246" y="1951"/>
                  </a:lnTo>
                  <a:close/>
                  <a:moveTo>
                    <a:pt x="2162" y="0"/>
                  </a:moveTo>
                  <a:lnTo>
                    <a:pt x="2162" y="0"/>
                  </a:lnTo>
                  <a:lnTo>
                    <a:pt x="2154" y="1530"/>
                  </a:lnTo>
                  <a:lnTo>
                    <a:pt x="2154" y="1530"/>
                  </a:lnTo>
                  <a:lnTo>
                    <a:pt x="2146" y="1592"/>
                  </a:lnTo>
                  <a:lnTo>
                    <a:pt x="2131" y="1655"/>
                  </a:lnTo>
                  <a:lnTo>
                    <a:pt x="2107" y="1702"/>
                  </a:lnTo>
                  <a:lnTo>
                    <a:pt x="2076" y="1741"/>
                  </a:lnTo>
                  <a:lnTo>
                    <a:pt x="2037" y="1772"/>
                  </a:lnTo>
                  <a:lnTo>
                    <a:pt x="1990" y="1795"/>
                  </a:lnTo>
                  <a:lnTo>
                    <a:pt x="1928" y="1811"/>
                  </a:lnTo>
                  <a:lnTo>
                    <a:pt x="1866" y="1811"/>
                  </a:lnTo>
                  <a:lnTo>
                    <a:pt x="1866" y="1811"/>
                  </a:lnTo>
                  <a:lnTo>
                    <a:pt x="1827" y="1811"/>
                  </a:lnTo>
                  <a:lnTo>
                    <a:pt x="1787" y="1788"/>
                  </a:lnTo>
                  <a:lnTo>
                    <a:pt x="1748" y="1764"/>
                  </a:lnTo>
                  <a:lnTo>
                    <a:pt x="1709" y="1733"/>
                  </a:lnTo>
                  <a:lnTo>
                    <a:pt x="1678" y="1694"/>
                  </a:lnTo>
                  <a:lnTo>
                    <a:pt x="1647" y="1655"/>
                  </a:lnTo>
                  <a:lnTo>
                    <a:pt x="1631" y="1615"/>
                  </a:lnTo>
                  <a:lnTo>
                    <a:pt x="1623" y="1576"/>
                  </a:lnTo>
                  <a:lnTo>
                    <a:pt x="1623" y="1576"/>
                  </a:lnTo>
                  <a:lnTo>
                    <a:pt x="1639" y="55"/>
                  </a:lnTo>
                  <a:lnTo>
                    <a:pt x="1639" y="55"/>
                  </a:lnTo>
                  <a:lnTo>
                    <a:pt x="1256" y="149"/>
                  </a:lnTo>
                  <a:lnTo>
                    <a:pt x="1256" y="149"/>
                  </a:lnTo>
                  <a:lnTo>
                    <a:pt x="1148" y="188"/>
                  </a:lnTo>
                  <a:lnTo>
                    <a:pt x="1046" y="227"/>
                  </a:lnTo>
                  <a:lnTo>
                    <a:pt x="952" y="281"/>
                  </a:lnTo>
                  <a:lnTo>
                    <a:pt x="858" y="328"/>
                  </a:lnTo>
                  <a:lnTo>
                    <a:pt x="773" y="382"/>
                  </a:lnTo>
                  <a:lnTo>
                    <a:pt x="687" y="445"/>
                  </a:lnTo>
                  <a:lnTo>
                    <a:pt x="609" y="515"/>
                  </a:lnTo>
                  <a:lnTo>
                    <a:pt x="539" y="586"/>
                  </a:lnTo>
                  <a:lnTo>
                    <a:pt x="539" y="586"/>
                  </a:lnTo>
                  <a:lnTo>
                    <a:pt x="476" y="648"/>
                  </a:lnTo>
                  <a:lnTo>
                    <a:pt x="414" y="718"/>
                  </a:lnTo>
                  <a:lnTo>
                    <a:pt x="359" y="788"/>
                  </a:lnTo>
                  <a:lnTo>
                    <a:pt x="313" y="859"/>
                  </a:lnTo>
                  <a:lnTo>
                    <a:pt x="266" y="937"/>
                  </a:lnTo>
                  <a:lnTo>
                    <a:pt x="219" y="1015"/>
                  </a:lnTo>
                  <a:lnTo>
                    <a:pt x="149" y="1186"/>
                  </a:lnTo>
                  <a:lnTo>
                    <a:pt x="86" y="1366"/>
                  </a:lnTo>
                  <a:lnTo>
                    <a:pt x="39" y="1561"/>
                  </a:lnTo>
                  <a:lnTo>
                    <a:pt x="16" y="1756"/>
                  </a:lnTo>
                  <a:lnTo>
                    <a:pt x="0" y="1967"/>
                  </a:lnTo>
                  <a:lnTo>
                    <a:pt x="0" y="1967"/>
                  </a:lnTo>
                  <a:lnTo>
                    <a:pt x="8" y="2076"/>
                  </a:lnTo>
                  <a:lnTo>
                    <a:pt x="16" y="2186"/>
                  </a:lnTo>
                  <a:lnTo>
                    <a:pt x="31" y="2287"/>
                  </a:lnTo>
                  <a:lnTo>
                    <a:pt x="55" y="2396"/>
                  </a:lnTo>
                  <a:lnTo>
                    <a:pt x="78" y="2497"/>
                  </a:lnTo>
                  <a:lnTo>
                    <a:pt x="117" y="2599"/>
                  </a:lnTo>
                  <a:lnTo>
                    <a:pt x="156" y="2701"/>
                  </a:lnTo>
                  <a:lnTo>
                    <a:pt x="203" y="2794"/>
                  </a:lnTo>
                  <a:lnTo>
                    <a:pt x="258" y="2888"/>
                  </a:lnTo>
                  <a:lnTo>
                    <a:pt x="321" y="2981"/>
                  </a:lnTo>
                  <a:lnTo>
                    <a:pt x="382" y="3068"/>
                  </a:lnTo>
                  <a:lnTo>
                    <a:pt x="460" y="3153"/>
                  </a:lnTo>
                  <a:lnTo>
                    <a:pt x="539" y="3231"/>
                  </a:lnTo>
                  <a:lnTo>
                    <a:pt x="617" y="3309"/>
                  </a:lnTo>
                  <a:lnTo>
                    <a:pt x="711" y="3379"/>
                  </a:lnTo>
                  <a:lnTo>
                    <a:pt x="804" y="3442"/>
                  </a:lnTo>
                  <a:lnTo>
                    <a:pt x="804" y="3442"/>
                  </a:lnTo>
                  <a:lnTo>
                    <a:pt x="773" y="8780"/>
                  </a:lnTo>
                  <a:lnTo>
                    <a:pt x="773" y="8780"/>
                  </a:lnTo>
                  <a:lnTo>
                    <a:pt x="773" y="8889"/>
                  </a:lnTo>
                  <a:lnTo>
                    <a:pt x="788" y="8990"/>
                  </a:lnTo>
                  <a:lnTo>
                    <a:pt x="812" y="9099"/>
                  </a:lnTo>
                  <a:lnTo>
                    <a:pt x="843" y="9201"/>
                  </a:lnTo>
                  <a:lnTo>
                    <a:pt x="882" y="9295"/>
                  </a:lnTo>
                  <a:lnTo>
                    <a:pt x="929" y="9380"/>
                  </a:lnTo>
                  <a:lnTo>
                    <a:pt x="991" y="9466"/>
                  </a:lnTo>
                  <a:lnTo>
                    <a:pt x="1054" y="9544"/>
                  </a:lnTo>
                  <a:lnTo>
                    <a:pt x="1054" y="9544"/>
                  </a:lnTo>
                  <a:lnTo>
                    <a:pt x="1148" y="9623"/>
                  </a:lnTo>
                  <a:lnTo>
                    <a:pt x="1241" y="9693"/>
                  </a:lnTo>
                  <a:lnTo>
                    <a:pt x="1342" y="9747"/>
                  </a:lnTo>
                  <a:lnTo>
                    <a:pt x="1444" y="9794"/>
                  </a:lnTo>
                  <a:lnTo>
                    <a:pt x="1546" y="9833"/>
                  </a:lnTo>
                  <a:lnTo>
                    <a:pt x="1647" y="9856"/>
                  </a:lnTo>
                  <a:lnTo>
                    <a:pt x="1756" y="9864"/>
                  </a:lnTo>
                  <a:lnTo>
                    <a:pt x="1866" y="9872"/>
                  </a:lnTo>
                  <a:lnTo>
                    <a:pt x="1866" y="9872"/>
                  </a:lnTo>
                  <a:lnTo>
                    <a:pt x="1967" y="9864"/>
                  </a:lnTo>
                  <a:lnTo>
                    <a:pt x="2068" y="9841"/>
                  </a:lnTo>
                  <a:lnTo>
                    <a:pt x="2162" y="9817"/>
                  </a:lnTo>
                  <a:lnTo>
                    <a:pt x="2256" y="9770"/>
                  </a:lnTo>
                  <a:lnTo>
                    <a:pt x="2342" y="9724"/>
                  </a:lnTo>
                  <a:lnTo>
                    <a:pt x="2427" y="9670"/>
                  </a:lnTo>
                  <a:lnTo>
                    <a:pt x="2505" y="9599"/>
                  </a:lnTo>
                  <a:lnTo>
                    <a:pt x="2583" y="9537"/>
                  </a:lnTo>
                  <a:lnTo>
                    <a:pt x="2583" y="9537"/>
                  </a:lnTo>
                  <a:lnTo>
                    <a:pt x="2646" y="9458"/>
                  </a:lnTo>
                  <a:lnTo>
                    <a:pt x="2716" y="9380"/>
                  </a:lnTo>
                  <a:lnTo>
                    <a:pt x="2771" y="9295"/>
                  </a:lnTo>
                  <a:lnTo>
                    <a:pt x="2817" y="9209"/>
                  </a:lnTo>
                  <a:lnTo>
                    <a:pt x="2864" y="9115"/>
                  </a:lnTo>
                  <a:lnTo>
                    <a:pt x="2887" y="9021"/>
                  </a:lnTo>
                  <a:lnTo>
                    <a:pt x="2911" y="8920"/>
                  </a:lnTo>
                  <a:lnTo>
                    <a:pt x="2919" y="8819"/>
                  </a:lnTo>
                  <a:lnTo>
                    <a:pt x="2919" y="8819"/>
                  </a:lnTo>
                  <a:lnTo>
                    <a:pt x="2950" y="3473"/>
                  </a:lnTo>
                  <a:lnTo>
                    <a:pt x="2950" y="3473"/>
                  </a:lnTo>
                  <a:lnTo>
                    <a:pt x="3192" y="3239"/>
                  </a:lnTo>
                  <a:lnTo>
                    <a:pt x="3192" y="3239"/>
                  </a:lnTo>
                  <a:lnTo>
                    <a:pt x="3192" y="3239"/>
                  </a:lnTo>
                  <a:lnTo>
                    <a:pt x="3262" y="3161"/>
                  </a:lnTo>
                  <a:lnTo>
                    <a:pt x="3325" y="3091"/>
                  </a:lnTo>
                  <a:lnTo>
                    <a:pt x="3442" y="2935"/>
                  </a:lnTo>
                  <a:lnTo>
                    <a:pt x="3544" y="2770"/>
                  </a:lnTo>
                  <a:lnTo>
                    <a:pt x="3621" y="2599"/>
                  </a:lnTo>
                  <a:lnTo>
                    <a:pt x="3683" y="2427"/>
                  </a:lnTo>
                  <a:lnTo>
                    <a:pt x="3730" y="2256"/>
                  </a:lnTo>
                  <a:lnTo>
                    <a:pt x="3762" y="2076"/>
                  </a:lnTo>
                  <a:lnTo>
                    <a:pt x="3769" y="1897"/>
                  </a:lnTo>
                  <a:lnTo>
                    <a:pt x="3769" y="1897"/>
                  </a:lnTo>
                  <a:lnTo>
                    <a:pt x="3762" y="1756"/>
                  </a:lnTo>
                  <a:lnTo>
                    <a:pt x="3746" y="1615"/>
                  </a:lnTo>
                  <a:lnTo>
                    <a:pt x="3715" y="1476"/>
                  </a:lnTo>
                  <a:lnTo>
                    <a:pt x="3676" y="1343"/>
                  </a:lnTo>
                  <a:lnTo>
                    <a:pt x="3629" y="1210"/>
                  </a:lnTo>
                  <a:lnTo>
                    <a:pt x="3567" y="1078"/>
                  </a:lnTo>
                  <a:lnTo>
                    <a:pt x="3497" y="960"/>
                  </a:lnTo>
                  <a:lnTo>
                    <a:pt x="3418" y="835"/>
                  </a:lnTo>
                  <a:lnTo>
                    <a:pt x="3332" y="726"/>
                  </a:lnTo>
                  <a:lnTo>
                    <a:pt x="3231" y="617"/>
                  </a:lnTo>
                  <a:lnTo>
                    <a:pt x="3130" y="523"/>
                  </a:lnTo>
                  <a:lnTo>
                    <a:pt x="3013" y="429"/>
                  </a:lnTo>
                  <a:lnTo>
                    <a:pt x="2895" y="343"/>
                  </a:lnTo>
                  <a:lnTo>
                    <a:pt x="2763" y="266"/>
                  </a:lnTo>
                  <a:lnTo>
                    <a:pt x="2630" y="196"/>
                  </a:lnTo>
                  <a:lnTo>
                    <a:pt x="2489" y="141"/>
                  </a:lnTo>
                  <a:lnTo>
                    <a:pt x="2162" y="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8" name="Freeform 2"/>
            <p:cNvSpPr>
              <a:spLocks noChangeArrowheads="1"/>
            </p:cNvSpPr>
            <p:nvPr/>
          </p:nvSpPr>
          <p:spPr bwMode="auto">
            <a:xfrm>
              <a:off x="1687513" y="5108575"/>
              <a:ext cx="787400" cy="1325563"/>
            </a:xfrm>
            <a:custGeom>
              <a:avLst/>
              <a:gdLst>
                <a:gd name="T0" fmla="*/ 1842 w 2186"/>
                <a:gd name="T1" fmla="*/ 3683 h 3684"/>
                <a:gd name="T2" fmla="*/ 0 w 2186"/>
                <a:gd name="T3" fmla="*/ 1841 h 3684"/>
                <a:gd name="T4" fmla="*/ 1842 w 2186"/>
                <a:gd name="T5" fmla="*/ 0 h 3684"/>
                <a:gd name="T6" fmla="*/ 2185 w 2186"/>
                <a:gd name="T7" fmla="*/ 343 h 3684"/>
                <a:gd name="T8" fmla="*/ 679 w 2186"/>
                <a:gd name="T9" fmla="*/ 1841 h 3684"/>
                <a:gd name="T10" fmla="*/ 2185 w 2186"/>
                <a:gd name="T11" fmla="*/ 3348 h 3684"/>
                <a:gd name="T12" fmla="*/ 1842 w 2186"/>
                <a:gd name="T13" fmla="*/ 3683 h 3684"/>
              </a:gdLst>
              <a:ahLst/>
              <a:cxnLst>
                <a:cxn ang="0">
                  <a:pos x="T0" y="T1"/>
                </a:cxn>
                <a:cxn ang="0">
                  <a:pos x="T2" y="T3"/>
                </a:cxn>
                <a:cxn ang="0">
                  <a:pos x="T4" y="T5"/>
                </a:cxn>
                <a:cxn ang="0">
                  <a:pos x="T6" y="T7"/>
                </a:cxn>
                <a:cxn ang="0">
                  <a:pos x="T8" y="T9"/>
                </a:cxn>
                <a:cxn ang="0">
                  <a:pos x="T10" y="T11"/>
                </a:cxn>
                <a:cxn ang="0">
                  <a:pos x="T12" y="T13"/>
                </a:cxn>
              </a:cxnLst>
              <a:rect l="0" t="0" r="r" b="b"/>
              <a:pathLst>
                <a:path w="2186" h="3684">
                  <a:moveTo>
                    <a:pt x="1842" y="3683"/>
                  </a:moveTo>
                  <a:lnTo>
                    <a:pt x="0" y="1841"/>
                  </a:lnTo>
                  <a:lnTo>
                    <a:pt x="1842" y="0"/>
                  </a:lnTo>
                  <a:lnTo>
                    <a:pt x="2185" y="343"/>
                  </a:lnTo>
                  <a:lnTo>
                    <a:pt x="679" y="1841"/>
                  </a:lnTo>
                  <a:lnTo>
                    <a:pt x="2185" y="3348"/>
                  </a:lnTo>
                  <a:lnTo>
                    <a:pt x="1842" y="3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9" name="Freeform 3"/>
            <p:cNvSpPr>
              <a:spLocks noChangeArrowheads="1"/>
            </p:cNvSpPr>
            <p:nvPr/>
          </p:nvSpPr>
          <p:spPr bwMode="auto">
            <a:xfrm>
              <a:off x="4805363" y="5108575"/>
              <a:ext cx="784225" cy="1325563"/>
            </a:xfrm>
            <a:custGeom>
              <a:avLst/>
              <a:gdLst>
                <a:gd name="T0" fmla="*/ 335 w 2177"/>
                <a:gd name="T1" fmla="*/ 3683 h 3684"/>
                <a:gd name="T2" fmla="*/ 0 w 2177"/>
                <a:gd name="T3" fmla="*/ 3348 h 3684"/>
                <a:gd name="T4" fmla="*/ 1505 w 2177"/>
                <a:gd name="T5" fmla="*/ 1841 h 3684"/>
                <a:gd name="T6" fmla="*/ 0 w 2177"/>
                <a:gd name="T7" fmla="*/ 343 h 3684"/>
                <a:gd name="T8" fmla="*/ 335 w 2177"/>
                <a:gd name="T9" fmla="*/ 0 h 3684"/>
                <a:gd name="T10" fmla="*/ 2176 w 2177"/>
                <a:gd name="T11" fmla="*/ 1841 h 3684"/>
                <a:gd name="T12" fmla="*/ 335 w 2177"/>
                <a:gd name="T13" fmla="*/ 3683 h 3684"/>
              </a:gdLst>
              <a:ahLst/>
              <a:cxnLst>
                <a:cxn ang="0">
                  <a:pos x="T0" y="T1"/>
                </a:cxn>
                <a:cxn ang="0">
                  <a:pos x="T2" y="T3"/>
                </a:cxn>
                <a:cxn ang="0">
                  <a:pos x="T4" y="T5"/>
                </a:cxn>
                <a:cxn ang="0">
                  <a:pos x="T6" y="T7"/>
                </a:cxn>
                <a:cxn ang="0">
                  <a:pos x="T8" y="T9"/>
                </a:cxn>
                <a:cxn ang="0">
                  <a:pos x="T10" y="T11"/>
                </a:cxn>
                <a:cxn ang="0">
                  <a:pos x="T12" y="T13"/>
                </a:cxn>
              </a:cxnLst>
              <a:rect l="0" t="0" r="r" b="b"/>
              <a:pathLst>
                <a:path w="2177" h="3684">
                  <a:moveTo>
                    <a:pt x="335" y="3683"/>
                  </a:moveTo>
                  <a:lnTo>
                    <a:pt x="0" y="3348"/>
                  </a:lnTo>
                  <a:lnTo>
                    <a:pt x="1505" y="1841"/>
                  </a:lnTo>
                  <a:lnTo>
                    <a:pt x="0" y="343"/>
                  </a:lnTo>
                  <a:lnTo>
                    <a:pt x="335" y="0"/>
                  </a:lnTo>
                  <a:lnTo>
                    <a:pt x="2176" y="1841"/>
                  </a:lnTo>
                  <a:lnTo>
                    <a:pt x="335" y="3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90" name="Freeform 4"/>
          <p:cNvSpPr>
            <a:spLocks noChangeArrowheads="1"/>
          </p:cNvSpPr>
          <p:nvPr/>
        </p:nvSpPr>
        <p:spPr bwMode="auto">
          <a:xfrm>
            <a:off x="9776485" y="1637523"/>
            <a:ext cx="689006" cy="664610"/>
          </a:xfrm>
          <a:custGeom>
            <a:avLst/>
            <a:gdLst>
              <a:gd name="T0" fmla="*/ 1967 w 8219"/>
              <a:gd name="T1" fmla="*/ 5533 h 7930"/>
              <a:gd name="T2" fmla="*/ 2194 w 8219"/>
              <a:gd name="T3" fmla="*/ 6165 h 7930"/>
              <a:gd name="T4" fmla="*/ 1780 w 8219"/>
              <a:gd name="T5" fmla="*/ 6782 h 7930"/>
              <a:gd name="T6" fmla="*/ 1069 w 8219"/>
              <a:gd name="T7" fmla="*/ 6813 h 7930"/>
              <a:gd name="T8" fmla="*/ 570 w 8219"/>
              <a:gd name="T9" fmla="*/ 6243 h 7930"/>
              <a:gd name="T10" fmla="*/ 749 w 8219"/>
              <a:gd name="T11" fmla="*/ 5596 h 7930"/>
              <a:gd name="T12" fmla="*/ 1100 w 8219"/>
              <a:gd name="T13" fmla="*/ 4495 h 7930"/>
              <a:gd name="T14" fmla="*/ 1725 w 8219"/>
              <a:gd name="T15" fmla="*/ 2763 h 7930"/>
              <a:gd name="T16" fmla="*/ 2966 w 8219"/>
              <a:gd name="T17" fmla="*/ 2076 h 7930"/>
              <a:gd name="T18" fmla="*/ 3715 w 8219"/>
              <a:gd name="T19" fmla="*/ 2591 h 7930"/>
              <a:gd name="T20" fmla="*/ 4605 w 8219"/>
              <a:gd name="T21" fmla="*/ 2568 h 7930"/>
              <a:gd name="T22" fmla="*/ 5362 w 8219"/>
              <a:gd name="T23" fmla="*/ 1998 h 7930"/>
              <a:gd name="T24" fmla="*/ 6657 w 8219"/>
              <a:gd name="T25" fmla="*/ 2934 h 7930"/>
              <a:gd name="T26" fmla="*/ 7126 w 8219"/>
              <a:gd name="T27" fmla="*/ 4823 h 7930"/>
              <a:gd name="T28" fmla="*/ 6579 w 8219"/>
              <a:gd name="T29" fmla="*/ 4784 h 7930"/>
              <a:gd name="T30" fmla="*/ 5588 w 8219"/>
              <a:gd name="T31" fmla="*/ 5565 h 7930"/>
              <a:gd name="T32" fmla="*/ 5627 w 8219"/>
              <a:gd name="T33" fmla="*/ 6665 h 7930"/>
              <a:gd name="T34" fmla="*/ 5237 w 8219"/>
              <a:gd name="T35" fmla="*/ 7235 h 7930"/>
              <a:gd name="T36" fmla="*/ 3239 w 8219"/>
              <a:gd name="T37" fmla="*/ 7297 h 7930"/>
              <a:gd name="T38" fmla="*/ 2685 w 8219"/>
              <a:gd name="T39" fmla="*/ 6555 h 7930"/>
              <a:gd name="T40" fmla="*/ 2576 w 8219"/>
              <a:gd name="T41" fmla="*/ 5447 h 7930"/>
              <a:gd name="T42" fmla="*/ 1514 w 8219"/>
              <a:gd name="T43" fmla="*/ 4761 h 7930"/>
              <a:gd name="T44" fmla="*/ 1100 w 8219"/>
              <a:gd name="T45" fmla="*/ 4495 h 7930"/>
              <a:gd name="T46" fmla="*/ 4707 w 8219"/>
              <a:gd name="T47" fmla="*/ 773 h 7930"/>
              <a:gd name="T48" fmla="*/ 4932 w 8219"/>
              <a:gd name="T49" fmla="*/ 1405 h 7930"/>
              <a:gd name="T50" fmla="*/ 4519 w 8219"/>
              <a:gd name="T51" fmla="*/ 2021 h 7930"/>
              <a:gd name="T52" fmla="*/ 3809 w 8219"/>
              <a:gd name="T53" fmla="*/ 2052 h 7930"/>
              <a:gd name="T54" fmla="*/ 3309 w 8219"/>
              <a:gd name="T55" fmla="*/ 1483 h 7930"/>
              <a:gd name="T56" fmla="*/ 3489 w 8219"/>
              <a:gd name="T57" fmla="*/ 835 h 7930"/>
              <a:gd name="T58" fmla="*/ 6852 w 8219"/>
              <a:gd name="T59" fmla="*/ 6876 h 7930"/>
              <a:gd name="T60" fmla="*/ 6228 w 8219"/>
              <a:gd name="T61" fmla="*/ 6594 h 7930"/>
              <a:gd name="T62" fmla="*/ 6048 w 8219"/>
              <a:gd name="T63" fmla="*/ 5931 h 7930"/>
              <a:gd name="T64" fmla="*/ 6548 w 8219"/>
              <a:gd name="T65" fmla="*/ 5353 h 7930"/>
              <a:gd name="T66" fmla="*/ 7258 w 8219"/>
              <a:gd name="T67" fmla="*/ 5393 h 7930"/>
              <a:gd name="T68" fmla="*/ 7671 w 8219"/>
              <a:gd name="T69" fmla="*/ 6010 h 7930"/>
              <a:gd name="T70" fmla="*/ 7446 w 8219"/>
              <a:gd name="T71" fmla="*/ 6649 h 7930"/>
              <a:gd name="T72" fmla="*/ 0 w 8219"/>
              <a:gd name="T73" fmla="*/ 6079 h 7930"/>
              <a:gd name="T74" fmla="*/ 609 w 8219"/>
              <a:gd name="T75" fmla="*/ 7196 h 7930"/>
              <a:gd name="T76" fmla="*/ 1733 w 8219"/>
              <a:gd name="T77" fmla="*/ 7382 h 7930"/>
              <a:gd name="T78" fmla="*/ 2599 w 8219"/>
              <a:gd name="T79" fmla="*/ 7625 h 7930"/>
              <a:gd name="T80" fmla="*/ 3972 w 8219"/>
              <a:gd name="T81" fmla="*/ 7929 h 7930"/>
              <a:gd name="T82" fmla="*/ 5276 w 8219"/>
              <a:gd name="T83" fmla="*/ 7773 h 7930"/>
              <a:gd name="T84" fmla="*/ 6314 w 8219"/>
              <a:gd name="T85" fmla="*/ 7312 h 7930"/>
              <a:gd name="T86" fmla="*/ 7258 w 8219"/>
              <a:gd name="T87" fmla="*/ 7351 h 7930"/>
              <a:gd name="T88" fmla="*/ 8155 w 8219"/>
              <a:gd name="T89" fmla="*/ 6493 h 7930"/>
              <a:gd name="T90" fmla="*/ 8000 w 8219"/>
              <a:gd name="T91" fmla="*/ 5369 h 7930"/>
              <a:gd name="T92" fmla="*/ 7632 w 8219"/>
              <a:gd name="T93" fmla="*/ 3981 h 7930"/>
              <a:gd name="T94" fmla="*/ 7203 w 8219"/>
              <a:gd name="T95" fmla="*/ 2802 h 7930"/>
              <a:gd name="T96" fmla="*/ 6275 w 8219"/>
              <a:gd name="T97" fmla="*/ 1795 h 7930"/>
              <a:gd name="T98" fmla="*/ 5479 w 8219"/>
              <a:gd name="T99" fmla="*/ 1319 h 7930"/>
              <a:gd name="T100" fmla="*/ 4878 w 8219"/>
              <a:gd name="T101" fmla="*/ 227 h 7930"/>
              <a:gd name="T102" fmla="*/ 3707 w 8219"/>
              <a:gd name="T103" fmla="*/ 55 h 7930"/>
              <a:gd name="T104" fmla="*/ 2802 w 8219"/>
              <a:gd name="T105" fmla="*/ 929 h 7930"/>
              <a:gd name="T106" fmla="*/ 2272 w 8219"/>
              <a:gd name="T107" fmla="*/ 1592 h 7930"/>
              <a:gd name="T108" fmla="*/ 1312 w 8219"/>
              <a:gd name="T109" fmla="*/ 2396 h 7930"/>
              <a:gd name="T110" fmla="*/ 671 w 8219"/>
              <a:gd name="T111" fmla="*/ 3606 h 7930"/>
              <a:gd name="T112" fmla="*/ 562 w 8219"/>
              <a:gd name="T113" fmla="*/ 4644 h 7930"/>
              <a:gd name="T114" fmla="*/ 110 w 8219"/>
              <a:gd name="T115" fmla="*/ 5643 h 7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9" h="7930">
                <a:moveTo>
                  <a:pt x="1374" y="5283"/>
                </a:moveTo>
                <a:lnTo>
                  <a:pt x="1374" y="5283"/>
                </a:lnTo>
                <a:lnTo>
                  <a:pt x="1460" y="5291"/>
                </a:lnTo>
                <a:lnTo>
                  <a:pt x="1545" y="5307"/>
                </a:lnTo>
                <a:lnTo>
                  <a:pt x="1623" y="5322"/>
                </a:lnTo>
                <a:lnTo>
                  <a:pt x="1702" y="5353"/>
                </a:lnTo>
                <a:lnTo>
                  <a:pt x="1780" y="5393"/>
                </a:lnTo>
                <a:lnTo>
                  <a:pt x="1842" y="5432"/>
                </a:lnTo>
                <a:lnTo>
                  <a:pt x="1904" y="5479"/>
                </a:lnTo>
                <a:lnTo>
                  <a:pt x="1967" y="5533"/>
                </a:lnTo>
                <a:lnTo>
                  <a:pt x="2014" y="5596"/>
                </a:lnTo>
                <a:lnTo>
                  <a:pt x="2061" y="5658"/>
                </a:lnTo>
                <a:lnTo>
                  <a:pt x="2100" y="5720"/>
                </a:lnTo>
                <a:lnTo>
                  <a:pt x="2131" y="5791"/>
                </a:lnTo>
                <a:lnTo>
                  <a:pt x="2162" y="5861"/>
                </a:lnTo>
                <a:lnTo>
                  <a:pt x="2178" y="5931"/>
                </a:lnTo>
                <a:lnTo>
                  <a:pt x="2194" y="6010"/>
                </a:lnTo>
                <a:lnTo>
                  <a:pt x="2194" y="6079"/>
                </a:lnTo>
                <a:lnTo>
                  <a:pt x="2194" y="6079"/>
                </a:lnTo>
                <a:lnTo>
                  <a:pt x="2194" y="6165"/>
                </a:lnTo>
                <a:lnTo>
                  <a:pt x="2178" y="6243"/>
                </a:lnTo>
                <a:lnTo>
                  <a:pt x="2162" y="6322"/>
                </a:lnTo>
                <a:lnTo>
                  <a:pt x="2131" y="6400"/>
                </a:lnTo>
                <a:lnTo>
                  <a:pt x="2100" y="6470"/>
                </a:lnTo>
                <a:lnTo>
                  <a:pt x="2061" y="6532"/>
                </a:lnTo>
                <a:lnTo>
                  <a:pt x="2014" y="6594"/>
                </a:lnTo>
                <a:lnTo>
                  <a:pt x="1967" y="6649"/>
                </a:lnTo>
                <a:lnTo>
                  <a:pt x="1904" y="6704"/>
                </a:lnTo>
                <a:lnTo>
                  <a:pt x="1842" y="6743"/>
                </a:lnTo>
                <a:lnTo>
                  <a:pt x="1780" y="6782"/>
                </a:lnTo>
                <a:lnTo>
                  <a:pt x="1702" y="6813"/>
                </a:lnTo>
                <a:lnTo>
                  <a:pt x="1623" y="6837"/>
                </a:lnTo>
                <a:lnTo>
                  <a:pt x="1545" y="6860"/>
                </a:lnTo>
                <a:lnTo>
                  <a:pt x="1460" y="6868"/>
                </a:lnTo>
                <a:lnTo>
                  <a:pt x="1374" y="6876"/>
                </a:lnTo>
                <a:lnTo>
                  <a:pt x="1374" y="6876"/>
                </a:lnTo>
                <a:lnTo>
                  <a:pt x="1296" y="6868"/>
                </a:lnTo>
                <a:lnTo>
                  <a:pt x="1218" y="6860"/>
                </a:lnTo>
                <a:lnTo>
                  <a:pt x="1147" y="6837"/>
                </a:lnTo>
                <a:lnTo>
                  <a:pt x="1069" y="6813"/>
                </a:lnTo>
                <a:lnTo>
                  <a:pt x="1000" y="6782"/>
                </a:lnTo>
                <a:lnTo>
                  <a:pt x="929" y="6743"/>
                </a:lnTo>
                <a:lnTo>
                  <a:pt x="867" y="6704"/>
                </a:lnTo>
                <a:lnTo>
                  <a:pt x="804" y="6649"/>
                </a:lnTo>
                <a:lnTo>
                  <a:pt x="749" y="6594"/>
                </a:lnTo>
                <a:lnTo>
                  <a:pt x="702" y="6532"/>
                </a:lnTo>
                <a:lnTo>
                  <a:pt x="656" y="6470"/>
                </a:lnTo>
                <a:lnTo>
                  <a:pt x="625" y="6400"/>
                </a:lnTo>
                <a:lnTo>
                  <a:pt x="594" y="6322"/>
                </a:lnTo>
                <a:lnTo>
                  <a:pt x="570" y="6243"/>
                </a:lnTo>
                <a:lnTo>
                  <a:pt x="555" y="6165"/>
                </a:lnTo>
                <a:lnTo>
                  <a:pt x="555" y="6079"/>
                </a:lnTo>
                <a:lnTo>
                  <a:pt x="555" y="6079"/>
                </a:lnTo>
                <a:lnTo>
                  <a:pt x="555" y="6010"/>
                </a:lnTo>
                <a:lnTo>
                  <a:pt x="570" y="5931"/>
                </a:lnTo>
                <a:lnTo>
                  <a:pt x="594" y="5861"/>
                </a:lnTo>
                <a:lnTo>
                  <a:pt x="625" y="5791"/>
                </a:lnTo>
                <a:lnTo>
                  <a:pt x="656" y="5720"/>
                </a:lnTo>
                <a:lnTo>
                  <a:pt x="702" y="5658"/>
                </a:lnTo>
                <a:lnTo>
                  <a:pt x="749" y="5596"/>
                </a:lnTo>
                <a:lnTo>
                  <a:pt x="804" y="5533"/>
                </a:lnTo>
                <a:lnTo>
                  <a:pt x="867" y="5479"/>
                </a:lnTo>
                <a:lnTo>
                  <a:pt x="929" y="5432"/>
                </a:lnTo>
                <a:lnTo>
                  <a:pt x="1000" y="5393"/>
                </a:lnTo>
                <a:lnTo>
                  <a:pt x="1069" y="5353"/>
                </a:lnTo>
                <a:lnTo>
                  <a:pt x="1147" y="5322"/>
                </a:lnTo>
                <a:lnTo>
                  <a:pt x="1218" y="5307"/>
                </a:lnTo>
                <a:lnTo>
                  <a:pt x="1296" y="5291"/>
                </a:lnTo>
                <a:lnTo>
                  <a:pt x="1374" y="5283"/>
                </a:lnTo>
                <a:close/>
                <a:moveTo>
                  <a:pt x="1100" y="4495"/>
                </a:moveTo>
                <a:lnTo>
                  <a:pt x="1100" y="4495"/>
                </a:lnTo>
                <a:lnTo>
                  <a:pt x="1108" y="4285"/>
                </a:lnTo>
                <a:lnTo>
                  <a:pt x="1132" y="4074"/>
                </a:lnTo>
                <a:lnTo>
                  <a:pt x="1179" y="3871"/>
                </a:lnTo>
                <a:lnTo>
                  <a:pt x="1233" y="3668"/>
                </a:lnTo>
                <a:lnTo>
                  <a:pt x="1304" y="3473"/>
                </a:lnTo>
                <a:lnTo>
                  <a:pt x="1390" y="3285"/>
                </a:lnTo>
                <a:lnTo>
                  <a:pt x="1491" y="3107"/>
                </a:lnTo>
                <a:lnTo>
                  <a:pt x="1600" y="2934"/>
                </a:lnTo>
                <a:lnTo>
                  <a:pt x="1725" y="2763"/>
                </a:lnTo>
                <a:lnTo>
                  <a:pt x="1866" y="2607"/>
                </a:lnTo>
                <a:lnTo>
                  <a:pt x="2014" y="2458"/>
                </a:lnTo>
                <a:lnTo>
                  <a:pt x="2170" y="2326"/>
                </a:lnTo>
                <a:lnTo>
                  <a:pt x="2333" y="2201"/>
                </a:lnTo>
                <a:lnTo>
                  <a:pt x="2505" y="2092"/>
                </a:lnTo>
                <a:lnTo>
                  <a:pt x="2693" y="1998"/>
                </a:lnTo>
                <a:lnTo>
                  <a:pt x="2880" y="1913"/>
                </a:lnTo>
                <a:lnTo>
                  <a:pt x="2880" y="1913"/>
                </a:lnTo>
                <a:lnTo>
                  <a:pt x="2919" y="1998"/>
                </a:lnTo>
                <a:lnTo>
                  <a:pt x="2966" y="2076"/>
                </a:lnTo>
                <a:lnTo>
                  <a:pt x="3021" y="2154"/>
                </a:lnTo>
                <a:lnTo>
                  <a:pt x="3083" y="2225"/>
                </a:lnTo>
                <a:lnTo>
                  <a:pt x="3145" y="2287"/>
                </a:lnTo>
                <a:lnTo>
                  <a:pt x="3215" y="2350"/>
                </a:lnTo>
                <a:lnTo>
                  <a:pt x="3286" y="2403"/>
                </a:lnTo>
                <a:lnTo>
                  <a:pt x="3364" y="2450"/>
                </a:lnTo>
                <a:lnTo>
                  <a:pt x="3450" y="2497"/>
                </a:lnTo>
                <a:lnTo>
                  <a:pt x="3535" y="2536"/>
                </a:lnTo>
                <a:lnTo>
                  <a:pt x="3621" y="2568"/>
                </a:lnTo>
                <a:lnTo>
                  <a:pt x="3715" y="2591"/>
                </a:lnTo>
                <a:lnTo>
                  <a:pt x="3809" y="2615"/>
                </a:lnTo>
                <a:lnTo>
                  <a:pt x="3910" y="2630"/>
                </a:lnTo>
                <a:lnTo>
                  <a:pt x="4011" y="2638"/>
                </a:lnTo>
                <a:lnTo>
                  <a:pt x="4113" y="2638"/>
                </a:lnTo>
                <a:lnTo>
                  <a:pt x="4113" y="2638"/>
                </a:lnTo>
                <a:lnTo>
                  <a:pt x="4215" y="2638"/>
                </a:lnTo>
                <a:lnTo>
                  <a:pt x="4316" y="2630"/>
                </a:lnTo>
                <a:lnTo>
                  <a:pt x="4409" y="2615"/>
                </a:lnTo>
                <a:lnTo>
                  <a:pt x="4511" y="2591"/>
                </a:lnTo>
                <a:lnTo>
                  <a:pt x="4605" y="2568"/>
                </a:lnTo>
                <a:lnTo>
                  <a:pt x="4691" y="2536"/>
                </a:lnTo>
                <a:lnTo>
                  <a:pt x="4776" y="2497"/>
                </a:lnTo>
                <a:lnTo>
                  <a:pt x="4862" y="2450"/>
                </a:lnTo>
                <a:lnTo>
                  <a:pt x="4948" y="2403"/>
                </a:lnTo>
                <a:lnTo>
                  <a:pt x="5026" y="2350"/>
                </a:lnTo>
                <a:lnTo>
                  <a:pt x="5105" y="2287"/>
                </a:lnTo>
                <a:lnTo>
                  <a:pt x="5174" y="2225"/>
                </a:lnTo>
                <a:lnTo>
                  <a:pt x="5237" y="2154"/>
                </a:lnTo>
                <a:lnTo>
                  <a:pt x="5299" y="2076"/>
                </a:lnTo>
                <a:lnTo>
                  <a:pt x="5362" y="1998"/>
                </a:lnTo>
                <a:lnTo>
                  <a:pt x="5416" y="1913"/>
                </a:lnTo>
                <a:lnTo>
                  <a:pt x="5416" y="1913"/>
                </a:lnTo>
                <a:lnTo>
                  <a:pt x="5603" y="1998"/>
                </a:lnTo>
                <a:lnTo>
                  <a:pt x="5783" y="2092"/>
                </a:lnTo>
                <a:lnTo>
                  <a:pt x="5955" y="2201"/>
                </a:lnTo>
                <a:lnTo>
                  <a:pt x="6111" y="2326"/>
                </a:lnTo>
                <a:lnTo>
                  <a:pt x="6267" y="2458"/>
                </a:lnTo>
                <a:lnTo>
                  <a:pt x="6407" y="2607"/>
                </a:lnTo>
                <a:lnTo>
                  <a:pt x="6532" y="2763"/>
                </a:lnTo>
                <a:lnTo>
                  <a:pt x="6657" y="2934"/>
                </a:lnTo>
                <a:lnTo>
                  <a:pt x="6759" y="3107"/>
                </a:lnTo>
                <a:lnTo>
                  <a:pt x="6852" y="3285"/>
                </a:lnTo>
                <a:lnTo>
                  <a:pt x="6938" y="3473"/>
                </a:lnTo>
                <a:lnTo>
                  <a:pt x="7001" y="3668"/>
                </a:lnTo>
                <a:lnTo>
                  <a:pt x="7055" y="3871"/>
                </a:lnTo>
                <a:lnTo>
                  <a:pt x="7094" y="4074"/>
                </a:lnTo>
                <a:lnTo>
                  <a:pt x="7118" y="4285"/>
                </a:lnTo>
                <a:lnTo>
                  <a:pt x="7126" y="4495"/>
                </a:lnTo>
                <a:lnTo>
                  <a:pt x="7126" y="4495"/>
                </a:lnTo>
                <a:lnTo>
                  <a:pt x="7126" y="4823"/>
                </a:lnTo>
                <a:lnTo>
                  <a:pt x="7126" y="4823"/>
                </a:lnTo>
                <a:lnTo>
                  <a:pt x="7102" y="4823"/>
                </a:lnTo>
                <a:lnTo>
                  <a:pt x="7071" y="4816"/>
                </a:lnTo>
                <a:lnTo>
                  <a:pt x="7016" y="4792"/>
                </a:lnTo>
                <a:lnTo>
                  <a:pt x="6946" y="4769"/>
                </a:lnTo>
                <a:lnTo>
                  <a:pt x="6899" y="4761"/>
                </a:lnTo>
                <a:lnTo>
                  <a:pt x="6852" y="4761"/>
                </a:lnTo>
                <a:lnTo>
                  <a:pt x="6852" y="4761"/>
                </a:lnTo>
                <a:lnTo>
                  <a:pt x="6712" y="4761"/>
                </a:lnTo>
                <a:lnTo>
                  <a:pt x="6579" y="4784"/>
                </a:lnTo>
                <a:lnTo>
                  <a:pt x="6446" y="4816"/>
                </a:lnTo>
                <a:lnTo>
                  <a:pt x="6322" y="4862"/>
                </a:lnTo>
                <a:lnTo>
                  <a:pt x="6197" y="4916"/>
                </a:lnTo>
                <a:lnTo>
                  <a:pt x="6087" y="4987"/>
                </a:lnTo>
                <a:lnTo>
                  <a:pt x="5978" y="5057"/>
                </a:lnTo>
                <a:lnTo>
                  <a:pt x="5885" y="5143"/>
                </a:lnTo>
                <a:lnTo>
                  <a:pt x="5799" y="5237"/>
                </a:lnTo>
                <a:lnTo>
                  <a:pt x="5713" y="5338"/>
                </a:lnTo>
                <a:lnTo>
                  <a:pt x="5650" y="5447"/>
                </a:lnTo>
                <a:lnTo>
                  <a:pt x="5588" y="5565"/>
                </a:lnTo>
                <a:lnTo>
                  <a:pt x="5542" y="5689"/>
                </a:lnTo>
                <a:lnTo>
                  <a:pt x="5510" y="5814"/>
                </a:lnTo>
                <a:lnTo>
                  <a:pt x="5487" y="5947"/>
                </a:lnTo>
                <a:lnTo>
                  <a:pt x="5479" y="6079"/>
                </a:lnTo>
                <a:lnTo>
                  <a:pt x="5479" y="6079"/>
                </a:lnTo>
                <a:lnTo>
                  <a:pt x="5487" y="6204"/>
                </a:lnTo>
                <a:lnTo>
                  <a:pt x="5510" y="6329"/>
                </a:lnTo>
                <a:lnTo>
                  <a:pt x="5534" y="6447"/>
                </a:lnTo>
                <a:lnTo>
                  <a:pt x="5572" y="6555"/>
                </a:lnTo>
                <a:lnTo>
                  <a:pt x="5627" y="6665"/>
                </a:lnTo>
                <a:lnTo>
                  <a:pt x="5681" y="6766"/>
                </a:lnTo>
                <a:lnTo>
                  <a:pt x="5752" y="6860"/>
                </a:lnTo>
                <a:lnTo>
                  <a:pt x="5822" y="6938"/>
                </a:lnTo>
                <a:lnTo>
                  <a:pt x="5822" y="6938"/>
                </a:lnTo>
                <a:lnTo>
                  <a:pt x="5736" y="7000"/>
                </a:lnTo>
                <a:lnTo>
                  <a:pt x="5635" y="7055"/>
                </a:lnTo>
                <a:lnTo>
                  <a:pt x="5542" y="7102"/>
                </a:lnTo>
                <a:lnTo>
                  <a:pt x="5440" y="7149"/>
                </a:lnTo>
                <a:lnTo>
                  <a:pt x="5338" y="7196"/>
                </a:lnTo>
                <a:lnTo>
                  <a:pt x="5237" y="7235"/>
                </a:lnTo>
                <a:lnTo>
                  <a:pt x="5019" y="7297"/>
                </a:lnTo>
                <a:lnTo>
                  <a:pt x="4799" y="7343"/>
                </a:lnTo>
                <a:lnTo>
                  <a:pt x="4574" y="7375"/>
                </a:lnTo>
                <a:lnTo>
                  <a:pt x="4339" y="7398"/>
                </a:lnTo>
                <a:lnTo>
                  <a:pt x="4113" y="7406"/>
                </a:lnTo>
                <a:lnTo>
                  <a:pt x="4113" y="7406"/>
                </a:lnTo>
                <a:lnTo>
                  <a:pt x="3887" y="7398"/>
                </a:lnTo>
                <a:lnTo>
                  <a:pt x="3660" y="7375"/>
                </a:lnTo>
                <a:lnTo>
                  <a:pt x="3450" y="7343"/>
                </a:lnTo>
                <a:lnTo>
                  <a:pt x="3239" y="7297"/>
                </a:lnTo>
                <a:lnTo>
                  <a:pt x="3036" y="7235"/>
                </a:lnTo>
                <a:lnTo>
                  <a:pt x="2841" y="7149"/>
                </a:lnTo>
                <a:lnTo>
                  <a:pt x="2654" y="7055"/>
                </a:lnTo>
                <a:lnTo>
                  <a:pt x="2560" y="7000"/>
                </a:lnTo>
                <a:lnTo>
                  <a:pt x="2466" y="6938"/>
                </a:lnTo>
                <a:lnTo>
                  <a:pt x="2466" y="6938"/>
                </a:lnTo>
                <a:lnTo>
                  <a:pt x="2537" y="6860"/>
                </a:lnTo>
                <a:lnTo>
                  <a:pt x="2599" y="6766"/>
                </a:lnTo>
                <a:lnTo>
                  <a:pt x="2646" y="6665"/>
                </a:lnTo>
                <a:lnTo>
                  <a:pt x="2685" y="6555"/>
                </a:lnTo>
                <a:lnTo>
                  <a:pt x="2708" y="6447"/>
                </a:lnTo>
                <a:lnTo>
                  <a:pt x="2731" y="6329"/>
                </a:lnTo>
                <a:lnTo>
                  <a:pt x="2739" y="6204"/>
                </a:lnTo>
                <a:lnTo>
                  <a:pt x="2739" y="6079"/>
                </a:lnTo>
                <a:lnTo>
                  <a:pt x="2739" y="6079"/>
                </a:lnTo>
                <a:lnTo>
                  <a:pt x="2731" y="5947"/>
                </a:lnTo>
                <a:lnTo>
                  <a:pt x="2716" y="5814"/>
                </a:lnTo>
                <a:lnTo>
                  <a:pt x="2678" y="5689"/>
                </a:lnTo>
                <a:lnTo>
                  <a:pt x="2638" y="5565"/>
                </a:lnTo>
                <a:lnTo>
                  <a:pt x="2576" y="5447"/>
                </a:lnTo>
                <a:lnTo>
                  <a:pt x="2505" y="5338"/>
                </a:lnTo>
                <a:lnTo>
                  <a:pt x="2427" y="5237"/>
                </a:lnTo>
                <a:lnTo>
                  <a:pt x="2341" y="5143"/>
                </a:lnTo>
                <a:lnTo>
                  <a:pt x="2240" y="5057"/>
                </a:lnTo>
                <a:lnTo>
                  <a:pt x="2139" y="4987"/>
                </a:lnTo>
                <a:lnTo>
                  <a:pt x="2021" y="4916"/>
                </a:lnTo>
                <a:lnTo>
                  <a:pt x="1904" y="4862"/>
                </a:lnTo>
                <a:lnTo>
                  <a:pt x="1780" y="4816"/>
                </a:lnTo>
                <a:lnTo>
                  <a:pt x="1647" y="4784"/>
                </a:lnTo>
                <a:lnTo>
                  <a:pt x="1514" y="4761"/>
                </a:lnTo>
                <a:lnTo>
                  <a:pt x="1374" y="4761"/>
                </a:lnTo>
                <a:lnTo>
                  <a:pt x="1374" y="4761"/>
                </a:lnTo>
                <a:lnTo>
                  <a:pt x="1351" y="4761"/>
                </a:lnTo>
                <a:lnTo>
                  <a:pt x="1319" y="4769"/>
                </a:lnTo>
                <a:lnTo>
                  <a:pt x="1265" y="4792"/>
                </a:lnTo>
                <a:lnTo>
                  <a:pt x="1186" y="4816"/>
                </a:lnTo>
                <a:lnTo>
                  <a:pt x="1147" y="4823"/>
                </a:lnTo>
                <a:lnTo>
                  <a:pt x="1100" y="4823"/>
                </a:lnTo>
                <a:lnTo>
                  <a:pt x="1100" y="4823"/>
                </a:lnTo>
                <a:lnTo>
                  <a:pt x="1100" y="4495"/>
                </a:lnTo>
                <a:close/>
                <a:moveTo>
                  <a:pt x="4113" y="523"/>
                </a:moveTo>
                <a:lnTo>
                  <a:pt x="4113" y="523"/>
                </a:lnTo>
                <a:lnTo>
                  <a:pt x="4199" y="531"/>
                </a:lnTo>
                <a:lnTo>
                  <a:pt x="4285" y="547"/>
                </a:lnTo>
                <a:lnTo>
                  <a:pt x="4362" y="562"/>
                </a:lnTo>
                <a:lnTo>
                  <a:pt x="4441" y="594"/>
                </a:lnTo>
                <a:lnTo>
                  <a:pt x="4519" y="633"/>
                </a:lnTo>
                <a:lnTo>
                  <a:pt x="4581" y="672"/>
                </a:lnTo>
                <a:lnTo>
                  <a:pt x="4644" y="718"/>
                </a:lnTo>
                <a:lnTo>
                  <a:pt x="4707" y="773"/>
                </a:lnTo>
                <a:lnTo>
                  <a:pt x="4753" y="835"/>
                </a:lnTo>
                <a:lnTo>
                  <a:pt x="4799" y="898"/>
                </a:lnTo>
                <a:lnTo>
                  <a:pt x="4839" y="960"/>
                </a:lnTo>
                <a:lnTo>
                  <a:pt x="4870" y="1031"/>
                </a:lnTo>
                <a:lnTo>
                  <a:pt x="4901" y="1101"/>
                </a:lnTo>
                <a:lnTo>
                  <a:pt x="4917" y="1171"/>
                </a:lnTo>
                <a:lnTo>
                  <a:pt x="4932" y="1249"/>
                </a:lnTo>
                <a:lnTo>
                  <a:pt x="4932" y="1319"/>
                </a:lnTo>
                <a:lnTo>
                  <a:pt x="4932" y="1319"/>
                </a:lnTo>
                <a:lnTo>
                  <a:pt x="4932" y="1405"/>
                </a:lnTo>
                <a:lnTo>
                  <a:pt x="4917" y="1483"/>
                </a:lnTo>
                <a:lnTo>
                  <a:pt x="4901" y="1561"/>
                </a:lnTo>
                <a:lnTo>
                  <a:pt x="4870" y="1639"/>
                </a:lnTo>
                <a:lnTo>
                  <a:pt x="4839" y="1709"/>
                </a:lnTo>
                <a:lnTo>
                  <a:pt x="4799" y="1772"/>
                </a:lnTo>
                <a:lnTo>
                  <a:pt x="4753" y="1834"/>
                </a:lnTo>
                <a:lnTo>
                  <a:pt x="4707" y="1889"/>
                </a:lnTo>
                <a:lnTo>
                  <a:pt x="4644" y="1944"/>
                </a:lnTo>
                <a:lnTo>
                  <a:pt x="4581" y="1982"/>
                </a:lnTo>
                <a:lnTo>
                  <a:pt x="4519" y="2021"/>
                </a:lnTo>
                <a:lnTo>
                  <a:pt x="4441" y="2052"/>
                </a:lnTo>
                <a:lnTo>
                  <a:pt x="4362" y="2076"/>
                </a:lnTo>
                <a:lnTo>
                  <a:pt x="4285" y="2099"/>
                </a:lnTo>
                <a:lnTo>
                  <a:pt x="4199" y="2107"/>
                </a:lnTo>
                <a:lnTo>
                  <a:pt x="4113" y="2115"/>
                </a:lnTo>
                <a:lnTo>
                  <a:pt x="4113" y="2115"/>
                </a:lnTo>
                <a:lnTo>
                  <a:pt x="4035" y="2107"/>
                </a:lnTo>
                <a:lnTo>
                  <a:pt x="3957" y="2099"/>
                </a:lnTo>
                <a:lnTo>
                  <a:pt x="3887" y="2076"/>
                </a:lnTo>
                <a:lnTo>
                  <a:pt x="3809" y="2052"/>
                </a:lnTo>
                <a:lnTo>
                  <a:pt x="3739" y="2021"/>
                </a:lnTo>
                <a:lnTo>
                  <a:pt x="3668" y="1982"/>
                </a:lnTo>
                <a:lnTo>
                  <a:pt x="3606" y="1944"/>
                </a:lnTo>
                <a:lnTo>
                  <a:pt x="3543" y="1889"/>
                </a:lnTo>
                <a:lnTo>
                  <a:pt x="3489" y="1834"/>
                </a:lnTo>
                <a:lnTo>
                  <a:pt x="3442" y="1772"/>
                </a:lnTo>
                <a:lnTo>
                  <a:pt x="3395" y="1709"/>
                </a:lnTo>
                <a:lnTo>
                  <a:pt x="3364" y="1639"/>
                </a:lnTo>
                <a:lnTo>
                  <a:pt x="3333" y="1561"/>
                </a:lnTo>
                <a:lnTo>
                  <a:pt x="3309" y="1483"/>
                </a:lnTo>
                <a:lnTo>
                  <a:pt x="3294" y="1405"/>
                </a:lnTo>
                <a:lnTo>
                  <a:pt x="3294" y="1319"/>
                </a:lnTo>
                <a:lnTo>
                  <a:pt x="3294" y="1319"/>
                </a:lnTo>
                <a:lnTo>
                  <a:pt x="3294" y="1249"/>
                </a:lnTo>
                <a:lnTo>
                  <a:pt x="3309" y="1171"/>
                </a:lnTo>
                <a:lnTo>
                  <a:pt x="3333" y="1101"/>
                </a:lnTo>
                <a:lnTo>
                  <a:pt x="3364" y="1031"/>
                </a:lnTo>
                <a:lnTo>
                  <a:pt x="3395" y="960"/>
                </a:lnTo>
                <a:lnTo>
                  <a:pt x="3442" y="898"/>
                </a:lnTo>
                <a:lnTo>
                  <a:pt x="3489" y="835"/>
                </a:lnTo>
                <a:lnTo>
                  <a:pt x="3543" y="773"/>
                </a:lnTo>
                <a:lnTo>
                  <a:pt x="3606" y="718"/>
                </a:lnTo>
                <a:lnTo>
                  <a:pt x="3668" y="672"/>
                </a:lnTo>
                <a:lnTo>
                  <a:pt x="3739" y="633"/>
                </a:lnTo>
                <a:lnTo>
                  <a:pt x="3809" y="594"/>
                </a:lnTo>
                <a:lnTo>
                  <a:pt x="3887" y="562"/>
                </a:lnTo>
                <a:lnTo>
                  <a:pt x="3957" y="547"/>
                </a:lnTo>
                <a:lnTo>
                  <a:pt x="4035" y="531"/>
                </a:lnTo>
                <a:lnTo>
                  <a:pt x="4113" y="523"/>
                </a:lnTo>
                <a:close/>
                <a:moveTo>
                  <a:pt x="6852" y="6876"/>
                </a:moveTo>
                <a:lnTo>
                  <a:pt x="6852" y="6876"/>
                </a:lnTo>
                <a:lnTo>
                  <a:pt x="6774" y="6868"/>
                </a:lnTo>
                <a:lnTo>
                  <a:pt x="6696" y="6860"/>
                </a:lnTo>
                <a:lnTo>
                  <a:pt x="6626" y="6837"/>
                </a:lnTo>
                <a:lnTo>
                  <a:pt x="6548" y="6813"/>
                </a:lnTo>
                <a:lnTo>
                  <a:pt x="6477" y="6782"/>
                </a:lnTo>
                <a:lnTo>
                  <a:pt x="6407" y="6743"/>
                </a:lnTo>
                <a:lnTo>
                  <a:pt x="6345" y="6704"/>
                </a:lnTo>
                <a:lnTo>
                  <a:pt x="6283" y="6649"/>
                </a:lnTo>
                <a:lnTo>
                  <a:pt x="6228" y="6594"/>
                </a:lnTo>
                <a:lnTo>
                  <a:pt x="6181" y="6532"/>
                </a:lnTo>
                <a:lnTo>
                  <a:pt x="6134" y="6470"/>
                </a:lnTo>
                <a:lnTo>
                  <a:pt x="6103" y="6400"/>
                </a:lnTo>
                <a:lnTo>
                  <a:pt x="6072" y="6322"/>
                </a:lnTo>
                <a:lnTo>
                  <a:pt x="6048" y="6243"/>
                </a:lnTo>
                <a:lnTo>
                  <a:pt x="6033" y="6165"/>
                </a:lnTo>
                <a:lnTo>
                  <a:pt x="6033" y="6079"/>
                </a:lnTo>
                <a:lnTo>
                  <a:pt x="6033" y="6079"/>
                </a:lnTo>
                <a:lnTo>
                  <a:pt x="6033" y="6010"/>
                </a:lnTo>
                <a:lnTo>
                  <a:pt x="6048" y="5931"/>
                </a:lnTo>
                <a:lnTo>
                  <a:pt x="6072" y="5861"/>
                </a:lnTo>
                <a:lnTo>
                  <a:pt x="6103" y="5791"/>
                </a:lnTo>
                <a:lnTo>
                  <a:pt x="6134" y="5720"/>
                </a:lnTo>
                <a:lnTo>
                  <a:pt x="6181" y="5658"/>
                </a:lnTo>
                <a:lnTo>
                  <a:pt x="6228" y="5596"/>
                </a:lnTo>
                <a:lnTo>
                  <a:pt x="6283" y="5533"/>
                </a:lnTo>
                <a:lnTo>
                  <a:pt x="6345" y="5479"/>
                </a:lnTo>
                <a:lnTo>
                  <a:pt x="6407" y="5432"/>
                </a:lnTo>
                <a:lnTo>
                  <a:pt x="6477" y="5393"/>
                </a:lnTo>
                <a:lnTo>
                  <a:pt x="6548" y="5353"/>
                </a:lnTo>
                <a:lnTo>
                  <a:pt x="6626" y="5322"/>
                </a:lnTo>
                <a:lnTo>
                  <a:pt x="6696" y="5307"/>
                </a:lnTo>
                <a:lnTo>
                  <a:pt x="6774" y="5291"/>
                </a:lnTo>
                <a:lnTo>
                  <a:pt x="6852" y="5283"/>
                </a:lnTo>
                <a:lnTo>
                  <a:pt x="6852" y="5283"/>
                </a:lnTo>
                <a:lnTo>
                  <a:pt x="6938" y="5291"/>
                </a:lnTo>
                <a:lnTo>
                  <a:pt x="7024" y="5307"/>
                </a:lnTo>
                <a:lnTo>
                  <a:pt x="7102" y="5322"/>
                </a:lnTo>
                <a:lnTo>
                  <a:pt x="7180" y="5353"/>
                </a:lnTo>
                <a:lnTo>
                  <a:pt x="7258" y="5393"/>
                </a:lnTo>
                <a:lnTo>
                  <a:pt x="7320" y="5432"/>
                </a:lnTo>
                <a:lnTo>
                  <a:pt x="7383" y="5479"/>
                </a:lnTo>
                <a:lnTo>
                  <a:pt x="7446" y="5533"/>
                </a:lnTo>
                <a:lnTo>
                  <a:pt x="7492" y="5596"/>
                </a:lnTo>
                <a:lnTo>
                  <a:pt x="7539" y="5658"/>
                </a:lnTo>
                <a:lnTo>
                  <a:pt x="7579" y="5720"/>
                </a:lnTo>
                <a:lnTo>
                  <a:pt x="7609" y="5791"/>
                </a:lnTo>
                <a:lnTo>
                  <a:pt x="7640" y="5861"/>
                </a:lnTo>
                <a:lnTo>
                  <a:pt x="7656" y="5931"/>
                </a:lnTo>
                <a:lnTo>
                  <a:pt x="7671" y="6010"/>
                </a:lnTo>
                <a:lnTo>
                  <a:pt x="7671" y="6079"/>
                </a:lnTo>
                <a:lnTo>
                  <a:pt x="7671" y="6079"/>
                </a:lnTo>
                <a:lnTo>
                  <a:pt x="7671" y="6165"/>
                </a:lnTo>
                <a:lnTo>
                  <a:pt x="7656" y="6243"/>
                </a:lnTo>
                <a:lnTo>
                  <a:pt x="7640" y="6322"/>
                </a:lnTo>
                <a:lnTo>
                  <a:pt x="7609" y="6400"/>
                </a:lnTo>
                <a:lnTo>
                  <a:pt x="7579" y="6470"/>
                </a:lnTo>
                <a:lnTo>
                  <a:pt x="7539" y="6532"/>
                </a:lnTo>
                <a:lnTo>
                  <a:pt x="7492" y="6594"/>
                </a:lnTo>
                <a:lnTo>
                  <a:pt x="7446" y="6649"/>
                </a:lnTo>
                <a:lnTo>
                  <a:pt x="7383" y="6704"/>
                </a:lnTo>
                <a:lnTo>
                  <a:pt x="7320" y="6743"/>
                </a:lnTo>
                <a:lnTo>
                  <a:pt x="7258" y="6782"/>
                </a:lnTo>
                <a:lnTo>
                  <a:pt x="7180" y="6813"/>
                </a:lnTo>
                <a:lnTo>
                  <a:pt x="7102" y="6837"/>
                </a:lnTo>
                <a:lnTo>
                  <a:pt x="7024" y="6860"/>
                </a:lnTo>
                <a:lnTo>
                  <a:pt x="6938" y="6868"/>
                </a:lnTo>
                <a:lnTo>
                  <a:pt x="6852" y="6876"/>
                </a:lnTo>
                <a:close/>
                <a:moveTo>
                  <a:pt x="0" y="6079"/>
                </a:moveTo>
                <a:lnTo>
                  <a:pt x="0" y="6079"/>
                </a:lnTo>
                <a:lnTo>
                  <a:pt x="8" y="6228"/>
                </a:lnTo>
                <a:lnTo>
                  <a:pt x="32" y="6368"/>
                </a:lnTo>
                <a:lnTo>
                  <a:pt x="63" y="6493"/>
                </a:lnTo>
                <a:lnTo>
                  <a:pt x="110" y="6618"/>
                </a:lnTo>
                <a:lnTo>
                  <a:pt x="172" y="6735"/>
                </a:lnTo>
                <a:lnTo>
                  <a:pt x="235" y="6845"/>
                </a:lnTo>
                <a:lnTo>
                  <a:pt x="320" y="6945"/>
                </a:lnTo>
                <a:lnTo>
                  <a:pt x="406" y="7039"/>
                </a:lnTo>
                <a:lnTo>
                  <a:pt x="500" y="7117"/>
                </a:lnTo>
                <a:lnTo>
                  <a:pt x="609" y="7196"/>
                </a:lnTo>
                <a:lnTo>
                  <a:pt x="718" y="7258"/>
                </a:lnTo>
                <a:lnTo>
                  <a:pt x="843" y="7305"/>
                </a:lnTo>
                <a:lnTo>
                  <a:pt x="968" y="7351"/>
                </a:lnTo>
                <a:lnTo>
                  <a:pt x="1100" y="7375"/>
                </a:lnTo>
                <a:lnTo>
                  <a:pt x="1233" y="7398"/>
                </a:lnTo>
                <a:lnTo>
                  <a:pt x="1374" y="7406"/>
                </a:lnTo>
                <a:lnTo>
                  <a:pt x="1374" y="7406"/>
                </a:lnTo>
                <a:lnTo>
                  <a:pt x="1569" y="7398"/>
                </a:lnTo>
                <a:lnTo>
                  <a:pt x="1655" y="7398"/>
                </a:lnTo>
                <a:lnTo>
                  <a:pt x="1733" y="7382"/>
                </a:lnTo>
                <a:lnTo>
                  <a:pt x="1803" y="7367"/>
                </a:lnTo>
                <a:lnTo>
                  <a:pt x="1873" y="7343"/>
                </a:lnTo>
                <a:lnTo>
                  <a:pt x="1935" y="7312"/>
                </a:lnTo>
                <a:lnTo>
                  <a:pt x="1990" y="7274"/>
                </a:lnTo>
                <a:lnTo>
                  <a:pt x="1990" y="7274"/>
                </a:lnTo>
                <a:lnTo>
                  <a:pt x="2107" y="7351"/>
                </a:lnTo>
                <a:lnTo>
                  <a:pt x="2225" y="7429"/>
                </a:lnTo>
                <a:lnTo>
                  <a:pt x="2349" y="7500"/>
                </a:lnTo>
                <a:lnTo>
                  <a:pt x="2474" y="7570"/>
                </a:lnTo>
                <a:lnTo>
                  <a:pt x="2599" y="7625"/>
                </a:lnTo>
                <a:lnTo>
                  <a:pt x="2731" y="7680"/>
                </a:lnTo>
                <a:lnTo>
                  <a:pt x="2864" y="7734"/>
                </a:lnTo>
                <a:lnTo>
                  <a:pt x="2997" y="7773"/>
                </a:lnTo>
                <a:lnTo>
                  <a:pt x="3137" y="7812"/>
                </a:lnTo>
                <a:lnTo>
                  <a:pt x="3270" y="7843"/>
                </a:lnTo>
                <a:lnTo>
                  <a:pt x="3411" y="7874"/>
                </a:lnTo>
                <a:lnTo>
                  <a:pt x="3551" y="7890"/>
                </a:lnTo>
                <a:lnTo>
                  <a:pt x="3692" y="7913"/>
                </a:lnTo>
                <a:lnTo>
                  <a:pt x="3832" y="7921"/>
                </a:lnTo>
                <a:lnTo>
                  <a:pt x="3972" y="7929"/>
                </a:lnTo>
                <a:lnTo>
                  <a:pt x="4113" y="7929"/>
                </a:lnTo>
                <a:lnTo>
                  <a:pt x="4113" y="7929"/>
                </a:lnTo>
                <a:lnTo>
                  <a:pt x="4269" y="7929"/>
                </a:lnTo>
                <a:lnTo>
                  <a:pt x="4417" y="7921"/>
                </a:lnTo>
                <a:lnTo>
                  <a:pt x="4566" y="7913"/>
                </a:lnTo>
                <a:lnTo>
                  <a:pt x="4714" y="7890"/>
                </a:lnTo>
                <a:lnTo>
                  <a:pt x="4854" y="7874"/>
                </a:lnTo>
                <a:lnTo>
                  <a:pt x="5003" y="7843"/>
                </a:lnTo>
                <a:lnTo>
                  <a:pt x="5143" y="7812"/>
                </a:lnTo>
                <a:lnTo>
                  <a:pt x="5276" y="7773"/>
                </a:lnTo>
                <a:lnTo>
                  <a:pt x="5409" y="7734"/>
                </a:lnTo>
                <a:lnTo>
                  <a:pt x="5542" y="7680"/>
                </a:lnTo>
                <a:lnTo>
                  <a:pt x="5666" y="7625"/>
                </a:lnTo>
                <a:lnTo>
                  <a:pt x="5791" y="7570"/>
                </a:lnTo>
                <a:lnTo>
                  <a:pt x="5908" y="7500"/>
                </a:lnTo>
                <a:lnTo>
                  <a:pt x="6017" y="7429"/>
                </a:lnTo>
                <a:lnTo>
                  <a:pt x="6126" y="7351"/>
                </a:lnTo>
                <a:lnTo>
                  <a:pt x="6236" y="7274"/>
                </a:lnTo>
                <a:lnTo>
                  <a:pt x="6236" y="7274"/>
                </a:lnTo>
                <a:lnTo>
                  <a:pt x="6314" y="7312"/>
                </a:lnTo>
                <a:lnTo>
                  <a:pt x="6392" y="7343"/>
                </a:lnTo>
                <a:lnTo>
                  <a:pt x="6470" y="7367"/>
                </a:lnTo>
                <a:lnTo>
                  <a:pt x="6540" y="7382"/>
                </a:lnTo>
                <a:lnTo>
                  <a:pt x="6618" y="7398"/>
                </a:lnTo>
                <a:lnTo>
                  <a:pt x="6696" y="7398"/>
                </a:lnTo>
                <a:lnTo>
                  <a:pt x="6852" y="7406"/>
                </a:lnTo>
                <a:lnTo>
                  <a:pt x="6852" y="7406"/>
                </a:lnTo>
                <a:lnTo>
                  <a:pt x="6993" y="7398"/>
                </a:lnTo>
                <a:lnTo>
                  <a:pt x="7126" y="7375"/>
                </a:lnTo>
                <a:lnTo>
                  <a:pt x="7258" y="7351"/>
                </a:lnTo>
                <a:lnTo>
                  <a:pt x="7383" y="7305"/>
                </a:lnTo>
                <a:lnTo>
                  <a:pt x="7500" y="7258"/>
                </a:lnTo>
                <a:lnTo>
                  <a:pt x="7617" y="7196"/>
                </a:lnTo>
                <a:lnTo>
                  <a:pt x="7718" y="7117"/>
                </a:lnTo>
                <a:lnTo>
                  <a:pt x="7820" y="7039"/>
                </a:lnTo>
                <a:lnTo>
                  <a:pt x="7906" y="6945"/>
                </a:lnTo>
                <a:lnTo>
                  <a:pt x="7984" y="6845"/>
                </a:lnTo>
                <a:lnTo>
                  <a:pt x="8054" y="6735"/>
                </a:lnTo>
                <a:lnTo>
                  <a:pt x="8116" y="6618"/>
                </a:lnTo>
                <a:lnTo>
                  <a:pt x="8155" y="6493"/>
                </a:lnTo>
                <a:lnTo>
                  <a:pt x="8195" y="6368"/>
                </a:lnTo>
                <a:lnTo>
                  <a:pt x="8210" y="6228"/>
                </a:lnTo>
                <a:lnTo>
                  <a:pt x="8218" y="6079"/>
                </a:lnTo>
                <a:lnTo>
                  <a:pt x="8218" y="6079"/>
                </a:lnTo>
                <a:lnTo>
                  <a:pt x="8218" y="6010"/>
                </a:lnTo>
                <a:lnTo>
                  <a:pt x="8210" y="5931"/>
                </a:lnTo>
                <a:lnTo>
                  <a:pt x="8187" y="5783"/>
                </a:lnTo>
                <a:lnTo>
                  <a:pt x="8140" y="5643"/>
                </a:lnTo>
                <a:lnTo>
                  <a:pt x="8077" y="5502"/>
                </a:lnTo>
                <a:lnTo>
                  <a:pt x="8000" y="5369"/>
                </a:lnTo>
                <a:lnTo>
                  <a:pt x="7906" y="5245"/>
                </a:lnTo>
                <a:lnTo>
                  <a:pt x="7797" y="5128"/>
                </a:lnTo>
                <a:lnTo>
                  <a:pt x="7671" y="5018"/>
                </a:lnTo>
                <a:lnTo>
                  <a:pt x="7671" y="5018"/>
                </a:lnTo>
                <a:lnTo>
                  <a:pt x="7671" y="4495"/>
                </a:lnTo>
                <a:lnTo>
                  <a:pt x="7671" y="4495"/>
                </a:lnTo>
                <a:lnTo>
                  <a:pt x="7671" y="4363"/>
                </a:lnTo>
                <a:lnTo>
                  <a:pt x="7664" y="4238"/>
                </a:lnTo>
                <a:lnTo>
                  <a:pt x="7648" y="4105"/>
                </a:lnTo>
                <a:lnTo>
                  <a:pt x="7632" y="3981"/>
                </a:lnTo>
                <a:lnTo>
                  <a:pt x="7609" y="3856"/>
                </a:lnTo>
                <a:lnTo>
                  <a:pt x="7586" y="3730"/>
                </a:lnTo>
                <a:lnTo>
                  <a:pt x="7547" y="3606"/>
                </a:lnTo>
                <a:lnTo>
                  <a:pt x="7516" y="3489"/>
                </a:lnTo>
                <a:lnTo>
                  <a:pt x="7469" y="3372"/>
                </a:lnTo>
                <a:lnTo>
                  <a:pt x="7430" y="3246"/>
                </a:lnTo>
                <a:lnTo>
                  <a:pt x="7375" y="3138"/>
                </a:lnTo>
                <a:lnTo>
                  <a:pt x="7320" y="3020"/>
                </a:lnTo>
                <a:lnTo>
                  <a:pt x="7266" y="2911"/>
                </a:lnTo>
                <a:lnTo>
                  <a:pt x="7203" y="2802"/>
                </a:lnTo>
                <a:lnTo>
                  <a:pt x="7134" y="2693"/>
                </a:lnTo>
                <a:lnTo>
                  <a:pt x="7063" y="2591"/>
                </a:lnTo>
                <a:lnTo>
                  <a:pt x="6915" y="2396"/>
                </a:lnTo>
                <a:lnTo>
                  <a:pt x="6828" y="2295"/>
                </a:lnTo>
                <a:lnTo>
                  <a:pt x="6743" y="2209"/>
                </a:lnTo>
                <a:lnTo>
                  <a:pt x="6657" y="2115"/>
                </a:lnTo>
                <a:lnTo>
                  <a:pt x="6563" y="2029"/>
                </a:lnTo>
                <a:lnTo>
                  <a:pt x="6470" y="1951"/>
                </a:lnTo>
                <a:lnTo>
                  <a:pt x="6376" y="1874"/>
                </a:lnTo>
                <a:lnTo>
                  <a:pt x="6275" y="1795"/>
                </a:lnTo>
                <a:lnTo>
                  <a:pt x="6166" y="1725"/>
                </a:lnTo>
                <a:lnTo>
                  <a:pt x="6056" y="1655"/>
                </a:lnTo>
                <a:lnTo>
                  <a:pt x="5947" y="1592"/>
                </a:lnTo>
                <a:lnTo>
                  <a:pt x="5838" y="1538"/>
                </a:lnTo>
                <a:lnTo>
                  <a:pt x="5721" y="1483"/>
                </a:lnTo>
                <a:lnTo>
                  <a:pt x="5603" y="1429"/>
                </a:lnTo>
                <a:lnTo>
                  <a:pt x="5479" y="1390"/>
                </a:lnTo>
                <a:lnTo>
                  <a:pt x="5479" y="1390"/>
                </a:lnTo>
                <a:lnTo>
                  <a:pt x="5479" y="1319"/>
                </a:lnTo>
                <a:lnTo>
                  <a:pt x="5479" y="1319"/>
                </a:lnTo>
                <a:lnTo>
                  <a:pt x="5471" y="1186"/>
                </a:lnTo>
                <a:lnTo>
                  <a:pt x="5456" y="1054"/>
                </a:lnTo>
                <a:lnTo>
                  <a:pt x="5416" y="929"/>
                </a:lnTo>
                <a:lnTo>
                  <a:pt x="5377" y="804"/>
                </a:lnTo>
                <a:lnTo>
                  <a:pt x="5315" y="687"/>
                </a:lnTo>
                <a:lnTo>
                  <a:pt x="5244" y="578"/>
                </a:lnTo>
                <a:lnTo>
                  <a:pt x="5166" y="476"/>
                </a:lnTo>
                <a:lnTo>
                  <a:pt x="5081" y="382"/>
                </a:lnTo>
                <a:lnTo>
                  <a:pt x="4979" y="297"/>
                </a:lnTo>
                <a:lnTo>
                  <a:pt x="4878" y="227"/>
                </a:lnTo>
                <a:lnTo>
                  <a:pt x="4760" y="157"/>
                </a:lnTo>
                <a:lnTo>
                  <a:pt x="4644" y="102"/>
                </a:lnTo>
                <a:lnTo>
                  <a:pt x="4519" y="55"/>
                </a:lnTo>
                <a:lnTo>
                  <a:pt x="4386" y="24"/>
                </a:lnTo>
                <a:lnTo>
                  <a:pt x="4254" y="0"/>
                </a:lnTo>
                <a:lnTo>
                  <a:pt x="4113" y="0"/>
                </a:lnTo>
                <a:lnTo>
                  <a:pt x="4113" y="0"/>
                </a:lnTo>
                <a:lnTo>
                  <a:pt x="3972" y="0"/>
                </a:lnTo>
                <a:lnTo>
                  <a:pt x="3840" y="24"/>
                </a:lnTo>
                <a:lnTo>
                  <a:pt x="3707" y="55"/>
                </a:lnTo>
                <a:lnTo>
                  <a:pt x="3582" y="102"/>
                </a:lnTo>
                <a:lnTo>
                  <a:pt x="3458" y="157"/>
                </a:lnTo>
                <a:lnTo>
                  <a:pt x="3348" y="227"/>
                </a:lnTo>
                <a:lnTo>
                  <a:pt x="3239" y="297"/>
                </a:lnTo>
                <a:lnTo>
                  <a:pt x="3145" y="382"/>
                </a:lnTo>
                <a:lnTo>
                  <a:pt x="3060" y="476"/>
                </a:lnTo>
                <a:lnTo>
                  <a:pt x="2974" y="578"/>
                </a:lnTo>
                <a:lnTo>
                  <a:pt x="2911" y="687"/>
                </a:lnTo>
                <a:lnTo>
                  <a:pt x="2849" y="804"/>
                </a:lnTo>
                <a:lnTo>
                  <a:pt x="2802" y="929"/>
                </a:lnTo>
                <a:lnTo>
                  <a:pt x="2770" y="1054"/>
                </a:lnTo>
                <a:lnTo>
                  <a:pt x="2747" y="1186"/>
                </a:lnTo>
                <a:lnTo>
                  <a:pt x="2739" y="1319"/>
                </a:lnTo>
                <a:lnTo>
                  <a:pt x="2739" y="1319"/>
                </a:lnTo>
                <a:lnTo>
                  <a:pt x="2739" y="1390"/>
                </a:lnTo>
                <a:lnTo>
                  <a:pt x="2739" y="1390"/>
                </a:lnTo>
                <a:lnTo>
                  <a:pt x="2623" y="1429"/>
                </a:lnTo>
                <a:lnTo>
                  <a:pt x="2505" y="1483"/>
                </a:lnTo>
                <a:lnTo>
                  <a:pt x="2388" y="1538"/>
                </a:lnTo>
                <a:lnTo>
                  <a:pt x="2272" y="1592"/>
                </a:lnTo>
                <a:lnTo>
                  <a:pt x="2162" y="1655"/>
                </a:lnTo>
                <a:lnTo>
                  <a:pt x="2061" y="1725"/>
                </a:lnTo>
                <a:lnTo>
                  <a:pt x="1951" y="1795"/>
                </a:lnTo>
                <a:lnTo>
                  <a:pt x="1850" y="1874"/>
                </a:lnTo>
                <a:lnTo>
                  <a:pt x="1756" y="1951"/>
                </a:lnTo>
                <a:lnTo>
                  <a:pt x="1655" y="2029"/>
                </a:lnTo>
                <a:lnTo>
                  <a:pt x="1569" y="2115"/>
                </a:lnTo>
                <a:lnTo>
                  <a:pt x="1475" y="2209"/>
                </a:lnTo>
                <a:lnTo>
                  <a:pt x="1390" y="2295"/>
                </a:lnTo>
                <a:lnTo>
                  <a:pt x="1312" y="2396"/>
                </a:lnTo>
                <a:lnTo>
                  <a:pt x="1155" y="2591"/>
                </a:lnTo>
                <a:lnTo>
                  <a:pt x="1085" y="2693"/>
                </a:lnTo>
                <a:lnTo>
                  <a:pt x="1023" y="2802"/>
                </a:lnTo>
                <a:lnTo>
                  <a:pt x="960" y="2911"/>
                </a:lnTo>
                <a:lnTo>
                  <a:pt x="898" y="3020"/>
                </a:lnTo>
                <a:lnTo>
                  <a:pt x="851" y="3138"/>
                </a:lnTo>
                <a:lnTo>
                  <a:pt x="796" y="3246"/>
                </a:lnTo>
                <a:lnTo>
                  <a:pt x="749" y="3372"/>
                </a:lnTo>
                <a:lnTo>
                  <a:pt x="710" y="3489"/>
                </a:lnTo>
                <a:lnTo>
                  <a:pt x="671" y="3606"/>
                </a:lnTo>
                <a:lnTo>
                  <a:pt x="641" y="3730"/>
                </a:lnTo>
                <a:lnTo>
                  <a:pt x="617" y="3856"/>
                </a:lnTo>
                <a:lnTo>
                  <a:pt x="594" y="3981"/>
                </a:lnTo>
                <a:lnTo>
                  <a:pt x="578" y="4105"/>
                </a:lnTo>
                <a:lnTo>
                  <a:pt x="562" y="4238"/>
                </a:lnTo>
                <a:lnTo>
                  <a:pt x="555" y="4363"/>
                </a:lnTo>
                <a:lnTo>
                  <a:pt x="555" y="4495"/>
                </a:lnTo>
                <a:lnTo>
                  <a:pt x="555" y="4495"/>
                </a:lnTo>
                <a:lnTo>
                  <a:pt x="555" y="4565"/>
                </a:lnTo>
                <a:lnTo>
                  <a:pt x="562" y="4644"/>
                </a:lnTo>
                <a:lnTo>
                  <a:pt x="586" y="4784"/>
                </a:lnTo>
                <a:lnTo>
                  <a:pt x="609" y="4909"/>
                </a:lnTo>
                <a:lnTo>
                  <a:pt x="617" y="4971"/>
                </a:lnTo>
                <a:lnTo>
                  <a:pt x="617" y="5018"/>
                </a:lnTo>
                <a:lnTo>
                  <a:pt x="617" y="5018"/>
                </a:lnTo>
                <a:lnTo>
                  <a:pt x="492" y="5128"/>
                </a:lnTo>
                <a:lnTo>
                  <a:pt x="375" y="5245"/>
                </a:lnTo>
                <a:lnTo>
                  <a:pt x="273" y="5369"/>
                </a:lnTo>
                <a:lnTo>
                  <a:pt x="180" y="5502"/>
                </a:lnTo>
                <a:lnTo>
                  <a:pt x="110" y="5643"/>
                </a:lnTo>
                <a:lnTo>
                  <a:pt x="78" y="5712"/>
                </a:lnTo>
                <a:lnTo>
                  <a:pt x="55" y="5783"/>
                </a:lnTo>
                <a:lnTo>
                  <a:pt x="32" y="5861"/>
                </a:lnTo>
                <a:lnTo>
                  <a:pt x="16" y="5931"/>
                </a:lnTo>
                <a:lnTo>
                  <a:pt x="8" y="6010"/>
                </a:lnTo>
                <a:lnTo>
                  <a:pt x="0" y="6079"/>
                </a:lnTo>
                <a:close/>
              </a:path>
            </a:pathLst>
          </a:custGeom>
          <a:solidFill>
            <a:srgbClr val="001F54"/>
          </a:solid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91" name="Group 90"/>
          <p:cNvGrpSpPr/>
          <p:nvPr/>
        </p:nvGrpSpPr>
        <p:grpSpPr>
          <a:xfrm>
            <a:off x="6590463" y="1674585"/>
            <a:ext cx="780098" cy="590486"/>
            <a:chOff x="2524125" y="20638"/>
            <a:chExt cx="4748213" cy="3594100"/>
          </a:xfrm>
          <a:solidFill>
            <a:srgbClr val="001F54"/>
          </a:solidFill>
        </p:grpSpPr>
        <p:sp>
          <p:nvSpPr>
            <p:cNvPr id="97" name="Freeform 10"/>
            <p:cNvSpPr>
              <a:spLocks noChangeArrowheads="1"/>
            </p:cNvSpPr>
            <p:nvPr/>
          </p:nvSpPr>
          <p:spPr bwMode="auto">
            <a:xfrm>
              <a:off x="4729163" y="1338263"/>
              <a:ext cx="1168400" cy="1179512"/>
            </a:xfrm>
            <a:custGeom>
              <a:avLst/>
              <a:gdLst>
                <a:gd name="T0" fmla="*/ 2895 w 3247"/>
                <a:gd name="T1" fmla="*/ 640 h 3278"/>
                <a:gd name="T2" fmla="*/ 2606 w 3247"/>
                <a:gd name="T3" fmla="*/ 351 h 3278"/>
                <a:gd name="T4" fmla="*/ 2326 w 3247"/>
                <a:gd name="T5" fmla="*/ 484 h 3278"/>
                <a:gd name="T6" fmla="*/ 2138 w 3247"/>
                <a:gd name="T7" fmla="*/ 367 h 3278"/>
                <a:gd name="T8" fmla="*/ 1928 w 3247"/>
                <a:gd name="T9" fmla="*/ 296 h 3278"/>
                <a:gd name="T10" fmla="*/ 1857 w 3247"/>
                <a:gd name="T11" fmla="*/ 0 h 3278"/>
                <a:gd name="T12" fmla="*/ 1397 w 3247"/>
                <a:gd name="T13" fmla="*/ 0 h 3278"/>
                <a:gd name="T14" fmla="*/ 1311 w 3247"/>
                <a:gd name="T15" fmla="*/ 296 h 3278"/>
                <a:gd name="T16" fmla="*/ 1085 w 3247"/>
                <a:gd name="T17" fmla="*/ 367 h 3278"/>
                <a:gd name="T18" fmla="*/ 812 w 3247"/>
                <a:gd name="T19" fmla="*/ 523 h 3278"/>
                <a:gd name="T20" fmla="*/ 641 w 3247"/>
                <a:gd name="T21" fmla="*/ 351 h 3278"/>
                <a:gd name="T22" fmla="*/ 469 w 3247"/>
                <a:gd name="T23" fmla="*/ 819 h 3278"/>
                <a:gd name="T24" fmla="*/ 391 w 3247"/>
                <a:gd name="T25" fmla="*/ 960 h 3278"/>
                <a:gd name="T26" fmla="*/ 235 w 3247"/>
                <a:gd name="T27" fmla="*/ 1405 h 3278"/>
                <a:gd name="T28" fmla="*/ 0 w 3247"/>
                <a:gd name="T29" fmla="*/ 1873 h 3278"/>
                <a:gd name="T30" fmla="*/ 235 w 3247"/>
                <a:gd name="T31" fmla="*/ 1873 h 3278"/>
                <a:gd name="T32" fmla="*/ 391 w 3247"/>
                <a:gd name="T33" fmla="*/ 2325 h 3278"/>
                <a:gd name="T34" fmla="*/ 298 w 3247"/>
                <a:gd name="T35" fmla="*/ 2630 h 3278"/>
                <a:gd name="T36" fmla="*/ 641 w 3247"/>
                <a:gd name="T37" fmla="*/ 2981 h 3278"/>
                <a:gd name="T38" fmla="*/ 945 w 3247"/>
                <a:gd name="T39" fmla="*/ 2887 h 3278"/>
                <a:gd name="T40" fmla="*/ 1397 w 3247"/>
                <a:gd name="T41" fmla="*/ 3044 h 3278"/>
                <a:gd name="T42" fmla="*/ 1397 w 3247"/>
                <a:gd name="T43" fmla="*/ 3277 h 3278"/>
                <a:gd name="T44" fmla="*/ 1857 w 3247"/>
                <a:gd name="T45" fmla="*/ 3044 h 3278"/>
                <a:gd name="T46" fmla="*/ 2138 w 3247"/>
                <a:gd name="T47" fmla="*/ 2942 h 3278"/>
                <a:gd name="T48" fmla="*/ 2326 w 3247"/>
                <a:gd name="T49" fmla="*/ 2848 h 3278"/>
                <a:gd name="T50" fmla="*/ 2606 w 3247"/>
                <a:gd name="T51" fmla="*/ 2981 h 3278"/>
                <a:gd name="T52" fmla="*/ 2895 w 3247"/>
                <a:gd name="T53" fmla="*/ 2630 h 3278"/>
                <a:gd name="T54" fmla="*/ 2809 w 3247"/>
                <a:gd name="T55" fmla="*/ 2325 h 3278"/>
                <a:gd name="T56" fmla="*/ 2911 w 3247"/>
                <a:gd name="T57" fmla="*/ 2115 h 3278"/>
                <a:gd name="T58" fmla="*/ 2957 w 3247"/>
                <a:gd name="T59" fmla="*/ 1873 h 3278"/>
                <a:gd name="T60" fmla="*/ 3246 w 3247"/>
                <a:gd name="T61" fmla="*/ 1873 h 3278"/>
                <a:gd name="T62" fmla="*/ 2957 w 3247"/>
                <a:gd name="T63" fmla="*/ 1405 h 3278"/>
                <a:gd name="T64" fmla="*/ 2911 w 3247"/>
                <a:gd name="T65" fmla="*/ 1186 h 3278"/>
                <a:gd name="T66" fmla="*/ 2724 w 3247"/>
                <a:gd name="T67" fmla="*/ 819 h 3278"/>
                <a:gd name="T68" fmla="*/ 1530 w 3247"/>
                <a:gd name="T69" fmla="*/ 2568 h 3278"/>
                <a:gd name="T70" fmla="*/ 1256 w 3247"/>
                <a:gd name="T71" fmla="*/ 2497 h 3278"/>
                <a:gd name="T72" fmla="*/ 1030 w 3247"/>
                <a:gd name="T73" fmla="*/ 2364 h 3278"/>
                <a:gd name="T74" fmla="*/ 851 w 3247"/>
                <a:gd name="T75" fmla="*/ 2162 h 3278"/>
                <a:gd name="T76" fmla="*/ 742 w 3247"/>
                <a:gd name="T77" fmla="*/ 1919 h 3278"/>
                <a:gd name="T78" fmla="*/ 704 w 3247"/>
                <a:gd name="T79" fmla="*/ 1639 h 3278"/>
                <a:gd name="T80" fmla="*/ 719 w 3247"/>
                <a:gd name="T81" fmla="*/ 1444 h 3278"/>
                <a:gd name="T82" fmla="*/ 812 w 3247"/>
                <a:gd name="T83" fmla="*/ 1186 h 3278"/>
                <a:gd name="T84" fmla="*/ 968 w 3247"/>
                <a:gd name="T85" fmla="*/ 968 h 3278"/>
                <a:gd name="T86" fmla="*/ 1178 w 3247"/>
                <a:gd name="T87" fmla="*/ 811 h 3278"/>
                <a:gd name="T88" fmla="*/ 1436 w 3247"/>
                <a:gd name="T89" fmla="*/ 718 h 3278"/>
                <a:gd name="T90" fmla="*/ 1623 w 3247"/>
                <a:gd name="T91" fmla="*/ 702 h 3278"/>
                <a:gd name="T92" fmla="*/ 1881 w 3247"/>
                <a:gd name="T93" fmla="*/ 741 h 3278"/>
                <a:gd name="T94" fmla="*/ 2122 w 3247"/>
                <a:gd name="T95" fmla="*/ 858 h 3278"/>
                <a:gd name="T96" fmla="*/ 2326 w 3247"/>
                <a:gd name="T97" fmla="*/ 1038 h 3278"/>
                <a:gd name="T98" fmla="*/ 2473 w 3247"/>
                <a:gd name="T99" fmla="*/ 1272 h 3278"/>
                <a:gd name="T100" fmla="*/ 2544 w 3247"/>
                <a:gd name="T101" fmla="*/ 1537 h 3278"/>
                <a:gd name="T102" fmla="*/ 2544 w 3247"/>
                <a:gd name="T103" fmla="*/ 1733 h 3278"/>
                <a:gd name="T104" fmla="*/ 2473 w 3247"/>
                <a:gd name="T105" fmla="*/ 2005 h 3278"/>
                <a:gd name="T106" fmla="*/ 2326 w 3247"/>
                <a:gd name="T107" fmla="*/ 2240 h 3278"/>
                <a:gd name="T108" fmla="*/ 2122 w 3247"/>
                <a:gd name="T109" fmla="*/ 2419 h 3278"/>
                <a:gd name="T110" fmla="*/ 1881 w 3247"/>
                <a:gd name="T111" fmla="*/ 2528 h 3278"/>
                <a:gd name="T112" fmla="*/ 1623 w 3247"/>
                <a:gd name="T113" fmla="*/ 2575 h 3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47" h="3278">
                  <a:moveTo>
                    <a:pt x="2724" y="819"/>
                  </a:moveTo>
                  <a:lnTo>
                    <a:pt x="2724" y="819"/>
                  </a:lnTo>
                  <a:lnTo>
                    <a:pt x="2895" y="640"/>
                  </a:lnTo>
                  <a:lnTo>
                    <a:pt x="2895" y="640"/>
                  </a:lnTo>
                  <a:lnTo>
                    <a:pt x="2606" y="351"/>
                  </a:lnTo>
                  <a:lnTo>
                    <a:pt x="2606" y="351"/>
                  </a:lnTo>
                  <a:lnTo>
                    <a:pt x="2380" y="523"/>
                  </a:lnTo>
                  <a:lnTo>
                    <a:pt x="2380" y="523"/>
                  </a:lnTo>
                  <a:lnTo>
                    <a:pt x="2326" y="484"/>
                  </a:lnTo>
                  <a:lnTo>
                    <a:pt x="2271" y="437"/>
                  </a:lnTo>
                  <a:lnTo>
                    <a:pt x="2208" y="398"/>
                  </a:lnTo>
                  <a:lnTo>
                    <a:pt x="2138" y="367"/>
                  </a:lnTo>
                  <a:lnTo>
                    <a:pt x="2068" y="335"/>
                  </a:lnTo>
                  <a:lnTo>
                    <a:pt x="1997" y="312"/>
                  </a:lnTo>
                  <a:lnTo>
                    <a:pt x="1928" y="296"/>
                  </a:lnTo>
                  <a:lnTo>
                    <a:pt x="1857" y="288"/>
                  </a:lnTo>
                  <a:lnTo>
                    <a:pt x="1857" y="288"/>
                  </a:lnTo>
                  <a:lnTo>
                    <a:pt x="1857" y="0"/>
                  </a:lnTo>
                  <a:lnTo>
                    <a:pt x="1857" y="0"/>
                  </a:lnTo>
                  <a:lnTo>
                    <a:pt x="1397" y="0"/>
                  </a:lnTo>
                  <a:lnTo>
                    <a:pt x="1397" y="0"/>
                  </a:lnTo>
                  <a:lnTo>
                    <a:pt x="1397" y="288"/>
                  </a:lnTo>
                  <a:lnTo>
                    <a:pt x="1397" y="288"/>
                  </a:lnTo>
                  <a:lnTo>
                    <a:pt x="1311" y="296"/>
                  </a:lnTo>
                  <a:lnTo>
                    <a:pt x="1233" y="312"/>
                  </a:lnTo>
                  <a:lnTo>
                    <a:pt x="1155" y="335"/>
                  </a:lnTo>
                  <a:lnTo>
                    <a:pt x="1085" y="367"/>
                  </a:lnTo>
                  <a:lnTo>
                    <a:pt x="1014" y="398"/>
                  </a:lnTo>
                  <a:lnTo>
                    <a:pt x="945" y="437"/>
                  </a:lnTo>
                  <a:lnTo>
                    <a:pt x="812" y="523"/>
                  </a:lnTo>
                  <a:lnTo>
                    <a:pt x="812" y="523"/>
                  </a:lnTo>
                  <a:lnTo>
                    <a:pt x="641" y="351"/>
                  </a:lnTo>
                  <a:lnTo>
                    <a:pt x="641" y="351"/>
                  </a:lnTo>
                  <a:lnTo>
                    <a:pt x="298" y="640"/>
                  </a:lnTo>
                  <a:lnTo>
                    <a:pt x="298" y="640"/>
                  </a:lnTo>
                  <a:lnTo>
                    <a:pt x="469" y="819"/>
                  </a:lnTo>
                  <a:lnTo>
                    <a:pt x="469" y="819"/>
                  </a:lnTo>
                  <a:lnTo>
                    <a:pt x="430" y="890"/>
                  </a:lnTo>
                  <a:lnTo>
                    <a:pt x="391" y="960"/>
                  </a:lnTo>
                  <a:lnTo>
                    <a:pt x="329" y="1108"/>
                  </a:lnTo>
                  <a:lnTo>
                    <a:pt x="235" y="1405"/>
                  </a:lnTo>
                  <a:lnTo>
                    <a:pt x="235" y="1405"/>
                  </a:lnTo>
                  <a:lnTo>
                    <a:pt x="0" y="1405"/>
                  </a:lnTo>
                  <a:lnTo>
                    <a:pt x="0" y="1405"/>
                  </a:lnTo>
                  <a:lnTo>
                    <a:pt x="0" y="1873"/>
                  </a:lnTo>
                  <a:lnTo>
                    <a:pt x="0" y="1873"/>
                  </a:lnTo>
                  <a:lnTo>
                    <a:pt x="235" y="1873"/>
                  </a:lnTo>
                  <a:lnTo>
                    <a:pt x="235" y="1873"/>
                  </a:lnTo>
                  <a:lnTo>
                    <a:pt x="282" y="2037"/>
                  </a:lnTo>
                  <a:lnTo>
                    <a:pt x="329" y="2185"/>
                  </a:lnTo>
                  <a:lnTo>
                    <a:pt x="391" y="2325"/>
                  </a:lnTo>
                  <a:lnTo>
                    <a:pt x="469" y="2458"/>
                  </a:lnTo>
                  <a:lnTo>
                    <a:pt x="469" y="2458"/>
                  </a:lnTo>
                  <a:lnTo>
                    <a:pt x="298" y="2630"/>
                  </a:lnTo>
                  <a:lnTo>
                    <a:pt x="298" y="2630"/>
                  </a:lnTo>
                  <a:lnTo>
                    <a:pt x="641" y="2981"/>
                  </a:lnTo>
                  <a:lnTo>
                    <a:pt x="641" y="2981"/>
                  </a:lnTo>
                  <a:lnTo>
                    <a:pt x="812" y="2809"/>
                  </a:lnTo>
                  <a:lnTo>
                    <a:pt x="812" y="2809"/>
                  </a:lnTo>
                  <a:lnTo>
                    <a:pt x="945" y="2887"/>
                  </a:lnTo>
                  <a:lnTo>
                    <a:pt x="1085" y="2942"/>
                  </a:lnTo>
                  <a:lnTo>
                    <a:pt x="1233" y="2997"/>
                  </a:lnTo>
                  <a:lnTo>
                    <a:pt x="1397" y="3044"/>
                  </a:lnTo>
                  <a:lnTo>
                    <a:pt x="1397" y="3044"/>
                  </a:lnTo>
                  <a:lnTo>
                    <a:pt x="1397" y="3277"/>
                  </a:lnTo>
                  <a:lnTo>
                    <a:pt x="1397" y="3277"/>
                  </a:lnTo>
                  <a:lnTo>
                    <a:pt x="1857" y="3277"/>
                  </a:lnTo>
                  <a:lnTo>
                    <a:pt x="1857" y="3277"/>
                  </a:lnTo>
                  <a:lnTo>
                    <a:pt x="1857" y="3044"/>
                  </a:lnTo>
                  <a:lnTo>
                    <a:pt x="1857" y="3044"/>
                  </a:lnTo>
                  <a:lnTo>
                    <a:pt x="1997" y="2997"/>
                  </a:lnTo>
                  <a:lnTo>
                    <a:pt x="2138" y="2942"/>
                  </a:lnTo>
                  <a:lnTo>
                    <a:pt x="2208" y="2919"/>
                  </a:lnTo>
                  <a:lnTo>
                    <a:pt x="2271" y="2887"/>
                  </a:lnTo>
                  <a:lnTo>
                    <a:pt x="2326" y="2848"/>
                  </a:lnTo>
                  <a:lnTo>
                    <a:pt x="2380" y="2809"/>
                  </a:lnTo>
                  <a:lnTo>
                    <a:pt x="2380" y="2809"/>
                  </a:lnTo>
                  <a:lnTo>
                    <a:pt x="2606" y="2981"/>
                  </a:lnTo>
                  <a:lnTo>
                    <a:pt x="2606" y="2981"/>
                  </a:lnTo>
                  <a:lnTo>
                    <a:pt x="2895" y="2630"/>
                  </a:lnTo>
                  <a:lnTo>
                    <a:pt x="2895" y="2630"/>
                  </a:lnTo>
                  <a:lnTo>
                    <a:pt x="2724" y="2458"/>
                  </a:lnTo>
                  <a:lnTo>
                    <a:pt x="2724" y="2458"/>
                  </a:lnTo>
                  <a:lnTo>
                    <a:pt x="2809" y="2325"/>
                  </a:lnTo>
                  <a:lnTo>
                    <a:pt x="2848" y="2256"/>
                  </a:lnTo>
                  <a:lnTo>
                    <a:pt x="2887" y="2185"/>
                  </a:lnTo>
                  <a:lnTo>
                    <a:pt x="2911" y="2115"/>
                  </a:lnTo>
                  <a:lnTo>
                    <a:pt x="2934" y="2037"/>
                  </a:lnTo>
                  <a:lnTo>
                    <a:pt x="2950" y="1958"/>
                  </a:lnTo>
                  <a:lnTo>
                    <a:pt x="2957" y="1873"/>
                  </a:lnTo>
                  <a:lnTo>
                    <a:pt x="2957" y="1873"/>
                  </a:lnTo>
                  <a:lnTo>
                    <a:pt x="3246" y="1873"/>
                  </a:lnTo>
                  <a:lnTo>
                    <a:pt x="3246" y="1873"/>
                  </a:lnTo>
                  <a:lnTo>
                    <a:pt x="3246" y="1405"/>
                  </a:lnTo>
                  <a:lnTo>
                    <a:pt x="2957" y="1405"/>
                  </a:lnTo>
                  <a:lnTo>
                    <a:pt x="2957" y="1405"/>
                  </a:lnTo>
                  <a:lnTo>
                    <a:pt x="2950" y="1335"/>
                  </a:lnTo>
                  <a:lnTo>
                    <a:pt x="2934" y="1264"/>
                  </a:lnTo>
                  <a:lnTo>
                    <a:pt x="2911" y="1186"/>
                  </a:lnTo>
                  <a:lnTo>
                    <a:pt x="2887" y="1108"/>
                  </a:lnTo>
                  <a:lnTo>
                    <a:pt x="2809" y="960"/>
                  </a:lnTo>
                  <a:lnTo>
                    <a:pt x="2724" y="819"/>
                  </a:lnTo>
                  <a:close/>
                  <a:moveTo>
                    <a:pt x="1623" y="2575"/>
                  </a:moveTo>
                  <a:lnTo>
                    <a:pt x="1623" y="2575"/>
                  </a:lnTo>
                  <a:lnTo>
                    <a:pt x="1530" y="2568"/>
                  </a:lnTo>
                  <a:lnTo>
                    <a:pt x="1436" y="2552"/>
                  </a:lnTo>
                  <a:lnTo>
                    <a:pt x="1342" y="2528"/>
                  </a:lnTo>
                  <a:lnTo>
                    <a:pt x="1256" y="2497"/>
                  </a:lnTo>
                  <a:lnTo>
                    <a:pt x="1178" y="2458"/>
                  </a:lnTo>
                  <a:lnTo>
                    <a:pt x="1101" y="2419"/>
                  </a:lnTo>
                  <a:lnTo>
                    <a:pt x="1030" y="2364"/>
                  </a:lnTo>
                  <a:lnTo>
                    <a:pt x="968" y="2302"/>
                  </a:lnTo>
                  <a:lnTo>
                    <a:pt x="906" y="2240"/>
                  </a:lnTo>
                  <a:lnTo>
                    <a:pt x="851" y="2162"/>
                  </a:lnTo>
                  <a:lnTo>
                    <a:pt x="812" y="2084"/>
                  </a:lnTo>
                  <a:lnTo>
                    <a:pt x="773" y="2005"/>
                  </a:lnTo>
                  <a:lnTo>
                    <a:pt x="742" y="1919"/>
                  </a:lnTo>
                  <a:lnTo>
                    <a:pt x="719" y="1826"/>
                  </a:lnTo>
                  <a:lnTo>
                    <a:pt x="704" y="1733"/>
                  </a:lnTo>
                  <a:lnTo>
                    <a:pt x="704" y="1639"/>
                  </a:lnTo>
                  <a:lnTo>
                    <a:pt x="704" y="1639"/>
                  </a:lnTo>
                  <a:lnTo>
                    <a:pt x="704" y="1537"/>
                  </a:lnTo>
                  <a:lnTo>
                    <a:pt x="719" y="1444"/>
                  </a:lnTo>
                  <a:lnTo>
                    <a:pt x="742" y="1358"/>
                  </a:lnTo>
                  <a:lnTo>
                    <a:pt x="773" y="1272"/>
                  </a:lnTo>
                  <a:lnTo>
                    <a:pt x="812" y="1186"/>
                  </a:lnTo>
                  <a:lnTo>
                    <a:pt x="851" y="1108"/>
                  </a:lnTo>
                  <a:lnTo>
                    <a:pt x="906" y="1038"/>
                  </a:lnTo>
                  <a:lnTo>
                    <a:pt x="968" y="968"/>
                  </a:lnTo>
                  <a:lnTo>
                    <a:pt x="1030" y="913"/>
                  </a:lnTo>
                  <a:lnTo>
                    <a:pt x="1101" y="858"/>
                  </a:lnTo>
                  <a:lnTo>
                    <a:pt x="1178" y="811"/>
                  </a:lnTo>
                  <a:lnTo>
                    <a:pt x="1256" y="772"/>
                  </a:lnTo>
                  <a:lnTo>
                    <a:pt x="1342" y="741"/>
                  </a:lnTo>
                  <a:lnTo>
                    <a:pt x="1436" y="718"/>
                  </a:lnTo>
                  <a:lnTo>
                    <a:pt x="1530" y="702"/>
                  </a:lnTo>
                  <a:lnTo>
                    <a:pt x="1623" y="702"/>
                  </a:lnTo>
                  <a:lnTo>
                    <a:pt x="1623" y="702"/>
                  </a:lnTo>
                  <a:lnTo>
                    <a:pt x="1709" y="702"/>
                  </a:lnTo>
                  <a:lnTo>
                    <a:pt x="1795" y="718"/>
                  </a:lnTo>
                  <a:lnTo>
                    <a:pt x="1881" y="741"/>
                  </a:lnTo>
                  <a:lnTo>
                    <a:pt x="1966" y="772"/>
                  </a:lnTo>
                  <a:lnTo>
                    <a:pt x="2044" y="811"/>
                  </a:lnTo>
                  <a:lnTo>
                    <a:pt x="2122" y="858"/>
                  </a:lnTo>
                  <a:lnTo>
                    <a:pt x="2193" y="913"/>
                  </a:lnTo>
                  <a:lnTo>
                    <a:pt x="2263" y="968"/>
                  </a:lnTo>
                  <a:lnTo>
                    <a:pt x="2326" y="1038"/>
                  </a:lnTo>
                  <a:lnTo>
                    <a:pt x="2380" y="1108"/>
                  </a:lnTo>
                  <a:lnTo>
                    <a:pt x="2426" y="1186"/>
                  </a:lnTo>
                  <a:lnTo>
                    <a:pt x="2473" y="1272"/>
                  </a:lnTo>
                  <a:lnTo>
                    <a:pt x="2505" y="1358"/>
                  </a:lnTo>
                  <a:lnTo>
                    <a:pt x="2528" y="1444"/>
                  </a:lnTo>
                  <a:lnTo>
                    <a:pt x="2544" y="1537"/>
                  </a:lnTo>
                  <a:lnTo>
                    <a:pt x="2552" y="1639"/>
                  </a:lnTo>
                  <a:lnTo>
                    <a:pt x="2552" y="1639"/>
                  </a:lnTo>
                  <a:lnTo>
                    <a:pt x="2544" y="1733"/>
                  </a:lnTo>
                  <a:lnTo>
                    <a:pt x="2528" y="1826"/>
                  </a:lnTo>
                  <a:lnTo>
                    <a:pt x="2505" y="1919"/>
                  </a:lnTo>
                  <a:lnTo>
                    <a:pt x="2473" y="2005"/>
                  </a:lnTo>
                  <a:lnTo>
                    <a:pt x="2426" y="2084"/>
                  </a:lnTo>
                  <a:lnTo>
                    <a:pt x="2380" y="2162"/>
                  </a:lnTo>
                  <a:lnTo>
                    <a:pt x="2326" y="2240"/>
                  </a:lnTo>
                  <a:lnTo>
                    <a:pt x="2263" y="2302"/>
                  </a:lnTo>
                  <a:lnTo>
                    <a:pt x="2193" y="2364"/>
                  </a:lnTo>
                  <a:lnTo>
                    <a:pt x="2122" y="2419"/>
                  </a:lnTo>
                  <a:lnTo>
                    <a:pt x="2044" y="2458"/>
                  </a:lnTo>
                  <a:lnTo>
                    <a:pt x="1966" y="2497"/>
                  </a:lnTo>
                  <a:lnTo>
                    <a:pt x="1881" y="2528"/>
                  </a:lnTo>
                  <a:lnTo>
                    <a:pt x="1795" y="2552"/>
                  </a:lnTo>
                  <a:lnTo>
                    <a:pt x="1709" y="2568"/>
                  </a:lnTo>
                  <a:lnTo>
                    <a:pt x="1623" y="257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8" name="Freeform 11"/>
            <p:cNvSpPr>
              <a:spLocks noChangeArrowheads="1"/>
            </p:cNvSpPr>
            <p:nvPr/>
          </p:nvSpPr>
          <p:spPr bwMode="auto">
            <a:xfrm>
              <a:off x="3898900" y="515938"/>
              <a:ext cx="1146175" cy="1160462"/>
            </a:xfrm>
            <a:custGeom>
              <a:avLst/>
              <a:gdLst>
                <a:gd name="T0" fmla="*/ 2380 w 3185"/>
                <a:gd name="T1" fmla="*/ 2723 h 3224"/>
                <a:gd name="T2" fmla="*/ 2568 w 3185"/>
                <a:gd name="T3" fmla="*/ 2590 h 3224"/>
                <a:gd name="T4" fmla="*/ 2731 w 3185"/>
                <a:gd name="T5" fmla="*/ 2411 h 3224"/>
                <a:gd name="T6" fmla="*/ 3013 w 3185"/>
                <a:gd name="T7" fmla="*/ 2458 h 3224"/>
                <a:gd name="T8" fmla="*/ 3184 w 3185"/>
                <a:gd name="T9" fmla="*/ 1990 h 3224"/>
                <a:gd name="T10" fmla="*/ 2973 w 3185"/>
                <a:gd name="T11" fmla="*/ 1849 h 3224"/>
                <a:gd name="T12" fmla="*/ 2997 w 3185"/>
                <a:gd name="T13" fmla="*/ 1592 h 3224"/>
                <a:gd name="T14" fmla="*/ 2973 w 3185"/>
                <a:gd name="T15" fmla="*/ 1357 h 3224"/>
                <a:gd name="T16" fmla="*/ 3184 w 3185"/>
                <a:gd name="T17" fmla="*/ 1170 h 3224"/>
                <a:gd name="T18" fmla="*/ 2778 w 3185"/>
                <a:gd name="T19" fmla="*/ 819 h 3224"/>
                <a:gd name="T20" fmla="*/ 2676 w 3185"/>
                <a:gd name="T21" fmla="*/ 702 h 3224"/>
                <a:gd name="T22" fmla="*/ 2442 w 3185"/>
                <a:gd name="T23" fmla="*/ 499 h 3224"/>
                <a:gd name="T24" fmla="*/ 2427 w 3185"/>
                <a:gd name="T25" fmla="*/ 179 h 3224"/>
                <a:gd name="T26" fmla="*/ 2021 w 3185"/>
                <a:gd name="T27" fmla="*/ 0 h 3224"/>
                <a:gd name="T28" fmla="*/ 1841 w 3185"/>
                <a:gd name="T29" fmla="*/ 218 h 3224"/>
                <a:gd name="T30" fmla="*/ 1615 w 3185"/>
                <a:gd name="T31" fmla="*/ 194 h 3224"/>
                <a:gd name="T32" fmla="*/ 1358 w 3185"/>
                <a:gd name="T33" fmla="*/ 218 h 3224"/>
                <a:gd name="T34" fmla="*/ 1217 w 3185"/>
                <a:gd name="T35" fmla="*/ 0 h 3224"/>
                <a:gd name="T36" fmla="*/ 749 w 3185"/>
                <a:gd name="T37" fmla="*/ 179 h 3224"/>
                <a:gd name="T38" fmla="*/ 733 w 3185"/>
                <a:gd name="T39" fmla="*/ 499 h 3224"/>
                <a:gd name="T40" fmla="*/ 500 w 3185"/>
                <a:gd name="T41" fmla="*/ 702 h 3224"/>
                <a:gd name="T42" fmla="*/ 406 w 3185"/>
                <a:gd name="T43" fmla="*/ 819 h 3224"/>
                <a:gd name="T44" fmla="*/ 0 w 3185"/>
                <a:gd name="T45" fmla="*/ 1170 h 3224"/>
                <a:gd name="T46" fmla="*/ 226 w 3185"/>
                <a:gd name="T47" fmla="*/ 1287 h 3224"/>
                <a:gd name="T48" fmla="*/ 187 w 3185"/>
                <a:gd name="T49" fmla="*/ 1506 h 3224"/>
                <a:gd name="T50" fmla="*/ 195 w 3185"/>
                <a:gd name="T51" fmla="*/ 1755 h 3224"/>
                <a:gd name="T52" fmla="*/ 226 w 3185"/>
                <a:gd name="T53" fmla="*/ 1935 h 3224"/>
                <a:gd name="T54" fmla="*/ 172 w 3185"/>
                <a:gd name="T55" fmla="*/ 2458 h 3224"/>
                <a:gd name="T56" fmla="*/ 406 w 3185"/>
                <a:gd name="T57" fmla="*/ 2341 h 3224"/>
                <a:gd name="T58" fmla="*/ 554 w 3185"/>
                <a:gd name="T59" fmla="*/ 2536 h 3224"/>
                <a:gd name="T60" fmla="*/ 733 w 3185"/>
                <a:gd name="T61" fmla="*/ 2692 h 3224"/>
                <a:gd name="T62" fmla="*/ 866 w 3185"/>
                <a:gd name="T63" fmla="*/ 2754 h 3224"/>
                <a:gd name="T64" fmla="*/ 1217 w 3185"/>
                <a:gd name="T65" fmla="*/ 3223 h 3224"/>
                <a:gd name="T66" fmla="*/ 1272 w 3185"/>
                <a:gd name="T67" fmla="*/ 2988 h 3224"/>
                <a:gd name="T68" fmla="*/ 2021 w 3185"/>
                <a:gd name="T69" fmla="*/ 3223 h 3224"/>
                <a:gd name="T70" fmla="*/ 2427 w 3185"/>
                <a:gd name="T71" fmla="*/ 3043 h 3224"/>
                <a:gd name="T72" fmla="*/ 1966 w 3185"/>
                <a:gd name="T73" fmla="*/ 2458 h 3224"/>
                <a:gd name="T74" fmla="*/ 1693 w 3185"/>
                <a:gd name="T75" fmla="*/ 2520 h 3224"/>
                <a:gd name="T76" fmla="*/ 1420 w 3185"/>
                <a:gd name="T77" fmla="*/ 2497 h 3224"/>
                <a:gd name="T78" fmla="*/ 1170 w 3185"/>
                <a:gd name="T79" fmla="*/ 2395 h 3224"/>
                <a:gd name="T80" fmla="*/ 952 w 3185"/>
                <a:gd name="T81" fmla="*/ 2239 h 3224"/>
                <a:gd name="T82" fmla="*/ 788 w 3185"/>
                <a:gd name="T83" fmla="*/ 2021 h 3224"/>
                <a:gd name="T84" fmla="*/ 710 w 3185"/>
                <a:gd name="T85" fmla="*/ 1849 h 3224"/>
                <a:gd name="T86" fmla="*/ 663 w 3185"/>
                <a:gd name="T87" fmla="*/ 1576 h 3224"/>
                <a:gd name="T88" fmla="*/ 694 w 3185"/>
                <a:gd name="T89" fmla="*/ 1318 h 3224"/>
                <a:gd name="T90" fmla="*/ 804 w 3185"/>
                <a:gd name="T91" fmla="*/ 1076 h 3224"/>
                <a:gd name="T92" fmla="*/ 976 w 3185"/>
                <a:gd name="T93" fmla="*/ 866 h 3224"/>
                <a:gd name="T94" fmla="*/ 1217 w 3185"/>
                <a:gd name="T95" fmla="*/ 702 h 3224"/>
                <a:gd name="T96" fmla="*/ 1405 w 3185"/>
                <a:gd name="T97" fmla="*/ 655 h 3224"/>
                <a:gd name="T98" fmla="*/ 1693 w 3185"/>
                <a:gd name="T99" fmla="*/ 655 h 3224"/>
                <a:gd name="T100" fmla="*/ 1951 w 3185"/>
                <a:gd name="T101" fmla="*/ 725 h 3224"/>
                <a:gd name="T102" fmla="*/ 2177 w 3185"/>
                <a:gd name="T103" fmla="*/ 866 h 3224"/>
                <a:gd name="T104" fmla="*/ 2349 w 3185"/>
                <a:gd name="T105" fmla="*/ 1069 h 3224"/>
                <a:gd name="T106" fmla="*/ 2427 w 3185"/>
                <a:gd name="T107" fmla="*/ 1233 h 3224"/>
                <a:gd name="T108" fmla="*/ 2513 w 3185"/>
                <a:gd name="T109" fmla="*/ 1506 h 3224"/>
                <a:gd name="T110" fmla="*/ 2505 w 3185"/>
                <a:gd name="T111" fmla="*/ 1778 h 3224"/>
                <a:gd name="T112" fmla="*/ 2419 w 3185"/>
                <a:gd name="T113" fmla="*/ 2037 h 3224"/>
                <a:gd name="T114" fmla="*/ 2263 w 3185"/>
                <a:gd name="T115" fmla="*/ 2262 h 3224"/>
                <a:gd name="T116" fmla="*/ 2052 w 3185"/>
                <a:gd name="T117" fmla="*/ 2427 h 3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5" h="3224">
                  <a:moveTo>
                    <a:pt x="2309" y="2754"/>
                  </a:moveTo>
                  <a:lnTo>
                    <a:pt x="2309" y="2754"/>
                  </a:lnTo>
                  <a:lnTo>
                    <a:pt x="2380" y="2723"/>
                  </a:lnTo>
                  <a:lnTo>
                    <a:pt x="2442" y="2692"/>
                  </a:lnTo>
                  <a:lnTo>
                    <a:pt x="2505" y="2645"/>
                  </a:lnTo>
                  <a:lnTo>
                    <a:pt x="2568" y="2590"/>
                  </a:lnTo>
                  <a:lnTo>
                    <a:pt x="2622" y="2536"/>
                  </a:lnTo>
                  <a:lnTo>
                    <a:pt x="2676" y="2474"/>
                  </a:lnTo>
                  <a:lnTo>
                    <a:pt x="2731" y="2411"/>
                  </a:lnTo>
                  <a:lnTo>
                    <a:pt x="2778" y="2341"/>
                  </a:lnTo>
                  <a:lnTo>
                    <a:pt x="2778" y="2341"/>
                  </a:lnTo>
                  <a:lnTo>
                    <a:pt x="3013" y="2458"/>
                  </a:lnTo>
                  <a:lnTo>
                    <a:pt x="3013" y="2458"/>
                  </a:lnTo>
                  <a:lnTo>
                    <a:pt x="3184" y="1990"/>
                  </a:lnTo>
                  <a:lnTo>
                    <a:pt x="3184" y="1990"/>
                  </a:lnTo>
                  <a:lnTo>
                    <a:pt x="2950" y="1935"/>
                  </a:lnTo>
                  <a:lnTo>
                    <a:pt x="2950" y="1935"/>
                  </a:lnTo>
                  <a:lnTo>
                    <a:pt x="2973" y="1849"/>
                  </a:lnTo>
                  <a:lnTo>
                    <a:pt x="2981" y="1755"/>
                  </a:lnTo>
                  <a:lnTo>
                    <a:pt x="2989" y="1678"/>
                  </a:lnTo>
                  <a:lnTo>
                    <a:pt x="2997" y="1592"/>
                  </a:lnTo>
                  <a:lnTo>
                    <a:pt x="2989" y="1506"/>
                  </a:lnTo>
                  <a:lnTo>
                    <a:pt x="2981" y="1435"/>
                  </a:lnTo>
                  <a:lnTo>
                    <a:pt x="2973" y="1357"/>
                  </a:lnTo>
                  <a:lnTo>
                    <a:pt x="2950" y="1287"/>
                  </a:lnTo>
                  <a:lnTo>
                    <a:pt x="2950" y="1287"/>
                  </a:lnTo>
                  <a:lnTo>
                    <a:pt x="3184" y="1170"/>
                  </a:lnTo>
                  <a:lnTo>
                    <a:pt x="3184" y="1170"/>
                  </a:lnTo>
                  <a:lnTo>
                    <a:pt x="3013" y="764"/>
                  </a:lnTo>
                  <a:lnTo>
                    <a:pt x="2778" y="819"/>
                  </a:lnTo>
                  <a:lnTo>
                    <a:pt x="2778" y="819"/>
                  </a:lnTo>
                  <a:lnTo>
                    <a:pt x="2731" y="757"/>
                  </a:lnTo>
                  <a:lnTo>
                    <a:pt x="2676" y="702"/>
                  </a:lnTo>
                  <a:lnTo>
                    <a:pt x="2622" y="647"/>
                  </a:lnTo>
                  <a:lnTo>
                    <a:pt x="2568" y="592"/>
                  </a:lnTo>
                  <a:lnTo>
                    <a:pt x="2442" y="499"/>
                  </a:lnTo>
                  <a:lnTo>
                    <a:pt x="2309" y="413"/>
                  </a:lnTo>
                  <a:lnTo>
                    <a:pt x="2309" y="413"/>
                  </a:lnTo>
                  <a:lnTo>
                    <a:pt x="2427" y="179"/>
                  </a:lnTo>
                  <a:lnTo>
                    <a:pt x="2427" y="179"/>
                  </a:lnTo>
                  <a:lnTo>
                    <a:pt x="2021" y="0"/>
                  </a:lnTo>
                  <a:lnTo>
                    <a:pt x="2021" y="0"/>
                  </a:lnTo>
                  <a:lnTo>
                    <a:pt x="1912" y="233"/>
                  </a:lnTo>
                  <a:lnTo>
                    <a:pt x="1912" y="233"/>
                  </a:lnTo>
                  <a:lnTo>
                    <a:pt x="1841" y="218"/>
                  </a:lnTo>
                  <a:lnTo>
                    <a:pt x="1772" y="202"/>
                  </a:lnTo>
                  <a:lnTo>
                    <a:pt x="1693" y="194"/>
                  </a:lnTo>
                  <a:lnTo>
                    <a:pt x="1615" y="194"/>
                  </a:lnTo>
                  <a:lnTo>
                    <a:pt x="1529" y="194"/>
                  </a:lnTo>
                  <a:lnTo>
                    <a:pt x="1443" y="202"/>
                  </a:lnTo>
                  <a:lnTo>
                    <a:pt x="1358" y="218"/>
                  </a:lnTo>
                  <a:lnTo>
                    <a:pt x="1272" y="233"/>
                  </a:lnTo>
                  <a:lnTo>
                    <a:pt x="1272" y="233"/>
                  </a:lnTo>
                  <a:lnTo>
                    <a:pt x="1217" y="0"/>
                  </a:lnTo>
                  <a:lnTo>
                    <a:pt x="1217" y="0"/>
                  </a:lnTo>
                  <a:lnTo>
                    <a:pt x="749" y="179"/>
                  </a:lnTo>
                  <a:lnTo>
                    <a:pt x="749" y="179"/>
                  </a:lnTo>
                  <a:lnTo>
                    <a:pt x="866" y="413"/>
                  </a:lnTo>
                  <a:lnTo>
                    <a:pt x="866" y="413"/>
                  </a:lnTo>
                  <a:lnTo>
                    <a:pt x="733" y="499"/>
                  </a:lnTo>
                  <a:lnTo>
                    <a:pt x="616" y="592"/>
                  </a:lnTo>
                  <a:lnTo>
                    <a:pt x="554" y="647"/>
                  </a:lnTo>
                  <a:lnTo>
                    <a:pt x="500" y="702"/>
                  </a:lnTo>
                  <a:lnTo>
                    <a:pt x="453" y="757"/>
                  </a:lnTo>
                  <a:lnTo>
                    <a:pt x="406" y="819"/>
                  </a:lnTo>
                  <a:lnTo>
                    <a:pt x="406" y="819"/>
                  </a:lnTo>
                  <a:lnTo>
                    <a:pt x="172" y="764"/>
                  </a:lnTo>
                  <a:lnTo>
                    <a:pt x="172" y="764"/>
                  </a:lnTo>
                  <a:lnTo>
                    <a:pt x="0" y="1170"/>
                  </a:lnTo>
                  <a:lnTo>
                    <a:pt x="0" y="1170"/>
                  </a:lnTo>
                  <a:lnTo>
                    <a:pt x="226" y="1287"/>
                  </a:lnTo>
                  <a:lnTo>
                    <a:pt x="226" y="1287"/>
                  </a:lnTo>
                  <a:lnTo>
                    <a:pt x="210" y="1357"/>
                  </a:lnTo>
                  <a:lnTo>
                    <a:pt x="195" y="1435"/>
                  </a:lnTo>
                  <a:lnTo>
                    <a:pt x="187" y="1506"/>
                  </a:lnTo>
                  <a:lnTo>
                    <a:pt x="187" y="1592"/>
                  </a:lnTo>
                  <a:lnTo>
                    <a:pt x="187" y="1678"/>
                  </a:lnTo>
                  <a:lnTo>
                    <a:pt x="195" y="1755"/>
                  </a:lnTo>
                  <a:lnTo>
                    <a:pt x="210" y="1849"/>
                  </a:lnTo>
                  <a:lnTo>
                    <a:pt x="226" y="1935"/>
                  </a:lnTo>
                  <a:lnTo>
                    <a:pt x="226" y="1935"/>
                  </a:lnTo>
                  <a:lnTo>
                    <a:pt x="0" y="1990"/>
                  </a:lnTo>
                  <a:lnTo>
                    <a:pt x="0" y="1990"/>
                  </a:lnTo>
                  <a:lnTo>
                    <a:pt x="172" y="2458"/>
                  </a:lnTo>
                  <a:lnTo>
                    <a:pt x="172" y="2458"/>
                  </a:lnTo>
                  <a:lnTo>
                    <a:pt x="406" y="2341"/>
                  </a:lnTo>
                  <a:lnTo>
                    <a:pt x="406" y="2341"/>
                  </a:lnTo>
                  <a:lnTo>
                    <a:pt x="453" y="2411"/>
                  </a:lnTo>
                  <a:lnTo>
                    <a:pt x="500" y="2474"/>
                  </a:lnTo>
                  <a:lnTo>
                    <a:pt x="554" y="2536"/>
                  </a:lnTo>
                  <a:lnTo>
                    <a:pt x="616" y="2590"/>
                  </a:lnTo>
                  <a:lnTo>
                    <a:pt x="671" y="2645"/>
                  </a:lnTo>
                  <a:lnTo>
                    <a:pt x="733" y="2692"/>
                  </a:lnTo>
                  <a:lnTo>
                    <a:pt x="804" y="2723"/>
                  </a:lnTo>
                  <a:lnTo>
                    <a:pt x="866" y="2754"/>
                  </a:lnTo>
                  <a:lnTo>
                    <a:pt x="866" y="2754"/>
                  </a:lnTo>
                  <a:lnTo>
                    <a:pt x="749" y="3043"/>
                  </a:lnTo>
                  <a:lnTo>
                    <a:pt x="749" y="3043"/>
                  </a:lnTo>
                  <a:lnTo>
                    <a:pt x="1217" y="3223"/>
                  </a:lnTo>
                  <a:lnTo>
                    <a:pt x="1217" y="3223"/>
                  </a:lnTo>
                  <a:lnTo>
                    <a:pt x="1272" y="2988"/>
                  </a:lnTo>
                  <a:lnTo>
                    <a:pt x="1272" y="2988"/>
                  </a:lnTo>
                  <a:lnTo>
                    <a:pt x="1912" y="2988"/>
                  </a:lnTo>
                  <a:lnTo>
                    <a:pt x="1912" y="2988"/>
                  </a:lnTo>
                  <a:lnTo>
                    <a:pt x="2021" y="3223"/>
                  </a:lnTo>
                  <a:lnTo>
                    <a:pt x="2021" y="3223"/>
                  </a:lnTo>
                  <a:lnTo>
                    <a:pt x="2427" y="3043"/>
                  </a:lnTo>
                  <a:lnTo>
                    <a:pt x="2427" y="3043"/>
                  </a:lnTo>
                  <a:lnTo>
                    <a:pt x="2309" y="2754"/>
                  </a:lnTo>
                  <a:close/>
                  <a:moveTo>
                    <a:pt x="1966" y="2458"/>
                  </a:moveTo>
                  <a:lnTo>
                    <a:pt x="1966" y="2458"/>
                  </a:lnTo>
                  <a:lnTo>
                    <a:pt x="1880" y="2489"/>
                  </a:lnTo>
                  <a:lnTo>
                    <a:pt x="1787" y="2505"/>
                  </a:lnTo>
                  <a:lnTo>
                    <a:pt x="1693" y="2520"/>
                  </a:lnTo>
                  <a:lnTo>
                    <a:pt x="1607" y="2520"/>
                  </a:lnTo>
                  <a:lnTo>
                    <a:pt x="1514" y="2513"/>
                  </a:lnTo>
                  <a:lnTo>
                    <a:pt x="1420" y="2497"/>
                  </a:lnTo>
                  <a:lnTo>
                    <a:pt x="1335" y="2474"/>
                  </a:lnTo>
                  <a:lnTo>
                    <a:pt x="1249" y="2442"/>
                  </a:lnTo>
                  <a:lnTo>
                    <a:pt x="1170" y="2395"/>
                  </a:lnTo>
                  <a:lnTo>
                    <a:pt x="1092" y="2348"/>
                  </a:lnTo>
                  <a:lnTo>
                    <a:pt x="1014" y="2302"/>
                  </a:lnTo>
                  <a:lnTo>
                    <a:pt x="952" y="2239"/>
                  </a:lnTo>
                  <a:lnTo>
                    <a:pt x="890" y="2169"/>
                  </a:lnTo>
                  <a:lnTo>
                    <a:pt x="835" y="2099"/>
                  </a:lnTo>
                  <a:lnTo>
                    <a:pt x="788" y="2021"/>
                  </a:lnTo>
                  <a:lnTo>
                    <a:pt x="749" y="1935"/>
                  </a:lnTo>
                  <a:lnTo>
                    <a:pt x="749" y="1935"/>
                  </a:lnTo>
                  <a:lnTo>
                    <a:pt x="710" y="1849"/>
                  </a:lnTo>
                  <a:lnTo>
                    <a:pt x="686" y="1755"/>
                  </a:lnTo>
                  <a:lnTo>
                    <a:pt x="671" y="1670"/>
                  </a:lnTo>
                  <a:lnTo>
                    <a:pt x="663" y="1576"/>
                  </a:lnTo>
                  <a:lnTo>
                    <a:pt x="663" y="1490"/>
                  </a:lnTo>
                  <a:lnTo>
                    <a:pt x="671" y="1404"/>
                  </a:lnTo>
                  <a:lnTo>
                    <a:pt x="694" y="1318"/>
                  </a:lnTo>
                  <a:lnTo>
                    <a:pt x="718" y="1233"/>
                  </a:lnTo>
                  <a:lnTo>
                    <a:pt x="757" y="1155"/>
                  </a:lnTo>
                  <a:lnTo>
                    <a:pt x="804" y="1076"/>
                  </a:lnTo>
                  <a:lnTo>
                    <a:pt x="858" y="998"/>
                  </a:lnTo>
                  <a:lnTo>
                    <a:pt x="913" y="928"/>
                  </a:lnTo>
                  <a:lnTo>
                    <a:pt x="976" y="866"/>
                  </a:lnTo>
                  <a:lnTo>
                    <a:pt x="1053" y="804"/>
                  </a:lnTo>
                  <a:lnTo>
                    <a:pt x="1131" y="749"/>
                  </a:lnTo>
                  <a:lnTo>
                    <a:pt x="1217" y="702"/>
                  </a:lnTo>
                  <a:lnTo>
                    <a:pt x="1217" y="702"/>
                  </a:lnTo>
                  <a:lnTo>
                    <a:pt x="1311" y="678"/>
                  </a:lnTo>
                  <a:lnTo>
                    <a:pt x="1405" y="655"/>
                  </a:lnTo>
                  <a:lnTo>
                    <a:pt x="1506" y="647"/>
                  </a:lnTo>
                  <a:lnTo>
                    <a:pt x="1600" y="647"/>
                  </a:lnTo>
                  <a:lnTo>
                    <a:pt x="1693" y="655"/>
                  </a:lnTo>
                  <a:lnTo>
                    <a:pt x="1780" y="671"/>
                  </a:lnTo>
                  <a:lnTo>
                    <a:pt x="1865" y="694"/>
                  </a:lnTo>
                  <a:lnTo>
                    <a:pt x="1951" y="725"/>
                  </a:lnTo>
                  <a:lnTo>
                    <a:pt x="2029" y="764"/>
                  </a:lnTo>
                  <a:lnTo>
                    <a:pt x="2107" y="811"/>
                  </a:lnTo>
                  <a:lnTo>
                    <a:pt x="2177" y="866"/>
                  </a:lnTo>
                  <a:lnTo>
                    <a:pt x="2240" y="928"/>
                  </a:lnTo>
                  <a:lnTo>
                    <a:pt x="2294" y="990"/>
                  </a:lnTo>
                  <a:lnTo>
                    <a:pt x="2349" y="1069"/>
                  </a:lnTo>
                  <a:lnTo>
                    <a:pt x="2396" y="1147"/>
                  </a:lnTo>
                  <a:lnTo>
                    <a:pt x="2427" y="1233"/>
                  </a:lnTo>
                  <a:lnTo>
                    <a:pt x="2427" y="1233"/>
                  </a:lnTo>
                  <a:lnTo>
                    <a:pt x="2466" y="1318"/>
                  </a:lnTo>
                  <a:lnTo>
                    <a:pt x="2497" y="1412"/>
                  </a:lnTo>
                  <a:lnTo>
                    <a:pt x="2513" y="1506"/>
                  </a:lnTo>
                  <a:lnTo>
                    <a:pt x="2521" y="1599"/>
                  </a:lnTo>
                  <a:lnTo>
                    <a:pt x="2521" y="1686"/>
                  </a:lnTo>
                  <a:lnTo>
                    <a:pt x="2505" y="1778"/>
                  </a:lnTo>
                  <a:lnTo>
                    <a:pt x="2489" y="1872"/>
                  </a:lnTo>
                  <a:lnTo>
                    <a:pt x="2458" y="1958"/>
                  </a:lnTo>
                  <a:lnTo>
                    <a:pt x="2419" y="2037"/>
                  </a:lnTo>
                  <a:lnTo>
                    <a:pt x="2380" y="2115"/>
                  </a:lnTo>
                  <a:lnTo>
                    <a:pt x="2325" y="2192"/>
                  </a:lnTo>
                  <a:lnTo>
                    <a:pt x="2263" y="2262"/>
                  </a:lnTo>
                  <a:lnTo>
                    <a:pt x="2201" y="2325"/>
                  </a:lnTo>
                  <a:lnTo>
                    <a:pt x="2131" y="2380"/>
                  </a:lnTo>
                  <a:lnTo>
                    <a:pt x="2052" y="2427"/>
                  </a:lnTo>
                  <a:lnTo>
                    <a:pt x="1966" y="2458"/>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4" name="Freeform 12"/>
            <p:cNvSpPr>
              <a:spLocks noChangeArrowheads="1"/>
            </p:cNvSpPr>
            <p:nvPr/>
          </p:nvSpPr>
          <p:spPr bwMode="auto">
            <a:xfrm>
              <a:off x="2524125" y="20638"/>
              <a:ext cx="4748213" cy="3594100"/>
            </a:xfrm>
            <a:custGeom>
              <a:avLst/>
              <a:gdLst>
                <a:gd name="T0" fmla="*/ 13188 w 13189"/>
                <a:gd name="T1" fmla="*/ 8311 h 9982"/>
                <a:gd name="T2" fmla="*/ 13188 w 13189"/>
                <a:gd name="T3" fmla="*/ 0 h 9982"/>
                <a:gd name="T4" fmla="*/ 0 w 13189"/>
                <a:gd name="T5" fmla="*/ 0 h 9982"/>
                <a:gd name="T6" fmla="*/ 0 w 13189"/>
                <a:gd name="T7" fmla="*/ 8311 h 9982"/>
                <a:gd name="T8" fmla="*/ 6197 w 13189"/>
                <a:gd name="T9" fmla="*/ 8311 h 9982"/>
                <a:gd name="T10" fmla="*/ 6197 w 13189"/>
                <a:gd name="T11" fmla="*/ 9146 h 9982"/>
                <a:gd name="T12" fmla="*/ 4105 w 13189"/>
                <a:gd name="T13" fmla="*/ 9146 h 9982"/>
                <a:gd name="T14" fmla="*/ 4105 w 13189"/>
                <a:gd name="T15" fmla="*/ 9981 h 9982"/>
                <a:gd name="T16" fmla="*/ 9083 w 13189"/>
                <a:gd name="T17" fmla="*/ 9981 h 9982"/>
                <a:gd name="T18" fmla="*/ 9083 w 13189"/>
                <a:gd name="T19" fmla="*/ 9146 h 9982"/>
                <a:gd name="T20" fmla="*/ 7032 w 13189"/>
                <a:gd name="T21" fmla="*/ 9146 h 9982"/>
                <a:gd name="T22" fmla="*/ 7032 w 13189"/>
                <a:gd name="T23" fmla="*/ 8311 h 9982"/>
                <a:gd name="T24" fmla="*/ 13188 w 13189"/>
                <a:gd name="T25" fmla="*/ 8311 h 9982"/>
                <a:gd name="T26" fmla="*/ 828 w 13189"/>
                <a:gd name="T27" fmla="*/ 7476 h 9982"/>
                <a:gd name="T28" fmla="*/ 828 w 13189"/>
                <a:gd name="T29" fmla="*/ 835 h 9982"/>
                <a:gd name="T30" fmla="*/ 12361 w 13189"/>
                <a:gd name="T31" fmla="*/ 835 h 9982"/>
                <a:gd name="T32" fmla="*/ 12361 w 13189"/>
                <a:gd name="T33" fmla="*/ 7476 h 9982"/>
                <a:gd name="T34" fmla="*/ 828 w 13189"/>
                <a:gd name="T35" fmla="*/ 7476 h 99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189" h="9982">
                  <a:moveTo>
                    <a:pt x="13188" y="8311"/>
                  </a:moveTo>
                  <a:lnTo>
                    <a:pt x="13188" y="0"/>
                  </a:lnTo>
                  <a:lnTo>
                    <a:pt x="0" y="0"/>
                  </a:lnTo>
                  <a:lnTo>
                    <a:pt x="0" y="8311"/>
                  </a:lnTo>
                  <a:lnTo>
                    <a:pt x="6197" y="8311"/>
                  </a:lnTo>
                  <a:lnTo>
                    <a:pt x="6197" y="9146"/>
                  </a:lnTo>
                  <a:lnTo>
                    <a:pt x="4105" y="9146"/>
                  </a:lnTo>
                  <a:lnTo>
                    <a:pt x="4105" y="9981"/>
                  </a:lnTo>
                  <a:lnTo>
                    <a:pt x="9083" y="9981"/>
                  </a:lnTo>
                  <a:lnTo>
                    <a:pt x="9083" y="9146"/>
                  </a:lnTo>
                  <a:lnTo>
                    <a:pt x="7032" y="9146"/>
                  </a:lnTo>
                  <a:lnTo>
                    <a:pt x="7032" y="8311"/>
                  </a:lnTo>
                  <a:lnTo>
                    <a:pt x="13188" y="8311"/>
                  </a:lnTo>
                  <a:close/>
                  <a:moveTo>
                    <a:pt x="828" y="7476"/>
                  </a:moveTo>
                  <a:lnTo>
                    <a:pt x="828" y="835"/>
                  </a:lnTo>
                  <a:lnTo>
                    <a:pt x="12361" y="835"/>
                  </a:lnTo>
                  <a:lnTo>
                    <a:pt x="12361" y="7476"/>
                  </a:lnTo>
                  <a:lnTo>
                    <a:pt x="828" y="7476"/>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9" name="Group 18"/>
          <p:cNvGrpSpPr/>
          <p:nvPr/>
        </p:nvGrpSpPr>
        <p:grpSpPr>
          <a:xfrm>
            <a:off x="4029546" y="3936569"/>
            <a:ext cx="5713008" cy="2852964"/>
            <a:chOff x="4274283" y="4244766"/>
            <a:chExt cx="5223534" cy="2608530"/>
          </a:xfrm>
        </p:grpSpPr>
        <p:sp>
          <p:nvSpPr>
            <p:cNvPr id="41" name="Rectangle 40">
              <a:extLst>
                <a:ext uri="{FF2B5EF4-FFF2-40B4-BE49-F238E27FC236}">
                  <a16:creationId xmlns:a16="http://schemas.microsoft.com/office/drawing/2014/main" id="{579DA78E-AD61-4B60-9FF6-D2CF7463003A}"/>
                </a:ext>
              </a:extLst>
            </p:cNvPr>
            <p:cNvSpPr/>
            <p:nvPr/>
          </p:nvSpPr>
          <p:spPr>
            <a:xfrm rot="19093367">
              <a:off x="4274283" y="4659960"/>
              <a:ext cx="1380653" cy="364679"/>
            </a:xfrm>
            <a:prstGeom prst="rect">
              <a:avLst/>
            </a:prstGeom>
            <a:noFill/>
            <a:ln w="9525" cap="flat" cmpd="sng" algn="ctr">
              <a:no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1F50"/>
                  </a:solidFill>
                  <a:effectLst/>
                  <a:uLnTx/>
                  <a:uFillTx/>
                  <a:latin typeface="Segoe UI Semibold" panose="020B0702040204020203" pitchFamily="34" charset="0"/>
                  <a:ea typeface="+mn-ea"/>
                  <a:cs typeface="Segoe UI Semibold" panose="020B0702040204020203" pitchFamily="34" charset="0"/>
                </a:rPr>
                <a:t>PLAN</a:t>
              </a:r>
            </a:p>
          </p:txBody>
        </p:sp>
        <p:grpSp>
          <p:nvGrpSpPr>
            <p:cNvPr id="7" name="Group 6"/>
            <p:cNvGrpSpPr/>
            <p:nvPr/>
          </p:nvGrpSpPr>
          <p:grpSpPr>
            <a:xfrm rot="20856135">
              <a:off x="4675552" y="4477901"/>
              <a:ext cx="1823343" cy="1971492"/>
              <a:chOff x="4954635" y="6278130"/>
              <a:chExt cx="1619005" cy="1750551"/>
            </a:xfrm>
          </p:grpSpPr>
          <p:sp>
            <p:nvSpPr>
              <p:cNvPr id="6" name="Arc 5"/>
              <p:cNvSpPr/>
              <p:nvPr/>
            </p:nvSpPr>
            <p:spPr>
              <a:xfrm rot="17845509">
                <a:off x="4954635" y="6409676"/>
                <a:ext cx="1619005" cy="1619005"/>
              </a:xfrm>
              <a:prstGeom prst="arc">
                <a:avLst>
                  <a:gd name="adj1" fmla="val 19771581"/>
                  <a:gd name="adj2" fmla="val 1372970"/>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grpSp>
            <p:nvGrpSpPr>
              <p:cNvPr id="72" name="Group 71">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73" name="Straight Connector 72">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44" name="Group 43"/>
            <p:cNvGrpSpPr/>
            <p:nvPr/>
          </p:nvGrpSpPr>
          <p:grpSpPr>
            <a:xfrm rot="14953799">
              <a:off x="4583504" y="4479815"/>
              <a:ext cx="1823343" cy="1971492"/>
              <a:chOff x="4954635" y="6278130"/>
              <a:chExt cx="1619005" cy="1750551"/>
            </a:xfrm>
          </p:grpSpPr>
          <p:sp>
            <p:nvSpPr>
              <p:cNvPr id="45" name="Arc 44"/>
              <p:cNvSpPr/>
              <p:nvPr/>
            </p:nvSpPr>
            <p:spPr>
              <a:xfrm rot="17845509">
                <a:off x="4954635" y="6409676"/>
                <a:ext cx="1619005" cy="1619005"/>
              </a:xfrm>
              <a:prstGeom prst="arc">
                <a:avLst>
                  <a:gd name="adj1" fmla="val 19771581"/>
                  <a:gd name="adj2" fmla="val 78941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grpSp>
            <p:nvGrpSpPr>
              <p:cNvPr id="46" name="Group 45">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47" name="Straight Connector 46">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49" name="Group 48"/>
            <p:cNvGrpSpPr/>
            <p:nvPr/>
          </p:nvGrpSpPr>
          <p:grpSpPr>
            <a:xfrm rot="13271903" flipH="1">
              <a:off x="7332229" y="4677111"/>
              <a:ext cx="1823343" cy="1971492"/>
              <a:chOff x="4954635" y="6278130"/>
              <a:chExt cx="1619005" cy="1750551"/>
            </a:xfrm>
          </p:grpSpPr>
          <p:sp>
            <p:nvSpPr>
              <p:cNvPr id="50" name="Arc 49"/>
              <p:cNvSpPr/>
              <p:nvPr/>
            </p:nvSpPr>
            <p:spPr>
              <a:xfrm rot="17845509">
                <a:off x="4954635" y="6409676"/>
                <a:ext cx="1619005" cy="1619005"/>
              </a:xfrm>
              <a:prstGeom prst="arc">
                <a:avLst>
                  <a:gd name="adj1" fmla="val 19771581"/>
                  <a:gd name="adj2" fmla="val 128839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grpSp>
            <p:nvGrpSpPr>
              <p:cNvPr id="51" name="Group 50">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52" name="Straight Connector 51">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4" name="Group 53"/>
            <p:cNvGrpSpPr/>
            <p:nvPr/>
          </p:nvGrpSpPr>
          <p:grpSpPr>
            <a:xfrm rot="6606429" flipH="1">
              <a:off x="7486978" y="4618863"/>
              <a:ext cx="1823343" cy="1971492"/>
              <a:chOff x="4954635" y="6278130"/>
              <a:chExt cx="1619005" cy="1750551"/>
            </a:xfrm>
          </p:grpSpPr>
          <p:sp>
            <p:nvSpPr>
              <p:cNvPr id="55" name="Arc 54"/>
              <p:cNvSpPr/>
              <p:nvPr/>
            </p:nvSpPr>
            <p:spPr>
              <a:xfrm rot="17845509">
                <a:off x="4954635" y="6409676"/>
                <a:ext cx="1619005" cy="1619005"/>
              </a:xfrm>
              <a:prstGeom prst="arc">
                <a:avLst>
                  <a:gd name="adj1" fmla="val 19771581"/>
                  <a:gd name="adj2" fmla="val 78941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grpSp>
            <p:nvGrpSpPr>
              <p:cNvPr id="56" name="Group 55">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57" name="Straight Connector 56">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9" name="Group 58"/>
            <p:cNvGrpSpPr/>
            <p:nvPr/>
          </p:nvGrpSpPr>
          <p:grpSpPr>
            <a:xfrm rot="454403" flipH="1">
              <a:off x="7540788" y="4519029"/>
              <a:ext cx="1823343" cy="1971492"/>
              <a:chOff x="4954635" y="6278130"/>
              <a:chExt cx="1619005" cy="1750551"/>
            </a:xfrm>
          </p:grpSpPr>
          <p:sp>
            <p:nvSpPr>
              <p:cNvPr id="67" name="Arc 66"/>
              <p:cNvSpPr/>
              <p:nvPr/>
            </p:nvSpPr>
            <p:spPr>
              <a:xfrm rot="17845509">
                <a:off x="4954635" y="6409676"/>
                <a:ext cx="1619005" cy="1619005"/>
              </a:xfrm>
              <a:prstGeom prst="arc">
                <a:avLst>
                  <a:gd name="adj1" fmla="val 19771581"/>
                  <a:gd name="adj2" fmla="val 78941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grpSp>
            <p:nvGrpSpPr>
              <p:cNvPr id="69" name="Group 68">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77" name="Straight Connector 76">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79" name="Group 78"/>
            <p:cNvGrpSpPr/>
            <p:nvPr/>
          </p:nvGrpSpPr>
          <p:grpSpPr>
            <a:xfrm rot="9580774">
              <a:off x="4663820" y="4645739"/>
              <a:ext cx="1823343" cy="1971492"/>
              <a:chOff x="4954635" y="6278130"/>
              <a:chExt cx="1619005" cy="1750551"/>
            </a:xfrm>
          </p:grpSpPr>
          <p:sp>
            <p:nvSpPr>
              <p:cNvPr id="80" name="Arc 79"/>
              <p:cNvSpPr/>
              <p:nvPr/>
            </p:nvSpPr>
            <p:spPr>
              <a:xfrm rot="17845509">
                <a:off x="4954635" y="6409676"/>
                <a:ext cx="1619005" cy="1619005"/>
              </a:xfrm>
              <a:prstGeom prst="arc">
                <a:avLst>
                  <a:gd name="adj1" fmla="val 19771581"/>
                  <a:gd name="adj2" fmla="val 78941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grpSp>
            <p:nvGrpSpPr>
              <p:cNvPr id="81" name="Group 80">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82" name="Straight Connector 81">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85" name="Rectangle 84">
              <a:extLst>
                <a:ext uri="{FF2B5EF4-FFF2-40B4-BE49-F238E27FC236}">
                  <a16:creationId xmlns:a16="http://schemas.microsoft.com/office/drawing/2014/main" id="{579DA78E-AD61-4B60-9FF6-D2CF7463003A}"/>
                </a:ext>
              </a:extLst>
            </p:cNvPr>
            <p:cNvSpPr/>
            <p:nvPr/>
          </p:nvSpPr>
          <p:spPr>
            <a:xfrm rot="3078770">
              <a:off x="4253365" y="5980630"/>
              <a:ext cx="1380653" cy="364679"/>
            </a:xfrm>
            <a:prstGeom prst="rect">
              <a:avLst/>
            </a:prstGeom>
            <a:noFill/>
            <a:ln w="9525" cap="flat" cmpd="sng" algn="ctr">
              <a:no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1F50"/>
                  </a:solidFill>
                  <a:effectLst/>
                  <a:uLnTx/>
                  <a:uFillTx/>
                  <a:latin typeface="Segoe UI Semibold" panose="020B0702040204020203" pitchFamily="34" charset="0"/>
                  <a:ea typeface="+mn-ea"/>
                  <a:cs typeface="Segoe UI Semibold" panose="020B0702040204020203" pitchFamily="34" charset="0"/>
                </a:rPr>
                <a:t>BUILD</a:t>
              </a:r>
            </a:p>
          </p:txBody>
        </p:sp>
        <p:sp>
          <p:nvSpPr>
            <p:cNvPr id="105" name="Rectangle 104">
              <a:extLst>
                <a:ext uri="{FF2B5EF4-FFF2-40B4-BE49-F238E27FC236}">
                  <a16:creationId xmlns:a16="http://schemas.microsoft.com/office/drawing/2014/main" id="{579DA78E-AD61-4B60-9FF6-D2CF7463003A}"/>
                </a:ext>
              </a:extLst>
            </p:cNvPr>
            <p:cNvSpPr/>
            <p:nvPr/>
          </p:nvSpPr>
          <p:spPr>
            <a:xfrm rot="2700000">
              <a:off x="5824855" y="5385639"/>
              <a:ext cx="2198366" cy="311866"/>
            </a:xfrm>
            <a:prstGeom prst="rect">
              <a:avLst/>
            </a:prstGeom>
            <a:noFill/>
            <a:ln w="9525" cap="flat" cmpd="sng" algn="ctr">
              <a:no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1F50"/>
                  </a:solidFill>
                  <a:effectLst/>
                  <a:uLnTx/>
                  <a:uFillTx/>
                  <a:latin typeface="Segoe UI Semibold" panose="020B0702040204020203" pitchFamily="34" charset="0"/>
                  <a:ea typeface="+mn-ea"/>
                  <a:cs typeface="Segoe UI Semibold" panose="020B0702040204020203" pitchFamily="34" charset="0"/>
                </a:rPr>
                <a:t>CONTINUOUS DEVELOPMENT</a:t>
              </a:r>
            </a:p>
          </p:txBody>
        </p:sp>
        <p:sp>
          <p:nvSpPr>
            <p:cNvPr id="106" name="Rectangle 105">
              <a:extLst>
                <a:ext uri="{FF2B5EF4-FFF2-40B4-BE49-F238E27FC236}">
                  <a16:creationId xmlns:a16="http://schemas.microsoft.com/office/drawing/2014/main" id="{579DA78E-AD61-4B60-9FF6-D2CF7463003A}"/>
                </a:ext>
              </a:extLst>
            </p:cNvPr>
            <p:cNvSpPr/>
            <p:nvPr/>
          </p:nvSpPr>
          <p:spPr>
            <a:xfrm rot="19261686">
              <a:off x="5521742" y="5810373"/>
              <a:ext cx="1884468" cy="364679"/>
            </a:xfrm>
            <a:prstGeom prst="rect">
              <a:avLst/>
            </a:prstGeom>
            <a:noFill/>
            <a:ln w="9525" cap="flat" cmpd="sng" algn="ctr">
              <a:no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1F50"/>
                  </a:solidFill>
                  <a:effectLst/>
                  <a:uLnTx/>
                  <a:uFillTx/>
                  <a:latin typeface="Segoe UI Semibold" panose="020B0702040204020203" pitchFamily="34" charset="0"/>
                  <a:ea typeface="+mn-ea"/>
                  <a:cs typeface="Segoe UI Semibold" panose="020B0702040204020203" pitchFamily="34" charset="0"/>
                </a:rPr>
                <a:t>CONTINUOUS</a:t>
              </a:r>
            </a:p>
          </p:txBody>
        </p:sp>
        <p:sp>
          <p:nvSpPr>
            <p:cNvPr id="107" name="Rectangle 106">
              <a:extLst>
                <a:ext uri="{FF2B5EF4-FFF2-40B4-BE49-F238E27FC236}">
                  <a16:creationId xmlns:a16="http://schemas.microsoft.com/office/drawing/2014/main" id="{579DA78E-AD61-4B60-9FF6-D2CF7463003A}"/>
                </a:ext>
              </a:extLst>
            </p:cNvPr>
            <p:cNvSpPr/>
            <p:nvPr/>
          </p:nvSpPr>
          <p:spPr>
            <a:xfrm rot="19143801">
              <a:off x="6529880" y="4993067"/>
              <a:ext cx="1884468" cy="364679"/>
            </a:xfrm>
            <a:prstGeom prst="rect">
              <a:avLst/>
            </a:prstGeom>
            <a:noFill/>
            <a:ln w="9525" cap="flat" cmpd="sng" algn="ctr">
              <a:no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1F50"/>
                  </a:solidFill>
                  <a:effectLst/>
                  <a:uLnTx/>
                  <a:uFillTx/>
                  <a:latin typeface="Segoe UI Semibold" panose="020B0702040204020203" pitchFamily="34" charset="0"/>
                  <a:ea typeface="+mn-ea"/>
                  <a:cs typeface="Segoe UI Semibold" panose="020B0702040204020203" pitchFamily="34" charset="0"/>
                </a:rPr>
                <a:t>INTEGRATION</a:t>
              </a:r>
            </a:p>
          </p:txBody>
        </p:sp>
        <p:sp>
          <p:nvSpPr>
            <p:cNvPr id="109" name="Rectangle 108">
              <a:extLst>
                <a:ext uri="{FF2B5EF4-FFF2-40B4-BE49-F238E27FC236}">
                  <a16:creationId xmlns:a16="http://schemas.microsoft.com/office/drawing/2014/main" id="{579DA78E-AD61-4B60-9FF6-D2CF7463003A}"/>
                </a:ext>
              </a:extLst>
            </p:cNvPr>
            <p:cNvSpPr/>
            <p:nvPr/>
          </p:nvSpPr>
          <p:spPr>
            <a:xfrm rot="19435941">
              <a:off x="8117164" y="6099276"/>
              <a:ext cx="1380653" cy="364679"/>
            </a:xfrm>
            <a:prstGeom prst="rect">
              <a:avLst/>
            </a:prstGeom>
            <a:noFill/>
            <a:ln w="9525" cap="flat" cmpd="sng" algn="ctr">
              <a:no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1F50"/>
                  </a:solidFill>
                  <a:effectLst/>
                  <a:uLnTx/>
                  <a:uFillTx/>
                  <a:latin typeface="Segoe UI Semibold" panose="020B0702040204020203" pitchFamily="34" charset="0"/>
                  <a:ea typeface="+mn-ea"/>
                  <a:cs typeface="Segoe UI Semibold" panose="020B0702040204020203" pitchFamily="34" charset="0"/>
                </a:rPr>
                <a:t>OPERATE</a:t>
              </a:r>
            </a:p>
          </p:txBody>
        </p:sp>
        <p:sp>
          <p:nvSpPr>
            <p:cNvPr id="110" name="Rectangle 109">
              <a:extLst>
                <a:ext uri="{FF2B5EF4-FFF2-40B4-BE49-F238E27FC236}">
                  <a16:creationId xmlns:a16="http://schemas.microsoft.com/office/drawing/2014/main" id="{579DA78E-AD61-4B60-9FF6-D2CF7463003A}"/>
                </a:ext>
              </a:extLst>
            </p:cNvPr>
            <p:cNvSpPr/>
            <p:nvPr/>
          </p:nvSpPr>
          <p:spPr>
            <a:xfrm rot="2950181">
              <a:off x="8276841" y="4752753"/>
              <a:ext cx="1380653" cy="364679"/>
            </a:xfrm>
            <a:prstGeom prst="rect">
              <a:avLst/>
            </a:prstGeom>
            <a:noFill/>
            <a:ln w="9525" cap="flat" cmpd="sng" algn="ctr">
              <a:no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1F50"/>
                  </a:solidFill>
                  <a:effectLst/>
                  <a:uLnTx/>
                  <a:uFillTx/>
                  <a:latin typeface="Segoe UI Semibold" panose="020B0702040204020203" pitchFamily="34" charset="0"/>
                  <a:ea typeface="+mn-ea"/>
                  <a:cs typeface="Segoe UI Semibold" panose="020B0702040204020203" pitchFamily="34" charset="0"/>
                </a:rPr>
                <a:t>DEPLOY</a:t>
              </a:r>
              <a:endParaRPr kumimoji="0" lang="en-US" sz="1200" b="0" i="0" u="none" strike="noStrike" kern="1200" cap="none" spc="0" normalizeH="0" baseline="0" noProof="0" dirty="0">
                <a:ln>
                  <a:noFill/>
                </a:ln>
                <a:solidFill>
                  <a:srgbClr val="001F50"/>
                </a:solidFill>
                <a:effectLst/>
                <a:uLnTx/>
                <a:uFillTx/>
                <a:latin typeface="Segoe UI Semibold" panose="020B0702040204020203" pitchFamily="34" charset="0"/>
                <a:ea typeface="+mn-ea"/>
                <a:cs typeface="Segoe UI Semibold" panose="020B0702040204020203" pitchFamily="34" charset="0"/>
              </a:endParaRPr>
            </a:p>
          </p:txBody>
        </p:sp>
      </p:grpSp>
      <p:sp>
        <p:nvSpPr>
          <p:cNvPr id="68" name="Rectangle 67">
            <a:extLst>
              <a:ext uri="{FF2B5EF4-FFF2-40B4-BE49-F238E27FC236}">
                <a16:creationId xmlns:a16="http://schemas.microsoft.com/office/drawing/2014/main" id="{9E236F5A-9F0E-42C7-84B6-FBBD8891BED0}"/>
              </a:ext>
            </a:extLst>
          </p:cNvPr>
          <p:cNvSpPr/>
          <p:nvPr/>
        </p:nvSpPr>
        <p:spPr>
          <a:xfrm>
            <a:off x="2029551" y="2533505"/>
            <a:ext cx="3417720" cy="867562"/>
          </a:xfrm>
          <a:prstGeom prst="rect">
            <a:avLst/>
          </a:prstGeom>
          <a:noFill/>
          <a:ln w="9525" cap="flat" cmpd="sng" algn="ctr">
            <a:noFill/>
            <a:prstDash val="solid"/>
          </a:ln>
          <a:effectLst/>
        </p:spPr>
        <p:txBody>
          <a:bodyPr wrap="none" rtlCol="0" anchor="t" anchorCtr="0"/>
          <a:lstStyle/>
          <a:p>
            <a:pPr marL="0" marR="0" lvl="0" indent="0" algn="ctr" defTabSz="914225" rtl="0" eaLnBrk="1" fontAlgn="auto" latinLnBrk="0" hangingPunct="1">
              <a:lnSpc>
                <a:spcPct val="100000"/>
              </a:lnSpc>
              <a:spcBef>
                <a:spcPts val="0"/>
              </a:spcBef>
              <a:spcAft>
                <a:spcPts val="588"/>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a:ea typeface="+mn-ea"/>
                <a:cs typeface="Segoe UI Semibold" panose="020B0702040204020203" pitchFamily="34" charset="0"/>
              </a:rPr>
              <a:t>Integrated tooling</a:t>
            </a:r>
          </a:p>
          <a:p>
            <a:pPr marL="0" marR="0" lvl="0" indent="0" algn="ctr" defTabSz="914225" rtl="0" eaLnBrk="1" fontAlgn="auto" latinLnBrk="0" hangingPunct="1">
              <a:lnSpc>
                <a:spcPct val="10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0">
                      <a:srgbClr val="4F504F"/>
                    </a:gs>
                    <a:gs pos="100000">
                      <a:srgbClr val="4F504F"/>
                    </a:gs>
                  </a:gsLst>
                  <a:lin ang="5400000" scaled="0"/>
                </a:gradFill>
                <a:effectLst/>
                <a:uLnTx/>
                <a:uFillTx/>
                <a:latin typeface="Segoe UI Semilight"/>
                <a:ea typeface="+mn-ea"/>
                <a:cs typeface="Segoe UI Semibold" panose="020B0702040204020203" pitchFamily="34" charset="0"/>
              </a:rPr>
              <a:t>Visual Studios</a:t>
            </a:r>
            <a:br>
              <a:rPr kumimoji="0" lang="en-US" sz="1600" b="0" i="0" u="none" strike="noStrike" kern="1200" cap="none" spc="0" normalizeH="0" baseline="0" noProof="0" dirty="0">
                <a:ln>
                  <a:noFill/>
                </a:ln>
                <a:gradFill>
                  <a:gsLst>
                    <a:gs pos="0">
                      <a:srgbClr val="FFFFFF">
                        <a:lumMod val="65000"/>
                      </a:srgbClr>
                    </a:gs>
                    <a:gs pos="100000">
                      <a:srgbClr val="FFFFFF">
                        <a:lumMod val="65000"/>
                      </a:srgbClr>
                    </a:gs>
                  </a:gsLst>
                  <a:lin ang="5400000" scaled="0"/>
                </a:gradFill>
                <a:effectLst/>
                <a:uLnTx/>
                <a:uFillTx/>
                <a:latin typeface="Segoe UI Semilight"/>
                <a:ea typeface="+mn-ea"/>
                <a:cs typeface="Segoe UI Semibold" panose="020B0702040204020203" pitchFamily="34" charset="0"/>
              </a:rPr>
            </a:br>
            <a:r>
              <a:rPr kumimoji="0" lang="en-US" sz="1600" b="0" i="0" u="none" strike="noStrike" kern="1200" cap="none" spc="0" normalizeH="0" baseline="0" noProof="0" dirty="0">
                <a:ln>
                  <a:noFill/>
                </a:ln>
                <a:gradFill>
                  <a:gsLst>
                    <a:gs pos="0">
                      <a:srgbClr val="4F504F"/>
                    </a:gs>
                    <a:gs pos="100000">
                      <a:srgbClr val="4F504F"/>
                    </a:gs>
                  </a:gsLst>
                  <a:lin ang="5400000" scaled="0"/>
                </a:gradFill>
                <a:effectLst/>
                <a:uLnTx/>
                <a:uFillTx/>
                <a:latin typeface="Segoe UI Semilight"/>
                <a:ea typeface="+mn-ea"/>
                <a:cs typeface="Segoe UI Semibold" panose="020B0702040204020203" pitchFamily="34" charset="0"/>
              </a:rPr>
              <a:t>Third parties  </a:t>
            </a:r>
            <a:r>
              <a:rPr kumimoji="0" lang="en-US" sz="1600" b="0" i="0" u="none" strike="noStrike" kern="1200" cap="none" spc="0" normalizeH="0" baseline="0" noProof="0" dirty="0">
                <a:ln>
                  <a:noFill/>
                </a:ln>
                <a:gradFill>
                  <a:gsLst>
                    <a:gs pos="0">
                      <a:srgbClr val="FFFFFF">
                        <a:lumMod val="65000"/>
                      </a:srgbClr>
                    </a:gs>
                    <a:gs pos="100000">
                      <a:srgbClr val="FFFFFF">
                        <a:lumMod val="65000"/>
                      </a:srgbClr>
                    </a:gs>
                  </a:gsLst>
                  <a:lin ang="5400000" scaled="0"/>
                </a:gradFill>
                <a:effectLst/>
                <a:uLnTx/>
                <a:uFillTx/>
                <a:latin typeface="Segoe UI Semilight"/>
                <a:ea typeface="+mn-ea"/>
                <a:cs typeface="Segoe UI Semibold" panose="020B0702040204020203" pitchFamily="34" charset="0"/>
              </a:rPr>
              <a:t>|</a:t>
            </a:r>
            <a:r>
              <a:rPr kumimoji="0" lang="en-US" sz="1600" b="0" i="0" u="none" strike="noStrike" kern="1200" cap="none" spc="0" normalizeH="0" baseline="0" noProof="0" dirty="0">
                <a:ln>
                  <a:noFill/>
                </a:ln>
                <a:gradFill>
                  <a:gsLst>
                    <a:gs pos="0">
                      <a:srgbClr val="4F504F"/>
                    </a:gs>
                    <a:gs pos="100000">
                      <a:srgbClr val="4F504F"/>
                    </a:gs>
                  </a:gsLst>
                  <a:lin ang="5400000" scaled="0"/>
                </a:gradFill>
                <a:effectLst/>
                <a:uLnTx/>
                <a:uFillTx/>
                <a:latin typeface="Segoe UI Semilight"/>
                <a:ea typeface="+mn-ea"/>
                <a:cs typeface="Segoe UI Semibold" panose="020B0702040204020203" pitchFamily="34" charset="0"/>
              </a:rPr>
              <a:t>  DevOps</a:t>
            </a:r>
          </a:p>
        </p:txBody>
      </p:sp>
    </p:spTree>
    <p:extLst>
      <p:ext uri="{BB962C8B-B14F-4D97-AF65-F5344CB8AC3E}">
        <p14:creationId xmlns:p14="http://schemas.microsoft.com/office/powerpoint/2010/main" val="1357199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500"/>
                                        <p:tgtEl>
                                          <p:spTgt spid="60"/>
                                        </p:tgtEl>
                                      </p:cBhvr>
                                    </p:animEffect>
                                  </p:childTnLst>
                                </p:cTn>
                              </p:par>
                              <p:par>
                                <p:cTn id="8" presetID="42" presetClass="path" presetSubtype="0" decel="100000" fill="hold" grpId="1" nodeType="withEffect">
                                  <p:stCondLst>
                                    <p:cond delay="0"/>
                                  </p:stCondLst>
                                  <p:childTnLst>
                                    <p:animMotion origin="layout" path="M 3.33333E-6 4.81481E-6 L 3.33333E-6 0.04583 " pathEditMode="relative" rAng="0" ptsTypes="AA">
                                      <p:cBhvr>
                                        <p:cTn id="9" dur="500" spd="-100000" fill="hold"/>
                                        <p:tgtEl>
                                          <p:spTgt spid="60"/>
                                        </p:tgtEl>
                                        <p:attrNameLst>
                                          <p:attrName>ppt_x</p:attrName>
                                          <p:attrName>ppt_y</p:attrName>
                                        </p:attrNameLst>
                                      </p:cBhvr>
                                      <p:rCtr x="0" y="2292"/>
                                    </p:animMotion>
                                  </p:childTnLst>
                                </p:cTn>
                              </p:par>
                              <p:par>
                                <p:cTn id="10" presetID="10" presetClass="entr" presetSubtype="0" fill="hold" grpId="0" nodeType="withEffect">
                                  <p:stCondLst>
                                    <p:cond delay="500"/>
                                  </p:stCondLst>
                                  <p:childTnLst>
                                    <p:set>
                                      <p:cBhvr>
                                        <p:cTn id="11" dur="1" fill="hold">
                                          <p:stCondLst>
                                            <p:cond delay="0"/>
                                          </p:stCondLst>
                                        </p:cTn>
                                        <p:tgtEl>
                                          <p:spTgt spid="68"/>
                                        </p:tgtEl>
                                        <p:attrNameLst>
                                          <p:attrName>style.visibility</p:attrName>
                                        </p:attrNameLst>
                                      </p:cBhvr>
                                      <p:to>
                                        <p:strVal val="visible"/>
                                      </p:to>
                                    </p:set>
                                    <p:animEffect transition="in" filter="fade">
                                      <p:cBhvr>
                                        <p:cTn id="12" dur="250"/>
                                        <p:tgtEl>
                                          <p:spTgt spid="68"/>
                                        </p:tgtEl>
                                      </p:cBhvr>
                                    </p:animEffect>
                                  </p:childTnLst>
                                </p:cTn>
                              </p:par>
                              <p:par>
                                <p:cTn id="13" presetID="42" presetClass="path" presetSubtype="0" decel="100000" fill="hold" grpId="1" nodeType="withEffect">
                                  <p:stCondLst>
                                    <p:cond delay="250"/>
                                  </p:stCondLst>
                                  <p:childTnLst>
                                    <p:animMotion origin="layout" path="M -4.16667E-7 1.11111E-6 L -4.16667E-7 0.1338 " pathEditMode="relative" rAng="0" ptsTypes="AA">
                                      <p:cBhvr>
                                        <p:cTn id="14" dur="500" spd="-100000" fill="hold"/>
                                        <p:tgtEl>
                                          <p:spTgt spid="68"/>
                                        </p:tgtEl>
                                        <p:attrNameLst>
                                          <p:attrName>ppt_x</p:attrName>
                                          <p:attrName>ppt_y</p:attrName>
                                        </p:attrNameLst>
                                      </p:cBhvr>
                                      <p:rCtr x="0" y="6690"/>
                                    </p:animMotion>
                                  </p:childTnLst>
                                </p:cTn>
                              </p:par>
                              <p:par>
                                <p:cTn id="15" presetID="10" presetClass="entr" presetSubtype="0" fill="hold" grpId="0" nodeType="withEffect">
                                  <p:stCondLst>
                                    <p:cond delay="650"/>
                                  </p:stCondLst>
                                  <p:childTnLst>
                                    <p:set>
                                      <p:cBhvr>
                                        <p:cTn id="16" dur="1" fill="hold">
                                          <p:stCondLst>
                                            <p:cond delay="0"/>
                                          </p:stCondLst>
                                        </p:cTn>
                                        <p:tgtEl>
                                          <p:spTgt spid="63"/>
                                        </p:tgtEl>
                                        <p:attrNameLst>
                                          <p:attrName>style.visibility</p:attrName>
                                        </p:attrNameLst>
                                      </p:cBhvr>
                                      <p:to>
                                        <p:strVal val="visible"/>
                                      </p:to>
                                    </p:set>
                                    <p:animEffect transition="in" filter="fade">
                                      <p:cBhvr>
                                        <p:cTn id="17" dur="250"/>
                                        <p:tgtEl>
                                          <p:spTgt spid="63"/>
                                        </p:tgtEl>
                                      </p:cBhvr>
                                    </p:animEffect>
                                  </p:childTnLst>
                                </p:cTn>
                              </p:par>
                              <p:par>
                                <p:cTn id="18" presetID="42" presetClass="path" presetSubtype="0" decel="100000" fill="hold" grpId="1" nodeType="withEffect">
                                  <p:stCondLst>
                                    <p:cond delay="500"/>
                                  </p:stCondLst>
                                  <p:childTnLst>
                                    <p:animMotion origin="layout" path="M 3.95833E-6 1.11111E-6 L 3.95833E-6 0.1338 " pathEditMode="relative" rAng="0" ptsTypes="AA">
                                      <p:cBhvr>
                                        <p:cTn id="19" dur="500" spd="-100000" fill="hold"/>
                                        <p:tgtEl>
                                          <p:spTgt spid="63"/>
                                        </p:tgtEl>
                                        <p:attrNameLst>
                                          <p:attrName>ppt_x</p:attrName>
                                          <p:attrName>ppt_y</p:attrName>
                                        </p:attrNameLst>
                                      </p:cBhvr>
                                      <p:rCtr x="0" y="6690"/>
                                    </p:animMotion>
                                  </p:childTnLst>
                                </p:cTn>
                              </p:par>
                              <p:par>
                                <p:cTn id="20" presetID="10" presetClass="entr" presetSubtype="0" fill="hold" grpId="0" nodeType="withEffect">
                                  <p:stCondLst>
                                    <p:cond delay="1000"/>
                                  </p:stCondLst>
                                  <p:childTnLst>
                                    <p:set>
                                      <p:cBhvr>
                                        <p:cTn id="21" dur="1" fill="hold">
                                          <p:stCondLst>
                                            <p:cond delay="0"/>
                                          </p:stCondLst>
                                        </p:cTn>
                                        <p:tgtEl>
                                          <p:spTgt spid="62"/>
                                        </p:tgtEl>
                                        <p:attrNameLst>
                                          <p:attrName>style.visibility</p:attrName>
                                        </p:attrNameLst>
                                      </p:cBhvr>
                                      <p:to>
                                        <p:strVal val="visible"/>
                                      </p:to>
                                    </p:set>
                                    <p:animEffect transition="in" filter="fade">
                                      <p:cBhvr>
                                        <p:cTn id="22" dur="250"/>
                                        <p:tgtEl>
                                          <p:spTgt spid="62"/>
                                        </p:tgtEl>
                                      </p:cBhvr>
                                    </p:animEffect>
                                  </p:childTnLst>
                                </p:cTn>
                              </p:par>
                              <p:par>
                                <p:cTn id="23" presetID="42" presetClass="path" presetSubtype="0" decel="100000" fill="hold" grpId="1" nodeType="withEffect">
                                  <p:stCondLst>
                                    <p:cond delay="750"/>
                                  </p:stCondLst>
                                  <p:childTnLst>
                                    <p:animMotion origin="layout" path="M 1.875E-6 1.11111E-6 L 1.875E-6 0.1338 " pathEditMode="relative" rAng="0" ptsTypes="AA">
                                      <p:cBhvr>
                                        <p:cTn id="24" dur="500" spd="-100000" fill="hold"/>
                                        <p:tgtEl>
                                          <p:spTgt spid="62"/>
                                        </p:tgtEl>
                                        <p:attrNameLst>
                                          <p:attrName>ppt_x</p:attrName>
                                          <p:attrName>ppt_y</p:attrName>
                                        </p:attrNameLst>
                                      </p:cBhvr>
                                      <p:rCtr x="0" y="6690"/>
                                    </p:animMotion>
                                  </p:childTnLst>
                                </p:cTn>
                              </p:par>
                              <p:par>
                                <p:cTn id="25" presetID="10" presetClass="entr" presetSubtype="0" fill="hold" nodeType="withEffect">
                                  <p:stCondLst>
                                    <p:cond delay="650"/>
                                  </p:stCondLst>
                                  <p:childTnLst>
                                    <p:set>
                                      <p:cBhvr>
                                        <p:cTn id="26" dur="1" fill="hold">
                                          <p:stCondLst>
                                            <p:cond delay="0"/>
                                          </p:stCondLst>
                                        </p:cTn>
                                        <p:tgtEl>
                                          <p:spTgt spid="91"/>
                                        </p:tgtEl>
                                        <p:attrNameLst>
                                          <p:attrName>style.visibility</p:attrName>
                                        </p:attrNameLst>
                                      </p:cBhvr>
                                      <p:to>
                                        <p:strVal val="visible"/>
                                      </p:to>
                                    </p:set>
                                    <p:animEffect transition="in" filter="fade">
                                      <p:cBhvr>
                                        <p:cTn id="27" dur="500"/>
                                        <p:tgtEl>
                                          <p:spTgt spid="91"/>
                                        </p:tgtEl>
                                      </p:cBhvr>
                                    </p:animEffect>
                                  </p:childTnLst>
                                </p:cTn>
                              </p:par>
                              <p:par>
                                <p:cTn id="28" presetID="10" presetClass="entr" presetSubtype="0" fill="hold" grpId="0" nodeType="withEffect">
                                  <p:stCondLst>
                                    <p:cond delay="900"/>
                                  </p:stCondLst>
                                  <p:childTnLst>
                                    <p:set>
                                      <p:cBhvr>
                                        <p:cTn id="29" dur="1" fill="hold">
                                          <p:stCondLst>
                                            <p:cond delay="0"/>
                                          </p:stCondLst>
                                        </p:cTn>
                                        <p:tgtEl>
                                          <p:spTgt spid="90"/>
                                        </p:tgtEl>
                                        <p:attrNameLst>
                                          <p:attrName>style.visibility</p:attrName>
                                        </p:attrNameLst>
                                      </p:cBhvr>
                                      <p:to>
                                        <p:strVal val="visible"/>
                                      </p:to>
                                    </p:set>
                                    <p:animEffect transition="in" filter="fade">
                                      <p:cBhvr>
                                        <p:cTn id="30" dur="500"/>
                                        <p:tgtEl>
                                          <p:spTgt spid="90"/>
                                        </p:tgtEl>
                                      </p:cBhvr>
                                    </p:animEffect>
                                  </p:childTnLst>
                                </p:cTn>
                              </p:par>
                              <p:par>
                                <p:cTn id="31" presetID="10" presetClass="entr" presetSubtype="0" fill="hold" nodeType="withEffect">
                                  <p:stCondLst>
                                    <p:cond delay="400"/>
                                  </p:stCondLst>
                                  <p:childTnLst>
                                    <p:set>
                                      <p:cBhvr>
                                        <p:cTn id="32" dur="1" fill="hold">
                                          <p:stCondLst>
                                            <p:cond delay="0"/>
                                          </p:stCondLst>
                                        </p:cTn>
                                        <p:tgtEl>
                                          <p:spTgt spid="86"/>
                                        </p:tgtEl>
                                        <p:attrNameLst>
                                          <p:attrName>style.visibility</p:attrName>
                                        </p:attrNameLst>
                                      </p:cBhvr>
                                      <p:to>
                                        <p:strVal val="visible"/>
                                      </p:to>
                                    </p:set>
                                    <p:animEffect transition="in" filter="fade">
                                      <p:cBhvr>
                                        <p:cTn id="33" dur="500"/>
                                        <p:tgtEl>
                                          <p:spTgt spid="86"/>
                                        </p:tgtEl>
                                      </p:cBhvr>
                                    </p:animEffect>
                                  </p:childTnLst>
                                </p:cTn>
                              </p:par>
                            </p:childTnLst>
                          </p:cTn>
                        </p:par>
                        <p:par>
                          <p:cTn id="34" fill="hold">
                            <p:stCondLst>
                              <p:cond delay="1400"/>
                            </p:stCondLst>
                            <p:childTnLst>
                              <p:par>
                                <p:cTn id="35" presetID="10" presetClass="entr" presetSubtype="0" fill="hold" grpId="0" nodeType="after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fade">
                                      <p:cBhvr>
                                        <p:cTn id="37" dur="500"/>
                                        <p:tgtEl>
                                          <p:spTgt spid="12"/>
                                        </p:tgtEl>
                                      </p:cBhvr>
                                    </p:animEffect>
                                  </p:childTnLst>
                                </p:cTn>
                              </p:par>
                              <p:par>
                                <p:cTn id="38" presetID="9" presetClass="entr" presetSubtype="0" fill="hold" nodeType="withEffect">
                                  <p:stCondLst>
                                    <p:cond delay="0"/>
                                  </p:stCondLst>
                                  <p:childTnLst>
                                    <p:set>
                                      <p:cBhvr>
                                        <p:cTn id="39" dur="1" fill="hold">
                                          <p:stCondLst>
                                            <p:cond delay="0"/>
                                          </p:stCondLst>
                                        </p:cTn>
                                        <p:tgtEl>
                                          <p:spTgt spid="19"/>
                                        </p:tgtEl>
                                        <p:attrNameLst>
                                          <p:attrName>style.visibility</p:attrName>
                                        </p:attrNameLst>
                                      </p:cBhvr>
                                      <p:to>
                                        <p:strVal val="visible"/>
                                      </p:to>
                                    </p:set>
                                    <p:animEffect transition="in" filter="dissolve">
                                      <p:cBhvr>
                                        <p:cTn id="40" dur="10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60" grpId="0"/>
      <p:bldP spid="60" grpId="1"/>
      <p:bldP spid="62" grpId="0"/>
      <p:bldP spid="62" grpId="1"/>
      <p:bldP spid="63" grpId="0"/>
      <p:bldP spid="63" grpId="1"/>
      <p:bldP spid="90" grpId="0" animBg="1"/>
      <p:bldP spid="68" grpId="0"/>
      <p:bldP spid="68" grpId="1"/>
    </p:bldLst>
  </p:timing>
</p:sld>
</file>

<file path=ppt/slides/slide8.xml><?xml version="1.0" encoding="utf-8"?>
<p:sld xmlns:a="http://schemas.openxmlformats.org/drawingml/2006/main" xmlns:r="http://schemas.openxmlformats.org/officeDocument/2006/relationships" xmlns:p="http://schemas.openxmlformats.org/presentationml/2006/main" show="0">
  <p:cSld>
    <p:bg>
      <p:bgPr>
        <a:solidFill>
          <a:srgbClr val="F2F2F2"/>
        </a:solidFill>
        <a:effectLst/>
      </p:bgPr>
    </p:bg>
    <p:spTree>
      <p:nvGrpSpPr>
        <p:cNvPr id="1" name=""/>
        <p:cNvGrpSpPr/>
        <p:nvPr/>
      </p:nvGrpSpPr>
      <p:grpSpPr>
        <a:xfrm>
          <a:off x="0" y="0"/>
          <a:ext cx="0" cy="0"/>
          <a:chOff x="0" y="0"/>
          <a:chExt cx="0" cy="0"/>
        </a:xfrm>
      </p:grpSpPr>
      <p:cxnSp>
        <p:nvCxnSpPr>
          <p:cNvPr id="42" name="Straight Connector 41">
            <a:extLst>
              <a:ext uri="{FF2B5EF4-FFF2-40B4-BE49-F238E27FC236}">
                <a16:creationId xmlns:a16="http://schemas.microsoft.com/office/drawing/2014/main" id="{6AA8D26F-DD75-4CD0-A6EC-05928B39E37D}"/>
              </a:ext>
            </a:extLst>
          </p:cNvPr>
          <p:cNvCxnSpPr>
            <a:cxnSpLocks/>
          </p:cNvCxnSpPr>
          <p:nvPr/>
        </p:nvCxnSpPr>
        <p:spPr>
          <a:xfrm>
            <a:off x="1954222" y="487"/>
            <a:ext cx="0" cy="6888317"/>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4" name="Rectangle 43">
            <a:extLst>
              <a:ext uri="{FF2B5EF4-FFF2-40B4-BE49-F238E27FC236}">
                <a16:creationId xmlns:a16="http://schemas.microsoft.com/office/drawing/2014/main" id="{CADBD9FC-8825-4F04-8D8B-B835D6C45EE5}"/>
              </a:ext>
            </a:extLst>
          </p:cNvPr>
          <p:cNvSpPr/>
          <p:nvPr/>
        </p:nvSpPr>
        <p:spPr>
          <a:xfrm>
            <a:off x="551627" y="5744961"/>
            <a:ext cx="889779" cy="331899"/>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Trusted</a:t>
            </a:r>
          </a:p>
        </p:txBody>
      </p:sp>
      <p:sp>
        <p:nvSpPr>
          <p:cNvPr id="46" name="Rectangle 45">
            <a:extLst>
              <a:ext uri="{FF2B5EF4-FFF2-40B4-BE49-F238E27FC236}">
                <a16:creationId xmlns:a16="http://schemas.microsoft.com/office/drawing/2014/main" id="{A285972A-B9CE-4FF3-BE1E-C9D48BE4CFC5}"/>
              </a:ext>
            </a:extLst>
          </p:cNvPr>
          <p:cNvSpPr/>
          <p:nvPr/>
        </p:nvSpPr>
        <p:spPr>
          <a:xfrm>
            <a:off x="587173" y="3102867"/>
            <a:ext cx="818686" cy="333617"/>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Hybrid</a:t>
            </a:r>
          </a:p>
        </p:txBody>
      </p:sp>
      <p:sp>
        <p:nvSpPr>
          <p:cNvPr id="47" name="Rectangle 46">
            <a:extLst>
              <a:ext uri="{FF2B5EF4-FFF2-40B4-BE49-F238E27FC236}">
                <a16:creationId xmlns:a16="http://schemas.microsoft.com/office/drawing/2014/main" id="{31F52A4E-9CFA-4820-86CD-B8A72F942549}"/>
              </a:ext>
            </a:extLst>
          </p:cNvPr>
          <p:cNvSpPr/>
          <p:nvPr/>
        </p:nvSpPr>
        <p:spPr>
          <a:xfrm>
            <a:off x="426693" y="4423914"/>
            <a:ext cx="1139646" cy="331899"/>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Intelligent</a:t>
            </a:r>
          </a:p>
        </p:txBody>
      </p:sp>
      <p:sp>
        <p:nvSpPr>
          <p:cNvPr id="52" name="light">
            <a:extLst>
              <a:ext uri="{FF2B5EF4-FFF2-40B4-BE49-F238E27FC236}">
                <a16:creationId xmlns:a16="http://schemas.microsoft.com/office/drawing/2014/main" id="{F5980BDC-19E4-4D49-B671-D253BF187C88}"/>
              </a:ext>
            </a:extLst>
          </p:cNvPr>
          <p:cNvSpPr>
            <a:spLocks noChangeAspect="1" noEditPoints="1"/>
          </p:cNvSpPr>
          <p:nvPr/>
        </p:nvSpPr>
        <p:spPr bwMode="auto">
          <a:xfrm>
            <a:off x="853641" y="3796742"/>
            <a:ext cx="285750" cy="424238"/>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57" name="Freeform 60">
            <a:extLst>
              <a:ext uri="{FF2B5EF4-FFF2-40B4-BE49-F238E27FC236}">
                <a16:creationId xmlns:a16="http://schemas.microsoft.com/office/drawing/2014/main" id="{9C8B8BDC-4887-49C0-9AA2-0E0DAE49BEA6}"/>
              </a:ext>
            </a:extLst>
          </p:cNvPr>
          <p:cNvSpPr>
            <a:spLocks noChangeArrowheads="1"/>
          </p:cNvSpPr>
          <p:nvPr/>
        </p:nvSpPr>
        <p:spPr bwMode="auto">
          <a:xfrm>
            <a:off x="760880" y="5091515"/>
            <a:ext cx="471273" cy="466323"/>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65" name="Group 64">
            <a:extLst>
              <a:ext uri="{FF2B5EF4-FFF2-40B4-BE49-F238E27FC236}">
                <a16:creationId xmlns:a16="http://schemas.microsoft.com/office/drawing/2014/main" id="{C84C52DD-7CD5-479C-AB8B-620A7CDF856A}"/>
              </a:ext>
            </a:extLst>
          </p:cNvPr>
          <p:cNvGrpSpPr/>
          <p:nvPr/>
        </p:nvGrpSpPr>
        <p:grpSpPr>
          <a:xfrm>
            <a:off x="756911" y="2522228"/>
            <a:ext cx="451261" cy="440761"/>
            <a:chOff x="2088630" y="3287843"/>
            <a:chExt cx="429718" cy="419725"/>
          </a:xfrm>
          <a:noFill/>
        </p:grpSpPr>
        <p:sp>
          <p:nvSpPr>
            <p:cNvPr id="66" name="Rectangle 65">
              <a:extLst>
                <a:ext uri="{FF2B5EF4-FFF2-40B4-BE49-F238E27FC236}">
                  <a16:creationId xmlns:a16="http://schemas.microsoft.com/office/drawing/2014/main" id="{CE566485-19DF-4E32-AF54-102728E70834}"/>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7" name="Rectangle 66">
              <a:extLst>
                <a:ext uri="{FF2B5EF4-FFF2-40B4-BE49-F238E27FC236}">
                  <a16:creationId xmlns:a16="http://schemas.microsoft.com/office/drawing/2014/main" id="{B8D46F40-CD1A-4A29-888D-906FB9F95EC5}"/>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68" name="Rectangle 67">
            <a:extLst>
              <a:ext uri="{FF2B5EF4-FFF2-40B4-BE49-F238E27FC236}">
                <a16:creationId xmlns:a16="http://schemas.microsoft.com/office/drawing/2014/main" id="{C434BB8E-D2BD-47A9-B9B1-FAF3D67BA603}"/>
              </a:ext>
            </a:extLst>
          </p:cNvPr>
          <p:cNvSpPr/>
          <p:nvPr/>
        </p:nvSpPr>
        <p:spPr>
          <a:xfrm>
            <a:off x="163345" y="1714440"/>
            <a:ext cx="1662952" cy="452590"/>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2353" b="0" i="0" u="none" strike="noStrike" kern="0" cap="none" spc="49"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Productive</a:t>
            </a:r>
          </a:p>
        </p:txBody>
      </p:sp>
      <p:sp>
        <p:nvSpPr>
          <p:cNvPr id="69" name="speedometer_2">
            <a:extLst>
              <a:ext uri="{FF2B5EF4-FFF2-40B4-BE49-F238E27FC236}">
                <a16:creationId xmlns:a16="http://schemas.microsoft.com/office/drawing/2014/main" id="{AE99FD3D-3929-40F6-9551-9DF95629146E}"/>
              </a:ext>
            </a:extLst>
          </p:cNvPr>
          <p:cNvSpPr>
            <a:spLocks noChangeAspect="1" noEditPoints="1"/>
          </p:cNvSpPr>
          <p:nvPr/>
        </p:nvSpPr>
        <p:spPr bwMode="auto">
          <a:xfrm>
            <a:off x="693072" y="991480"/>
            <a:ext cx="600077" cy="600075"/>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71" name="Oval 70">
            <a:extLst>
              <a:ext uri="{FF2B5EF4-FFF2-40B4-BE49-F238E27FC236}">
                <a16:creationId xmlns:a16="http://schemas.microsoft.com/office/drawing/2014/main" id="{DF783A3C-10D5-42AD-93C4-BFE963BBF20E}"/>
              </a:ext>
            </a:extLst>
          </p:cNvPr>
          <p:cNvSpPr>
            <a:spLocks noChangeAspect="1"/>
          </p:cNvSpPr>
          <p:nvPr/>
        </p:nvSpPr>
        <p:spPr bwMode="auto">
          <a:xfrm>
            <a:off x="4443886" y="991480"/>
            <a:ext cx="5149596" cy="5149595"/>
          </a:xfrm>
          <a:prstGeom prst="ellipse">
            <a:avLst/>
          </a:prstGeom>
          <a:noFill/>
          <a:ln w="15875">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 name="Oval 77">
            <a:extLst>
              <a:ext uri="{FF2B5EF4-FFF2-40B4-BE49-F238E27FC236}">
                <a16:creationId xmlns:a16="http://schemas.microsoft.com/office/drawing/2014/main" id="{12CFE9B8-1473-4233-9F30-0622EC60960A}"/>
              </a:ext>
            </a:extLst>
          </p:cNvPr>
          <p:cNvSpPr/>
          <p:nvPr/>
        </p:nvSpPr>
        <p:spPr bwMode="auto">
          <a:xfrm>
            <a:off x="9083595" y="2130447"/>
            <a:ext cx="1739128" cy="711927"/>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Oval 76">
            <a:extLst>
              <a:ext uri="{FF2B5EF4-FFF2-40B4-BE49-F238E27FC236}">
                <a16:creationId xmlns:a16="http://schemas.microsoft.com/office/drawing/2014/main" id="{8C8C9719-37AD-4E22-A04C-147E6A8FC402}"/>
              </a:ext>
            </a:extLst>
          </p:cNvPr>
          <p:cNvSpPr/>
          <p:nvPr/>
        </p:nvSpPr>
        <p:spPr bwMode="auto">
          <a:xfrm>
            <a:off x="6390563" y="5910910"/>
            <a:ext cx="1204606" cy="71278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Oval 20">
            <a:extLst>
              <a:ext uri="{FF2B5EF4-FFF2-40B4-BE49-F238E27FC236}">
                <a16:creationId xmlns:a16="http://schemas.microsoft.com/office/drawing/2014/main" id="{B883C091-3680-4306-87FC-4269834A92F5}"/>
              </a:ext>
            </a:extLst>
          </p:cNvPr>
          <p:cNvSpPr/>
          <p:nvPr/>
        </p:nvSpPr>
        <p:spPr bwMode="auto">
          <a:xfrm>
            <a:off x="3193654" y="2100449"/>
            <a:ext cx="1739128" cy="751858"/>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Oval 62"/>
          <p:cNvSpPr/>
          <p:nvPr/>
        </p:nvSpPr>
        <p:spPr bwMode="auto">
          <a:xfrm>
            <a:off x="5542923" y="2090517"/>
            <a:ext cx="2951523" cy="2951522"/>
          </a:xfrm>
          <a:prstGeom prst="ellipse">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 name="Group 8"/>
          <p:cNvGrpSpPr/>
          <p:nvPr/>
        </p:nvGrpSpPr>
        <p:grpSpPr>
          <a:xfrm>
            <a:off x="9177083" y="1848716"/>
            <a:ext cx="1961869" cy="963284"/>
            <a:chOff x="9177083" y="1848716"/>
            <a:chExt cx="1961869" cy="963284"/>
          </a:xfrm>
        </p:grpSpPr>
        <p:sp>
          <p:nvSpPr>
            <p:cNvPr id="114" name="TextBox 113">
              <a:extLst>
                <a:ext uri="{FF2B5EF4-FFF2-40B4-BE49-F238E27FC236}">
                  <a16:creationId xmlns:a16="http://schemas.microsoft.com/office/drawing/2014/main" id="{DAD90C09-5A97-490F-925A-47C03AF63936}"/>
                </a:ext>
              </a:extLst>
            </p:cNvPr>
            <p:cNvSpPr txBox="1">
              <a:spLocks noChangeAspect="1"/>
            </p:cNvSpPr>
            <p:nvPr/>
          </p:nvSpPr>
          <p:spPr>
            <a:xfrm>
              <a:off x="9177083" y="1848716"/>
              <a:ext cx="1038732" cy="511256"/>
            </a:xfrm>
            <a:prstGeom prst="rect">
              <a:avLst/>
            </a:prstGeom>
            <a:noFill/>
          </p:spPr>
          <p:txBody>
            <a:bodyPr wrap="none" lIns="179285" tIns="143428" rIns="179285" bIns="143428"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49" normalizeH="0" baseline="0" noProof="0" dirty="0">
                  <a:ln>
                    <a:noFill/>
                  </a:ln>
                  <a:solidFill>
                    <a:srgbClr val="0078D7"/>
                  </a:solidFill>
                  <a:effectLst/>
                  <a:uLnTx/>
                  <a:uFillTx/>
                  <a:latin typeface="Segoe UI"/>
                  <a:ea typeface="+mn-ea"/>
                  <a:cs typeface="Segoe UI Light" panose="020B0502040204020203" pitchFamily="34" charset="0"/>
                </a:rPr>
                <a:t>Secure</a:t>
              </a:r>
            </a:p>
          </p:txBody>
        </p:sp>
        <p:sp>
          <p:nvSpPr>
            <p:cNvPr id="123" name="TextBox 122">
              <a:extLst>
                <a:ext uri="{FF2B5EF4-FFF2-40B4-BE49-F238E27FC236}">
                  <a16:creationId xmlns:a16="http://schemas.microsoft.com/office/drawing/2014/main" id="{FED4E6E8-A1ED-4E82-8245-6C9A38084113}"/>
                </a:ext>
              </a:extLst>
            </p:cNvPr>
            <p:cNvSpPr txBox="1"/>
            <p:nvPr/>
          </p:nvSpPr>
          <p:spPr>
            <a:xfrm>
              <a:off x="9177083" y="2123772"/>
              <a:ext cx="1961869" cy="688228"/>
            </a:xfrm>
            <a:prstGeom prst="rect">
              <a:avLst/>
            </a:prstGeom>
            <a:noFill/>
          </p:spPr>
          <p:txBody>
            <a:bodyPr wrap="none" lIns="179285" tIns="143428" rIns="179285" bIns="143428" rtlCol="0">
              <a:spAutoFit/>
            </a:bodyPr>
            <a:lstStyle/>
            <a:p>
              <a:pPr marL="0" marR="0" lvl="0" indent="0" algn="l" defTabSz="932384" rtl="0" eaLnBrk="1" fontAlgn="auto" latinLnBrk="0" hangingPunct="1">
                <a:lnSpc>
                  <a:spcPct val="90000"/>
                </a:lnSpc>
                <a:spcBef>
                  <a:spcPts val="294"/>
                </a:spcBef>
                <a:spcAft>
                  <a:spcPts val="0"/>
                </a:spcAft>
                <a:buClrTx/>
                <a:buSzTx/>
                <a:buFontTx/>
                <a:buNone/>
                <a:tabLst/>
                <a:defRPr/>
              </a:pPr>
              <a:r>
                <a:rPr kumimoji="0" lang="en-US" sz="1300" b="0" i="0" u="none" strike="noStrike" kern="1200" cap="none" spc="0" normalizeH="0" baseline="0" noProof="0" dirty="0">
                  <a:ln>
                    <a:noFill/>
                  </a:ln>
                  <a:gradFill>
                    <a:gsLst>
                      <a:gs pos="78761">
                        <a:srgbClr val="505050"/>
                      </a:gs>
                      <a:gs pos="0">
                        <a:srgbClr val="505050"/>
                      </a:gs>
                    </a:gsLst>
                    <a:lin ang="5400000" scaled="0"/>
                  </a:gradFill>
                  <a:effectLst/>
                  <a:uLnTx/>
                  <a:uFillTx/>
                  <a:latin typeface="Segoe UI" panose="020B0502040204020203" pitchFamily="34" charset="0"/>
                  <a:ea typeface="+mn-ea"/>
                  <a:cs typeface="Segoe UI" panose="020B0502040204020203" pitchFamily="34" charset="0"/>
                </a:rPr>
                <a:t>Security management</a:t>
              </a:r>
            </a:p>
            <a:p>
              <a:pPr marL="0" marR="0" lvl="0" indent="0" algn="l" defTabSz="932384" rtl="0" eaLnBrk="1" fontAlgn="auto" latinLnBrk="0" hangingPunct="1">
                <a:lnSpc>
                  <a:spcPct val="90000"/>
                </a:lnSpc>
                <a:spcBef>
                  <a:spcPts val="294"/>
                </a:spcBef>
                <a:spcAft>
                  <a:spcPts val="0"/>
                </a:spcAft>
                <a:buClrTx/>
                <a:buSzTx/>
                <a:buFontTx/>
                <a:buNone/>
                <a:tabLst/>
                <a:defRPr/>
              </a:pPr>
              <a:r>
                <a:rPr kumimoji="0" lang="en-US" sz="1300" b="0" i="0" u="none" strike="noStrike" kern="1200" cap="none" spc="0" normalizeH="0" baseline="0" noProof="0" dirty="0">
                  <a:ln>
                    <a:noFill/>
                  </a:ln>
                  <a:gradFill>
                    <a:gsLst>
                      <a:gs pos="78761">
                        <a:srgbClr val="505050"/>
                      </a:gs>
                      <a:gs pos="0">
                        <a:srgbClr val="505050"/>
                      </a:gs>
                    </a:gsLst>
                    <a:lin ang="5400000" scaled="0"/>
                  </a:gradFill>
                  <a:effectLst/>
                  <a:uLnTx/>
                  <a:uFillTx/>
                  <a:latin typeface="Segoe UI" panose="020B0502040204020203" pitchFamily="34" charset="0"/>
                  <a:ea typeface="+mn-ea"/>
                  <a:cs typeface="Segoe UI" panose="020B0502040204020203" pitchFamily="34" charset="0"/>
                </a:rPr>
                <a:t>Threat protection</a:t>
              </a:r>
            </a:p>
          </p:txBody>
        </p:sp>
      </p:grpSp>
      <p:sp>
        <p:nvSpPr>
          <p:cNvPr id="79" name="Oval 78">
            <a:extLst>
              <a:ext uri="{FF2B5EF4-FFF2-40B4-BE49-F238E27FC236}">
                <a16:creationId xmlns:a16="http://schemas.microsoft.com/office/drawing/2014/main" id="{CF5685F8-EE31-4EEE-A137-3893EBE8E060}"/>
              </a:ext>
            </a:extLst>
          </p:cNvPr>
          <p:cNvSpPr/>
          <p:nvPr/>
        </p:nvSpPr>
        <p:spPr bwMode="auto">
          <a:xfrm>
            <a:off x="9141458" y="4133739"/>
            <a:ext cx="1739128" cy="724262"/>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 name="Group 7"/>
          <p:cNvGrpSpPr/>
          <p:nvPr/>
        </p:nvGrpSpPr>
        <p:grpSpPr>
          <a:xfrm>
            <a:off x="3067740" y="1848716"/>
            <a:ext cx="1826288" cy="963284"/>
            <a:chOff x="3067740" y="1848716"/>
            <a:chExt cx="1826288" cy="963284"/>
          </a:xfrm>
        </p:grpSpPr>
        <p:sp>
          <p:nvSpPr>
            <p:cNvPr id="119" name="TextBox 118">
              <a:extLst>
                <a:ext uri="{FF2B5EF4-FFF2-40B4-BE49-F238E27FC236}">
                  <a16:creationId xmlns:a16="http://schemas.microsoft.com/office/drawing/2014/main" id="{393C3F61-F05B-439C-84D4-788899A4DEA7}"/>
                </a:ext>
              </a:extLst>
            </p:cNvPr>
            <p:cNvSpPr txBox="1">
              <a:spLocks noChangeAspect="1"/>
            </p:cNvSpPr>
            <p:nvPr/>
          </p:nvSpPr>
          <p:spPr>
            <a:xfrm>
              <a:off x="3798421" y="1848716"/>
              <a:ext cx="1095607" cy="511256"/>
            </a:xfrm>
            <a:prstGeom prst="rect">
              <a:avLst/>
            </a:prstGeom>
            <a:noFill/>
          </p:spPr>
          <p:txBody>
            <a:bodyPr wrap="none" lIns="179285" tIns="143428" rIns="179285" bIns="143428"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49" normalizeH="0" baseline="0" noProof="0" dirty="0">
                  <a:ln>
                    <a:noFill/>
                  </a:ln>
                  <a:solidFill>
                    <a:srgbClr val="0078D7"/>
                  </a:solidFill>
                  <a:effectLst/>
                  <a:uLnTx/>
                  <a:uFillTx/>
                  <a:latin typeface="Segoe UI"/>
                  <a:ea typeface="+mn-ea"/>
                  <a:cs typeface="Segoe UI Light" panose="020B0502040204020203" pitchFamily="34" charset="0"/>
                </a:rPr>
                <a:t>Govern</a:t>
              </a:r>
            </a:p>
          </p:txBody>
        </p:sp>
        <p:sp>
          <p:nvSpPr>
            <p:cNvPr id="126" name="TextBox 125">
              <a:extLst>
                <a:ext uri="{FF2B5EF4-FFF2-40B4-BE49-F238E27FC236}">
                  <a16:creationId xmlns:a16="http://schemas.microsoft.com/office/drawing/2014/main" id="{F5B1C3BE-F9AF-433F-81E8-DE3EE67B829F}"/>
                </a:ext>
              </a:extLst>
            </p:cNvPr>
            <p:cNvSpPr txBox="1"/>
            <p:nvPr/>
          </p:nvSpPr>
          <p:spPr>
            <a:xfrm>
              <a:off x="3067740" y="2123772"/>
              <a:ext cx="1803428" cy="688228"/>
            </a:xfrm>
            <a:prstGeom prst="rect">
              <a:avLst/>
            </a:prstGeom>
            <a:noFill/>
          </p:spPr>
          <p:txBody>
            <a:bodyPr wrap="none" lIns="179285" tIns="143428" rIns="179285" bIns="143428" rtlCol="0">
              <a:spAutoFit/>
            </a:bodyPr>
            <a:lstStyle/>
            <a:p>
              <a:pPr marL="0" marR="0" lvl="0" indent="0" algn="r" defTabSz="932384" rtl="0" eaLnBrk="1" fontAlgn="auto" latinLnBrk="0" hangingPunct="1">
                <a:lnSpc>
                  <a:spcPct val="90000"/>
                </a:lnSpc>
                <a:spcBef>
                  <a:spcPts val="294"/>
                </a:spcBef>
                <a:spcAft>
                  <a:spcPts val="0"/>
                </a:spcAft>
                <a:buClrTx/>
                <a:buSzTx/>
                <a:buFontTx/>
                <a:buNone/>
                <a:tabLst/>
                <a:defRPr/>
              </a:pPr>
              <a:r>
                <a:rPr kumimoji="0" lang="en-US" sz="1300" b="0" i="0" u="none" strike="noStrike" kern="1200" cap="none" spc="0" normalizeH="0" baseline="0" noProof="0" dirty="0">
                  <a:ln>
                    <a:noFill/>
                  </a:ln>
                  <a:gradFill>
                    <a:gsLst>
                      <a:gs pos="78761">
                        <a:srgbClr val="505050"/>
                      </a:gs>
                      <a:gs pos="0">
                        <a:srgbClr val="505050"/>
                      </a:gs>
                    </a:gsLst>
                    <a:lin ang="5400000" scaled="0"/>
                  </a:gradFill>
                  <a:effectLst/>
                  <a:uLnTx/>
                  <a:uFillTx/>
                  <a:latin typeface="Segoe UI" panose="020B0502040204020203" pitchFamily="34" charset="0"/>
                  <a:ea typeface="+mn-ea"/>
                  <a:cs typeface="Segoe UI" panose="020B0502040204020203" pitchFamily="34" charset="0"/>
                </a:rPr>
                <a:t>Policy management</a:t>
              </a:r>
            </a:p>
            <a:p>
              <a:pPr marL="0" marR="0" lvl="0" indent="0" algn="r" defTabSz="932384" rtl="0" eaLnBrk="1" fontAlgn="auto" latinLnBrk="0" hangingPunct="1">
                <a:lnSpc>
                  <a:spcPct val="90000"/>
                </a:lnSpc>
                <a:spcBef>
                  <a:spcPts val="294"/>
                </a:spcBef>
                <a:spcAft>
                  <a:spcPts val="0"/>
                </a:spcAft>
                <a:buClrTx/>
                <a:buSzTx/>
                <a:buFontTx/>
                <a:buNone/>
                <a:tabLst/>
                <a:defRPr/>
              </a:pPr>
              <a:r>
                <a:rPr kumimoji="0" lang="en-US" sz="1300" b="0" i="0" u="none" strike="noStrike" kern="1200" cap="none" spc="0" normalizeH="0" baseline="0" noProof="0" dirty="0">
                  <a:ln>
                    <a:noFill/>
                  </a:ln>
                  <a:gradFill>
                    <a:gsLst>
                      <a:gs pos="78761">
                        <a:srgbClr val="505050"/>
                      </a:gs>
                      <a:gs pos="0">
                        <a:srgbClr val="505050"/>
                      </a:gs>
                    </a:gsLst>
                    <a:lin ang="5400000" scaled="0"/>
                  </a:gradFill>
                  <a:effectLst/>
                  <a:uLnTx/>
                  <a:uFillTx/>
                  <a:latin typeface="Segoe UI" panose="020B0502040204020203" pitchFamily="34" charset="0"/>
                  <a:ea typeface="+mn-ea"/>
                  <a:cs typeface="Segoe UI" panose="020B0502040204020203" pitchFamily="34" charset="0"/>
                </a:rPr>
                <a:t>Cost management</a:t>
              </a:r>
            </a:p>
          </p:txBody>
        </p:sp>
      </p:grpSp>
      <p:sp>
        <p:nvSpPr>
          <p:cNvPr id="76" name="Oval 75">
            <a:extLst>
              <a:ext uri="{FF2B5EF4-FFF2-40B4-BE49-F238E27FC236}">
                <a16:creationId xmlns:a16="http://schemas.microsoft.com/office/drawing/2014/main" id="{63F975E0-310C-4521-846F-D6E091A04097}"/>
              </a:ext>
            </a:extLst>
          </p:cNvPr>
          <p:cNvSpPr/>
          <p:nvPr/>
        </p:nvSpPr>
        <p:spPr bwMode="auto">
          <a:xfrm>
            <a:off x="3380662" y="4241386"/>
            <a:ext cx="1739128" cy="601717"/>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7" name="Group 26">
            <a:extLst>
              <a:ext uri="{FF2B5EF4-FFF2-40B4-BE49-F238E27FC236}">
                <a16:creationId xmlns:a16="http://schemas.microsoft.com/office/drawing/2014/main" id="{CBF4707C-D978-46A8-9384-64BC502A7B85}"/>
              </a:ext>
            </a:extLst>
          </p:cNvPr>
          <p:cNvGrpSpPr/>
          <p:nvPr/>
        </p:nvGrpSpPr>
        <p:grpSpPr>
          <a:xfrm>
            <a:off x="8152109" y="3732417"/>
            <a:ext cx="691400" cy="691400"/>
            <a:chOff x="543027" y="3837090"/>
            <a:chExt cx="509065" cy="509065"/>
          </a:xfrm>
        </p:grpSpPr>
        <p:sp>
          <p:nvSpPr>
            <p:cNvPr id="28" name="Oval 27">
              <a:extLst>
                <a:ext uri="{FF2B5EF4-FFF2-40B4-BE49-F238E27FC236}">
                  <a16:creationId xmlns:a16="http://schemas.microsoft.com/office/drawing/2014/main" id="{F8AB32B3-730F-4584-A6D5-CD3F07775064}"/>
                </a:ext>
              </a:extLst>
            </p:cNvPr>
            <p:cNvSpPr/>
            <p:nvPr/>
          </p:nvSpPr>
          <p:spPr bwMode="auto">
            <a:xfrm>
              <a:off x="543027" y="3837090"/>
              <a:ext cx="509065" cy="509065"/>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server_2">
              <a:extLst>
                <a:ext uri="{FF2B5EF4-FFF2-40B4-BE49-F238E27FC236}">
                  <a16:creationId xmlns:a16="http://schemas.microsoft.com/office/drawing/2014/main" id="{F749B5E9-FC6C-444B-BA10-8D816567159C}"/>
                </a:ext>
              </a:extLst>
            </p:cNvPr>
            <p:cNvSpPr>
              <a:spLocks noChangeAspect="1" noEditPoints="1"/>
            </p:cNvSpPr>
            <p:nvPr/>
          </p:nvSpPr>
          <p:spPr bwMode="auto">
            <a:xfrm>
              <a:off x="672552" y="3948728"/>
              <a:ext cx="260467" cy="323283"/>
            </a:xfrm>
            <a:custGeom>
              <a:avLst/>
              <a:gdLst>
                <a:gd name="T0" fmla="*/ 122 w 270"/>
                <a:gd name="T1" fmla="*/ 336 h 336"/>
                <a:gd name="T2" fmla="*/ 0 w 270"/>
                <a:gd name="T3" fmla="*/ 336 h 336"/>
                <a:gd name="T4" fmla="*/ 0 w 270"/>
                <a:gd name="T5" fmla="*/ 0 h 336"/>
                <a:gd name="T6" fmla="*/ 201 w 270"/>
                <a:gd name="T7" fmla="*/ 0 h 336"/>
                <a:gd name="T8" fmla="*/ 201 w 270"/>
                <a:gd name="T9" fmla="*/ 138 h 336"/>
                <a:gd name="T10" fmla="*/ 270 w 270"/>
                <a:gd name="T11" fmla="*/ 245 h 336"/>
                <a:gd name="T12" fmla="*/ 155 w 270"/>
                <a:gd name="T13" fmla="*/ 245 h 336"/>
                <a:gd name="T14" fmla="*/ 155 w 270"/>
                <a:gd name="T15" fmla="*/ 336 h 336"/>
                <a:gd name="T16" fmla="*/ 270 w 270"/>
                <a:gd name="T17" fmla="*/ 336 h 336"/>
                <a:gd name="T18" fmla="*/ 270 w 270"/>
                <a:gd name="T19" fmla="*/ 245 h 336"/>
                <a:gd name="T20" fmla="*/ 245 w 270"/>
                <a:gd name="T21" fmla="*/ 245 h 336"/>
                <a:gd name="T22" fmla="*/ 245 w 270"/>
                <a:gd name="T23" fmla="*/ 211 h 336"/>
                <a:gd name="T24" fmla="*/ 213 w 270"/>
                <a:gd name="T25" fmla="*/ 179 h 336"/>
                <a:gd name="T26" fmla="*/ 181 w 270"/>
                <a:gd name="T27" fmla="*/ 211 h 336"/>
                <a:gd name="T28" fmla="*/ 181 w 270"/>
                <a:gd name="T29" fmla="*/ 245 h 336"/>
                <a:gd name="T30" fmla="*/ 77 w 270"/>
                <a:gd name="T31" fmla="*/ 290 h 336"/>
                <a:gd name="T32" fmla="*/ 122 w 270"/>
                <a:gd name="T33" fmla="*/ 29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0" h="336">
                  <a:moveTo>
                    <a:pt x="122" y="336"/>
                  </a:moveTo>
                  <a:cubicBezTo>
                    <a:pt x="0" y="336"/>
                    <a:pt x="0" y="336"/>
                    <a:pt x="0" y="336"/>
                  </a:cubicBezTo>
                  <a:cubicBezTo>
                    <a:pt x="0" y="0"/>
                    <a:pt x="0" y="0"/>
                    <a:pt x="0" y="0"/>
                  </a:cubicBezTo>
                  <a:cubicBezTo>
                    <a:pt x="201" y="0"/>
                    <a:pt x="201" y="0"/>
                    <a:pt x="201" y="0"/>
                  </a:cubicBezTo>
                  <a:cubicBezTo>
                    <a:pt x="201" y="138"/>
                    <a:pt x="201" y="138"/>
                    <a:pt x="201" y="138"/>
                  </a:cubicBezTo>
                  <a:moveTo>
                    <a:pt x="270" y="245"/>
                  </a:moveTo>
                  <a:cubicBezTo>
                    <a:pt x="155" y="245"/>
                    <a:pt x="155" y="245"/>
                    <a:pt x="155" y="245"/>
                  </a:cubicBezTo>
                  <a:cubicBezTo>
                    <a:pt x="155" y="336"/>
                    <a:pt x="155" y="336"/>
                    <a:pt x="155" y="336"/>
                  </a:cubicBezTo>
                  <a:cubicBezTo>
                    <a:pt x="270" y="336"/>
                    <a:pt x="270" y="336"/>
                    <a:pt x="270" y="336"/>
                  </a:cubicBezTo>
                  <a:lnTo>
                    <a:pt x="270" y="245"/>
                  </a:lnTo>
                  <a:close/>
                  <a:moveTo>
                    <a:pt x="245" y="245"/>
                  </a:moveTo>
                  <a:cubicBezTo>
                    <a:pt x="245" y="211"/>
                    <a:pt x="245" y="211"/>
                    <a:pt x="245" y="211"/>
                  </a:cubicBezTo>
                  <a:cubicBezTo>
                    <a:pt x="245" y="193"/>
                    <a:pt x="230" y="179"/>
                    <a:pt x="213" y="179"/>
                  </a:cubicBezTo>
                  <a:cubicBezTo>
                    <a:pt x="195" y="179"/>
                    <a:pt x="181" y="193"/>
                    <a:pt x="181" y="211"/>
                  </a:cubicBezTo>
                  <a:cubicBezTo>
                    <a:pt x="181" y="245"/>
                    <a:pt x="181" y="245"/>
                    <a:pt x="181" y="245"/>
                  </a:cubicBezTo>
                  <a:moveTo>
                    <a:pt x="77" y="290"/>
                  </a:moveTo>
                  <a:cubicBezTo>
                    <a:pt x="122" y="290"/>
                    <a:pt x="122" y="290"/>
                    <a:pt x="122" y="290"/>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40" name="Group 39">
            <a:extLst>
              <a:ext uri="{FF2B5EF4-FFF2-40B4-BE49-F238E27FC236}">
                <a16:creationId xmlns:a16="http://schemas.microsoft.com/office/drawing/2014/main" id="{3B98E7D8-8987-4F56-ADFE-7F52CC67E6FC}"/>
              </a:ext>
            </a:extLst>
          </p:cNvPr>
          <p:cNvGrpSpPr/>
          <p:nvPr/>
        </p:nvGrpSpPr>
        <p:grpSpPr>
          <a:xfrm>
            <a:off x="5739964" y="2042166"/>
            <a:ext cx="688317" cy="688317"/>
            <a:chOff x="544162" y="3038125"/>
            <a:chExt cx="506795" cy="506795"/>
          </a:xfrm>
        </p:grpSpPr>
        <p:sp>
          <p:nvSpPr>
            <p:cNvPr id="41" name="Oval 40">
              <a:extLst>
                <a:ext uri="{FF2B5EF4-FFF2-40B4-BE49-F238E27FC236}">
                  <a16:creationId xmlns:a16="http://schemas.microsoft.com/office/drawing/2014/main" id="{E4867B24-EB8E-4C9F-9B07-2808B2FD4165}"/>
                </a:ext>
              </a:extLst>
            </p:cNvPr>
            <p:cNvSpPr/>
            <p:nvPr/>
          </p:nvSpPr>
          <p:spPr bwMode="auto">
            <a:xfrm>
              <a:off x="544162" y="3038125"/>
              <a:ext cx="506795" cy="506795"/>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Compare_F057">
              <a:extLst>
                <a:ext uri="{FF2B5EF4-FFF2-40B4-BE49-F238E27FC236}">
                  <a16:creationId xmlns:a16="http://schemas.microsoft.com/office/drawing/2014/main" id="{B672988F-46BE-46A7-807E-FAFBB509901F}"/>
                </a:ext>
              </a:extLst>
            </p:cNvPr>
            <p:cNvSpPr>
              <a:spLocks noChangeAspect="1" noEditPoints="1"/>
            </p:cNvSpPr>
            <p:nvPr/>
          </p:nvSpPr>
          <p:spPr bwMode="auto">
            <a:xfrm>
              <a:off x="637591" y="3132172"/>
              <a:ext cx="313834" cy="324074"/>
            </a:xfrm>
            <a:custGeom>
              <a:avLst/>
              <a:gdLst>
                <a:gd name="T0" fmla="*/ 0 w 3750"/>
                <a:gd name="T1" fmla="*/ 371 h 3871"/>
                <a:gd name="T2" fmla="*/ 3750 w 3750"/>
                <a:gd name="T3" fmla="*/ 371 h 3871"/>
                <a:gd name="T4" fmla="*/ 1874 w 3750"/>
                <a:gd name="T5" fmla="*/ 0 h 3871"/>
                <a:gd name="T6" fmla="*/ 1874 w 3750"/>
                <a:gd name="T7" fmla="*/ 3352 h 3871"/>
                <a:gd name="T8" fmla="*/ 0 w 3750"/>
                <a:gd name="T9" fmla="*/ 1871 h 3871"/>
                <a:gd name="T10" fmla="*/ 1500 w 3750"/>
                <a:gd name="T11" fmla="*/ 1871 h 3871"/>
                <a:gd name="T12" fmla="*/ 2250 w 3750"/>
                <a:gd name="T13" fmla="*/ 1871 h 3871"/>
                <a:gd name="T14" fmla="*/ 3750 w 3750"/>
                <a:gd name="T15" fmla="*/ 1871 h 3871"/>
                <a:gd name="T16" fmla="*/ 250 w 3750"/>
                <a:gd name="T17" fmla="*/ 3871 h 3871"/>
                <a:gd name="T18" fmla="*/ 3500 w 3750"/>
                <a:gd name="T19" fmla="*/ 3871 h 3871"/>
                <a:gd name="T20" fmla="*/ 3116 w 3750"/>
                <a:gd name="T21" fmla="*/ 3869 h 3871"/>
                <a:gd name="T22" fmla="*/ 634 w 3750"/>
                <a:gd name="T23" fmla="*/ 3869 h 3871"/>
                <a:gd name="T24" fmla="*/ 138 w 3750"/>
                <a:gd name="T25" fmla="*/ 1871 h 3871"/>
                <a:gd name="T26" fmla="*/ 750 w 3750"/>
                <a:gd name="T27" fmla="*/ 2371 h 3871"/>
                <a:gd name="T28" fmla="*/ 1362 w 3750"/>
                <a:gd name="T29" fmla="*/ 1872 h 3871"/>
                <a:gd name="T30" fmla="*/ 2388 w 3750"/>
                <a:gd name="T31" fmla="*/ 1871 h 3871"/>
                <a:gd name="T32" fmla="*/ 3000 w 3750"/>
                <a:gd name="T33" fmla="*/ 2371 h 3871"/>
                <a:gd name="T34" fmla="*/ 3612 w 3750"/>
                <a:gd name="T35" fmla="*/ 1872 h 3871"/>
                <a:gd name="T36" fmla="*/ 764 w 3750"/>
                <a:gd name="T37" fmla="*/ 371 h 3871"/>
                <a:gd name="T38" fmla="*/ 736 w 3750"/>
                <a:gd name="T39" fmla="*/ 371 h 3871"/>
                <a:gd name="T40" fmla="*/ 313 w 3750"/>
                <a:gd name="T41" fmla="*/ 1871 h 3871"/>
                <a:gd name="T42" fmla="*/ 1188 w 3750"/>
                <a:gd name="T43" fmla="*/ 1871 h 3871"/>
                <a:gd name="T44" fmla="*/ 764 w 3750"/>
                <a:gd name="T45" fmla="*/ 371 h 3871"/>
                <a:gd name="T46" fmla="*/ 3014 w 3750"/>
                <a:gd name="T47" fmla="*/ 371 h 3871"/>
                <a:gd name="T48" fmla="*/ 2986 w 3750"/>
                <a:gd name="T49" fmla="*/ 371 h 3871"/>
                <a:gd name="T50" fmla="*/ 2563 w 3750"/>
                <a:gd name="T51" fmla="*/ 1871 h 3871"/>
                <a:gd name="T52" fmla="*/ 3438 w 3750"/>
                <a:gd name="T53" fmla="*/ 1871 h 3871"/>
                <a:gd name="T54" fmla="*/ 3014 w 3750"/>
                <a:gd name="T55" fmla="*/ 371 h 3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50" h="3871">
                  <a:moveTo>
                    <a:pt x="0" y="371"/>
                  </a:moveTo>
                  <a:cubicBezTo>
                    <a:pt x="3750" y="371"/>
                    <a:pt x="3750" y="371"/>
                    <a:pt x="3750" y="371"/>
                  </a:cubicBezTo>
                  <a:moveTo>
                    <a:pt x="1874" y="0"/>
                  </a:moveTo>
                  <a:cubicBezTo>
                    <a:pt x="1874" y="3352"/>
                    <a:pt x="1874" y="3352"/>
                    <a:pt x="1874" y="3352"/>
                  </a:cubicBezTo>
                  <a:moveTo>
                    <a:pt x="0" y="1871"/>
                  </a:moveTo>
                  <a:cubicBezTo>
                    <a:pt x="1500" y="1871"/>
                    <a:pt x="1500" y="1871"/>
                    <a:pt x="1500" y="1871"/>
                  </a:cubicBezTo>
                  <a:moveTo>
                    <a:pt x="2250" y="1871"/>
                  </a:moveTo>
                  <a:cubicBezTo>
                    <a:pt x="3750" y="1871"/>
                    <a:pt x="3750" y="1871"/>
                    <a:pt x="3750" y="1871"/>
                  </a:cubicBezTo>
                  <a:moveTo>
                    <a:pt x="250" y="3871"/>
                  </a:moveTo>
                  <a:cubicBezTo>
                    <a:pt x="3500" y="3871"/>
                    <a:pt x="3500" y="3871"/>
                    <a:pt x="3500" y="3871"/>
                  </a:cubicBezTo>
                  <a:moveTo>
                    <a:pt x="3116" y="3869"/>
                  </a:moveTo>
                  <a:cubicBezTo>
                    <a:pt x="2430" y="3184"/>
                    <a:pt x="1320" y="3184"/>
                    <a:pt x="634" y="3869"/>
                  </a:cubicBezTo>
                  <a:moveTo>
                    <a:pt x="138" y="1871"/>
                  </a:moveTo>
                  <a:cubicBezTo>
                    <a:pt x="195" y="2156"/>
                    <a:pt x="448" y="2371"/>
                    <a:pt x="750" y="2371"/>
                  </a:cubicBezTo>
                  <a:cubicBezTo>
                    <a:pt x="1052" y="2371"/>
                    <a:pt x="1304" y="2157"/>
                    <a:pt x="1362" y="1872"/>
                  </a:cubicBezTo>
                  <a:moveTo>
                    <a:pt x="2388" y="1871"/>
                  </a:moveTo>
                  <a:cubicBezTo>
                    <a:pt x="2446" y="2156"/>
                    <a:pt x="2698" y="2371"/>
                    <a:pt x="3000" y="2371"/>
                  </a:cubicBezTo>
                  <a:cubicBezTo>
                    <a:pt x="3302" y="2371"/>
                    <a:pt x="3554" y="2157"/>
                    <a:pt x="3612" y="1872"/>
                  </a:cubicBezTo>
                  <a:moveTo>
                    <a:pt x="764" y="371"/>
                  </a:moveTo>
                  <a:cubicBezTo>
                    <a:pt x="736" y="371"/>
                    <a:pt x="736" y="371"/>
                    <a:pt x="736" y="371"/>
                  </a:cubicBezTo>
                  <a:cubicBezTo>
                    <a:pt x="313" y="1871"/>
                    <a:pt x="313" y="1871"/>
                    <a:pt x="313" y="1871"/>
                  </a:cubicBezTo>
                  <a:cubicBezTo>
                    <a:pt x="1188" y="1871"/>
                    <a:pt x="1188" y="1871"/>
                    <a:pt x="1188" y="1871"/>
                  </a:cubicBezTo>
                  <a:cubicBezTo>
                    <a:pt x="1188" y="1871"/>
                    <a:pt x="791" y="461"/>
                    <a:pt x="764" y="371"/>
                  </a:cubicBezTo>
                  <a:close/>
                  <a:moveTo>
                    <a:pt x="3014" y="371"/>
                  </a:moveTo>
                  <a:cubicBezTo>
                    <a:pt x="2986" y="371"/>
                    <a:pt x="2986" y="371"/>
                    <a:pt x="2986" y="371"/>
                  </a:cubicBezTo>
                  <a:cubicBezTo>
                    <a:pt x="2563" y="1871"/>
                    <a:pt x="2563" y="1871"/>
                    <a:pt x="2563" y="1871"/>
                  </a:cubicBezTo>
                  <a:cubicBezTo>
                    <a:pt x="3438" y="1871"/>
                    <a:pt x="3438" y="1871"/>
                    <a:pt x="3438" y="1871"/>
                  </a:cubicBezTo>
                  <a:cubicBezTo>
                    <a:pt x="3438" y="1871"/>
                    <a:pt x="3041" y="461"/>
                    <a:pt x="3014" y="371"/>
                  </a:cubicBezTo>
                  <a:close/>
                </a:path>
              </a:pathLst>
            </a:custGeom>
            <a:noFill/>
            <a:ln w="2667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cxnSp>
        <p:nvCxnSpPr>
          <p:cNvPr id="53" name="Connector: Elbow 52">
            <a:extLst>
              <a:ext uri="{FF2B5EF4-FFF2-40B4-BE49-F238E27FC236}">
                <a16:creationId xmlns:a16="http://schemas.microsoft.com/office/drawing/2014/main" id="{A3513CF1-80B1-42EC-928D-6EAB861AD35D}"/>
              </a:ext>
            </a:extLst>
          </p:cNvPr>
          <p:cNvCxnSpPr>
            <a:cxnSpLocks/>
          </p:cNvCxnSpPr>
          <p:nvPr/>
        </p:nvCxnSpPr>
        <p:spPr>
          <a:xfrm rot="10800000">
            <a:off x="5044596" y="2383994"/>
            <a:ext cx="675357" cy="2330"/>
          </a:xfrm>
          <a:prstGeom prst="bentConnector3">
            <a:avLst/>
          </a:prstGeom>
          <a:ln w="19050">
            <a:solidFill>
              <a:schemeClr val="tx2"/>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490F3157-6C9E-4186-A0EB-A10EE74B1392}"/>
              </a:ext>
            </a:extLst>
          </p:cNvPr>
          <p:cNvCxnSpPr>
            <a:cxnSpLocks/>
          </p:cNvCxnSpPr>
          <p:nvPr/>
        </p:nvCxnSpPr>
        <p:spPr>
          <a:xfrm flipH="1">
            <a:off x="6990961" y="5318480"/>
            <a:ext cx="487" cy="477620"/>
          </a:xfrm>
          <a:prstGeom prst="line">
            <a:avLst/>
          </a:prstGeom>
          <a:ln w="19050">
            <a:solidFill>
              <a:schemeClr val="tx2"/>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95FE535D-6FBE-4A38-92CB-35EA27337062}"/>
              </a:ext>
            </a:extLst>
          </p:cNvPr>
          <p:cNvGrpSpPr/>
          <p:nvPr/>
        </p:nvGrpSpPr>
        <p:grpSpPr>
          <a:xfrm>
            <a:off x="7595169" y="2043835"/>
            <a:ext cx="684977" cy="684977"/>
            <a:chOff x="6960555" y="1793150"/>
            <a:chExt cx="504336" cy="504336"/>
          </a:xfrm>
        </p:grpSpPr>
        <p:sp>
          <p:nvSpPr>
            <p:cNvPr id="32" name="Oval 31">
              <a:extLst>
                <a:ext uri="{FF2B5EF4-FFF2-40B4-BE49-F238E27FC236}">
                  <a16:creationId xmlns:a16="http://schemas.microsoft.com/office/drawing/2014/main" id="{F40EB588-1D02-476A-A134-047BEFACDB7D}"/>
                </a:ext>
              </a:extLst>
            </p:cNvPr>
            <p:cNvSpPr/>
            <p:nvPr/>
          </p:nvSpPr>
          <p:spPr bwMode="auto">
            <a:xfrm>
              <a:off x="6960555" y="1793150"/>
              <a:ext cx="504336" cy="504336"/>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Shield_EA18">
              <a:extLst>
                <a:ext uri="{FF2B5EF4-FFF2-40B4-BE49-F238E27FC236}">
                  <a16:creationId xmlns:a16="http://schemas.microsoft.com/office/drawing/2014/main" id="{E95AF515-5C11-4924-8E0B-38708C5E6651}"/>
                </a:ext>
              </a:extLst>
            </p:cNvPr>
            <p:cNvSpPr>
              <a:spLocks noChangeAspect="1"/>
            </p:cNvSpPr>
            <p:nvPr/>
          </p:nvSpPr>
          <p:spPr bwMode="auto">
            <a:xfrm>
              <a:off x="7059411" y="1897083"/>
              <a:ext cx="307874" cy="32778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3492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2" name="Group 1">
            <a:extLst>
              <a:ext uri="{FF2B5EF4-FFF2-40B4-BE49-F238E27FC236}">
                <a16:creationId xmlns:a16="http://schemas.microsoft.com/office/drawing/2014/main" id="{0F3A66BE-C6E9-4FB2-8D98-65578C64E627}"/>
              </a:ext>
            </a:extLst>
          </p:cNvPr>
          <p:cNvGrpSpPr/>
          <p:nvPr/>
        </p:nvGrpSpPr>
        <p:grpSpPr>
          <a:xfrm>
            <a:off x="6678361" y="4760671"/>
            <a:ext cx="666195" cy="557809"/>
            <a:chOff x="5944128" y="4932798"/>
            <a:chExt cx="490507" cy="410705"/>
          </a:xfrm>
        </p:grpSpPr>
        <p:sp>
          <p:nvSpPr>
            <p:cNvPr id="37" name="Oval 36">
              <a:extLst>
                <a:ext uri="{FF2B5EF4-FFF2-40B4-BE49-F238E27FC236}">
                  <a16:creationId xmlns:a16="http://schemas.microsoft.com/office/drawing/2014/main" id="{17214C49-3E9C-4144-9DED-0CBEF3401AA0}"/>
                </a:ext>
              </a:extLst>
            </p:cNvPr>
            <p:cNvSpPr/>
            <p:nvPr/>
          </p:nvSpPr>
          <p:spPr bwMode="auto">
            <a:xfrm>
              <a:off x="5944128" y="4932798"/>
              <a:ext cx="490507" cy="410705"/>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magnify">
              <a:extLst>
                <a:ext uri="{FF2B5EF4-FFF2-40B4-BE49-F238E27FC236}">
                  <a16:creationId xmlns:a16="http://schemas.microsoft.com/office/drawing/2014/main" id="{FF7B2A4F-8052-44DD-84A2-DAB5D56653F9}"/>
                </a:ext>
              </a:extLst>
            </p:cNvPr>
            <p:cNvSpPr>
              <a:spLocks noChangeAspect="1" noEditPoints="1"/>
            </p:cNvSpPr>
            <p:nvPr/>
          </p:nvSpPr>
          <p:spPr bwMode="auto">
            <a:xfrm flipH="1">
              <a:off x="6041981" y="5036887"/>
              <a:ext cx="306731" cy="300869"/>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1" name="Group 10"/>
          <p:cNvGrpSpPr/>
          <p:nvPr/>
        </p:nvGrpSpPr>
        <p:grpSpPr>
          <a:xfrm>
            <a:off x="5104370" y="5814916"/>
            <a:ext cx="3812375" cy="1232537"/>
            <a:chOff x="5104370" y="5814916"/>
            <a:chExt cx="3812375" cy="1232537"/>
          </a:xfrm>
        </p:grpSpPr>
        <p:sp>
          <p:nvSpPr>
            <p:cNvPr id="117" name="TextBox 116">
              <a:extLst>
                <a:ext uri="{FF2B5EF4-FFF2-40B4-BE49-F238E27FC236}">
                  <a16:creationId xmlns:a16="http://schemas.microsoft.com/office/drawing/2014/main" id="{2BD4A911-0EEE-4801-8A84-3CABE0E29E20}"/>
                </a:ext>
              </a:extLst>
            </p:cNvPr>
            <p:cNvSpPr txBox="1">
              <a:spLocks noChangeAspect="1"/>
            </p:cNvSpPr>
            <p:nvPr/>
          </p:nvSpPr>
          <p:spPr>
            <a:xfrm>
              <a:off x="6413123" y="5814916"/>
              <a:ext cx="1195698" cy="511256"/>
            </a:xfrm>
            <a:prstGeom prst="rect">
              <a:avLst/>
            </a:prstGeom>
            <a:noFill/>
          </p:spPr>
          <p:txBody>
            <a:bodyPr wrap="none" lIns="179285" tIns="143428" rIns="179285" bIns="143428"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49" normalizeH="0" baseline="0" noProof="0" dirty="0">
                  <a:ln>
                    <a:noFill/>
                  </a:ln>
                  <a:solidFill>
                    <a:srgbClr val="0078D7"/>
                  </a:solidFill>
                  <a:effectLst/>
                  <a:uLnTx/>
                  <a:uFillTx/>
                  <a:latin typeface="Segoe UI"/>
                  <a:ea typeface="+mn-ea"/>
                  <a:cs typeface="Segoe UI Light" panose="020B0502040204020203" pitchFamily="34" charset="0"/>
                </a:rPr>
                <a:t>Monitor</a:t>
              </a:r>
            </a:p>
          </p:txBody>
        </p:sp>
        <p:sp>
          <p:nvSpPr>
            <p:cNvPr id="64" name="Rectangle 63">
              <a:extLst>
                <a:ext uri="{FF2B5EF4-FFF2-40B4-BE49-F238E27FC236}">
                  <a16:creationId xmlns:a16="http://schemas.microsoft.com/office/drawing/2014/main" id="{4F665637-05CF-423C-AF80-6FCFD5196801}"/>
                </a:ext>
              </a:extLst>
            </p:cNvPr>
            <p:cNvSpPr/>
            <p:nvPr/>
          </p:nvSpPr>
          <p:spPr>
            <a:xfrm>
              <a:off x="5104370" y="6110695"/>
              <a:ext cx="3812375" cy="936758"/>
            </a:xfrm>
            <a:prstGeom prst="rect">
              <a:avLst/>
            </a:prstGeom>
            <a:noFill/>
          </p:spPr>
          <p:txBody>
            <a:bodyPr wrap="none" lIns="179285" tIns="143428" rIns="179285" bIns="143428" rtlCol="0">
              <a:spAutoFit/>
            </a:bodyPr>
            <a:lstStyle/>
            <a:p>
              <a:pPr marL="0" marR="0" lvl="0" indent="0" algn="ctr" defTabSz="932384" rtl="0" eaLnBrk="1" fontAlgn="auto" latinLnBrk="0" hangingPunct="1">
                <a:lnSpc>
                  <a:spcPct val="90000"/>
                </a:lnSpc>
                <a:spcBef>
                  <a:spcPts val="294"/>
                </a:spcBef>
                <a:spcAft>
                  <a:spcPts val="0"/>
                </a:spcAft>
                <a:buClrTx/>
                <a:buSzTx/>
                <a:buFontTx/>
                <a:buNone/>
                <a:tabLst/>
                <a:defRPr/>
              </a:pPr>
              <a:r>
                <a:rPr kumimoji="0" lang="en-US" sz="1372"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panose="020B0502040204020203" pitchFamily="34" charset="0"/>
                  <a:ea typeface="+mn-ea"/>
                  <a:cs typeface="Segoe UI" panose="020B0502040204020203" pitchFamily="34" charset="0"/>
                </a:rPr>
                <a:t>App, infrastructure, and network monitoring</a:t>
              </a:r>
            </a:p>
            <a:p>
              <a:pPr marL="0" marR="0" lvl="0" indent="0" algn="ctr" defTabSz="932384" rtl="0" eaLnBrk="1" fontAlgn="auto" latinLnBrk="0" hangingPunct="1">
                <a:lnSpc>
                  <a:spcPct val="90000"/>
                </a:lnSpc>
                <a:spcBef>
                  <a:spcPts val="294"/>
                </a:spcBef>
                <a:spcAft>
                  <a:spcPts val="0"/>
                </a:spcAft>
                <a:buClrTx/>
                <a:buSzTx/>
                <a:buFontTx/>
                <a:buNone/>
                <a:tabLst/>
                <a:defRPr/>
              </a:pPr>
              <a:r>
                <a:rPr kumimoji="0" lang="en-US" sz="1372"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panose="020B0502040204020203" pitchFamily="34" charset="0"/>
                  <a:ea typeface="+mn-ea"/>
                  <a:cs typeface="Segoe UI" panose="020B0502040204020203" pitchFamily="34" charset="0"/>
                </a:rPr>
                <a:t>Log analytics and diagnostics</a:t>
              </a:r>
            </a:p>
            <a:p>
              <a:pPr marL="0" marR="0" lvl="0" indent="0" algn="l" defTabSz="932384" rtl="0" eaLnBrk="1" fontAlgn="auto" latinLnBrk="0" hangingPunct="1">
                <a:lnSpc>
                  <a:spcPct val="90000"/>
                </a:lnSpc>
                <a:spcBef>
                  <a:spcPts val="294"/>
                </a:spcBef>
                <a:spcAft>
                  <a:spcPts val="0"/>
                </a:spcAft>
                <a:buClrTx/>
                <a:buSzTx/>
                <a:buFontTx/>
                <a:buNone/>
                <a:tabLst/>
                <a:defRPr/>
              </a:pPr>
              <a:endParaRPr kumimoji="0" lang="en-US" sz="1372"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panose="020B0502040204020203" pitchFamily="34" charset="0"/>
                <a:ea typeface="+mn-ea"/>
                <a:cs typeface="Segoe UI" panose="020B0502040204020203" pitchFamily="34" charset="0"/>
              </a:endParaRPr>
            </a:p>
          </p:txBody>
        </p:sp>
      </p:grpSp>
      <p:cxnSp>
        <p:nvCxnSpPr>
          <p:cNvPr id="72" name="Straight Connector 71">
            <a:extLst>
              <a:ext uri="{FF2B5EF4-FFF2-40B4-BE49-F238E27FC236}">
                <a16:creationId xmlns:a16="http://schemas.microsoft.com/office/drawing/2014/main" id="{DDA9197E-6702-4430-9385-46341AA9A62D}"/>
              </a:ext>
            </a:extLst>
          </p:cNvPr>
          <p:cNvCxnSpPr>
            <a:cxnSpLocks/>
          </p:cNvCxnSpPr>
          <p:nvPr/>
        </p:nvCxnSpPr>
        <p:spPr>
          <a:xfrm flipH="1">
            <a:off x="4997977" y="4269055"/>
            <a:ext cx="421195" cy="206020"/>
          </a:xfrm>
          <a:prstGeom prst="line">
            <a:avLst/>
          </a:prstGeom>
          <a:ln w="19050">
            <a:solidFill>
              <a:schemeClr val="tx2"/>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69C5B3DB-1958-4221-B6B0-2D3EA61C05F1}"/>
              </a:ext>
            </a:extLst>
          </p:cNvPr>
          <p:cNvCxnSpPr>
            <a:cxnSpLocks/>
          </p:cNvCxnSpPr>
          <p:nvPr/>
        </p:nvCxnSpPr>
        <p:spPr>
          <a:xfrm>
            <a:off x="8817451" y="4289230"/>
            <a:ext cx="458962" cy="148242"/>
          </a:xfrm>
          <a:prstGeom prst="line">
            <a:avLst/>
          </a:prstGeom>
          <a:ln w="19050">
            <a:solidFill>
              <a:schemeClr val="tx2"/>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9239704" y="4208415"/>
            <a:ext cx="2497913" cy="763776"/>
            <a:chOff x="9239704" y="4208415"/>
            <a:chExt cx="2497913" cy="763776"/>
          </a:xfrm>
        </p:grpSpPr>
        <p:sp>
          <p:nvSpPr>
            <p:cNvPr id="62" name="TextBox 61">
              <a:extLst>
                <a:ext uri="{FF2B5EF4-FFF2-40B4-BE49-F238E27FC236}">
                  <a16:creationId xmlns:a16="http://schemas.microsoft.com/office/drawing/2014/main" id="{DAD90C09-5A97-490F-925A-47C03AF63936}"/>
                </a:ext>
              </a:extLst>
            </p:cNvPr>
            <p:cNvSpPr txBox="1">
              <a:spLocks noChangeAspect="1"/>
            </p:cNvSpPr>
            <p:nvPr/>
          </p:nvSpPr>
          <p:spPr>
            <a:xfrm>
              <a:off x="9239704" y="4208415"/>
              <a:ext cx="1106891" cy="511256"/>
            </a:xfrm>
            <a:prstGeom prst="rect">
              <a:avLst/>
            </a:prstGeom>
            <a:noFill/>
          </p:spPr>
          <p:txBody>
            <a:bodyPr wrap="none" lIns="179285" tIns="143428" rIns="179285" bIns="143428"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49" normalizeH="0" baseline="0" noProof="0" dirty="0">
                  <a:ln>
                    <a:noFill/>
                  </a:ln>
                  <a:solidFill>
                    <a:srgbClr val="0078D7"/>
                  </a:solidFill>
                  <a:effectLst/>
                  <a:uLnTx/>
                  <a:uFillTx/>
                  <a:latin typeface="Segoe UI"/>
                  <a:ea typeface="+mn-ea"/>
                  <a:cs typeface="Segoe UI Light" panose="020B0502040204020203" pitchFamily="34" charset="0"/>
                </a:rPr>
                <a:t>Protect</a:t>
              </a:r>
            </a:p>
          </p:txBody>
        </p:sp>
        <p:sp>
          <p:nvSpPr>
            <p:cNvPr id="70" name="TextBox 69">
              <a:extLst>
                <a:ext uri="{FF2B5EF4-FFF2-40B4-BE49-F238E27FC236}">
                  <a16:creationId xmlns:a16="http://schemas.microsoft.com/office/drawing/2014/main" id="{FED4E6E8-A1ED-4E82-8245-6C9A38084113}"/>
                </a:ext>
              </a:extLst>
            </p:cNvPr>
            <p:cNvSpPr txBox="1"/>
            <p:nvPr/>
          </p:nvSpPr>
          <p:spPr>
            <a:xfrm>
              <a:off x="9239704" y="4502484"/>
              <a:ext cx="2497913" cy="469707"/>
            </a:xfrm>
            <a:prstGeom prst="rect">
              <a:avLst/>
            </a:prstGeom>
            <a:noFill/>
          </p:spPr>
          <p:txBody>
            <a:bodyPr wrap="none" lIns="179285" tIns="143428" rIns="179285" bIns="143428" rtlCol="0">
              <a:spAutoFit/>
            </a:bodyPr>
            <a:lstStyle/>
            <a:p>
              <a:pPr marL="0" marR="0" lvl="0" indent="0" algn="l" defTabSz="932384" rtl="0" eaLnBrk="1" fontAlgn="auto" latinLnBrk="0" hangingPunct="1">
                <a:lnSpc>
                  <a:spcPct val="90000"/>
                </a:lnSpc>
                <a:spcBef>
                  <a:spcPts val="294"/>
                </a:spcBef>
                <a:spcAft>
                  <a:spcPts val="0"/>
                </a:spcAft>
                <a:buClrTx/>
                <a:buSzTx/>
                <a:buFontTx/>
                <a:buNone/>
                <a:tabLst/>
                <a:defRPr/>
              </a:pPr>
              <a:r>
                <a:rPr kumimoji="0" lang="en-US" sz="1300" b="0" i="0" u="none" strike="noStrike" kern="1200" cap="none" spc="0" normalizeH="0" baseline="0" noProof="0" dirty="0">
                  <a:ln>
                    <a:noFill/>
                  </a:ln>
                  <a:gradFill>
                    <a:gsLst>
                      <a:gs pos="78761">
                        <a:srgbClr val="505050"/>
                      </a:gs>
                      <a:gs pos="0">
                        <a:srgbClr val="505050"/>
                      </a:gs>
                    </a:gsLst>
                    <a:lin ang="5400000" scaled="0"/>
                  </a:gradFill>
                  <a:effectLst/>
                  <a:uLnTx/>
                  <a:uFillTx/>
                  <a:latin typeface="Segoe UI" panose="020B0502040204020203" pitchFamily="34" charset="0"/>
                  <a:ea typeface="+mn-ea"/>
                  <a:cs typeface="Segoe UI" panose="020B0502040204020203" pitchFamily="34" charset="0"/>
                </a:rPr>
                <a:t>Backup and disaster recovery</a:t>
              </a:r>
            </a:p>
          </p:txBody>
        </p:sp>
      </p:grpSp>
      <p:grpSp>
        <p:nvGrpSpPr>
          <p:cNvPr id="7" name="Group 6"/>
          <p:cNvGrpSpPr/>
          <p:nvPr/>
        </p:nvGrpSpPr>
        <p:grpSpPr>
          <a:xfrm>
            <a:off x="2208407" y="4208415"/>
            <a:ext cx="2703485" cy="982297"/>
            <a:chOff x="2208407" y="4208415"/>
            <a:chExt cx="2703485" cy="982297"/>
          </a:xfrm>
        </p:grpSpPr>
        <p:sp>
          <p:nvSpPr>
            <p:cNvPr id="73" name="TextBox 72">
              <a:extLst>
                <a:ext uri="{FF2B5EF4-FFF2-40B4-BE49-F238E27FC236}">
                  <a16:creationId xmlns:a16="http://schemas.microsoft.com/office/drawing/2014/main" id="{393C3F61-F05B-439C-84D4-788899A4DEA7}"/>
                </a:ext>
              </a:extLst>
            </p:cNvPr>
            <p:cNvSpPr txBox="1">
              <a:spLocks noChangeAspect="1"/>
            </p:cNvSpPr>
            <p:nvPr/>
          </p:nvSpPr>
          <p:spPr>
            <a:xfrm>
              <a:off x="3538517" y="4208415"/>
              <a:ext cx="1373375" cy="511256"/>
            </a:xfrm>
            <a:prstGeom prst="rect">
              <a:avLst/>
            </a:prstGeom>
            <a:noFill/>
          </p:spPr>
          <p:txBody>
            <a:bodyPr wrap="none" lIns="179285" tIns="143428" rIns="179285" bIns="143428"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49" normalizeH="0" baseline="0" noProof="0" dirty="0">
                  <a:ln>
                    <a:noFill/>
                  </a:ln>
                  <a:solidFill>
                    <a:srgbClr val="0078D7"/>
                  </a:solidFill>
                  <a:effectLst/>
                  <a:uLnTx/>
                  <a:uFillTx/>
                  <a:latin typeface="Segoe UI"/>
                  <a:ea typeface="+mn-ea"/>
                  <a:cs typeface="Segoe UI Light" panose="020B0502040204020203" pitchFamily="34" charset="0"/>
                </a:rPr>
                <a:t>Configure</a:t>
              </a:r>
            </a:p>
          </p:txBody>
        </p:sp>
        <p:sp>
          <p:nvSpPr>
            <p:cNvPr id="74" name="TextBox 73">
              <a:extLst>
                <a:ext uri="{FF2B5EF4-FFF2-40B4-BE49-F238E27FC236}">
                  <a16:creationId xmlns:a16="http://schemas.microsoft.com/office/drawing/2014/main" id="{F5B1C3BE-F9AF-433F-81E8-DE3EE67B829F}"/>
                </a:ext>
              </a:extLst>
            </p:cNvPr>
            <p:cNvSpPr txBox="1"/>
            <p:nvPr/>
          </p:nvSpPr>
          <p:spPr>
            <a:xfrm>
              <a:off x="2208407" y="4502484"/>
              <a:ext cx="2688245" cy="688228"/>
            </a:xfrm>
            <a:prstGeom prst="rect">
              <a:avLst/>
            </a:prstGeom>
            <a:noFill/>
          </p:spPr>
          <p:txBody>
            <a:bodyPr wrap="square" lIns="179285" tIns="143428" rIns="179285" bIns="143428" rtlCol="0">
              <a:spAutoFit/>
            </a:bodyPr>
            <a:lstStyle/>
            <a:p>
              <a:pPr marL="0" marR="0" lvl="0" indent="0" algn="r" defTabSz="932384" rtl="0" eaLnBrk="1" fontAlgn="auto" latinLnBrk="0" hangingPunct="1">
                <a:lnSpc>
                  <a:spcPct val="90000"/>
                </a:lnSpc>
                <a:spcBef>
                  <a:spcPts val="294"/>
                </a:spcBef>
                <a:spcAft>
                  <a:spcPts val="0"/>
                </a:spcAft>
                <a:buClrTx/>
                <a:buSzTx/>
                <a:buFontTx/>
                <a:buNone/>
                <a:tabLst/>
                <a:defRPr/>
              </a:pPr>
              <a:r>
                <a:rPr kumimoji="0" lang="en-US" sz="1300" b="0" i="0" u="none" strike="noStrike" kern="1200" cap="none" spc="0" normalizeH="0" baseline="0" noProof="0" dirty="0">
                  <a:ln>
                    <a:noFill/>
                  </a:ln>
                  <a:gradFill>
                    <a:gsLst>
                      <a:gs pos="78761">
                        <a:srgbClr val="505050"/>
                      </a:gs>
                      <a:gs pos="0">
                        <a:srgbClr val="505050"/>
                      </a:gs>
                    </a:gsLst>
                    <a:lin ang="5400000" scaled="0"/>
                  </a:gradFill>
                  <a:effectLst/>
                  <a:uLnTx/>
                  <a:uFillTx/>
                  <a:latin typeface="Segoe UI" panose="020B0502040204020203" pitchFamily="34" charset="0"/>
                  <a:ea typeface="+mn-ea"/>
                  <a:cs typeface="Segoe UI" panose="020B0502040204020203" pitchFamily="34" charset="0"/>
                </a:rPr>
                <a:t>Update management, scripting</a:t>
              </a:r>
            </a:p>
            <a:p>
              <a:pPr marL="0" marR="0" lvl="0" indent="0" algn="r" defTabSz="932384" rtl="0" eaLnBrk="1" fontAlgn="auto" latinLnBrk="0" hangingPunct="1">
                <a:lnSpc>
                  <a:spcPct val="90000"/>
                </a:lnSpc>
                <a:spcBef>
                  <a:spcPts val="294"/>
                </a:spcBef>
                <a:spcAft>
                  <a:spcPts val="0"/>
                </a:spcAft>
                <a:buClrTx/>
                <a:buSzTx/>
                <a:buFontTx/>
                <a:buNone/>
                <a:tabLst/>
                <a:defRPr/>
              </a:pPr>
              <a:r>
                <a:rPr kumimoji="0" lang="en-US" sz="1300" b="0" i="0" u="none" strike="noStrike" kern="1200" cap="none" spc="0" normalizeH="0" baseline="0" noProof="0" dirty="0">
                  <a:ln>
                    <a:noFill/>
                  </a:ln>
                  <a:gradFill>
                    <a:gsLst>
                      <a:gs pos="78761">
                        <a:srgbClr val="505050"/>
                      </a:gs>
                      <a:gs pos="0">
                        <a:srgbClr val="505050"/>
                      </a:gs>
                    </a:gsLst>
                    <a:lin ang="5400000" scaled="0"/>
                  </a:gradFill>
                  <a:effectLst/>
                  <a:uLnTx/>
                  <a:uFillTx/>
                  <a:latin typeface="Segoe UI" panose="020B0502040204020203" pitchFamily="34" charset="0"/>
                  <a:ea typeface="+mn-ea"/>
                  <a:cs typeface="Segoe UI" panose="020B0502040204020203" pitchFamily="34" charset="0"/>
                </a:rPr>
                <a:t>Automation, configuration</a:t>
              </a:r>
            </a:p>
          </p:txBody>
        </p:sp>
      </p:grpSp>
      <p:sp>
        <p:nvSpPr>
          <p:cNvPr id="55" name="Title 1">
            <a:extLst>
              <a:ext uri="{FF2B5EF4-FFF2-40B4-BE49-F238E27FC236}">
                <a16:creationId xmlns:a16="http://schemas.microsoft.com/office/drawing/2014/main" id="{1EDC4AAE-ECE1-4AE2-AD0A-F9CD9D4B57C2}"/>
              </a:ext>
            </a:extLst>
          </p:cNvPr>
          <p:cNvSpPr txBox="1">
            <a:spLocks/>
          </p:cNvSpPr>
          <p:nvPr/>
        </p:nvSpPr>
        <p:spPr>
          <a:xfrm>
            <a:off x="2269882" y="215265"/>
            <a:ext cx="9442158" cy="583632"/>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588"/>
              </a:spcAft>
              <a:buClrTx/>
              <a:buSzTx/>
              <a:buFontTx/>
              <a:buNone/>
              <a:tabLst/>
              <a:defRPr/>
            </a:pPr>
            <a:r>
              <a:rPr kumimoji="0" lang="en-US" sz="3600" b="0" i="0" u="none" strike="noStrike" kern="1200" cap="none" spc="-100" normalizeH="0" baseline="0" noProof="0" dirty="0">
                <a:ln w="3175">
                  <a:noFill/>
                </a:ln>
                <a:solidFill>
                  <a:srgbClr val="4F504F"/>
                </a:solidFill>
                <a:effectLst/>
                <a:uLnTx/>
                <a:uFillTx/>
                <a:latin typeface="Segoe UI Light"/>
                <a:ea typeface="+mn-ea"/>
                <a:cs typeface="Segoe UI" pitchFamily="34" charset="0"/>
              </a:rPr>
              <a:t>Secure and well-managed for IT</a:t>
            </a:r>
          </a:p>
        </p:txBody>
      </p:sp>
      <p:cxnSp>
        <p:nvCxnSpPr>
          <p:cNvPr id="51" name="Connector: Elbow 50">
            <a:extLst>
              <a:ext uri="{FF2B5EF4-FFF2-40B4-BE49-F238E27FC236}">
                <a16:creationId xmlns:a16="http://schemas.microsoft.com/office/drawing/2014/main" id="{42500034-4DEA-4C18-A7F3-FC23EE46FE23}"/>
              </a:ext>
            </a:extLst>
          </p:cNvPr>
          <p:cNvCxnSpPr>
            <a:cxnSpLocks/>
          </p:cNvCxnSpPr>
          <p:nvPr/>
        </p:nvCxnSpPr>
        <p:spPr>
          <a:xfrm flipV="1">
            <a:off x="8260135" y="2383993"/>
            <a:ext cx="675357" cy="2330"/>
          </a:xfrm>
          <a:prstGeom prst="bentConnector3">
            <a:avLst/>
          </a:prstGeom>
          <a:ln w="19050">
            <a:solidFill>
              <a:schemeClr val="tx2"/>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5923805" y="2466109"/>
            <a:ext cx="2193536" cy="2192516"/>
            <a:chOff x="5923805" y="2466109"/>
            <a:chExt cx="2193536" cy="2192516"/>
          </a:xfrm>
        </p:grpSpPr>
        <p:pic>
          <p:nvPicPr>
            <p:cNvPr id="4" name="Picture 3">
              <a:extLst>
                <a:ext uri="{FF2B5EF4-FFF2-40B4-BE49-F238E27FC236}">
                  <a16:creationId xmlns:a16="http://schemas.microsoft.com/office/drawing/2014/main" id="{CFB849A7-ED02-4630-925E-B9CD21DD2B51}"/>
                </a:ext>
              </a:extLst>
            </p:cNvPr>
            <p:cNvPicPr>
              <a:picLocks noChangeAspect="1"/>
            </p:cNvPicPr>
            <p:nvPr/>
          </p:nvPicPr>
          <p:blipFill rotWithShape="1">
            <a:blip r:embed="rId3"/>
            <a:srcRect l="42899" t="8941" r="41" b="8941"/>
            <a:stretch/>
          </p:blipFill>
          <p:spPr>
            <a:xfrm>
              <a:off x="5925983" y="2466109"/>
              <a:ext cx="2191358" cy="2177546"/>
            </a:xfrm>
            <a:prstGeom prst="ellipse">
              <a:avLst/>
            </a:prstGeom>
            <a:ln>
              <a:noFill/>
            </a:ln>
            <a:effectLst>
              <a:softEdge rad="0"/>
            </a:effectLst>
          </p:spPr>
        </p:pic>
        <p:sp>
          <p:nvSpPr>
            <p:cNvPr id="3" name="Oval 2"/>
            <p:cNvSpPr/>
            <p:nvPr/>
          </p:nvSpPr>
          <p:spPr bwMode="auto">
            <a:xfrm>
              <a:off x="5923805" y="2470043"/>
              <a:ext cx="2193536" cy="2188582"/>
            </a:xfrm>
            <a:prstGeom prst="ellipse">
              <a:avLst/>
            </a:prstGeom>
            <a:gradFill flip="none" rotWithShape="1">
              <a:gsLst>
                <a:gs pos="22000">
                  <a:schemeClr val="tx2">
                    <a:alpha val="83000"/>
                  </a:schemeClr>
                </a:gs>
                <a:gs pos="98000">
                  <a:srgbClr val="001F50">
                    <a:alpha val="7200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MS cloud text">
              <a:extLst>
                <a:ext uri="{FF2B5EF4-FFF2-40B4-BE49-F238E27FC236}">
                  <a16:creationId xmlns:a16="http://schemas.microsoft.com/office/drawing/2014/main" id="{2ED75611-8509-4028-B2B9-299958E9BEDF}"/>
                </a:ext>
              </a:extLst>
            </p:cNvPr>
            <p:cNvSpPr txBox="1">
              <a:spLocks/>
            </p:cNvSpPr>
            <p:nvPr/>
          </p:nvSpPr>
          <p:spPr>
            <a:xfrm>
              <a:off x="5923805" y="3342114"/>
              <a:ext cx="2193536" cy="581946"/>
            </a:xfrm>
            <a:prstGeom prst="rect">
              <a:avLst/>
            </a:prstGeom>
          </p:spPr>
          <p:txBody>
            <a:bodyPr vert="horz" wrap="square" lIns="143428" tIns="89642" rIns="143428" bIns="89642"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marL="0" marR="0" lvl="0" indent="0" algn="ctr" defTabSz="896386" rtl="0" eaLnBrk="1" fontAlgn="auto" latinLnBrk="0" hangingPunct="1">
                <a:lnSpc>
                  <a:spcPct val="90000"/>
                </a:lnSpc>
                <a:spcBef>
                  <a:spcPct val="0"/>
                </a:spcBef>
                <a:spcAft>
                  <a:spcPts val="0"/>
                </a:spcAft>
                <a:buClrTx/>
                <a:buSzTx/>
                <a:buFontTx/>
                <a:buNone/>
                <a:tabLst/>
                <a:defRPr/>
              </a:pPr>
              <a:r>
                <a:rPr kumimoji="0" lang="en-US" sz="1600" b="1" i="0" u="none" strike="noStrike" kern="0" cap="none" spc="0" normalizeH="0" baseline="0" noProof="0" dirty="0">
                  <a:ln w="3175">
                    <a:noFill/>
                  </a:ln>
                  <a:solidFill>
                    <a:srgbClr val="FFFFFF"/>
                  </a:solidFill>
                  <a:effectLst/>
                  <a:uLnTx/>
                  <a:uFillTx/>
                  <a:latin typeface="Segoe UI"/>
                  <a:ea typeface="+mn-ea"/>
                  <a:cs typeface="Segoe UI Semilight" panose="020B0402040204020203" pitchFamily="34" charset="0"/>
                </a:rPr>
                <a:t>Azure portal</a:t>
              </a:r>
            </a:p>
          </p:txBody>
        </p:sp>
      </p:grpSp>
      <p:grpSp>
        <p:nvGrpSpPr>
          <p:cNvPr id="14" name="Group 13"/>
          <p:cNvGrpSpPr/>
          <p:nvPr/>
        </p:nvGrpSpPr>
        <p:grpSpPr>
          <a:xfrm>
            <a:off x="5445795" y="3807219"/>
            <a:ext cx="588212" cy="588212"/>
            <a:chOff x="5445795" y="3807219"/>
            <a:chExt cx="588212" cy="588212"/>
          </a:xfrm>
        </p:grpSpPr>
        <p:sp>
          <p:nvSpPr>
            <p:cNvPr id="45" name="Oval 44">
              <a:extLst>
                <a:ext uri="{FF2B5EF4-FFF2-40B4-BE49-F238E27FC236}">
                  <a16:creationId xmlns:a16="http://schemas.microsoft.com/office/drawing/2014/main" id="{3CFDDF8B-5104-4988-8546-B50E8A7FEB25}"/>
                </a:ext>
              </a:extLst>
            </p:cNvPr>
            <p:cNvSpPr/>
            <p:nvPr/>
          </p:nvSpPr>
          <p:spPr bwMode="auto">
            <a:xfrm>
              <a:off x="5445795" y="3807219"/>
              <a:ext cx="588212" cy="588212"/>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Freeform 14"/>
            <p:cNvSpPr>
              <a:spLocks noEditPoints="1"/>
            </p:cNvSpPr>
            <p:nvPr/>
          </p:nvSpPr>
          <p:spPr bwMode="auto">
            <a:xfrm>
              <a:off x="5472408" y="3905112"/>
              <a:ext cx="429966" cy="414966"/>
            </a:xfrm>
            <a:custGeom>
              <a:avLst/>
              <a:gdLst>
                <a:gd name="T0" fmla="*/ 80 w 255"/>
                <a:gd name="T1" fmla="*/ 123 h 246"/>
                <a:gd name="T2" fmla="*/ 176 w 255"/>
                <a:gd name="T3" fmla="*/ 123 h 246"/>
                <a:gd name="T4" fmla="*/ 128 w 255"/>
                <a:gd name="T5" fmla="*/ 189 h 246"/>
                <a:gd name="T6" fmla="*/ 128 w 255"/>
                <a:gd name="T7" fmla="*/ 57 h 246"/>
                <a:gd name="T8" fmla="*/ 128 w 255"/>
                <a:gd name="T9" fmla="*/ 189 h 246"/>
                <a:gd name="T10" fmla="*/ 147 w 255"/>
                <a:gd name="T11" fmla="*/ 227 h 246"/>
                <a:gd name="T12" fmla="*/ 154 w 255"/>
                <a:gd name="T13" fmla="*/ 206 h 246"/>
                <a:gd name="T14" fmla="*/ 190 w 255"/>
                <a:gd name="T15" fmla="*/ 182 h 246"/>
                <a:gd name="T16" fmla="*/ 228 w 255"/>
                <a:gd name="T17" fmla="*/ 161 h 246"/>
                <a:gd name="T18" fmla="*/ 212 w 255"/>
                <a:gd name="T19" fmla="*/ 142 h 246"/>
                <a:gd name="T20" fmla="*/ 212 w 255"/>
                <a:gd name="T21" fmla="*/ 106 h 246"/>
                <a:gd name="T22" fmla="*/ 228 w 255"/>
                <a:gd name="T23" fmla="*/ 87 h 246"/>
                <a:gd name="T24" fmla="*/ 190 w 255"/>
                <a:gd name="T25" fmla="*/ 66 h 246"/>
                <a:gd name="T26" fmla="*/ 154 w 255"/>
                <a:gd name="T27" fmla="*/ 42 h 246"/>
                <a:gd name="T28" fmla="*/ 147 w 255"/>
                <a:gd name="T29" fmla="*/ 19 h 246"/>
                <a:gd name="T30" fmla="*/ 108 w 255"/>
                <a:gd name="T31" fmla="*/ 40 h 246"/>
                <a:gd name="T32" fmla="*/ 68 w 255"/>
                <a:gd name="T33" fmla="*/ 61 h 246"/>
                <a:gd name="T34" fmla="*/ 46 w 255"/>
                <a:gd name="T35" fmla="*/ 57 h 246"/>
                <a:gd name="T36" fmla="*/ 44 w 255"/>
                <a:gd name="T37" fmla="*/ 99 h 246"/>
                <a:gd name="T38" fmla="*/ 41 w 255"/>
                <a:gd name="T39" fmla="*/ 123 h 246"/>
                <a:gd name="T40" fmla="*/ 44 w 255"/>
                <a:gd name="T41" fmla="*/ 149 h 246"/>
                <a:gd name="T42" fmla="*/ 46 w 255"/>
                <a:gd name="T43" fmla="*/ 192 h 246"/>
                <a:gd name="T44" fmla="*/ 68 w 255"/>
                <a:gd name="T45" fmla="*/ 187 h 246"/>
                <a:gd name="T46" fmla="*/ 108 w 255"/>
                <a:gd name="T47" fmla="*/ 208 h 246"/>
                <a:gd name="T48" fmla="*/ 166 w 255"/>
                <a:gd name="T49" fmla="*/ 246 h 246"/>
                <a:gd name="T50" fmla="*/ 89 w 255"/>
                <a:gd name="T51" fmla="*/ 220 h 246"/>
                <a:gd name="T52" fmla="*/ 39 w 255"/>
                <a:gd name="T53" fmla="*/ 218 h 246"/>
                <a:gd name="T54" fmla="*/ 22 w 255"/>
                <a:gd name="T55" fmla="*/ 139 h 246"/>
                <a:gd name="T56" fmla="*/ 22 w 255"/>
                <a:gd name="T57" fmla="*/ 109 h 246"/>
                <a:gd name="T58" fmla="*/ 39 w 255"/>
                <a:gd name="T59" fmla="*/ 31 h 246"/>
                <a:gd name="T60" fmla="*/ 89 w 255"/>
                <a:gd name="T61" fmla="*/ 26 h 246"/>
                <a:gd name="T62" fmla="*/ 166 w 255"/>
                <a:gd name="T63" fmla="*/ 0 h 246"/>
                <a:gd name="T64" fmla="*/ 192 w 255"/>
                <a:gd name="T65" fmla="*/ 42 h 246"/>
                <a:gd name="T66" fmla="*/ 255 w 255"/>
                <a:gd name="T67" fmla="*/ 95 h 246"/>
                <a:gd name="T68" fmla="*/ 233 w 255"/>
                <a:gd name="T69" fmla="*/ 123 h 246"/>
                <a:gd name="T70" fmla="*/ 255 w 255"/>
                <a:gd name="T71" fmla="*/ 154 h 246"/>
                <a:gd name="T72" fmla="*/ 192 w 255"/>
                <a:gd name="T73" fmla="*/ 206 h 246"/>
                <a:gd name="T74" fmla="*/ 166 w 255"/>
                <a:gd name="T7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5" h="246">
                  <a:moveTo>
                    <a:pt x="128" y="76"/>
                  </a:moveTo>
                  <a:cubicBezTo>
                    <a:pt x="101" y="76"/>
                    <a:pt x="80" y="97"/>
                    <a:pt x="80" y="123"/>
                  </a:cubicBezTo>
                  <a:cubicBezTo>
                    <a:pt x="80" y="151"/>
                    <a:pt x="101" y="170"/>
                    <a:pt x="128" y="170"/>
                  </a:cubicBezTo>
                  <a:cubicBezTo>
                    <a:pt x="154" y="170"/>
                    <a:pt x="176" y="151"/>
                    <a:pt x="176" y="123"/>
                  </a:cubicBezTo>
                  <a:cubicBezTo>
                    <a:pt x="176" y="97"/>
                    <a:pt x="154" y="76"/>
                    <a:pt x="128" y="76"/>
                  </a:cubicBezTo>
                  <a:close/>
                  <a:moveTo>
                    <a:pt x="128" y="189"/>
                  </a:moveTo>
                  <a:cubicBezTo>
                    <a:pt x="89" y="189"/>
                    <a:pt x="60" y="161"/>
                    <a:pt x="60" y="123"/>
                  </a:cubicBezTo>
                  <a:cubicBezTo>
                    <a:pt x="60" y="87"/>
                    <a:pt x="89" y="57"/>
                    <a:pt x="128" y="57"/>
                  </a:cubicBezTo>
                  <a:cubicBezTo>
                    <a:pt x="164" y="57"/>
                    <a:pt x="195" y="87"/>
                    <a:pt x="195" y="123"/>
                  </a:cubicBezTo>
                  <a:cubicBezTo>
                    <a:pt x="195" y="161"/>
                    <a:pt x="164" y="189"/>
                    <a:pt x="128" y="189"/>
                  </a:cubicBezTo>
                  <a:close/>
                  <a:moveTo>
                    <a:pt x="108" y="227"/>
                  </a:moveTo>
                  <a:cubicBezTo>
                    <a:pt x="147" y="227"/>
                    <a:pt x="147" y="227"/>
                    <a:pt x="147" y="227"/>
                  </a:cubicBezTo>
                  <a:cubicBezTo>
                    <a:pt x="147" y="208"/>
                    <a:pt x="147" y="208"/>
                    <a:pt x="147" y="208"/>
                  </a:cubicBezTo>
                  <a:cubicBezTo>
                    <a:pt x="154" y="206"/>
                    <a:pt x="154" y="206"/>
                    <a:pt x="154" y="206"/>
                  </a:cubicBezTo>
                  <a:cubicBezTo>
                    <a:pt x="166" y="201"/>
                    <a:pt x="176" y="196"/>
                    <a:pt x="185" y="187"/>
                  </a:cubicBezTo>
                  <a:cubicBezTo>
                    <a:pt x="190" y="182"/>
                    <a:pt x="190" y="182"/>
                    <a:pt x="190" y="182"/>
                  </a:cubicBezTo>
                  <a:cubicBezTo>
                    <a:pt x="209" y="192"/>
                    <a:pt x="209" y="192"/>
                    <a:pt x="209" y="192"/>
                  </a:cubicBezTo>
                  <a:cubicBezTo>
                    <a:pt x="228" y="161"/>
                    <a:pt x="228" y="161"/>
                    <a:pt x="228" y="161"/>
                  </a:cubicBezTo>
                  <a:cubicBezTo>
                    <a:pt x="209" y="149"/>
                    <a:pt x="209" y="149"/>
                    <a:pt x="209" y="149"/>
                  </a:cubicBezTo>
                  <a:cubicBezTo>
                    <a:pt x="212" y="142"/>
                    <a:pt x="212" y="142"/>
                    <a:pt x="212" y="142"/>
                  </a:cubicBezTo>
                  <a:cubicBezTo>
                    <a:pt x="212" y="137"/>
                    <a:pt x="214" y="130"/>
                    <a:pt x="214" y="123"/>
                  </a:cubicBezTo>
                  <a:cubicBezTo>
                    <a:pt x="214" y="118"/>
                    <a:pt x="212" y="111"/>
                    <a:pt x="212" y="106"/>
                  </a:cubicBezTo>
                  <a:cubicBezTo>
                    <a:pt x="209" y="99"/>
                    <a:pt x="209" y="99"/>
                    <a:pt x="209" y="99"/>
                  </a:cubicBezTo>
                  <a:cubicBezTo>
                    <a:pt x="228" y="87"/>
                    <a:pt x="228" y="87"/>
                    <a:pt x="228" y="87"/>
                  </a:cubicBezTo>
                  <a:cubicBezTo>
                    <a:pt x="209" y="57"/>
                    <a:pt x="209" y="57"/>
                    <a:pt x="209" y="57"/>
                  </a:cubicBezTo>
                  <a:cubicBezTo>
                    <a:pt x="190" y="66"/>
                    <a:pt x="190" y="66"/>
                    <a:pt x="190" y="66"/>
                  </a:cubicBezTo>
                  <a:cubicBezTo>
                    <a:pt x="185" y="61"/>
                    <a:pt x="185" y="61"/>
                    <a:pt x="185" y="61"/>
                  </a:cubicBezTo>
                  <a:cubicBezTo>
                    <a:pt x="176" y="52"/>
                    <a:pt x="166" y="47"/>
                    <a:pt x="154" y="42"/>
                  </a:cubicBezTo>
                  <a:cubicBezTo>
                    <a:pt x="147" y="40"/>
                    <a:pt x="147" y="40"/>
                    <a:pt x="147" y="40"/>
                  </a:cubicBezTo>
                  <a:cubicBezTo>
                    <a:pt x="147" y="19"/>
                    <a:pt x="147" y="19"/>
                    <a:pt x="147" y="19"/>
                  </a:cubicBezTo>
                  <a:cubicBezTo>
                    <a:pt x="108" y="19"/>
                    <a:pt x="108" y="19"/>
                    <a:pt x="108" y="19"/>
                  </a:cubicBezTo>
                  <a:cubicBezTo>
                    <a:pt x="108" y="40"/>
                    <a:pt x="108" y="40"/>
                    <a:pt x="108" y="40"/>
                  </a:cubicBezTo>
                  <a:cubicBezTo>
                    <a:pt x="101" y="42"/>
                    <a:pt x="101" y="42"/>
                    <a:pt x="101" y="42"/>
                  </a:cubicBezTo>
                  <a:cubicBezTo>
                    <a:pt x="89" y="47"/>
                    <a:pt x="77" y="52"/>
                    <a:pt x="68" y="61"/>
                  </a:cubicBezTo>
                  <a:cubicBezTo>
                    <a:pt x="63" y="66"/>
                    <a:pt x="63" y="66"/>
                    <a:pt x="63" y="66"/>
                  </a:cubicBezTo>
                  <a:cubicBezTo>
                    <a:pt x="46" y="57"/>
                    <a:pt x="46" y="57"/>
                    <a:pt x="46" y="57"/>
                  </a:cubicBezTo>
                  <a:cubicBezTo>
                    <a:pt x="27" y="87"/>
                    <a:pt x="27" y="87"/>
                    <a:pt x="27" y="87"/>
                  </a:cubicBezTo>
                  <a:cubicBezTo>
                    <a:pt x="44" y="99"/>
                    <a:pt x="44" y="99"/>
                    <a:pt x="44" y="99"/>
                  </a:cubicBezTo>
                  <a:cubicBezTo>
                    <a:pt x="44" y="106"/>
                    <a:pt x="44" y="106"/>
                    <a:pt x="44" y="106"/>
                  </a:cubicBezTo>
                  <a:cubicBezTo>
                    <a:pt x="41" y="111"/>
                    <a:pt x="41" y="118"/>
                    <a:pt x="41" y="123"/>
                  </a:cubicBezTo>
                  <a:cubicBezTo>
                    <a:pt x="41" y="130"/>
                    <a:pt x="41" y="137"/>
                    <a:pt x="44" y="142"/>
                  </a:cubicBezTo>
                  <a:cubicBezTo>
                    <a:pt x="44" y="149"/>
                    <a:pt x="44" y="149"/>
                    <a:pt x="44" y="149"/>
                  </a:cubicBezTo>
                  <a:cubicBezTo>
                    <a:pt x="27" y="161"/>
                    <a:pt x="27" y="161"/>
                    <a:pt x="27" y="161"/>
                  </a:cubicBezTo>
                  <a:cubicBezTo>
                    <a:pt x="46" y="192"/>
                    <a:pt x="46" y="192"/>
                    <a:pt x="46" y="192"/>
                  </a:cubicBezTo>
                  <a:cubicBezTo>
                    <a:pt x="63" y="182"/>
                    <a:pt x="63" y="182"/>
                    <a:pt x="63" y="182"/>
                  </a:cubicBezTo>
                  <a:cubicBezTo>
                    <a:pt x="68" y="187"/>
                    <a:pt x="68" y="187"/>
                    <a:pt x="68" y="187"/>
                  </a:cubicBezTo>
                  <a:cubicBezTo>
                    <a:pt x="77" y="196"/>
                    <a:pt x="89" y="201"/>
                    <a:pt x="101" y="206"/>
                  </a:cubicBezTo>
                  <a:cubicBezTo>
                    <a:pt x="108" y="208"/>
                    <a:pt x="108" y="208"/>
                    <a:pt x="108" y="208"/>
                  </a:cubicBezTo>
                  <a:lnTo>
                    <a:pt x="108" y="227"/>
                  </a:lnTo>
                  <a:close/>
                  <a:moveTo>
                    <a:pt x="166" y="246"/>
                  </a:moveTo>
                  <a:cubicBezTo>
                    <a:pt x="89" y="246"/>
                    <a:pt x="89" y="246"/>
                    <a:pt x="89" y="246"/>
                  </a:cubicBezTo>
                  <a:cubicBezTo>
                    <a:pt x="89" y="220"/>
                    <a:pt x="89" y="220"/>
                    <a:pt x="89" y="220"/>
                  </a:cubicBezTo>
                  <a:cubicBezTo>
                    <a:pt x="80" y="218"/>
                    <a:pt x="70" y="213"/>
                    <a:pt x="60" y="206"/>
                  </a:cubicBezTo>
                  <a:cubicBezTo>
                    <a:pt x="39" y="218"/>
                    <a:pt x="39" y="218"/>
                    <a:pt x="39" y="218"/>
                  </a:cubicBezTo>
                  <a:cubicBezTo>
                    <a:pt x="0" y="154"/>
                    <a:pt x="0" y="154"/>
                    <a:pt x="0" y="154"/>
                  </a:cubicBezTo>
                  <a:cubicBezTo>
                    <a:pt x="22" y="139"/>
                    <a:pt x="22" y="139"/>
                    <a:pt x="22" y="139"/>
                  </a:cubicBezTo>
                  <a:cubicBezTo>
                    <a:pt x="22" y="135"/>
                    <a:pt x="22" y="130"/>
                    <a:pt x="22" y="123"/>
                  </a:cubicBezTo>
                  <a:cubicBezTo>
                    <a:pt x="22" y="118"/>
                    <a:pt x="22" y="113"/>
                    <a:pt x="22" y="109"/>
                  </a:cubicBezTo>
                  <a:cubicBezTo>
                    <a:pt x="0" y="95"/>
                    <a:pt x="0" y="95"/>
                    <a:pt x="0" y="95"/>
                  </a:cubicBezTo>
                  <a:cubicBezTo>
                    <a:pt x="39" y="31"/>
                    <a:pt x="39" y="31"/>
                    <a:pt x="39" y="31"/>
                  </a:cubicBezTo>
                  <a:cubicBezTo>
                    <a:pt x="60" y="42"/>
                    <a:pt x="60" y="42"/>
                    <a:pt x="60" y="42"/>
                  </a:cubicBezTo>
                  <a:cubicBezTo>
                    <a:pt x="70" y="35"/>
                    <a:pt x="80" y="31"/>
                    <a:pt x="89" y="26"/>
                  </a:cubicBezTo>
                  <a:cubicBezTo>
                    <a:pt x="89" y="0"/>
                    <a:pt x="89" y="0"/>
                    <a:pt x="89" y="0"/>
                  </a:cubicBezTo>
                  <a:cubicBezTo>
                    <a:pt x="166" y="0"/>
                    <a:pt x="166" y="0"/>
                    <a:pt x="166" y="0"/>
                  </a:cubicBezTo>
                  <a:cubicBezTo>
                    <a:pt x="166" y="26"/>
                    <a:pt x="166" y="26"/>
                    <a:pt x="166" y="26"/>
                  </a:cubicBezTo>
                  <a:cubicBezTo>
                    <a:pt x="176" y="31"/>
                    <a:pt x="185" y="35"/>
                    <a:pt x="192" y="42"/>
                  </a:cubicBezTo>
                  <a:cubicBezTo>
                    <a:pt x="216" y="31"/>
                    <a:pt x="216" y="31"/>
                    <a:pt x="216" y="31"/>
                  </a:cubicBezTo>
                  <a:cubicBezTo>
                    <a:pt x="255" y="95"/>
                    <a:pt x="255" y="95"/>
                    <a:pt x="255" y="95"/>
                  </a:cubicBezTo>
                  <a:cubicBezTo>
                    <a:pt x="231" y="109"/>
                    <a:pt x="231" y="109"/>
                    <a:pt x="231" y="109"/>
                  </a:cubicBezTo>
                  <a:cubicBezTo>
                    <a:pt x="233" y="113"/>
                    <a:pt x="233" y="118"/>
                    <a:pt x="233" y="123"/>
                  </a:cubicBezTo>
                  <a:cubicBezTo>
                    <a:pt x="233" y="130"/>
                    <a:pt x="233" y="135"/>
                    <a:pt x="231" y="139"/>
                  </a:cubicBezTo>
                  <a:cubicBezTo>
                    <a:pt x="255" y="154"/>
                    <a:pt x="255" y="154"/>
                    <a:pt x="255" y="154"/>
                  </a:cubicBezTo>
                  <a:cubicBezTo>
                    <a:pt x="216" y="218"/>
                    <a:pt x="216" y="218"/>
                    <a:pt x="216" y="218"/>
                  </a:cubicBezTo>
                  <a:cubicBezTo>
                    <a:pt x="192" y="206"/>
                    <a:pt x="192" y="206"/>
                    <a:pt x="192" y="206"/>
                  </a:cubicBezTo>
                  <a:cubicBezTo>
                    <a:pt x="185" y="213"/>
                    <a:pt x="176" y="218"/>
                    <a:pt x="166" y="220"/>
                  </a:cubicBezTo>
                  <a:lnTo>
                    <a:pt x="166" y="24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18666229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fade">
                                      <p:cBhvr>
                                        <p:cTn id="7" dur="500"/>
                                        <p:tgtEl>
                                          <p:spTgt spid="55"/>
                                        </p:tgtEl>
                                      </p:cBhvr>
                                    </p:animEffect>
                                  </p:childTnLst>
                                </p:cTn>
                              </p:par>
                              <p:par>
                                <p:cTn id="8" presetID="42" presetClass="path" presetSubtype="0" decel="100000" fill="hold" grpId="1" nodeType="withEffect">
                                  <p:stCondLst>
                                    <p:cond delay="0"/>
                                  </p:stCondLst>
                                  <p:childTnLst>
                                    <p:animMotion origin="layout" path="M 2.5E-6 -2.59259E-6 L 2.5E-6 0.04584 " pathEditMode="relative" rAng="0" ptsTypes="AA">
                                      <p:cBhvr>
                                        <p:cTn id="9" dur="500" spd="-100000" fill="hold"/>
                                        <p:tgtEl>
                                          <p:spTgt spid="55"/>
                                        </p:tgtEl>
                                        <p:attrNameLst>
                                          <p:attrName>ppt_x</p:attrName>
                                          <p:attrName>ppt_y</p:attrName>
                                        </p:attrNameLst>
                                      </p:cBhvr>
                                      <p:rCtr x="0" y="2292"/>
                                    </p:animMotion>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childTnLst>
                          </p:cTn>
                        </p:par>
                        <p:par>
                          <p:cTn id="14" fill="hold">
                            <p:stCondLst>
                              <p:cond delay="1000"/>
                            </p:stCondLst>
                            <p:childTnLst>
                              <p:par>
                                <p:cTn id="15" presetID="21" presetClass="entr" presetSubtype="8" fill="hold" grpId="0" nodeType="afterEffect">
                                  <p:stCondLst>
                                    <p:cond delay="0"/>
                                  </p:stCondLst>
                                  <p:childTnLst>
                                    <p:set>
                                      <p:cBhvr>
                                        <p:cTn id="16" dur="1" fill="hold">
                                          <p:stCondLst>
                                            <p:cond delay="0"/>
                                          </p:stCondLst>
                                        </p:cTn>
                                        <p:tgtEl>
                                          <p:spTgt spid="63"/>
                                        </p:tgtEl>
                                        <p:attrNameLst>
                                          <p:attrName>style.visibility</p:attrName>
                                        </p:attrNameLst>
                                      </p:cBhvr>
                                      <p:to>
                                        <p:strVal val="visible"/>
                                      </p:to>
                                    </p:set>
                                    <p:animEffect transition="in" filter="wheel(8)">
                                      <p:cBhvr>
                                        <p:cTn id="17" dur="500"/>
                                        <p:tgtEl>
                                          <p:spTgt spid="63"/>
                                        </p:tgtEl>
                                      </p:cBhvr>
                                    </p:animEffect>
                                  </p:childTnLst>
                                </p:cTn>
                              </p:par>
                              <p:par>
                                <p:cTn id="18" presetID="23" presetClass="entr" presetSubtype="272" fill="hold" nodeType="withEffect">
                                  <p:stCondLst>
                                    <p:cond delay="0"/>
                                  </p:stCondLst>
                                  <p:childTnLst>
                                    <p:set>
                                      <p:cBhvr>
                                        <p:cTn id="19" dur="1" fill="hold">
                                          <p:stCondLst>
                                            <p:cond delay="0"/>
                                          </p:stCondLst>
                                        </p:cTn>
                                        <p:tgtEl>
                                          <p:spTgt spid="40"/>
                                        </p:tgtEl>
                                        <p:attrNameLst>
                                          <p:attrName>style.visibility</p:attrName>
                                        </p:attrNameLst>
                                      </p:cBhvr>
                                      <p:to>
                                        <p:strVal val="visible"/>
                                      </p:to>
                                    </p:set>
                                    <p:anim calcmode="lin" valueType="num">
                                      <p:cBhvr>
                                        <p:cTn id="20" dur="500" fill="hold"/>
                                        <p:tgtEl>
                                          <p:spTgt spid="40"/>
                                        </p:tgtEl>
                                        <p:attrNameLst>
                                          <p:attrName>ppt_w</p:attrName>
                                        </p:attrNameLst>
                                      </p:cBhvr>
                                      <p:tavLst>
                                        <p:tav tm="0">
                                          <p:val>
                                            <p:strVal val="2/3*#ppt_w"/>
                                          </p:val>
                                        </p:tav>
                                        <p:tav tm="100000">
                                          <p:val>
                                            <p:strVal val="#ppt_w"/>
                                          </p:val>
                                        </p:tav>
                                      </p:tavLst>
                                    </p:anim>
                                    <p:anim calcmode="lin" valueType="num">
                                      <p:cBhvr>
                                        <p:cTn id="21" dur="500" fill="hold"/>
                                        <p:tgtEl>
                                          <p:spTgt spid="40"/>
                                        </p:tgtEl>
                                        <p:attrNameLst>
                                          <p:attrName>ppt_h</p:attrName>
                                        </p:attrNameLst>
                                      </p:cBhvr>
                                      <p:tavLst>
                                        <p:tav tm="0">
                                          <p:val>
                                            <p:strVal val="2/3*#ppt_h"/>
                                          </p:val>
                                        </p:tav>
                                        <p:tav tm="100000">
                                          <p:val>
                                            <p:strVal val="#ppt_h"/>
                                          </p:val>
                                        </p:tav>
                                      </p:tavLst>
                                    </p:anim>
                                  </p:childTnLst>
                                </p:cTn>
                              </p:par>
                              <p:par>
                                <p:cTn id="22" presetID="23" presetClass="entr" presetSubtype="272" fill="hold" nodeType="withEffect">
                                  <p:stCondLst>
                                    <p:cond delay="0"/>
                                  </p:stCondLst>
                                  <p:childTnLst>
                                    <p:set>
                                      <p:cBhvr>
                                        <p:cTn id="23" dur="1" fill="hold">
                                          <p:stCondLst>
                                            <p:cond delay="0"/>
                                          </p:stCondLst>
                                        </p:cTn>
                                        <p:tgtEl>
                                          <p:spTgt spid="5"/>
                                        </p:tgtEl>
                                        <p:attrNameLst>
                                          <p:attrName>style.visibility</p:attrName>
                                        </p:attrNameLst>
                                      </p:cBhvr>
                                      <p:to>
                                        <p:strVal val="visible"/>
                                      </p:to>
                                    </p:set>
                                    <p:anim calcmode="lin" valueType="num">
                                      <p:cBhvr>
                                        <p:cTn id="24" dur="500" fill="hold"/>
                                        <p:tgtEl>
                                          <p:spTgt spid="5"/>
                                        </p:tgtEl>
                                        <p:attrNameLst>
                                          <p:attrName>ppt_w</p:attrName>
                                        </p:attrNameLst>
                                      </p:cBhvr>
                                      <p:tavLst>
                                        <p:tav tm="0">
                                          <p:val>
                                            <p:strVal val="2/3*#ppt_w"/>
                                          </p:val>
                                        </p:tav>
                                        <p:tav tm="100000">
                                          <p:val>
                                            <p:strVal val="#ppt_w"/>
                                          </p:val>
                                        </p:tav>
                                      </p:tavLst>
                                    </p:anim>
                                    <p:anim calcmode="lin" valueType="num">
                                      <p:cBhvr>
                                        <p:cTn id="25" dur="500" fill="hold"/>
                                        <p:tgtEl>
                                          <p:spTgt spid="5"/>
                                        </p:tgtEl>
                                        <p:attrNameLst>
                                          <p:attrName>ppt_h</p:attrName>
                                        </p:attrNameLst>
                                      </p:cBhvr>
                                      <p:tavLst>
                                        <p:tav tm="0">
                                          <p:val>
                                            <p:strVal val="2/3*#ppt_h"/>
                                          </p:val>
                                        </p:tav>
                                        <p:tav tm="100000">
                                          <p:val>
                                            <p:strVal val="#ppt_h"/>
                                          </p:val>
                                        </p:tav>
                                      </p:tavLst>
                                    </p:anim>
                                  </p:childTnLst>
                                </p:cTn>
                              </p:par>
                              <p:par>
                                <p:cTn id="26" presetID="23" presetClass="entr" presetSubtype="272" fill="hold" nodeType="withEffect">
                                  <p:stCondLst>
                                    <p:cond delay="0"/>
                                  </p:stCondLst>
                                  <p:childTnLst>
                                    <p:set>
                                      <p:cBhvr>
                                        <p:cTn id="27" dur="1" fill="hold">
                                          <p:stCondLst>
                                            <p:cond delay="0"/>
                                          </p:stCondLst>
                                        </p:cTn>
                                        <p:tgtEl>
                                          <p:spTgt spid="27"/>
                                        </p:tgtEl>
                                        <p:attrNameLst>
                                          <p:attrName>style.visibility</p:attrName>
                                        </p:attrNameLst>
                                      </p:cBhvr>
                                      <p:to>
                                        <p:strVal val="visible"/>
                                      </p:to>
                                    </p:set>
                                    <p:anim calcmode="lin" valueType="num">
                                      <p:cBhvr>
                                        <p:cTn id="28" dur="500" fill="hold"/>
                                        <p:tgtEl>
                                          <p:spTgt spid="27"/>
                                        </p:tgtEl>
                                        <p:attrNameLst>
                                          <p:attrName>ppt_w</p:attrName>
                                        </p:attrNameLst>
                                      </p:cBhvr>
                                      <p:tavLst>
                                        <p:tav tm="0">
                                          <p:val>
                                            <p:strVal val="2/3*#ppt_w"/>
                                          </p:val>
                                        </p:tav>
                                        <p:tav tm="100000">
                                          <p:val>
                                            <p:strVal val="#ppt_w"/>
                                          </p:val>
                                        </p:tav>
                                      </p:tavLst>
                                    </p:anim>
                                    <p:anim calcmode="lin" valueType="num">
                                      <p:cBhvr>
                                        <p:cTn id="29" dur="500" fill="hold"/>
                                        <p:tgtEl>
                                          <p:spTgt spid="27"/>
                                        </p:tgtEl>
                                        <p:attrNameLst>
                                          <p:attrName>ppt_h</p:attrName>
                                        </p:attrNameLst>
                                      </p:cBhvr>
                                      <p:tavLst>
                                        <p:tav tm="0">
                                          <p:val>
                                            <p:strVal val="2/3*#ppt_h"/>
                                          </p:val>
                                        </p:tav>
                                        <p:tav tm="100000">
                                          <p:val>
                                            <p:strVal val="#ppt_h"/>
                                          </p:val>
                                        </p:tav>
                                      </p:tavLst>
                                    </p:anim>
                                  </p:childTnLst>
                                </p:cTn>
                              </p:par>
                              <p:par>
                                <p:cTn id="30" presetID="23" presetClass="entr" presetSubtype="272" fill="hold" nodeType="withEffect">
                                  <p:stCondLst>
                                    <p:cond delay="0"/>
                                  </p:stCondLst>
                                  <p:childTnLst>
                                    <p:set>
                                      <p:cBhvr>
                                        <p:cTn id="31" dur="1" fill="hold">
                                          <p:stCondLst>
                                            <p:cond delay="0"/>
                                          </p:stCondLst>
                                        </p:cTn>
                                        <p:tgtEl>
                                          <p:spTgt spid="2"/>
                                        </p:tgtEl>
                                        <p:attrNameLst>
                                          <p:attrName>style.visibility</p:attrName>
                                        </p:attrNameLst>
                                      </p:cBhvr>
                                      <p:to>
                                        <p:strVal val="visible"/>
                                      </p:to>
                                    </p:set>
                                    <p:anim calcmode="lin" valueType="num">
                                      <p:cBhvr>
                                        <p:cTn id="32" dur="500" fill="hold"/>
                                        <p:tgtEl>
                                          <p:spTgt spid="2"/>
                                        </p:tgtEl>
                                        <p:attrNameLst>
                                          <p:attrName>ppt_w</p:attrName>
                                        </p:attrNameLst>
                                      </p:cBhvr>
                                      <p:tavLst>
                                        <p:tav tm="0">
                                          <p:val>
                                            <p:strVal val="2/3*#ppt_w"/>
                                          </p:val>
                                        </p:tav>
                                        <p:tav tm="100000">
                                          <p:val>
                                            <p:strVal val="#ppt_w"/>
                                          </p:val>
                                        </p:tav>
                                      </p:tavLst>
                                    </p:anim>
                                    <p:anim calcmode="lin" valueType="num">
                                      <p:cBhvr>
                                        <p:cTn id="33" dur="500" fill="hold"/>
                                        <p:tgtEl>
                                          <p:spTgt spid="2"/>
                                        </p:tgtEl>
                                        <p:attrNameLst>
                                          <p:attrName>ppt_h</p:attrName>
                                        </p:attrNameLst>
                                      </p:cBhvr>
                                      <p:tavLst>
                                        <p:tav tm="0">
                                          <p:val>
                                            <p:strVal val="2/3*#ppt_h"/>
                                          </p:val>
                                        </p:tav>
                                        <p:tav tm="100000">
                                          <p:val>
                                            <p:strVal val="#ppt_h"/>
                                          </p:val>
                                        </p:tav>
                                      </p:tavLst>
                                    </p:anim>
                                  </p:childTnLst>
                                </p:cTn>
                              </p:par>
                              <p:par>
                                <p:cTn id="34" presetID="23" presetClass="entr" presetSubtype="272" fill="hold" nodeType="withEffect">
                                  <p:stCondLst>
                                    <p:cond delay="0"/>
                                  </p:stCondLst>
                                  <p:childTnLst>
                                    <p:set>
                                      <p:cBhvr>
                                        <p:cTn id="35" dur="1" fill="hold">
                                          <p:stCondLst>
                                            <p:cond delay="0"/>
                                          </p:stCondLst>
                                        </p:cTn>
                                        <p:tgtEl>
                                          <p:spTgt spid="14"/>
                                        </p:tgtEl>
                                        <p:attrNameLst>
                                          <p:attrName>style.visibility</p:attrName>
                                        </p:attrNameLst>
                                      </p:cBhvr>
                                      <p:to>
                                        <p:strVal val="visible"/>
                                      </p:to>
                                    </p:set>
                                    <p:anim calcmode="lin" valueType="num">
                                      <p:cBhvr>
                                        <p:cTn id="36" dur="500" fill="hold"/>
                                        <p:tgtEl>
                                          <p:spTgt spid="14"/>
                                        </p:tgtEl>
                                        <p:attrNameLst>
                                          <p:attrName>ppt_w</p:attrName>
                                        </p:attrNameLst>
                                      </p:cBhvr>
                                      <p:tavLst>
                                        <p:tav tm="0">
                                          <p:val>
                                            <p:strVal val="2/3*#ppt_w"/>
                                          </p:val>
                                        </p:tav>
                                        <p:tav tm="100000">
                                          <p:val>
                                            <p:strVal val="#ppt_w"/>
                                          </p:val>
                                        </p:tav>
                                      </p:tavLst>
                                    </p:anim>
                                    <p:anim calcmode="lin" valueType="num">
                                      <p:cBhvr>
                                        <p:cTn id="37" dur="500" fill="hold"/>
                                        <p:tgtEl>
                                          <p:spTgt spid="14"/>
                                        </p:tgtEl>
                                        <p:attrNameLst>
                                          <p:attrName>ppt_h</p:attrName>
                                        </p:attrNameLst>
                                      </p:cBhvr>
                                      <p:tavLst>
                                        <p:tav tm="0">
                                          <p:val>
                                            <p:strVal val="2/3*#ppt_h"/>
                                          </p:val>
                                        </p:tav>
                                        <p:tav tm="100000">
                                          <p:val>
                                            <p:strVal val="#ppt_h"/>
                                          </p:val>
                                        </p:tav>
                                      </p:tavLst>
                                    </p:anim>
                                  </p:childTnLst>
                                </p:cTn>
                              </p:par>
                              <p:par>
                                <p:cTn id="38" presetID="21" presetClass="entr" presetSubtype="8" fill="hold" grpId="0" nodeType="withEffect">
                                  <p:stCondLst>
                                    <p:cond delay="0"/>
                                  </p:stCondLst>
                                  <p:childTnLst>
                                    <p:set>
                                      <p:cBhvr>
                                        <p:cTn id="39" dur="1" fill="hold">
                                          <p:stCondLst>
                                            <p:cond delay="0"/>
                                          </p:stCondLst>
                                        </p:cTn>
                                        <p:tgtEl>
                                          <p:spTgt spid="71"/>
                                        </p:tgtEl>
                                        <p:attrNameLst>
                                          <p:attrName>style.visibility</p:attrName>
                                        </p:attrNameLst>
                                      </p:cBhvr>
                                      <p:to>
                                        <p:strVal val="visible"/>
                                      </p:to>
                                    </p:set>
                                    <p:animEffect transition="in" filter="wheel(8)">
                                      <p:cBhvr>
                                        <p:cTn id="40" dur="500"/>
                                        <p:tgtEl>
                                          <p:spTgt spid="71"/>
                                        </p:tgtEl>
                                      </p:cBhvr>
                                    </p:animEffect>
                                  </p:childTnLst>
                                </p:cTn>
                              </p:par>
                              <p:par>
                                <p:cTn id="41" presetID="23" presetClass="entr" presetSubtype="272" fill="hold" nodeType="withEffect">
                                  <p:stCondLst>
                                    <p:cond delay="0"/>
                                  </p:stCondLst>
                                  <p:childTnLst>
                                    <p:set>
                                      <p:cBhvr>
                                        <p:cTn id="42" dur="1" fill="hold">
                                          <p:stCondLst>
                                            <p:cond delay="0"/>
                                          </p:stCondLst>
                                        </p:cTn>
                                        <p:tgtEl>
                                          <p:spTgt spid="11"/>
                                        </p:tgtEl>
                                        <p:attrNameLst>
                                          <p:attrName>style.visibility</p:attrName>
                                        </p:attrNameLst>
                                      </p:cBhvr>
                                      <p:to>
                                        <p:strVal val="visible"/>
                                      </p:to>
                                    </p:set>
                                    <p:anim calcmode="lin" valueType="num">
                                      <p:cBhvr>
                                        <p:cTn id="43" dur="500" fill="hold"/>
                                        <p:tgtEl>
                                          <p:spTgt spid="11"/>
                                        </p:tgtEl>
                                        <p:attrNameLst>
                                          <p:attrName>ppt_w</p:attrName>
                                        </p:attrNameLst>
                                      </p:cBhvr>
                                      <p:tavLst>
                                        <p:tav tm="0">
                                          <p:val>
                                            <p:strVal val="2/3*#ppt_w"/>
                                          </p:val>
                                        </p:tav>
                                        <p:tav tm="100000">
                                          <p:val>
                                            <p:strVal val="#ppt_w"/>
                                          </p:val>
                                        </p:tav>
                                      </p:tavLst>
                                    </p:anim>
                                    <p:anim calcmode="lin" valueType="num">
                                      <p:cBhvr>
                                        <p:cTn id="44" dur="500" fill="hold"/>
                                        <p:tgtEl>
                                          <p:spTgt spid="11"/>
                                        </p:tgtEl>
                                        <p:attrNameLst>
                                          <p:attrName>ppt_h</p:attrName>
                                        </p:attrNameLst>
                                      </p:cBhvr>
                                      <p:tavLst>
                                        <p:tav tm="0">
                                          <p:val>
                                            <p:strVal val="2/3*#ppt_h"/>
                                          </p:val>
                                        </p:tav>
                                        <p:tav tm="100000">
                                          <p:val>
                                            <p:strVal val="#ppt_h"/>
                                          </p:val>
                                        </p:tav>
                                      </p:tavLst>
                                    </p:anim>
                                  </p:childTnLst>
                                </p:cTn>
                              </p:par>
                              <p:par>
                                <p:cTn id="45" presetID="23" presetClass="entr" presetSubtype="272" fill="hold" nodeType="withEffect">
                                  <p:stCondLst>
                                    <p:cond delay="0"/>
                                  </p:stCondLst>
                                  <p:childTnLst>
                                    <p:set>
                                      <p:cBhvr>
                                        <p:cTn id="46" dur="1" fill="hold">
                                          <p:stCondLst>
                                            <p:cond delay="0"/>
                                          </p:stCondLst>
                                        </p:cTn>
                                        <p:tgtEl>
                                          <p:spTgt spid="7"/>
                                        </p:tgtEl>
                                        <p:attrNameLst>
                                          <p:attrName>style.visibility</p:attrName>
                                        </p:attrNameLst>
                                      </p:cBhvr>
                                      <p:to>
                                        <p:strVal val="visible"/>
                                      </p:to>
                                    </p:set>
                                    <p:anim calcmode="lin" valueType="num">
                                      <p:cBhvr>
                                        <p:cTn id="47" dur="500" fill="hold"/>
                                        <p:tgtEl>
                                          <p:spTgt spid="7"/>
                                        </p:tgtEl>
                                        <p:attrNameLst>
                                          <p:attrName>ppt_w</p:attrName>
                                        </p:attrNameLst>
                                      </p:cBhvr>
                                      <p:tavLst>
                                        <p:tav tm="0">
                                          <p:val>
                                            <p:strVal val="2/3*#ppt_w"/>
                                          </p:val>
                                        </p:tav>
                                        <p:tav tm="100000">
                                          <p:val>
                                            <p:strVal val="#ppt_w"/>
                                          </p:val>
                                        </p:tav>
                                      </p:tavLst>
                                    </p:anim>
                                    <p:anim calcmode="lin" valueType="num">
                                      <p:cBhvr>
                                        <p:cTn id="48" dur="500" fill="hold"/>
                                        <p:tgtEl>
                                          <p:spTgt spid="7"/>
                                        </p:tgtEl>
                                        <p:attrNameLst>
                                          <p:attrName>ppt_h</p:attrName>
                                        </p:attrNameLst>
                                      </p:cBhvr>
                                      <p:tavLst>
                                        <p:tav tm="0">
                                          <p:val>
                                            <p:strVal val="2/3*#ppt_h"/>
                                          </p:val>
                                        </p:tav>
                                        <p:tav tm="100000">
                                          <p:val>
                                            <p:strVal val="#ppt_h"/>
                                          </p:val>
                                        </p:tav>
                                      </p:tavLst>
                                    </p:anim>
                                  </p:childTnLst>
                                </p:cTn>
                              </p:par>
                              <p:par>
                                <p:cTn id="49" presetID="23" presetClass="entr" presetSubtype="272" fill="hold" nodeType="withEffect">
                                  <p:stCondLst>
                                    <p:cond delay="0"/>
                                  </p:stCondLst>
                                  <p:childTnLst>
                                    <p:set>
                                      <p:cBhvr>
                                        <p:cTn id="50" dur="1" fill="hold">
                                          <p:stCondLst>
                                            <p:cond delay="0"/>
                                          </p:stCondLst>
                                        </p:cTn>
                                        <p:tgtEl>
                                          <p:spTgt spid="8"/>
                                        </p:tgtEl>
                                        <p:attrNameLst>
                                          <p:attrName>style.visibility</p:attrName>
                                        </p:attrNameLst>
                                      </p:cBhvr>
                                      <p:to>
                                        <p:strVal val="visible"/>
                                      </p:to>
                                    </p:set>
                                    <p:anim calcmode="lin" valueType="num">
                                      <p:cBhvr>
                                        <p:cTn id="51" dur="500" fill="hold"/>
                                        <p:tgtEl>
                                          <p:spTgt spid="8"/>
                                        </p:tgtEl>
                                        <p:attrNameLst>
                                          <p:attrName>ppt_w</p:attrName>
                                        </p:attrNameLst>
                                      </p:cBhvr>
                                      <p:tavLst>
                                        <p:tav tm="0">
                                          <p:val>
                                            <p:strVal val="2/3*#ppt_w"/>
                                          </p:val>
                                        </p:tav>
                                        <p:tav tm="100000">
                                          <p:val>
                                            <p:strVal val="#ppt_w"/>
                                          </p:val>
                                        </p:tav>
                                      </p:tavLst>
                                    </p:anim>
                                    <p:anim calcmode="lin" valueType="num">
                                      <p:cBhvr>
                                        <p:cTn id="52" dur="500" fill="hold"/>
                                        <p:tgtEl>
                                          <p:spTgt spid="8"/>
                                        </p:tgtEl>
                                        <p:attrNameLst>
                                          <p:attrName>ppt_h</p:attrName>
                                        </p:attrNameLst>
                                      </p:cBhvr>
                                      <p:tavLst>
                                        <p:tav tm="0">
                                          <p:val>
                                            <p:strVal val="2/3*#ppt_h"/>
                                          </p:val>
                                        </p:tav>
                                        <p:tav tm="100000">
                                          <p:val>
                                            <p:strVal val="#ppt_h"/>
                                          </p:val>
                                        </p:tav>
                                      </p:tavLst>
                                    </p:anim>
                                  </p:childTnLst>
                                </p:cTn>
                              </p:par>
                              <p:par>
                                <p:cTn id="53" presetID="23" presetClass="entr" presetSubtype="272" fill="hold" nodeType="withEffect">
                                  <p:stCondLst>
                                    <p:cond delay="0"/>
                                  </p:stCondLst>
                                  <p:childTnLst>
                                    <p:set>
                                      <p:cBhvr>
                                        <p:cTn id="54" dur="1" fill="hold">
                                          <p:stCondLst>
                                            <p:cond delay="0"/>
                                          </p:stCondLst>
                                        </p:cTn>
                                        <p:tgtEl>
                                          <p:spTgt spid="9"/>
                                        </p:tgtEl>
                                        <p:attrNameLst>
                                          <p:attrName>style.visibility</p:attrName>
                                        </p:attrNameLst>
                                      </p:cBhvr>
                                      <p:to>
                                        <p:strVal val="visible"/>
                                      </p:to>
                                    </p:set>
                                    <p:anim calcmode="lin" valueType="num">
                                      <p:cBhvr>
                                        <p:cTn id="55" dur="500" fill="hold"/>
                                        <p:tgtEl>
                                          <p:spTgt spid="9"/>
                                        </p:tgtEl>
                                        <p:attrNameLst>
                                          <p:attrName>ppt_w</p:attrName>
                                        </p:attrNameLst>
                                      </p:cBhvr>
                                      <p:tavLst>
                                        <p:tav tm="0">
                                          <p:val>
                                            <p:strVal val="2/3*#ppt_w"/>
                                          </p:val>
                                        </p:tav>
                                        <p:tav tm="100000">
                                          <p:val>
                                            <p:strVal val="#ppt_w"/>
                                          </p:val>
                                        </p:tav>
                                      </p:tavLst>
                                    </p:anim>
                                    <p:anim calcmode="lin" valueType="num">
                                      <p:cBhvr>
                                        <p:cTn id="56" dur="500" fill="hold"/>
                                        <p:tgtEl>
                                          <p:spTgt spid="9"/>
                                        </p:tgtEl>
                                        <p:attrNameLst>
                                          <p:attrName>ppt_h</p:attrName>
                                        </p:attrNameLst>
                                      </p:cBhvr>
                                      <p:tavLst>
                                        <p:tav tm="0">
                                          <p:val>
                                            <p:strVal val="2/3*#ppt_h"/>
                                          </p:val>
                                        </p:tav>
                                        <p:tav tm="100000">
                                          <p:val>
                                            <p:strVal val="#ppt_h"/>
                                          </p:val>
                                        </p:tav>
                                      </p:tavLst>
                                    </p:anim>
                                  </p:childTnLst>
                                </p:cTn>
                              </p:par>
                              <p:par>
                                <p:cTn id="57" presetID="23" presetClass="entr" presetSubtype="272" fill="hold" nodeType="withEffect">
                                  <p:stCondLst>
                                    <p:cond delay="0"/>
                                  </p:stCondLst>
                                  <p:childTnLst>
                                    <p:set>
                                      <p:cBhvr>
                                        <p:cTn id="58" dur="1" fill="hold">
                                          <p:stCondLst>
                                            <p:cond delay="0"/>
                                          </p:stCondLst>
                                        </p:cTn>
                                        <p:tgtEl>
                                          <p:spTgt spid="10"/>
                                        </p:tgtEl>
                                        <p:attrNameLst>
                                          <p:attrName>style.visibility</p:attrName>
                                        </p:attrNameLst>
                                      </p:cBhvr>
                                      <p:to>
                                        <p:strVal val="visible"/>
                                      </p:to>
                                    </p:set>
                                    <p:anim calcmode="lin" valueType="num">
                                      <p:cBhvr>
                                        <p:cTn id="59" dur="500" fill="hold"/>
                                        <p:tgtEl>
                                          <p:spTgt spid="10"/>
                                        </p:tgtEl>
                                        <p:attrNameLst>
                                          <p:attrName>ppt_w</p:attrName>
                                        </p:attrNameLst>
                                      </p:cBhvr>
                                      <p:tavLst>
                                        <p:tav tm="0">
                                          <p:val>
                                            <p:strVal val="2/3*#ppt_w"/>
                                          </p:val>
                                        </p:tav>
                                        <p:tav tm="100000">
                                          <p:val>
                                            <p:strVal val="#ppt_w"/>
                                          </p:val>
                                        </p:tav>
                                      </p:tavLst>
                                    </p:anim>
                                    <p:anim calcmode="lin" valueType="num">
                                      <p:cBhvr>
                                        <p:cTn id="60" dur="500" fill="hold"/>
                                        <p:tgtEl>
                                          <p:spTgt spid="10"/>
                                        </p:tgtEl>
                                        <p:attrNameLst>
                                          <p:attrName>ppt_h</p:attrName>
                                        </p:attrNameLst>
                                      </p:cBhvr>
                                      <p:tavLst>
                                        <p:tav tm="0">
                                          <p:val>
                                            <p:strVal val="2/3*#ppt_h"/>
                                          </p:val>
                                        </p:tav>
                                        <p:tav tm="100000">
                                          <p:val>
                                            <p:strVal val="#ppt_h"/>
                                          </p:val>
                                        </p:tav>
                                      </p:tavLst>
                                    </p:anim>
                                  </p:childTnLst>
                                </p:cTn>
                              </p:par>
                              <p:par>
                                <p:cTn id="61" presetID="22" presetClass="entr" presetSubtype="2" fill="hold" nodeType="withEffect">
                                  <p:stCondLst>
                                    <p:cond delay="0"/>
                                  </p:stCondLst>
                                  <p:childTnLst>
                                    <p:set>
                                      <p:cBhvr>
                                        <p:cTn id="62" dur="1" fill="hold">
                                          <p:stCondLst>
                                            <p:cond delay="0"/>
                                          </p:stCondLst>
                                        </p:cTn>
                                        <p:tgtEl>
                                          <p:spTgt spid="72"/>
                                        </p:tgtEl>
                                        <p:attrNameLst>
                                          <p:attrName>style.visibility</p:attrName>
                                        </p:attrNameLst>
                                      </p:cBhvr>
                                      <p:to>
                                        <p:strVal val="visible"/>
                                      </p:to>
                                    </p:set>
                                    <p:animEffect transition="in" filter="wipe(right)">
                                      <p:cBhvr>
                                        <p:cTn id="63" dur="500"/>
                                        <p:tgtEl>
                                          <p:spTgt spid="72"/>
                                        </p:tgtEl>
                                      </p:cBhvr>
                                    </p:animEffect>
                                  </p:childTnLst>
                                </p:cTn>
                              </p:par>
                              <p:par>
                                <p:cTn id="64" presetID="22" presetClass="entr" presetSubtype="2" fill="hold" nodeType="withEffect">
                                  <p:stCondLst>
                                    <p:cond delay="0"/>
                                  </p:stCondLst>
                                  <p:childTnLst>
                                    <p:set>
                                      <p:cBhvr>
                                        <p:cTn id="65" dur="1" fill="hold">
                                          <p:stCondLst>
                                            <p:cond delay="0"/>
                                          </p:stCondLst>
                                        </p:cTn>
                                        <p:tgtEl>
                                          <p:spTgt spid="53"/>
                                        </p:tgtEl>
                                        <p:attrNameLst>
                                          <p:attrName>style.visibility</p:attrName>
                                        </p:attrNameLst>
                                      </p:cBhvr>
                                      <p:to>
                                        <p:strVal val="visible"/>
                                      </p:to>
                                    </p:set>
                                    <p:animEffect transition="in" filter="wipe(right)">
                                      <p:cBhvr>
                                        <p:cTn id="66" dur="500"/>
                                        <p:tgtEl>
                                          <p:spTgt spid="53"/>
                                        </p:tgtEl>
                                      </p:cBhvr>
                                    </p:animEffect>
                                  </p:childTnLst>
                                </p:cTn>
                              </p:par>
                              <p:par>
                                <p:cTn id="67" presetID="22" presetClass="entr" presetSubtype="8" fill="hold" nodeType="withEffect">
                                  <p:stCondLst>
                                    <p:cond delay="0"/>
                                  </p:stCondLst>
                                  <p:childTnLst>
                                    <p:set>
                                      <p:cBhvr>
                                        <p:cTn id="68" dur="1" fill="hold">
                                          <p:stCondLst>
                                            <p:cond delay="0"/>
                                          </p:stCondLst>
                                        </p:cTn>
                                        <p:tgtEl>
                                          <p:spTgt spid="51"/>
                                        </p:tgtEl>
                                        <p:attrNameLst>
                                          <p:attrName>style.visibility</p:attrName>
                                        </p:attrNameLst>
                                      </p:cBhvr>
                                      <p:to>
                                        <p:strVal val="visible"/>
                                      </p:to>
                                    </p:set>
                                    <p:animEffect transition="in" filter="wipe(left)">
                                      <p:cBhvr>
                                        <p:cTn id="69" dur="500"/>
                                        <p:tgtEl>
                                          <p:spTgt spid="51"/>
                                        </p:tgtEl>
                                      </p:cBhvr>
                                    </p:animEffect>
                                  </p:childTnLst>
                                </p:cTn>
                              </p:par>
                              <p:par>
                                <p:cTn id="70" presetID="22" presetClass="entr" presetSubtype="8" fill="hold" nodeType="withEffect">
                                  <p:stCondLst>
                                    <p:cond delay="0"/>
                                  </p:stCondLst>
                                  <p:childTnLst>
                                    <p:set>
                                      <p:cBhvr>
                                        <p:cTn id="71" dur="1" fill="hold">
                                          <p:stCondLst>
                                            <p:cond delay="0"/>
                                          </p:stCondLst>
                                        </p:cTn>
                                        <p:tgtEl>
                                          <p:spTgt spid="75"/>
                                        </p:tgtEl>
                                        <p:attrNameLst>
                                          <p:attrName>style.visibility</p:attrName>
                                        </p:attrNameLst>
                                      </p:cBhvr>
                                      <p:to>
                                        <p:strVal val="visible"/>
                                      </p:to>
                                    </p:set>
                                    <p:animEffect transition="in" filter="wipe(left)">
                                      <p:cBhvr>
                                        <p:cTn id="72" dur="500"/>
                                        <p:tgtEl>
                                          <p:spTgt spid="75"/>
                                        </p:tgtEl>
                                      </p:cBhvr>
                                    </p:animEffect>
                                  </p:childTnLst>
                                </p:cTn>
                              </p:par>
                              <p:par>
                                <p:cTn id="73" presetID="22" presetClass="entr" presetSubtype="1" fill="hold" nodeType="withEffect">
                                  <p:stCondLst>
                                    <p:cond delay="0"/>
                                  </p:stCondLst>
                                  <p:childTnLst>
                                    <p:set>
                                      <p:cBhvr>
                                        <p:cTn id="74" dur="1" fill="hold">
                                          <p:stCondLst>
                                            <p:cond delay="0"/>
                                          </p:stCondLst>
                                        </p:cTn>
                                        <p:tgtEl>
                                          <p:spTgt spid="58"/>
                                        </p:tgtEl>
                                        <p:attrNameLst>
                                          <p:attrName>style.visibility</p:attrName>
                                        </p:attrNameLst>
                                      </p:cBhvr>
                                      <p:to>
                                        <p:strVal val="visible"/>
                                      </p:to>
                                    </p:set>
                                    <p:animEffect transition="in" filter="wipe(up)">
                                      <p:cBhvr>
                                        <p:cTn id="75"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animBg="1"/>
      <p:bldP spid="63" grpId="0" animBg="1"/>
      <p:bldP spid="55" grpId="0"/>
      <p:bldP spid="55" grpId="1"/>
    </p:bld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5" name="Rectangle 44"/>
          <p:cNvSpPr/>
          <p:nvPr/>
        </p:nvSpPr>
        <p:spPr bwMode="auto">
          <a:xfrm>
            <a:off x="-1" y="6350"/>
            <a:ext cx="12192001" cy="685800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solidFill>
                  <a:sysClr val="windowText" lastClr="000000"/>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arrow">
            <a:extLst>
              <a:ext uri="{FF2B5EF4-FFF2-40B4-BE49-F238E27FC236}">
                <a16:creationId xmlns:a16="http://schemas.microsoft.com/office/drawing/2014/main" id="{FC988526-2733-4AF0-8EA5-8A81FB0B7848}"/>
              </a:ext>
            </a:extLst>
          </p:cNvPr>
          <p:cNvSpPr>
            <a:spLocks noChangeAspect="1" noEditPoints="1"/>
          </p:cNvSpPr>
          <p:nvPr/>
        </p:nvSpPr>
        <p:spPr bwMode="auto">
          <a:xfrm rot="16200000">
            <a:off x="7938429" y="3277786"/>
            <a:ext cx="213675" cy="19717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7" name="arrow">
            <a:extLst>
              <a:ext uri="{FF2B5EF4-FFF2-40B4-BE49-F238E27FC236}">
                <a16:creationId xmlns:a16="http://schemas.microsoft.com/office/drawing/2014/main" id="{1DBB0596-4D8E-459D-A1EE-C4D0ABFBC350}"/>
              </a:ext>
            </a:extLst>
          </p:cNvPr>
          <p:cNvSpPr>
            <a:spLocks noChangeAspect="1" noEditPoints="1"/>
          </p:cNvSpPr>
          <p:nvPr/>
        </p:nvSpPr>
        <p:spPr bwMode="auto">
          <a:xfrm rot="5400000" flipV="1">
            <a:off x="7938431" y="4423079"/>
            <a:ext cx="213672" cy="19717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62" name="Rectangle 61">
            <a:extLst>
              <a:ext uri="{FF2B5EF4-FFF2-40B4-BE49-F238E27FC236}">
                <a16:creationId xmlns:a16="http://schemas.microsoft.com/office/drawing/2014/main" id="{9B01308B-FDFE-47FA-9F82-F84EFE2460EA}"/>
              </a:ext>
            </a:extLst>
          </p:cNvPr>
          <p:cNvSpPr/>
          <p:nvPr/>
        </p:nvSpPr>
        <p:spPr>
          <a:xfrm>
            <a:off x="7095056" y="1421861"/>
            <a:ext cx="1900421" cy="525004"/>
          </a:xfrm>
          <a:prstGeom prst="rect">
            <a:avLst/>
          </a:prstGeom>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a:t>
            </a:r>
            <a:b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data s</a:t>
            </a:r>
            <a:r>
              <a:rPr kumimoji="0" lang="en-US" sz="1568" b="0" i="0" u="none" strike="noStrike" kern="1200" cap="none" spc="0" normalizeH="0" baseline="0" noProof="0" dirty="0" err="1">
                <a:ln>
                  <a:noFill/>
                </a:ln>
                <a:solidFill>
                  <a:srgbClr val="0078D7"/>
                </a:solidFill>
                <a:effectLst/>
                <a:uLnTx/>
                <a:uFillTx/>
                <a:latin typeface="Segoe UI" panose="020B0502040204020203" pitchFamily="34" charset="0"/>
                <a:ea typeface="+mn-ea"/>
                <a:cs typeface="Segoe UI" panose="020B0502040204020203" pitchFamily="34" charset="0"/>
              </a:rPr>
              <a:t>ervices</a:t>
            </a:r>
            <a:endPar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endParaRPr>
          </a:p>
        </p:txBody>
      </p:sp>
      <p:sp>
        <p:nvSpPr>
          <p:cNvPr id="76" name="Rectangle 75">
            <a:extLst>
              <a:ext uri="{FF2B5EF4-FFF2-40B4-BE49-F238E27FC236}">
                <a16:creationId xmlns:a16="http://schemas.microsoft.com/office/drawing/2014/main" id="{F753D573-9843-480C-AB40-1D281AECAD55}"/>
              </a:ext>
            </a:extLst>
          </p:cNvPr>
          <p:cNvSpPr/>
          <p:nvPr/>
        </p:nvSpPr>
        <p:spPr>
          <a:xfrm>
            <a:off x="7095056" y="5786050"/>
            <a:ext cx="1900421" cy="525004"/>
          </a:xfrm>
          <a:prstGeom prst="rect">
            <a:avLst/>
          </a:prstGeom>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SQL </a:t>
            </a:r>
          </a:p>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Server</a:t>
            </a:r>
          </a:p>
        </p:txBody>
      </p:sp>
      <p:sp>
        <p:nvSpPr>
          <p:cNvPr id="88" name="arrow">
            <a:extLst>
              <a:ext uri="{FF2B5EF4-FFF2-40B4-BE49-F238E27FC236}">
                <a16:creationId xmlns:a16="http://schemas.microsoft.com/office/drawing/2014/main" id="{71CF8D0B-E144-4314-ABDE-44666560A9D3}"/>
              </a:ext>
            </a:extLst>
          </p:cNvPr>
          <p:cNvSpPr>
            <a:spLocks noChangeAspect="1" noEditPoints="1"/>
          </p:cNvSpPr>
          <p:nvPr/>
        </p:nvSpPr>
        <p:spPr bwMode="auto">
          <a:xfrm rot="16200000" flipV="1">
            <a:off x="9907190" y="3277788"/>
            <a:ext cx="213670" cy="19716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89" name="arrow">
            <a:extLst>
              <a:ext uri="{FF2B5EF4-FFF2-40B4-BE49-F238E27FC236}">
                <a16:creationId xmlns:a16="http://schemas.microsoft.com/office/drawing/2014/main" id="{BC16EF96-5F61-4D14-B739-24C134B72AD6}"/>
              </a:ext>
            </a:extLst>
          </p:cNvPr>
          <p:cNvSpPr>
            <a:spLocks noChangeAspect="1" noEditPoints="1"/>
          </p:cNvSpPr>
          <p:nvPr/>
        </p:nvSpPr>
        <p:spPr bwMode="auto">
          <a:xfrm rot="5400000">
            <a:off x="9907190" y="4423082"/>
            <a:ext cx="213668" cy="19716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90" name="Rectangle 89">
            <a:extLst>
              <a:ext uri="{FF2B5EF4-FFF2-40B4-BE49-F238E27FC236}">
                <a16:creationId xmlns:a16="http://schemas.microsoft.com/office/drawing/2014/main" id="{BA3273FF-7A7C-4CE3-9977-22F7A2C1DD26}"/>
              </a:ext>
            </a:extLst>
          </p:cNvPr>
          <p:cNvSpPr/>
          <p:nvPr/>
        </p:nvSpPr>
        <p:spPr>
          <a:xfrm>
            <a:off x="9063814" y="1421861"/>
            <a:ext cx="1900421" cy="525004"/>
          </a:xfrm>
          <a:prstGeom prst="rect">
            <a:avLst/>
          </a:prstGeom>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Security</a:t>
            </a:r>
            <a:b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nd Management</a:t>
            </a:r>
          </a:p>
        </p:txBody>
      </p:sp>
      <p:sp>
        <p:nvSpPr>
          <p:cNvPr id="92" name="Rectangle 91">
            <a:extLst>
              <a:ext uri="{FF2B5EF4-FFF2-40B4-BE49-F238E27FC236}">
                <a16:creationId xmlns:a16="http://schemas.microsoft.com/office/drawing/2014/main" id="{FF7D8C1C-BFD3-48E2-8CE5-963B497E01A0}"/>
              </a:ext>
            </a:extLst>
          </p:cNvPr>
          <p:cNvSpPr/>
          <p:nvPr/>
        </p:nvSpPr>
        <p:spPr>
          <a:xfrm>
            <a:off x="9063814" y="5786050"/>
            <a:ext cx="1900421" cy="525004"/>
          </a:xfrm>
          <a:prstGeom prst="rect">
            <a:avLst/>
          </a:prstGeom>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On-premises</a:t>
            </a:r>
            <a:b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infrastructure</a:t>
            </a:r>
          </a:p>
        </p:txBody>
      </p:sp>
      <p:sp>
        <p:nvSpPr>
          <p:cNvPr id="50" name="arrow">
            <a:extLst>
              <a:ext uri="{FF2B5EF4-FFF2-40B4-BE49-F238E27FC236}">
                <a16:creationId xmlns:a16="http://schemas.microsoft.com/office/drawing/2014/main" id="{765BDB65-C8C7-4324-98F0-8CA1E3680AFD}"/>
              </a:ext>
            </a:extLst>
          </p:cNvPr>
          <p:cNvSpPr>
            <a:spLocks noChangeAspect="1" noEditPoints="1"/>
          </p:cNvSpPr>
          <p:nvPr/>
        </p:nvSpPr>
        <p:spPr bwMode="auto">
          <a:xfrm rot="16200000">
            <a:off x="5969140" y="3277786"/>
            <a:ext cx="213675" cy="19717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rgbClr val="A6A6A6"/>
            </a:solidFill>
            <a:prstDash val="solid"/>
            <a:miter lim="800000"/>
            <a:headEnd/>
            <a:tailEnd/>
          </a:ln>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6" name="arrow">
            <a:extLst>
              <a:ext uri="{FF2B5EF4-FFF2-40B4-BE49-F238E27FC236}">
                <a16:creationId xmlns:a16="http://schemas.microsoft.com/office/drawing/2014/main" id="{3DE84DC4-7B41-46A5-BB18-2CF33A62A2DF}"/>
              </a:ext>
            </a:extLst>
          </p:cNvPr>
          <p:cNvSpPr>
            <a:spLocks noChangeAspect="1" noEditPoints="1"/>
          </p:cNvSpPr>
          <p:nvPr/>
        </p:nvSpPr>
        <p:spPr bwMode="auto">
          <a:xfrm rot="5400000" flipV="1">
            <a:off x="5969142" y="4423079"/>
            <a:ext cx="213672" cy="19717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9" name="Rectangle 58">
            <a:extLst>
              <a:ext uri="{FF2B5EF4-FFF2-40B4-BE49-F238E27FC236}">
                <a16:creationId xmlns:a16="http://schemas.microsoft.com/office/drawing/2014/main" id="{22B70E63-F851-4EE7-8F23-DD8FD7C9238C}"/>
              </a:ext>
            </a:extLst>
          </p:cNvPr>
          <p:cNvSpPr/>
          <p:nvPr/>
        </p:nvSpPr>
        <p:spPr>
          <a:xfrm>
            <a:off x="5125767" y="1421861"/>
            <a:ext cx="1900421" cy="525004"/>
          </a:xfrm>
          <a:prstGeom prst="rect">
            <a:avLst/>
          </a:prstGeom>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a:t>
            </a:r>
            <a:b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services</a:t>
            </a:r>
          </a:p>
        </p:txBody>
      </p:sp>
      <p:sp>
        <p:nvSpPr>
          <p:cNvPr id="70" name="Rectangle 69">
            <a:extLst>
              <a:ext uri="{FF2B5EF4-FFF2-40B4-BE49-F238E27FC236}">
                <a16:creationId xmlns:a16="http://schemas.microsoft.com/office/drawing/2014/main" id="{5782A5B2-B029-4677-973A-F7C8359396A9}"/>
              </a:ext>
            </a:extLst>
          </p:cNvPr>
          <p:cNvSpPr/>
          <p:nvPr/>
        </p:nvSpPr>
        <p:spPr>
          <a:xfrm>
            <a:off x="5125767" y="5786050"/>
            <a:ext cx="1900421" cy="525004"/>
          </a:xfrm>
          <a:prstGeom prst="rect">
            <a:avLst/>
          </a:prstGeom>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a:t>
            </a:r>
          </a:p>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Stack</a:t>
            </a:r>
          </a:p>
        </p:txBody>
      </p:sp>
      <p:sp>
        <p:nvSpPr>
          <p:cNvPr id="41" name="Rectangle 40">
            <a:extLst>
              <a:ext uri="{FF2B5EF4-FFF2-40B4-BE49-F238E27FC236}">
                <a16:creationId xmlns:a16="http://schemas.microsoft.com/office/drawing/2014/main" id="{D016EAAB-971A-4E47-845D-F52F95000239}"/>
              </a:ext>
            </a:extLst>
          </p:cNvPr>
          <p:cNvSpPr/>
          <p:nvPr/>
        </p:nvSpPr>
        <p:spPr bwMode="auto">
          <a:xfrm>
            <a:off x="7095586" y="3534314"/>
            <a:ext cx="1899360" cy="811443"/>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2050"/>
                </a:solidFill>
                <a:effectLst/>
                <a:uLnTx/>
                <a:uFillTx/>
                <a:latin typeface="Segoe UI"/>
                <a:ea typeface="+mn-ea"/>
                <a:cs typeface="Segoe UI" panose="020B0502040204020203" pitchFamily="34" charset="0"/>
              </a:rPr>
              <a:t>Data </a:t>
            </a:r>
          </a:p>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2050"/>
                </a:solidFill>
                <a:effectLst/>
                <a:uLnTx/>
                <a:uFillTx/>
                <a:latin typeface="Segoe UI"/>
                <a:ea typeface="+mn-ea"/>
                <a:cs typeface="Segoe UI" panose="020B0502040204020203" pitchFamily="34" charset="0"/>
              </a:rPr>
              <a:t>platform</a:t>
            </a:r>
          </a:p>
        </p:txBody>
      </p:sp>
      <p:sp>
        <p:nvSpPr>
          <p:cNvPr id="87" name="Rectangle 86">
            <a:extLst>
              <a:ext uri="{FF2B5EF4-FFF2-40B4-BE49-F238E27FC236}">
                <a16:creationId xmlns:a16="http://schemas.microsoft.com/office/drawing/2014/main" id="{E77A0E0D-C4C7-41CA-A9E8-1FD859F6D5E2}"/>
              </a:ext>
            </a:extLst>
          </p:cNvPr>
          <p:cNvSpPr/>
          <p:nvPr/>
        </p:nvSpPr>
        <p:spPr bwMode="auto">
          <a:xfrm>
            <a:off x="9064344" y="3534314"/>
            <a:ext cx="1899360" cy="811443"/>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ctr" anchorCtr="0" forceAA="0" compatLnSpc="1">
            <a:prstTxWarp prst="textNoShape">
              <a:avLst/>
            </a:prstTxWarp>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2050"/>
                </a:solidFill>
                <a:effectLst/>
                <a:uLnTx/>
                <a:uFillTx/>
                <a:latin typeface="Segoe UI"/>
                <a:ea typeface="+mn-ea"/>
                <a:cs typeface="Segoe UI" panose="020B0502040204020203" pitchFamily="34" charset="0"/>
              </a:rPr>
              <a:t>Security and management</a:t>
            </a:r>
          </a:p>
        </p:txBody>
      </p:sp>
      <p:sp>
        <p:nvSpPr>
          <p:cNvPr id="40" name="Rectangle 39">
            <a:extLst>
              <a:ext uri="{FF2B5EF4-FFF2-40B4-BE49-F238E27FC236}">
                <a16:creationId xmlns:a16="http://schemas.microsoft.com/office/drawing/2014/main" id="{859935E2-CA6E-4FC8-901B-5731161DEBE2}"/>
              </a:ext>
            </a:extLst>
          </p:cNvPr>
          <p:cNvSpPr/>
          <p:nvPr/>
        </p:nvSpPr>
        <p:spPr bwMode="auto">
          <a:xfrm>
            <a:off x="5126297" y="3534314"/>
            <a:ext cx="1899360" cy="811443"/>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2050"/>
                </a:solidFill>
                <a:effectLst/>
                <a:uLnTx/>
                <a:uFillTx/>
                <a:latin typeface="Segoe UI"/>
                <a:ea typeface="+mn-ea"/>
                <a:cs typeface="Segoe UI" panose="020B0502040204020203" pitchFamily="34" charset="0"/>
              </a:rPr>
              <a:t>Unified cloud p</a:t>
            </a:r>
            <a:r>
              <a:rPr kumimoji="0" lang="en-US" sz="1400" b="1" i="0" u="none" strike="noStrike" kern="1200" cap="none" spc="0" normalizeH="0" baseline="0" noProof="0" dirty="0" err="1">
                <a:ln>
                  <a:noFill/>
                </a:ln>
                <a:solidFill>
                  <a:srgbClr val="002050"/>
                </a:solidFill>
                <a:effectLst/>
                <a:uLnTx/>
                <a:uFillTx/>
                <a:latin typeface="Segoe UI"/>
                <a:ea typeface="+mn-ea"/>
                <a:cs typeface="Segoe UI" panose="020B0502040204020203" pitchFamily="34" charset="0"/>
              </a:rPr>
              <a:t>latform</a:t>
            </a:r>
            <a:endParaRPr kumimoji="0" lang="en-US" sz="1400" b="1" i="0" u="none" strike="noStrike" kern="1200" cap="none" spc="0" normalizeH="0" baseline="0" noProof="0" dirty="0">
              <a:ln>
                <a:noFill/>
              </a:ln>
              <a:solidFill>
                <a:srgbClr val="002050"/>
              </a:solidFill>
              <a:effectLst/>
              <a:uLnTx/>
              <a:uFillTx/>
              <a:latin typeface="Segoe UI"/>
              <a:ea typeface="+mn-ea"/>
              <a:cs typeface="Segoe UI" panose="020B0502040204020203" pitchFamily="34" charset="0"/>
            </a:endParaRPr>
          </a:p>
        </p:txBody>
      </p:sp>
      <p:sp>
        <p:nvSpPr>
          <p:cNvPr id="38" name="Rectangle 37">
            <a:extLst>
              <a:ext uri="{FF2B5EF4-FFF2-40B4-BE49-F238E27FC236}">
                <a16:creationId xmlns:a16="http://schemas.microsoft.com/office/drawing/2014/main" id="{0218B77A-7562-4E5C-A26F-25A46435112C}"/>
              </a:ext>
            </a:extLst>
          </p:cNvPr>
          <p:cNvSpPr/>
          <p:nvPr/>
        </p:nvSpPr>
        <p:spPr bwMode="auto">
          <a:xfrm>
            <a:off x="3157009" y="3534314"/>
            <a:ext cx="1899360" cy="811443"/>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2050"/>
                </a:solidFill>
                <a:effectLst/>
                <a:uLnTx/>
                <a:uFillTx/>
                <a:latin typeface="Segoe UI"/>
                <a:ea typeface="+mn-ea"/>
                <a:cs typeface="Segoe UI" panose="020B0502040204020203" pitchFamily="34" charset="0"/>
              </a:rPr>
              <a:t>Common </a:t>
            </a:r>
            <a:br>
              <a:rPr kumimoji="0" lang="en-US" sz="1400" b="1" i="0" u="none" strike="noStrike" kern="1200" cap="none" spc="0" normalizeH="0" baseline="0" noProof="0" dirty="0">
                <a:ln>
                  <a:noFill/>
                </a:ln>
                <a:solidFill>
                  <a:srgbClr val="002050"/>
                </a:solidFill>
                <a:effectLst/>
                <a:uLnTx/>
                <a:uFillTx/>
                <a:latin typeface="Segoe UI"/>
                <a:ea typeface="+mn-ea"/>
                <a:cs typeface="Segoe UI" panose="020B0502040204020203" pitchFamily="34" charset="0"/>
              </a:rPr>
            </a:br>
            <a:r>
              <a:rPr kumimoji="0" lang="en-US" sz="1400" b="1" i="0" u="none" strike="noStrike" kern="1200" cap="none" spc="0" normalizeH="0" baseline="0" noProof="0" dirty="0">
                <a:ln>
                  <a:noFill/>
                </a:ln>
                <a:solidFill>
                  <a:srgbClr val="002050"/>
                </a:solidFill>
                <a:effectLst/>
                <a:uLnTx/>
                <a:uFillTx/>
                <a:latin typeface="Segoe UI"/>
                <a:ea typeface="+mn-ea"/>
                <a:cs typeface="Segoe UI" panose="020B0502040204020203" pitchFamily="34" charset="0"/>
              </a:rPr>
              <a:t>identity</a:t>
            </a:r>
          </a:p>
        </p:txBody>
      </p:sp>
      <p:sp>
        <p:nvSpPr>
          <p:cNvPr id="48" name="arrow">
            <a:extLst>
              <a:ext uri="{FF2B5EF4-FFF2-40B4-BE49-F238E27FC236}">
                <a16:creationId xmlns:a16="http://schemas.microsoft.com/office/drawing/2014/main" id="{BCBC3519-76F0-4B9C-87FA-A1C1444C2958}"/>
              </a:ext>
            </a:extLst>
          </p:cNvPr>
          <p:cNvSpPr>
            <a:spLocks noChangeAspect="1" noEditPoints="1"/>
          </p:cNvSpPr>
          <p:nvPr/>
        </p:nvSpPr>
        <p:spPr bwMode="auto">
          <a:xfrm rot="16200000">
            <a:off x="3999854" y="3277787"/>
            <a:ext cx="213672" cy="197171"/>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4" name="arrow">
            <a:extLst>
              <a:ext uri="{FF2B5EF4-FFF2-40B4-BE49-F238E27FC236}">
                <a16:creationId xmlns:a16="http://schemas.microsoft.com/office/drawing/2014/main" id="{58BCA36A-C6F3-4F9D-B9C2-AFA0299B7D8F}"/>
              </a:ext>
            </a:extLst>
          </p:cNvPr>
          <p:cNvSpPr>
            <a:spLocks noChangeAspect="1" noEditPoints="1"/>
          </p:cNvSpPr>
          <p:nvPr/>
        </p:nvSpPr>
        <p:spPr bwMode="auto">
          <a:xfrm rot="5400000" flipV="1">
            <a:off x="3999854" y="4423079"/>
            <a:ext cx="213672" cy="19717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3" name="Rectangle 52">
            <a:extLst>
              <a:ext uri="{FF2B5EF4-FFF2-40B4-BE49-F238E27FC236}">
                <a16:creationId xmlns:a16="http://schemas.microsoft.com/office/drawing/2014/main" id="{FF8F0A52-2ED4-4D2D-BFED-25C4C478A710}"/>
              </a:ext>
            </a:extLst>
          </p:cNvPr>
          <p:cNvSpPr/>
          <p:nvPr/>
        </p:nvSpPr>
        <p:spPr>
          <a:xfrm>
            <a:off x="3156478" y="1421861"/>
            <a:ext cx="1900421" cy="525004"/>
          </a:xfrm>
          <a:prstGeom prst="rect">
            <a:avLst/>
          </a:prstGeom>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Active</a:t>
            </a:r>
            <a:b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Directory</a:t>
            </a:r>
          </a:p>
        </p:txBody>
      </p:sp>
      <p:sp>
        <p:nvSpPr>
          <p:cNvPr id="67" name="Rectangle 66">
            <a:extLst>
              <a:ext uri="{FF2B5EF4-FFF2-40B4-BE49-F238E27FC236}">
                <a16:creationId xmlns:a16="http://schemas.microsoft.com/office/drawing/2014/main" id="{27C431E3-45C0-4664-9DC1-64D2CE563C45}"/>
              </a:ext>
            </a:extLst>
          </p:cNvPr>
          <p:cNvSpPr/>
          <p:nvPr/>
        </p:nvSpPr>
        <p:spPr>
          <a:xfrm>
            <a:off x="3156478" y="5786050"/>
            <a:ext cx="1900421" cy="525004"/>
          </a:xfrm>
          <a:prstGeom prst="rect">
            <a:avLst/>
          </a:prstGeom>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ctive</a:t>
            </a:r>
            <a:b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Directory</a:t>
            </a:r>
          </a:p>
        </p:txBody>
      </p:sp>
      <p:sp>
        <p:nvSpPr>
          <p:cNvPr id="118" name="Rectangle 117">
            <a:extLst>
              <a:ext uri="{FF2B5EF4-FFF2-40B4-BE49-F238E27FC236}">
                <a16:creationId xmlns:a16="http://schemas.microsoft.com/office/drawing/2014/main" id="{363C846E-432E-4E96-8B4E-9BF8EB00F050}"/>
              </a:ext>
            </a:extLst>
          </p:cNvPr>
          <p:cNvSpPr/>
          <p:nvPr/>
        </p:nvSpPr>
        <p:spPr>
          <a:xfrm>
            <a:off x="445682" y="3136899"/>
            <a:ext cx="1112930" cy="452590"/>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2353" b="0" i="0" u="none" strike="noStrike" kern="0" cap="none" spc="49"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Hybrid</a:t>
            </a:r>
          </a:p>
        </p:txBody>
      </p:sp>
      <p:cxnSp>
        <p:nvCxnSpPr>
          <p:cNvPr id="125" name="Straight Connector 124">
            <a:extLst>
              <a:ext uri="{FF2B5EF4-FFF2-40B4-BE49-F238E27FC236}">
                <a16:creationId xmlns:a16="http://schemas.microsoft.com/office/drawing/2014/main" id="{666995A1-F57E-40F9-A7AD-9C95688B5828}"/>
              </a:ext>
            </a:extLst>
          </p:cNvPr>
          <p:cNvCxnSpPr>
            <a:cxnSpLocks/>
          </p:cNvCxnSpPr>
          <p:nvPr/>
        </p:nvCxnSpPr>
        <p:spPr>
          <a:xfrm>
            <a:off x="1954222" y="487"/>
            <a:ext cx="0" cy="6888317"/>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66" name="Group 65">
            <a:extLst>
              <a:ext uri="{FF2B5EF4-FFF2-40B4-BE49-F238E27FC236}">
                <a16:creationId xmlns:a16="http://schemas.microsoft.com/office/drawing/2014/main" id="{77AD9DD7-EB86-45CE-9B27-089347C7D079}"/>
              </a:ext>
            </a:extLst>
          </p:cNvPr>
          <p:cNvGrpSpPr/>
          <p:nvPr/>
        </p:nvGrpSpPr>
        <p:grpSpPr>
          <a:xfrm>
            <a:off x="719246" y="2353156"/>
            <a:ext cx="579531" cy="566046"/>
            <a:chOff x="2088630" y="3287843"/>
            <a:chExt cx="429718" cy="419725"/>
          </a:xfrm>
          <a:noFill/>
        </p:grpSpPr>
        <p:sp>
          <p:nvSpPr>
            <p:cNvPr id="68" name="Rectangle 67">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9" name="Rectangle 68">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96" name="Rectangle 95">
            <a:extLst>
              <a:ext uri="{FF2B5EF4-FFF2-40B4-BE49-F238E27FC236}">
                <a16:creationId xmlns:a16="http://schemas.microsoft.com/office/drawing/2014/main" id="{49535226-A5A3-44D8-A4FC-5A49A448740E}"/>
              </a:ext>
            </a:extLst>
          </p:cNvPr>
          <p:cNvSpPr/>
          <p:nvPr/>
        </p:nvSpPr>
        <p:spPr>
          <a:xfrm>
            <a:off x="551627" y="5744961"/>
            <a:ext cx="889779" cy="331899"/>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Trusted</a:t>
            </a:r>
          </a:p>
        </p:txBody>
      </p:sp>
      <p:sp>
        <p:nvSpPr>
          <p:cNvPr id="98" name="Rectangle 97">
            <a:extLst>
              <a:ext uri="{FF2B5EF4-FFF2-40B4-BE49-F238E27FC236}">
                <a16:creationId xmlns:a16="http://schemas.microsoft.com/office/drawing/2014/main" id="{5FDFACDC-96D5-4BA5-8D54-B8F95EB3E06F}"/>
              </a:ext>
            </a:extLst>
          </p:cNvPr>
          <p:cNvSpPr/>
          <p:nvPr/>
        </p:nvSpPr>
        <p:spPr>
          <a:xfrm>
            <a:off x="426693" y="4423914"/>
            <a:ext cx="1139646" cy="331899"/>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Intelligent</a:t>
            </a:r>
          </a:p>
        </p:txBody>
      </p:sp>
      <p:sp>
        <p:nvSpPr>
          <p:cNvPr id="99" name="light">
            <a:extLst>
              <a:ext uri="{FF2B5EF4-FFF2-40B4-BE49-F238E27FC236}">
                <a16:creationId xmlns:a16="http://schemas.microsoft.com/office/drawing/2014/main" id="{57991A70-4936-428B-9A9E-2E9E26BB60A1}"/>
              </a:ext>
            </a:extLst>
          </p:cNvPr>
          <p:cNvSpPr>
            <a:spLocks noChangeAspect="1" noEditPoints="1"/>
          </p:cNvSpPr>
          <p:nvPr/>
        </p:nvSpPr>
        <p:spPr bwMode="auto">
          <a:xfrm>
            <a:off x="853641" y="3796742"/>
            <a:ext cx="285750" cy="424238"/>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00" name="Freeform 60">
            <a:extLst>
              <a:ext uri="{FF2B5EF4-FFF2-40B4-BE49-F238E27FC236}">
                <a16:creationId xmlns:a16="http://schemas.microsoft.com/office/drawing/2014/main" id="{C2800AB5-2FCF-4153-B424-7375C18C80FF}"/>
              </a:ext>
            </a:extLst>
          </p:cNvPr>
          <p:cNvSpPr>
            <a:spLocks noChangeArrowheads="1"/>
          </p:cNvSpPr>
          <p:nvPr/>
        </p:nvSpPr>
        <p:spPr bwMode="auto">
          <a:xfrm>
            <a:off x="760880" y="5091515"/>
            <a:ext cx="471273" cy="466323"/>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9" name="Title 1">
            <a:extLst>
              <a:ext uri="{FF2B5EF4-FFF2-40B4-BE49-F238E27FC236}">
                <a16:creationId xmlns:a16="http://schemas.microsoft.com/office/drawing/2014/main" id="{11F68C0C-7BAD-4425-B094-371C47CCFA3B}"/>
              </a:ext>
            </a:extLst>
          </p:cNvPr>
          <p:cNvSpPr txBox="1">
            <a:spLocks/>
          </p:cNvSpPr>
          <p:nvPr/>
        </p:nvSpPr>
        <p:spPr>
          <a:xfrm>
            <a:off x="3022600" y="477072"/>
            <a:ext cx="792041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588"/>
              </a:spcAft>
              <a:buClrTx/>
              <a:buSzTx/>
              <a:buFontTx/>
              <a:buNone/>
              <a:tabLst/>
              <a:defRPr/>
            </a:pPr>
            <a:r>
              <a:rPr kumimoji="0" lang="en-US" sz="3600" b="0" i="0" u="none" strike="noStrike" kern="1200" cap="none" spc="-100" normalizeH="0" baseline="0" noProof="0" dirty="0">
                <a:ln w="3175">
                  <a:noFill/>
                </a:ln>
                <a:solidFill>
                  <a:srgbClr val="4F504F"/>
                </a:solidFill>
                <a:effectLst/>
                <a:uLnTx/>
                <a:uFillTx/>
                <a:latin typeface="Segoe UI Light"/>
                <a:ea typeface="+mn-ea"/>
                <a:cs typeface="Segoe UI" pitchFamily="34" charset="0"/>
              </a:rPr>
              <a:t>The only consistent, hybrid cloud</a:t>
            </a:r>
          </a:p>
        </p:txBody>
      </p:sp>
      <p:grpSp>
        <p:nvGrpSpPr>
          <p:cNvPr id="3" name="Group 2"/>
          <p:cNvGrpSpPr/>
          <p:nvPr/>
        </p:nvGrpSpPr>
        <p:grpSpPr>
          <a:xfrm>
            <a:off x="3935838" y="2156240"/>
            <a:ext cx="6988249" cy="3201059"/>
            <a:chOff x="3935838" y="2156240"/>
            <a:chExt cx="6988249" cy="3201059"/>
          </a:xfrm>
        </p:grpSpPr>
        <p:grpSp>
          <p:nvGrpSpPr>
            <p:cNvPr id="54" name="Group 53">
              <a:extLst>
                <a:ext uri="{FF2B5EF4-FFF2-40B4-BE49-F238E27FC236}">
                  <a16:creationId xmlns:a16="http://schemas.microsoft.com/office/drawing/2014/main" id="{94EBD3D5-2647-4E74-851A-909398070D0E}"/>
                </a:ext>
              </a:extLst>
            </p:cNvPr>
            <p:cNvGrpSpPr/>
            <p:nvPr/>
          </p:nvGrpSpPr>
          <p:grpSpPr>
            <a:xfrm>
              <a:off x="3936889" y="2607785"/>
              <a:ext cx="341742" cy="452376"/>
              <a:chOff x="2989197" y="3117304"/>
              <a:chExt cx="172645" cy="220603"/>
            </a:xfrm>
            <a:noFill/>
          </p:grpSpPr>
          <p:sp>
            <p:nvSpPr>
              <p:cNvPr id="85" name="Oval 5">
                <a:extLst>
                  <a:ext uri="{FF2B5EF4-FFF2-40B4-BE49-F238E27FC236}">
                    <a16:creationId xmlns:a16="http://schemas.microsoft.com/office/drawing/2014/main" id="{65A33B52-C49C-4061-8237-C4DF20C584BA}"/>
                  </a:ext>
                </a:extLst>
              </p:cNvPr>
              <p:cNvSpPr>
                <a:spLocks noChangeArrowheads="1"/>
              </p:cNvSpPr>
              <p:nvPr/>
            </p:nvSpPr>
            <p:spPr bwMode="auto">
              <a:xfrm>
                <a:off x="3008379" y="3117304"/>
                <a:ext cx="134280" cy="134280"/>
              </a:xfrm>
              <a:prstGeom prst="ellipse">
                <a:avLst/>
              </a:prstGeom>
              <a:grpFill/>
              <a:ln w="28575" cap="flat" cmpd="sng" algn="ctr">
                <a:solidFill>
                  <a:srgbClr val="001F54"/>
                </a:solidFill>
                <a:prstDash val="solid"/>
                <a:miter lim="800000"/>
                <a:headEnd type="none" w="med" len="med"/>
                <a:tailEnd type="none" w="med" len="med"/>
              </a:ln>
              <a:effectLst/>
            </p:spPr>
            <p:txBody>
              <a:bodyPr vert="horz" wrap="square" lIns="89592" tIns="44796" rIns="89592" bIns="44796" numCol="1" anchor="t" anchorCtr="0" compatLnSpc="1">
                <a:prstTxWarp prst="textNoShape">
                  <a:avLst/>
                </a:prstTxWarp>
              </a:bodyPr>
              <a:lstStyle/>
              <a:p>
                <a:pPr marL="0" marR="0" lvl="0" indent="0" algn="l" defTabSz="89569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6" name="Freeform 6">
                <a:extLst>
                  <a:ext uri="{FF2B5EF4-FFF2-40B4-BE49-F238E27FC236}">
                    <a16:creationId xmlns:a16="http://schemas.microsoft.com/office/drawing/2014/main" id="{2415DACD-7CD4-4BFC-889A-B8E17D23ADA0}"/>
                  </a:ext>
                </a:extLst>
              </p:cNvPr>
              <p:cNvSpPr>
                <a:spLocks/>
              </p:cNvSpPr>
              <p:nvPr/>
            </p:nvSpPr>
            <p:spPr bwMode="auto">
              <a:xfrm>
                <a:off x="2989197" y="3251584"/>
                <a:ext cx="172645" cy="86323"/>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8"/>
                      <a:pt x="31" y="0"/>
                      <a:pt x="20" y="0"/>
                    </a:cubicBezTo>
                    <a:cubicBezTo>
                      <a:pt x="9" y="0"/>
                      <a:pt x="0" y="8"/>
                      <a:pt x="0" y="20"/>
                    </a:cubicBezTo>
                  </a:path>
                </a:pathLst>
              </a:custGeom>
              <a:grpFill/>
              <a:ln w="28575" cap="flat" cmpd="sng" algn="ctr">
                <a:solidFill>
                  <a:srgbClr val="001F54"/>
                </a:solidFill>
                <a:prstDash val="solid"/>
                <a:miter lim="800000"/>
                <a:headEnd type="none" w="med" len="med"/>
                <a:tailEnd type="none" w="med" len="med"/>
              </a:ln>
              <a:effectLst/>
            </p:spPr>
            <p:txBody>
              <a:bodyPr vert="horz" wrap="square" lIns="89592" tIns="44796" rIns="89592" bIns="44796" numCol="1" anchor="t" anchorCtr="0" compatLnSpc="1">
                <a:prstTxWarp prst="textNoShape">
                  <a:avLst/>
                </a:prstTxWarp>
              </a:bodyPr>
              <a:lstStyle/>
              <a:p>
                <a:pPr marL="0" marR="0" lvl="0" indent="0" algn="l" defTabSz="89569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55" name="Group 54">
              <a:extLst>
                <a:ext uri="{FF2B5EF4-FFF2-40B4-BE49-F238E27FC236}">
                  <a16:creationId xmlns:a16="http://schemas.microsoft.com/office/drawing/2014/main" id="{6CFB70BF-4B5C-48E3-B5F1-0DDE8D21A1F2}"/>
                </a:ext>
              </a:extLst>
            </p:cNvPr>
            <p:cNvGrpSpPr/>
            <p:nvPr/>
          </p:nvGrpSpPr>
          <p:grpSpPr>
            <a:xfrm>
              <a:off x="9740572" y="2156240"/>
              <a:ext cx="1183515" cy="930006"/>
              <a:chOff x="9854443" y="1455869"/>
              <a:chExt cx="1521253" cy="1195403"/>
            </a:xfrm>
          </p:grpSpPr>
          <p:grpSp>
            <p:nvGrpSpPr>
              <p:cNvPr id="58" name="Group 57">
                <a:extLst>
                  <a:ext uri="{FF2B5EF4-FFF2-40B4-BE49-F238E27FC236}">
                    <a16:creationId xmlns:a16="http://schemas.microsoft.com/office/drawing/2014/main" id="{CE1970A8-2FE3-4FAB-A253-1CDD7F4B3A3B}"/>
                  </a:ext>
                </a:extLst>
              </p:cNvPr>
              <p:cNvGrpSpPr/>
              <p:nvPr/>
            </p:nvGrpSpPr>
            <p:grpSpPr>
              <a:xfrm>
                <a:off x="9854443" y="2083447"/>
                <a:ext cx="675016" cy="567825"/>
                <a:chOff x="1453655" y="2514411"/>
                <a:chExt cx="489783" cy="412007"/>
              </a:xfrm>
            </p:grpSpPr>
            <p:sp>
              <p:nvSpPr>
                <p:cNvPr id="73" name="Rectangle 72">
                  <a:extLst>
                    <a:ext uri="{FF2B5EF4-FFF2-40B4-BE49-F238E27FC236}">
                      <a16:creationId xmlns:a16="http://schemas.microsoft.com/office/drawing/2014/main" id="{F3C4D888-55B2-4BAD-87E1-717E09F96E9A}"/>
                    </a:ext>
                  </a:extLst>
                </p:cNvPr>
                <p:cNvSpPr/>
                <p:nvPr/>
              </p:nvSpPr>
              <p:spPr bwMode="auto">
                <a:xfrm>
                  <a:off x="1453655" y="2514411"/>
                  <a:ext cx="489783" cy="412007"/>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4" name="Group 73">
                  <a:extLst>
                    <a:ext uri="{FF2B5EF4-FFF2-40B4-BE49-F238E27FC236}">
                      <a16:creationId xmlns:a16="http://schemas.microsoft.com/office/drawing/2014/main" id="{829D994D-4C7F-46FA-8B4F-60DEA00629CA}"/>
                    </a:ext>
                  </a:extLst>
                </p:cNvPr>
                <p:cNvGrpSpPr/>
                <p:nvPr/>
              </p:nvGrpSpPr>
              <p:grpSpPr>
                <a:xfrm>
                  <a:off x="1602163" y="2574920"/>
                  <a:ext cx="208797" cy="296154"/>
                  <a:chOff x="6141433" y="2184400"/>
                  <a:chExt cx="1838910" cy="2608262"/>
                </a:xfrm>
                <a:solidFill>
                  <a:srgbClr val="002060"/>
                </a:solidFill>
              </p:grpSpPr>
              <p:sp>
                <p:nvSpPr>
                  <p:cNvPr id="75" name="Freeform 95">
                    <a:extLst>
                      <a:ext uri="{FF2B5EF4-FFF2-40B4-BE49-F238E27FC236}">
                        <a16:creationId xmlns:a16="http://schemas.microsoft.com/office/drawing/2014/main" id="{F425D9E1-43BF-4F1E-A2D0-B153174C37D2}"/>
                      </a:ext>
                    </a:extLst>
                  </p:cNvPr>
                  <p:cNvSpPr/>
                  <p:nvPr/>
                </p:nvSpPr>
                <p:spPr bwMode="auto">
                  <a:xfrm>
                    <a:off x="7107219" y="2184400"/>
                    <a:ext cx="873124" cy="2608262"/>
                  </a:xfrm>
                  <a:custGeom>
                    <a:avLst/>
                    <a:gdLst>
                      <a:gd name="connsiteX0" fmla="*/ 436562 w 873124"/>
                      <a:gd name="connsiteY0" fmla="*/ 0 h 2608262"/>
                      <a:gd name="connsiteX1" fmla="*/ 873124 w 873124"/>
                      <a:gd name="connsiteY1" fmla="*/ 436562 h 2608262"/>
                      <a:gd name="connsiteX2" fmla="*/ 680648 w 873124"/>
                      <a:gd name="connsiteY2" fmla="*/ 798566 h 2608262"/>
                      <a:gd name="connsiteX3" fmla="*/ 627062 w 873124"/>
                      <a:gd name="connsiteY3" fmla="*/ 827652 h 2608262"/>
                      <a:gd name="connsiteX4" fmla="*/ 627062 w 873124"/>
                      <a:gd name="connsiteY4" fmla="*/ 2417762 h 2608262"/>
                      <a:gd name="connsiteX5" fmla="*/ 436562 w 873124"/>
                      <a:gd name="connsiteY5" fmla="*/ 2608262 h 2608262"/>
                      <a:gd name="connsiteX6" fmla="*/ 246062 w 873124"/>
                      <a:gd name="connsiteY6" fmla="*/ 2417762 h 2608262"/>
                      <a:gd name="connsiteX7" fmla="*/ 246062 w 873124"/>
                      <a:gd name="connsiteY7" fmla="*/ 827652 h 2608262"/>
                      <a:gd name="connsiteX8" fmla="*/ 192476 w 873124"/>
                      <a:gd name="connsiteY8" fmla="*/ 798566 h 2608262"/>
                      <a:gd name="connsiteX9" fmla="*/ 0 w 873124"/>
                      <a:gd name="connsiteY9" fmla="*/ 436562 h 2608262"/>
                      <a:gd name="connsiteX10" fmla="*/ 436562 w 873124"/>
                      <a:gd name="connsiteY10" fmla="*/ 0 h 260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3124" h="2608262">
                        <a:moveTo>
                          <a:pt x="436562" y="0"/>
                        </a:moveTo>
                        <a:cubicBezTo>
                          <a:pt x="677669" y="0"/>
                          <a:pt x="873124" y="195455"/>
                          <a:pt x="873124" y="436562"/>
                        </a:cubicBezTo>
                        <a:cubicBezTo>
                          <a:pt x="873124" y="587254"/>
                          <a:pt x="796775" y="720113"/>
                          <a:pt x="680648" y="798566"/>
                        </a:cubicBezTo>
                        <a:lnTo>
                          <a:pt x="627062" y="827652"/>
                        </a:lnTo>
                        <a:lnTo>
                          <a:pt x="627062" y="2417762"/>
                        </a:lnTo>
                        <a:cubicBezTo>
                          <a:pt x="627062" y="2522972"/>
                          <a:pt x="541772" y="2608262"/>
                          <a:pt x="436562" y="2608262"/>
                        </a:cubicBezTo>
                        <a:cubicBezTo>
                          <a:pt x="331352" y="2608262"/>
                          <a:pt x="246062" y="2522972"/>
                          <a:pt x="246062" y="2417762"/>
                        </a:cubicBezTo>
                        <a:lnTo>
                          <a:pt x="246062" y="827652"/>
                        </a:lnTo>
                        <a:lnTo>
                          <a:pt x="192476" y="798566"/>
                        </a:lnTo>
                        <a:cubicBezTo>
                          <a:pt x="76349" y="720113"/>
                          <a:pt x="0" y="587254"/>
                          <a:pt x="0" y="436562"/>
                        </a:cubicBezTo>
                        <a:cubicBezTo>
                          <a:pt x="0" y="195455"/>
                          <a:pt x="195455" y="0"/>
                          <a:pt x="436562" y="0"/>
                        </a:cubicBezTo>
                        <a:close/>
                      </a:path>
                    </a:pathLst>
                  </a:cu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marL="0" marR="0" lvl="0" indent="0" algn="ctr" defTabSz="913400"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Freeform 96">
                    <a:extLst>
                      <a:ext uri="{FF2B5EF4-FFF2-40B4-BE49-F238E27FC236}">
                        <a16:creationId xmlns:a16="http://schemas.microsoft.com/office/drawing/2014/main" id="{5B8C65CD-B349-4B13-AD8E-EF975AAD0CD5}"/>
                      </a:ext>
                    </a:extLst>
                  </p:cNvPr>
                  <p:cNvSpPr/>
                  <p:nvPr/>
                </p:nvSpPr>
                <p:spPr bwMode="auto">
                  <a:xfrm rot="10800000">
                    <a:off x="6141433" y="3573462"/>
                    <a:ext cx="381000" cy="1219200"/>
                  </a:xfrm>
                  <a:custGeom>
                    <a:avLst/>
                    <a:gdLst>
                      <a:gd name="connsiteX0" fmla="*/ 381000 w 381000"/>
                      <a:gd name="connsiteY0" fmla="*/ 1219200 h 1219200"/>
                      <a:gd name="connsiteX1" fmla="*/ 190500 w 381000"/>
                      <a:gd name="connsiteY1" fmla="*/ 1219200 h 1219200"/>
                      <a:gd name="connsiteX2" fmla="*/ 0 w 381000"/>
                      <a:gd name="connsiteY2" fmla="*/ 1219200 h 1219200"/>
                      <a:gd name="connsiteX3" fmla="*/ 0 w 381000"/>
                      <a:gd name="connsiteY3" fmla="*/ 1028700 h 1219200"/>
                      <a:gd name="connsiteX4" fmla="*/ 0 w 381000"/>
                      <a:gd name="connsiteY4" fmla="*/ 533400 h 1219200"/>
                      <a:gd name="connsiteX5" fmla="*/ 0 w 381000"/>
                      <a:gd name="connsiteY5" fmla="*/ 190500 h 1219200"/>
                      <a:gd name="connsiteX6" fmla="*/ 190500 w 381000"/>
                      <a:gd name="connsiteY6" fmla="*/ 0 h 1219200"/>
                      <a:gd name="connsiteX7" fmla="*/ 381000 w 381000"/>
                      <a:gd name="connsiteY7" fmla="*/ 190500 h 1219200"/>
                      <a:gd name="connsiteX8" fmla="*/ 381000 w 381000"/>
                      <a:gd name="connsiteY8" fmla="*/ 533400 h 1219200"/>
                      <a:gd name="connsiteX9" fmla="*/ 381000 w 381000"/>
                      <a:gd name="connsiteY9" fmla="*/ 1028700 h 121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0" h="1219200">
                        <a:moveTo>
                          <a:pt x="381000" y="1219200"/>
                        </a:moveTo>
                        <a:lnTo>
                          <a:pt x="190500" y="1219200"/>
                        </a:lnTo>
                        <a:lnTo>
                          <a:pt x="0" y="1219200"/>
                        </a:lnTo>
                        <a:lnTo>
                          <a:pt x="0" y="1028700"/>
                        </a:lnTo>
                        <a:lnTo>
                          <a:pt x="0" y="533400"/>
                        </a:lnTo>
                        <a:lnTo>
                          <a:pt x="0" y="190500"/>
                        </a:lnTo>
                        <a:cubicBezTo>
                          <a:pt x="0" y="85290"/>
                          <a:pt x="85290" y="0"/>
                          <a:pt x="190500" y="0"/>
                        </a:cubicBezTo>
                        <a:cubicBezTo>
                          <a:pt x="295710" y="0"/>
                          <a:pt x="381000" y="85290"/>
                          <a:pt x="381000" y="190500"/>
                        </a:cubicBezTo>
                        <a:lnTo>
                          <a:pt x="381000" y="533400"/>
                        </a:lnTo>
                        <a:lnTo>
                          <a:pt x="381000" y="1028700"/>
                        </a:lnTo>
                        <a:close/>
                      </a:path>
                    </a:pathLst>
                  </a:cu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marL="0" marR="0" lvl="0" indent="0" algn="ctr" defTabSz="913400"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Pentagon 97">
                    <a:extLst>
                      <a:ext uri="{FF2B5EF4-FFF2-40B4-BE49-F238E27FC236}">
                        <a16:creationId xmlns:a16="http://schemas.microsoft.com/office/drawing/2014/main" id="{AB1C35E4-7C0E-42B0-895A-D126719FFA54}"/>
                      </a:ext>
                    </a:extLst>
                  </p:cNvPr>
                  <p:cNvSpPr/>
                  <p:nvPr/>
                </p:nvSpPr>
                <p:spPr bwMode="auto">
                  <a:xfrm rot="5400000">
                    <a:off x="6089640" y="2251076"/>
                    <a:ext cx="496887" cy="363541"/>
                  </a:xfrm>
                  <a:prstGeom prst="homePlate">
                    <a:avLst/>
                  </a:pr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marL="0" marR="0" lvl="0" indent="0" algn="ctr" defTabSz="913400"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3" name="Straight Connector 82">
                    <a:extLst>
                      <a:ext uri="{FF2B5EF4-FFF2-40B4-BE49-F238E27FC236}">
                        <a16:creationId xmlns:a16="http://schemas.microsoft.com/office/drawing/2014/main" id="{28ABB7C2-8303-4A2C-B3AD-9CD7FAADC908}"/>
                      </a:ext>
                    </a:extLst>
                  </p:cNvPr>
                  <p:cNvCxnSpPr/>
                  <p:nvPr/>
                </p:nvCxnSpPr>
                <p:spPr>
                  <a:xfrm flipH="1">
                    <a:off x="6331930" y="2681294"/>
                    <a:ext cx="6154" cy="892168"/>
                  </a:xfrm>
                  <a:prstGeom prst="line">
                    <a:avLst/>
                  </a:prstGeom>
                  <a:grpFill/>
                  <a:ln w="28575" cap="flat" cmpd="sng" algn="ctr">
                    <a:solidFill>
                      <a:srgbClr val="001F54"/>
                    </a:solidFill>
                    <a:prstDash val="solid"/>
                    <a:miter lim="800000"/>
                    <a:headEnd type="none" w="med" len="med"/>
                    <a:tailEnd type="none" w="med" len="med"/>
                  </a:ln>
                  <a:effectLst/>
                </p:spPr>
              </p:cxnSp>
              <p:cxnSp>
                <p:nvCxnSpPr>
                  <p:cNvPr id="84" name="Straight Connector 83">
                    <a:extLst>
                      <a:ext uri="{FF2B5EF4-FFF2-40B4-BE49-F238E27FC236}">
                        <a16:creationId xmlns:a16="http://schemas.microsoft.com/office/drawing/2014/main" id="{A66B89DC-DBB4-4A63-905F-1E652C37B3E6}"/>
                      </a:ext>
                    </a:extLst>
                  </p:cNvPr>
                  <p:cNvCxnSpPr/>
                  <p:nvPr/>
                </p:nvCxnSpPr>
                <p:spPr>
                  <a:xfrm>
                    <a:off x="7543781" y="2184400"/>
                    <a:ext cx="1" cy="418531"/>
                  </a:xfrm>
                  <a:prstGeom prst="line">
                    <a:avLst/>
                  </a:prstGeom>
                  <a:grpFill/>
                  <a:ln w="28575" cap="flat" cmpd="sng" algn="ctr">
                    <a:solidFill>
                      <a:srgbClr val="001F54"/>
                    </a:solidFill>
                    <a:prstDash val="solid"/>
                    <a:miter lim="800000"/>
                    <a:headEnd type="none" w="med" len="med"/>
                    <a:tailEnd type="none" w="med" len="med"/>
                  </a:ln>
                  <a:effectLst/>
                </p:spPr>
              </p:cxnSp>
            </p:grpSp>
          </p:grpSp>
          <p:sp>
            <p:nvSpPr>
              <p:cNvPr id="60" name="Freeform 5">
                <a:extLst>
                  <a:ext uri="{FF2B5EF4-FFF2-40B4-BE49-F238E27FC236}">
                    <a16:creationId xmlns:a16="http://schemas.microsoft.com/office/drawing/2014/main" id="{8A6E20D0-80F3-4E20-9AA0-8F8A92AF69CB}"/>
                  </a:ext>
                </a:extLst>
              </p:cNvPr>
              <p:cNvSpPr>
                <a:spLocks noChangeAspect="1"/>
              </p:cNvSpPr>
              <p:nvPr/>
            </p:nvSpPr>
            <p:spPr bwMode="auto">
              <a:xfrm>
                <a:off x="10549864" y="1455869"/>
                <a:ext cx="825832" cy="574096"/>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6128" tIns="43063" rIns="86128" bIns="43063" numCol="1" anchor="t" anchorCtr="0" compatLnSpc="1">
                <a:prstTxWarp prst="textNoShape">
                  <a:avLst/>
                </a:prstTxWarp>
              </a:bodyPr>
              <a:lstStyle/>
              <a:p>
                <a:pPr marL="0" marR="0" lvl="0" indent="0" algn="ctr" defTabSz="861096"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0" normalizeH="0" baseline="0" noProof="0" dirty="0">
                  <a:ln>
                    <a:noFill/>
                  </a:ln>
                  <a:solidFill>
                    <a:srgbClr val="75787B"/>
                  </a:solidFill>
                  <a:effectLst/>
                  <a:uLnTx/>
                  <a:uFillTx/>
                  <a:latin typeface="Segoe UI Light"/>
                  <a:ea typeface="+mn-ea"/>
                  <a:cs typeface="+mn-cs"/>
                </a:endParaRPr>
              </a:p>
            </p:txBody>
          </p:sp>
          <p:cxnSp>
            <p:nvCxnSpPr>
              <p:cNvPr id="61" name="Straight Arrow Connector 60">
                <a:extLst>
                  <a:ext uri="{FF2B5EF4-FFF2-40B4-BE49-F238E27FC236}">
                    <a16:creationId xmlns:a16="http://schemas.microsoft.com/office/drawing/2014/main" id="{28E8BE69-6C68-46CF-AD74-2D5B00DC6D36}"/>
                  </a:ext>
                </a:extLst>
              </p:cNvPr>
              <p:cNvCxnSpPr>
                <a:cxnSpLocks/>
              </p:cNvCxnSpPr>
              <p:nvPr/>
            </p:nvCxnSpPr>
            <p:spPr>
              <a:xfrm flipV="1">
                <a:off x="10955337" y="2058254"/>
                <a:ext cx="0" cy="307483"/>
              </a:xfrm>
              <a:prstGeom prst="straightConnector1">
                <a:avLst/>
              </a:prstGeom>
              <a:noFill/>
              <a:ln w="28575" cap="flat" cmpd="sng" algn="ctr">
                <a:solidFill>
                  <a:srgbClr val="001F54"/>
                </a:solidFill>
                <a:prstDash val="solid"/>
                <a:headEnd type="none" w="med" len="med"/>
                <a:tailEnd type="triangle" w="lg" len="sm"/>
              </a:ln>
              <a:effectLst/>
            </p:spPr>
          </p:cxnSp>
          <p:cxnSp>
            <p:nvCxnSpPr>
              <p:cNvPr id="72" name="Straight Arrow Connector 71">
                <a:extLst>
                  <a:ext uri="{FF2B5EF4-FFF2-40B4-BE49-F238E27FC236}">
                    <a16:creationId xmlns:a16="http://schemas.microsoft.com/office/drawing/2014/main" id="{FE556F7A-0EE7-4C14-850B-A81A147E35EA}"/>
                  </a:ext>
                </a:extLst>
              </p:cNvPr>
              <p:cNvCxnSpPr>
                <a:cxnSpLocks/>
              </p:cNvCxnSpPr>
              <p:nvPr/>
            </p:nvCxnSpPr>
            <p:spPr>
              <a:xfrm>
                <a:off x="10541494" y="2365737"/>
                <a:ext cx="420013" cy="0"/>
              </a:xfrm>
              <a:prstGeom prst="straightConnector1">
                <a:avLst/>
              </a:prstGeom>
              <a:noFill/>
              <a:ln w="28575" cap="flat" cmpd="sng" algn="ctr">
                <a:solidFill>
                  <a:srgbClr val="001F54"/>
                </a:solidFill>
                <a:prstDash val="solid"/>
                <a:headEnd type="none" w="med" len="med"/>
                <a:tailEnd type="none" w="lg" len="sm"/>
              </a:ln>
              <a:effectLst/>
            </p:spPr>
          </p:cxnSp>
        </p:grpSp>
        <p:sp>
          <p:nvSpPr>
            <p:cNvPr id="56" name="Freeform 5">
              <a:extLst>
                <a:ext uri="{FF2B5EF4-FFF2-40B4-BE49-F238E27FC236}">
                  <a16:creationId xmlns:a16="http://schemas.microsoft.com/office/drawing/2014/main" id="{B036FA4C-D57F-4500-800C-9972597820D6}"/>
                </a:ext>
              </a:extLst>
            </p:cNvPr>
            <p:cNvSpPr>
              <a:spLocks noChangeAspect="1"/>
            </p:cNvSpPr>
            <p:nvPr/>
          </p:nvSpPr>
          <p:spPr bwMode="auto">
            <a:xfrm>
              <a:off x="5749143" y="2633953"/>
              <a:ext cx="642487" cy="446638"/>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6128" tIns="43063" rIns="86128" bIns="43063" numCol="1" anchor="t" anchorCtr="0" compatLnSpc="1">
              <a:prstTxWarp prst="textNoShape">
                <a:avLst/>
              </a:prstTxWarp>
            </a:bodyPr>
            <a:lstStyle/>
            <a:p>
              <a:pPr marL="0" marR="0" lvl="0" indent="0" algn="ctr" defTabSz="861096"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0" normalizeH="0" baseline="0" noProof="0" dirty="0">
                <a:ln>
                  <a:noFill/>
                </a:ln>
                <a:gradFill>
                  <a:gsLst>
                    <a:gs pos="17699">
                      <a:srgbClr val="B4009E"/>
                    </a:gs>
                    <a:gs pos="100000">
                      <a:srgbClr val="B4009E"/>
                    </a:gs>
                  </a:gsLst>
                  <a:lin ang="5400000" scaled="1"/>
                </a:gradFill>
                <a:effectLst/>
                <a:uLnTx/>
                <a:uFillTx/>
                <a:latin typeface="Segoe UI Light"/>
                <a:ea typeface="+mn-ea"/>
                <a:cs typeface="+mn-cs"/>
              </a:endParaRPr>
            </a:p>
          </p:txBody>
        </p:sp>
        <p:sp>
          <p:nvSpPr>
            <p:cNvPr id="57" name="Cylinder 120">
              <a:extLst>
                <a:ext uri="{FF2B5EF4-FFF2-40B4-BE49-F238E27FC236}">
                  <a16:creationId xmlns:a16="http://schemas.microsoft.com/office/drawing/2014/main" id="{CB2E82CD-3A74-490E-A3D8-F0194F88005A}"/>
                </a:ext>
              </a:extLst>
            </p:cNvPr>
            <p:cNvSpPr/>
            <p:nvPr/>
          </p:nvSpPr>
          <p:spPr bwMode="auto">
            <a:xfrm>
              <a:off x="7820910" y="2605954"/>
              <a:ext cx="480560" cy="499030"/>
            </a:xfrm>
            <a:prstGeom prst="can">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5" name="Group 94">
              <a:extLst>
                <a:ext uri="{FF2B5EF4-FFF2-40B4-BE49-F238E27FC236}">
                  <a16:creationId xmlns:a16="http://schemas.microsoft.com/office/drawing/2014/main" id="{87E6D6D5-8AE0-4BAF-89D4-9DE357A89F59}"/>
                </a:ext>
              </a:extLst>
            </p:cNvPr>
            <p:cNvGrpSpPr>
              <a:grpSpLocks noChangeAspect="1"/>
            </p:cNvGrpSpPr>
            <p:nvPr/>
          </p:nvGrpSpPr>
          <p:grpSpPr>
            <a:xfrm>
              <a:off x="3935838" y="4816285"/>
              <a:ext cx="343845" cy="455163"/>
              <a:chOff x="2989197" y="3117304"/>
              <a:chExt cx="172645" cy="220603"/>
            </a:xfrm>
            <a:noFill/>
          </p:grpSpPr>
          <p:sp>
            <p:nvSpPr>
              <p:cNvPr id="135" name="Oval 5">
                <a:extLst>
                  <a:ext uri="{FF2B5EF4-FFF2-40B4-BE49-F238E27FC236}">
                    <a16:creationId xmlns:a16="http://schemas.microsoft.com/office/drawing/2014/main" id="{C270AFFF-CAD4-462E-8E24-AA5FF469AD57}"/>
                  </a:ext>
                </a:extLst>
              </p:cNvPr>
              <p:cNvSpPr>
                <a:spLocks noChangeArrowheads="1"/>
              </p:cNvSpPr>
              <p:nvPr/>
            </p:nvSpPr>
            <p:spPr bwMode="auto">
              <a:xfrm>
                <a:off x="3008379" y="3117304"/>
                <a:ext cx="134280" cy="134280"/>
              </a:xfrm>
              <a:prstGeom prst="ellipse">
                <a:avLst/>
              </a:prstGeom>
              <a:grpFill/>
              <a:ln w="28575" cap="flat" cmpd="sng" algn="ctr">
                <a:solidFill>
                  <a:srgbClr val="001F54"/>
                </a:solidFill>
                <a:prstDash val="solid"/>
                <a:miter lim="800000"/>
                <a:headEnd type="none" w="med" len="med"/>
                <a:tailEnd type="none" w="med" len="med"/>
              </a:ln>
              <a:effectLst/>
            </p:spPr>
            <p:txBody>
              <a:bodyPr vert="horz" wrap="square" lIns="89592" tIns="44796" rIns="89592" bIns="44796" numCol="1" anchor="t" anchorCtr="0" compatLnSpc="1">
                <a:prstTxWarp prst="textNoShape">
                  <a:avLst/>
                </a:prstTxWarp>
              </a:bodyPr>
              <a:lstStyle/>
              <a:p>
                <a:pPr marL="0" marR="0" lvl="0" indent="0" algn="l" defTabSz="89569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6" name="Freeform 6">
                <a:extLst>
                  <a:ext uri="{FF2B5EF4-FFF2-40B4-BE49-F238E27FC236}">
                    <a16:creationId xmlns:a16="http://schemas.microsoft.com/office/drawing/2014/main" id="{EE2E6859-F3D4-4387-9411-84227E36953B}"/>
                  </a:ext>
                </a:extLst>
              </p:cNvPr>
              <p:cNvSpPr>
                <a:spLocks/>
              </p:cNvSpPr>
              <p:nvPr/>
            </p:nvSpPr>
            <p:spPr bwMode="auto">
              <a:xfrm>
                <a:off x="2989197" y="3251584"/>
                <a:ext cx="172645" cy="86323"/>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8"/>
                      <a:pt x="31" y="0"/>
                      <a:pt x="20" y="0"/>
                    </a:cubicBezTo>
                    <a:cubicBezTo>
                      <a:pt x="9" y="0"/>
                      <a:pt x="0" y="8"/>
                      <a:pt x="0" y="20"/>
                    </a:cubicBezTo>
                  </a:path>
                </a:pathLst>
              </a:custGeom>
              <a:grpFill/>
              <a:ln w="28575" cap="flat" cmpd="sng" algn="ctr">
                <a:solidFill>
                  <a:srgbClr val="001F54"/>
                </a:solidFill>
                <a:prstDash val="solid"/>
                <a:miter lim="800000"/>
                <a:headEnd type="none" w="med" len="med"/>
                <a:tailEnd type="none" w="med" len="med"/>
              </a:ln>
              <a:effectLst/>
            </p:spPr>
            <p:txBody>
              <a:bodyPr vert="horz" wrap="square" lIns="89592" tIns="44796" rIns="89592" bIns="44796" numCol="1" anchor="t" anchorCtr="0" compatLnSpc="1">
                <a:prstTxWarp prst="textNoShape">
                  <a:avLst/>
                </a:prstTxWarp>
              </a:bodyPr>
              <a:lstStyle/>
              <a:p>
                <a:pPr marL="0" marR="0" lvl="0" indent="0" algn="l" defTabSz="89569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97" name="Group 96">
              <a:extLst>
                <a:ext uri="{FF2B5EF4-FFF2-40B4-BE49-F238E27FC236}">
                  <a16:creationId xmlns:a16="http://schemas.microsoft.com/office/drawing/2014/main" id="{2B6D3D7D-D992-40FA-A290-67A0E6BCE78E}"/>
                </a:ext>
              </a:extLst>
            </p:cNvPr>
            <p:cNvGrpSpPr/>
            <p:nvPr/>
          </p:nvGrpSpPr>
          <p:grpSpPr>
            <a:xfrm>
              <a:off x="5749143" y="4816835"/>
              <a:ext cx="642487" cy="540464"/>
              <a:chOff x="4328280" y="5634327"/>
              <a:chExt cx="825832" cy="694694"/>
            </a:xfrm>
          </p:grpSpPr>
          <p:sp>
            <p:nvSpPr>
              <p:cNvPr id="133" name="Rectangle 132">
                <a:extLst>
                  <a:ext uri="{FF2B5EF4-FFF2-40B4-BE49-F238E27FC236}">
                    <a16:creationId xmlns:a16="http://schemas.microsoft.com/office/drawing/2014/main" id="{FBEC8CA7-7FDF-451E-AEB3-B9EB8A4DD170}"/>
                  </a:ext>
                </a:extLst>
              </p:cNvPr>
              <p:cNvSpPr/>
              <p:nvPr/>
            </p:nvSpPr>
            <p:spPr bwMode="auto">
              <a:xfrm>
                <a:off x="4328280" y="5634327"/>
                <a:ext cx="825832" cy="694694"/>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 name="Freeform 5">
                <a:extLst>
                  <a:ext uri="{FF2B5EF4-FFF2-40B4-BE49-F238E27FC236}">
                    <a16:creationId xmlns:a16="http://schemas.microsoft.com/office/drawing/2014/main" id="{3D0607F6-5209-4C6B-A05F-913348949359}"/>
                  </a:ext>
                </a:extLst>
              </p:cNvPr>
              <p:cNvSpPr>
                <a:spLocks noChangeAspect="1"/>
              </p:cNvSpPr>
              <p:nvPr/>
            </p:nvSpPr>
            <p:spPr bwMode="auto">
              <a:xfrm>
                <a:off x="4447810" y="5767682"/>
                <a:ext cx="586773" cy="407908"/>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6128" tIns="43063" rIns="86128" bIns="43063" numCol="1" anchor="t" anchorCtr="0" compatLnSpc="1">
                <a:prstTxWarp prst="textNoShape">
                  <a:avLst/>
                </a:prstTxWarp>
              </a:bodyPr>
              <a:lstStyle/>
              <a:p>
                <a:pPr marL="0" marR="0" lvl="0" indent="0" algn="ctr" defTabSz="861096"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0" normalizeH="0" baseline="0" noProof="0">
                  <a:ln>
                    <a:noFill/>
                  </a:ln>
                  <a:gradFill>
                    <a:gsLst>
                      <a:gs pos="17699">
                        <a:srgbClr val="B4009E"/>
                      </a:gs>
                      <a:gs pos="100000">
                        <a:srgbClr val="B4009E"/>
                      </a:gs>
                    </a:gsLst>
                    <a:lin ang="5400000" scaled="1"/>
                  </a:gradFill>
                  <a:effectLst/>
                  <a:uLnTx/>
                  <a:uFillTx/>
                  <a:latin typeface="Segoe UI Light"/>
                  <a:ea typeface="+mn-ea"/>
                  <a:cs typeface="+mn-cs"/>
                </a:endParaRPr>
              </a:p>
            </p:txBody>
          </p:sp>
        </p:grpSp>
        <p:sp>
          <p:nvSpPr>
            <p:cNvPr id="103" name="Cylinder 167">
              <a:extLst>
                <a:ext uri="{FF2B5EF4-FFF2-40B4-BE49-F238E27FC236}">
                  <a16:creationId xmlns:a16="http://schemas.microsoft.com/office/drawing/2014/main" id="{3E6455FB-B3F1-4D72-B4E8-7F0CCF4FE79F}"/>
                </a:ext>
              </a:extLst>
            </p:cNvPr>
            <p:cNvSpPr/>
            <p:nvPr/>
          </p:nvSpPr>
          <p:spPr bwMode="auto">
            <a:xfrm>
              <a:off x="7825600" y="4806204"/>
              <a:ext cx="480560" cy="499032"/>
            </a:xfrm>
            <a:prstGeom prst="can">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 name="Group 1"/>
            <p:cNvGrpSpPr/>
            <p:nvPr/>
          </p:nvGrpSpPr>
          <p:grpSpPr>
            <a:xfrm>
              <a:off x="9659688" y="4785481"/>
              <a:ext cx="737514" cy="540463"/>
              <a:chOff x="9659688" y="4785481"/>
              <a:chExt cx="737514" cy="540463"/>
            </a:xfrm>
          </p:grpSpPr>
          <p:sp>
            <p:nvSpPr>
              <p:cNvPr id="120" name="Rectangle 119">
                <a:extLst>
                  <a:ext uri="{FF2B5EF4-FFF2-40B4-BE49-F238E27FC236}">
                    <a16:creationId xmlns:a16="http://schemas.microsoft.com/office/drawing/2014/main" id="{D37BD02E-8FE0-43C3-8189-243CE8EAB2BA}"/>
                  </a:ext>
                </a:extLst>
              </p:cNvPr>
              <p:cNvSpPr/>
              <p:nvPr/>
            </p:nvSpPr>
            <p:spPr bwMode="auto">
              <a:xfrm>
                <a:off x="9659688" y="4785481"/>
                <a:ext cx="316607" cy="540463"/>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21" name="Straight Connector 120">
                <a:extLst>
                  <a:ext uri="{FF2B5EF4-FFF2-40B4-BE49-F238E27FC236}">
                    <a16:creationId xmlns:a16="http://schemas.microsoft.com/office/drawing/2014/main" id="{860904F6-2643-485F-8761-B7BACF72EE8E}"/>
                  </a:ext>
                </a:extLst>
              </p:cNvPr>
              <p:cNvCxnSpPr/>
              <p:nvPr/>
            </p:nvCxnSpPr>
            <p:spPr>
              <a:xfrm>
                <a:off x="9659688" y="4884323"/>
                <a:ext cx="316607" cy="0"/>
              </a:xfrm>
              <a:prstGeom prst="line">
                <a:avLst/>
              </a:prstGeom>
              <a:noFill/>
              <a:ln w="28575" cap="flat" cmpd="sng" algn="ctr">
                <a:solidFill>
                  <a:srgbClr val="001F54"/>
                </a:solidFill>
                <a:prstDash val="solid"/>
                <a:headEnd type="none"/>
                <a:tailEnd type="none"/>
              </a:ln>
              <a:effectLst/>
            </p:spPr>
          </p:cxnSp>
          <p:cxnSp>
            <p:nvCxnSpPr>
              <p:cNvPr id="122" name="Straight Connector 121">
                <a:extLst>
                  <a:ext uri="{FF2B5EF4-FFF2-40B4-BE49-F238E27FC236}">
                    <a16:creationId xmlns:a16="http://schemas.microsoft.com/office/drawing/2014/main" id="{0DABDDF1-BB4A-4F8A-9DE5-058322107D40}"/>
                  </a:ext>
                </a:extLst>
              </p:cNvPr>
              <p:cNvCxnSpPr/>
              <p:nvPr/>
            </p:nvCxnSpPr>
            <p:spPr>
              <a:xfrm>
                <a:off x="9659688" y="4970681"/>
                <a:ext cx="316607" cy="0"/>
              </a:xfrm>
              <a:prstGeom prst="line">
                <a:avLst/>
              </a:prstGeom>
              <a:noFill/>
              <a:ln w="28575" cap="flat" cmpd="sng" algn="ctr">
                <a:solidFill>
                  <a:srgbClr val="001F54"/>
                </a:solidFill>
                <a:prstDash val="solid"/>
                <a:headEnd type="none"/>
                <a:tailEnd type="none"/>
              </a:ln>
              <a:effectLst/>
            </p:spPr>
          </p:cxnSp>
          <p:cxnSp>
            <p:nvCxnSpPr>
              <p:cNvPr id="123" name="Straight Connector 122">
                <a:extLst>
                  <a:ext uri="{FF2B5EF4-FFF2-40B4-BE49-F238E27FC236}">
                    <a16:creationId xmlns:a16="http://schemas.microsoft.com/office/drawing/2014/main" id="{0BC90513-CDF2-422C-A653-69135FA80C23}"/>
                  </a:ext>
                </a:extLst>
              </p:cNvPr>
              <p:cNvCxnSpPr/>
              <p:nvPr/>
            </p:nvCxnSpPr>
            <p:spPr>
              <a:xfrm>
                <a:off x="9659688" y="5057040"/>
                <a:ext cx="316607" cy="0"/>
              </a:xfrm>
              <a:prstGeom prst="line">
                <a:avLst/>
              </a:prstGeom>
              <a:noFill/>
              <a:ln w="28575" cap="flat" cmpd="sng" algn="ctr">
                <a:solidFill>
                  <a:srgbClr val="001F54"/>
                </a:solidFill>
                <a:prstDash val="solid"/>
                <a:headEnd type="none"/>
                <a:tailEnd type="none"/>
              </a:ln>
              <a:effectLst/>
            </p:spPr>
          </p:cxnSp>
          <p:cxnSp>
            <p:nvCxnSpPr>
              <p:cNvPr id="124" name="Straight Connector 123">
                <a:extLst>
                  <a:ext uri="{FF2B5EF4-FFF2-40B4-BE49-F238E27FC236}">
                    <a16:creationId xmlns:a16="http://schemas.microsoft.com/office/drawing/2014/main" id="{959EE230-AB57-4F9F-A665-7300719C41BD}"/>
                  </a:ext>
                </a:extLst>
              </p:cNvPr>
              <p:cNvCxnSpPr/>
              <p:nvPr/>
            </p:nvCxnSpPr>
            <p:spPr>
              <a:xfrm>
                <a:off x="9659688" y="5143399"/>
                <a:ext cx="316607" cy="0"/>
              </a:xfrm>
              <a:prstGeom prst="line">
                <a:avLst/>
              </a:prstGeom>
              <a:noFill/>
              <a:ln w="28575" cap="flat" cmpd="sng" algn="ctr">
                <a:solidFill>
                  <a:srgbClr val="001F54"/>
                </a:solidFill>
                <a:prstDash val="solid"/>
                <a:headEnd type="none"/>
                <a:tailEnd type="none"/>
              </a:ln>
              <a:effectLst/>
            </p:spPr>
          </p:cxnSp>
          <p:cxnSp>
            <p:nvCxnSpPr>
              <p:cNvPr id="126" name="Straight Connector 125">
                <a:extLst>
                  <a:ext uri="{FF2B5EF4-FFF2-40B4-BE49-F238E27FC236}">
                    <a16:creationId xmlns:a16="http://schemas.microsoft.com/office/drawing/2014/main" id="{CB0A31A6-DD61-4B2C-83AD-ABCE3936D561}"/>
                  </a:ext>
                </a:extLst>
              </p:cNvPr>
              <p:cNvCxnSpPr/>
              <p:nvPr/>
            </p:nvCxnSpPr>
            <p:spPr>
              <a:xfrm>
                <a:off x="9659688" y="5229757"/>
                <a:ext cx="316607" cy="0"/>
              </a:xfrm>
              <a:prstGeom prst="line">
                <a:avLst/>
              </a:prstGeom>
              <a:noFill/>
              <a:ln w="28575" cap="flat" cmpd="sng" algn="ctr">
                <a:solidFill>
                  <a:srgbClr val="001F54"/>
                </a:solidFill>
                <a:prstDash val="solid"/>
                <a:headEnd type="none"/>
                <a:tailEnd type="none"/>
              </a:ln>
              <a:effectLst/>
            </p:spPr>
          </p:cxnSp>
          <p:sp>
            <p:nvSpPr>
              <p:cNvPr id="127" name="Oval 126">
                <a:extLst>
                  <a:ext uri="{FF2B5EF4-FFF2-40B4-BE49-F238E27FC236}">
                    <a16:creationId xmlns:a16="http://schemas.microsoft.com/office/drawing/2014/main" id="{48CF2CB0-C6CA-4A1C-AEA7-487A0AE8FC6F}"/>
                  </a:ext>
                </a:extLst>
              </p:cNvPr>
              <p:cNvSpPr/>
              <p:nvPr/>
            </p:nvSpPr>
            <p:spPr bwMode="auto">
              <a:xfrm>
                <a:off x="9884544" y="4821638"/>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8" name="Oval 127">
                <a:extLst>
                  <a:ext uri="{FF2B5EF4-FFF2-40B4-BE49-F238E27FC236}">
                    <a16:creationId xmlns:a16="http://schemas.microsoft.com/office/drawing/2014/main" id="{8B4E6C8D-ACD0-462E-9897-C7CF2BD21F69}"/>
                  </a:ext>
                </a:extLst>
              </p:cNvPr>
              <p:cNvSpPr/>
              <p:nvPr/>
            </p:nvSpPr>
            <p:spPr bwMode="auto">
              <a:xfrm>
                <a:off x="9884544" y="490801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9" name="Oval 128">
                <a:extLst>
                  <a:ext uri="{FF2B5EF4-FFF2-40B4-BE49-F238E27FC236}">
                    <a16:creationId xmlns:a16="http://schemas.microsoft.com/office/drawing/2014/main" id="{B03968A8-A6AA-44E8-A9BC-694091323BFB}"/>
                  </a:ext>
                </a:extLst>
              </p:cNvPr>
              <p:cNvSpPr/>
              <p:nvPr/>
            </p:nvSpPr>
            <p:spPr bwMode="auto">
              <a:xfrm>
                <a:off x="9884544" y="4994391"/>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0" name="Oval 129">
                <a:extLst>
                  <a:ext uri="{FF2B5EF4-FFF2-40B4-BE49-F238E27FC236}">
                    <a16:creationId xmlns:a16="http://schemas.microsoft.com/office/drawing/2014/main" id="{C8F14B1E-AD86-45D1-913D-E9FF80B569DA}"/>
                  </a:ext>
                </a:extLst>
              </p:cNvPr>
              <p:cNvSpPr/>
              <p:nvPr/>
            </p:nvSpPr>
            <p:spPr bwMode="auto">
              <a:xfrm>
                <a:off x="9884544" y="5080767"/>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1" name="Oval 130">
                <a:extLst>
                  <a:ext uri="{FF2B5EF4-FFF2-40B4-BE49-F238E27FC236}">
                    <a16:creationId xmlns:a16="http://schemas.microsoft.com/office/drawing/2014/main" id="{8756938E-E91B-43FA-B0D0-F4487D6E004E}"/>
                  </a:ext>
                </a:extLst>
              </p:cNvPr>
              <p:cNvSpPr/>
              <p:nvPr/>
            </p:nvSpPr>
            <p:spPr bwMode="auto">
              <a:xfrm>
                <a:off x="9884544" y="516714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2" name="Oval 131">
                <a:extLst>
                  <a:ext uri="{FF2B5EF4-FFF2-40B4-BE49-F238E27FC236}">
                    <a16:creationId xmlns:a16="http://schemas.microsoft.com/office/drawing/2014/main" id="{7135AA4B-BAAB-40E9-962A-3DC44457F90E}"/>
                  </a:ext>
                </a:extLst>
              </p:cNvPr>
              <p:cNvSpPr/>
              <p:nvPr/>
            </p:nvSpPr>
            <p:spPr bwMode="auto">
              <a:xfrm>
                <a:off x="9884544" y="5253520"/>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674F4ABF-15B5-4C0F-958F-13B5DD1C6AD8}"/>
                  </a:ext>
                </a:extLst>
              </p:cNvPr>
              <p:cNvSpPr/>
              <p:nvPr/>
            </p:nvSpPr>
            <p:spPr bwMode="auto">
              <a:xfrm>
                <a:off x="10080595" y="4785481"/>
                <a:ext cx="316607" cy="540463"/>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08" name="Straight Connector 107">
                <a:extLst>
                  <a:ext uri="{FF2B5EF4-FFF2-40B4-BE49-F238E27FC236}">
                    <a16:creationId xmlns:a16="http://schemas.microsoft.com/office/drawing/2014/main" id="{B974FE53-F91C-4E87-BF12-730B996C91A6}"/>
                  </a:ext>
                </a:extLst>
              </p:cNvPr>
              <p:cNvCxnSpPr/>
              <p:nvPr/>
            </p:nvCxnSpPr>
            <p:spPr>
              <a:xfrm>
                <a:off x="10080595" y="4884323"/>
                <a:ext cx="316607" cy="0"/>
              </a:xfrm>
              <a:prstGeom prst="line">
                <a:avLst/>
              </a:prstGeom>
              <a:noFill/>
              <a:ln w="28575" cap="flat" cmpd="sng" algn="ctr">
                <a:solidFill>
                  <a:srgbClr val="001F54"/>
                </a:solidFill>
                <a:prstDash val="solid"/>
                <a:headEnd type="none"/>
                <a:tailEnd type="none"/>
              </a:ln>
              <a:effectLst/>
            </p:spPr>
          </p:cxnSp>
          <p:cxnSp>
            <p:nvCxnSpPr>
              <p:cNvPr id="109" name="Straight Connector 108">
                <a:extLst>
                  <a:ext uri="{FF2B5EF4-FFF2-40B4-BE49-F238E27FC236}">
                    <a16:creationId xmlns:a16="http://schemas.microsoft.com/office/drawing/2014/main" id="{94ADD0AB-2414-460D-A5CC-2FA5870A9961}"/>
                  </a:ext>
                </a:extLst>
              </p:cNvPr>
              <p:cNvCxnSpPr/>
              <p:nvPr/>
            </p:nvCxnSpPr>
            <p:spPr>
              <a:xfrm>
                <a:off x="10080595" y="4970681"/>
                <a:ext cx="316607" cy="0"/>
              </a:xfrm>
              <a:prstGeom prst="line">
                <a:avLst/>
              </a:prstGeom>
              <a:noFill/>
              <a:ln w="28575" cap="flat" cmpd="sng" algn="ctr">
                <a:solidFill>
                  <a:srgbClr val="001F54"/>
                </a:solidFill>
                <a:prstDash val="solid"/>
                <a:headEnd type="none"/>
                <a:tailEnd type="none"/>
              </a:ln>
              <a:effectLst/>
            </p:spPr>
          </p:cxnSp>
          <p:cxnSp>
            <p:nvCxnSpPr>
              <p:cNvPr id="110" name="Straight Connector 109">
                <a:extLst>
                  <a:ext uri="{FF2B5EF4-FFF2-40B4-BE49-F238E27FC236}">
                    <a16:creationId xmlns:a16="http://schemas.microsoft.com/office/drawing/2014/main" id="{99E87FA1-2B06-4748-BA58-26491E0680FD}"/>
                  </a:ext>
                </a:extLst>
              </p:cNvPr>
              <p:cNvCxnSpPr/>
              <p:nvPr/>
            </p:nvCxnSpPr>
            <p:spPr>
              <a:xfrm>
                <a:off x="10080595" y="5057040"/>
                <a:ext cx="316607" cy="0"/>
              </a:xfrm>
              <a:prstGeom prst="line">
                <a:avLst/>
              </a:prstGeom>
              <a:noFill/>
              <a:ln w="28575" cap="flat" cmpd="sng" algn="ctr">
                <a:solidFill>
                  <a:srgbClr val="001F54"/>
                </a:solidFill>
                <a:prstDash val="solid"/>
                <a:headEnd type="none"/>
                <a:tailEnd type="none"/>
              </a:ln>
              <a:effectLst/>
            </p:spPr>
          </p:cxnSp>
          <p:cxnSp>
            <p:nvCxnSpPr>
              <p:cNvPr id="111" name="Straight Connector 110">
                <a:extLst>
                  <a:ext uri="{FF2B5EF4-FFF2-40B4-BE49-F238E27FC236}">
                    <a16:creationId xmlns:a16="http://schemas.microsoft.com/office/drawing/2014/main" id="{CC69AB13-E667-4C4B-B24D-A3EB6F1EBB39}"/>
                  </a:ext>
                </a:extLst>
              </p:cNvPr>
              <p:cNvCxnSpPr/>
              <p:nvPr/>
            </p:nvCxnSpPr>
            <p:spPr>
              <a:xfrm>
                <a:off x="10080595" y="5143399"/>
                <a:ext cx="316607" cy="0"/>
              </a:xfrm>
              <a:prstGeom prst="line">
                <a:avLst/>
              </a:prstGeom>
              <a:noFill/>
              <a:ln w="28575" cap="flat" cmpd="sng" algn="ctr">
                <a:solidFill>
                  <a:srgbClr val="001F54"/>
                </a:solidFill>
                <a:prstDash val="solid"/>
                <a:headEnd type="none"/>
                <a:tailEnd type="none"/>
              </a:ln>
              <a:effectLst/>
            </p:spPr>
          </p:cxnSp>
          <p:cxnSp>
            <p:nvCxnSpPr>
              <p:cNvPr id="112" name="Straight Connector 111">
                <a:extLst>
                  <a:ext uri="{FF2B5EF4-FFF2-40B4-BE49-F238E27FC236}">
                    <a16:creationId xmlns:a16="http://schemas.microsoft.com/office/drawing/2014/main" id="{BE522286-BE9B-4207-AAE0-35FF4696A934}"/>
                  </a:ext>
                </a:extLst>
              </p:cNvPr>
              <p:cNvCxnSpPr/>
              <p:nvPr/>
            </p:nvCxnSpPr>
            <p:spPr>
              <a:xfrm>
                <a:off x="10080595" y="5229757"/>
                <a:ext cx="316607" cy="0"/>
              </a:xfrm>
              <a:prstGeom prst="line">
                <a:avLst/>
              </a:prstGeom>
              <a:noFill/>
              <a:ln w="28575" cap="flat" cmpd="sng" algn="ctr">
                <a:solidFill>
                  <a:srgbClr val="001F54"/>
                </a:solidFill>
                <a:prstDash val="solid"/>
                <a:headEnd type="none"/>
                <a:tailEnd type="none"/>
              </a:ln>
              <a:effectLst/>
            </p:spPr>
          </p:cxnSp>
          <p:sp>
            <p:nvSpPr>
              <p:cNvPr id="113" name="Oval 112">
                <a:extLst>
                  <a:ext uri="{FF2B5EF4-FFF2-40B4-BE49-F238E27FC236}">
                    <a16:creationId xmlns:a16="http://schemas.microsoft.com/office/drawing/2014/main" id="{BF00AA11-7209-4782-8D72-BAE204B3C427}"/>
                  </a:ext>
                </a:extLst>
              </p:cNvPr>
              <p:cNvSpPr/>
              <p:nvPr/>
            </p:nvSpPr>
            <p:spPr bwMode="auto">
              <a:xfrm>
                <a:off x="10305451" y="4821638"/>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4" name="Oval 113">
                <a:extLst>
                  <a:ext uri="{FF2B5EF4-FFF2-40B4-BE49-F238E27FC236}">
                    <a16:creationId xmlns:a16="http://schemas.microsoft.com/office/drawing/2014/main" id="{BE454473-567D-4306-BA89-E67DE531D812}"/>
                  </a:ext>
                </a:extLst>
              </p:cNvPr>
              <p:cNvSpPr/>
              <p:nvPr/>
            </p:nvSpPr>
            <p:spPr bwMode="auto">
              <a:xfrm>
                <a:off x="10305451" y="490801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5" name="Oval 114">
                <a:extLst>
                  <a:ext uri="{FF2B5EF4-FFF2-40B4-BE49-F238E27FC236}">
                    <a16:creationId xmlns:a16="http://schemas.microsoft.com/office/drawing/2014/main" id="{EDB75672-C178-4928-9128-B731394EBB1E}"/>
                  </a:ext>
                </a:extLst>
              </p:cNvPr>
              <p:cNvSpPr/>
              <p:nvPr/>
            </p:nvSpPr>
            <p:spPr bwMode="auto">
              <a:xfrm>
                <a:off x="10305451" y="4994391"/>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6" name="Oval 115">
                <a:extLst>
                  <a:ext uri="{FF2B5EF4-FFF2-40B4-BE49-F238E27FC236}">
                    <a16:creationId xmlns:a16="http://schemas.microsoft.com/office/drawing/2014/main" id="{16DABEDB-C694-4FA2-94C6-AF318C5FA659}"/>
                  </a:ext>
                </a:extLst>
              </p:cNvPr>
              <p:cNvSpPr/>
              <p:nvPr/>
            </p:nvSpPr>
            <p:spPr bwMode="auto">
              <a:xfrm>
                <a:off x="10305451" y="5080767"/>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BF1D8CDD-E0D9-411D-A6BB-5D122213B101}"/>
                  </a:ext>
                </a:extLst>
              </p:cNvPr>
              <p:cNvSpPr/>
              <p:nvPr/>
            </p:nvSpPr>
            <p:spPr bwMode="auto">
              <a:xfrm>
                <a:off x="10305451" y="516714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9" name="Oval 118">
                <a:extLst>
                  <a:ext uri="{FF2B5EF4-FFF2-40B4-BE49-F238E27FC236}">
                    <a16:creationId xmlns:a16="http://schemas.microsoft.com/office/drawing/2014/main" id="{79990126-B141-4278-ACBE-57BDFC759E8A}"/>
                  </a:ext>
                </a:extLst>
              </p:cNvPr>
              <p:cNvSpPr/>
              <p:nvPr/>
            </p:nvSpPr>
            <p:spPr bwMode="auto">
              <a:xfrm>
                <a:off x="10305451" y="5253520"/>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sp>
        <p:nvSpPr>
          <p:cNvPr id="91" name="Rectangle 90">
            <a:extLst>
              <a:ext uri="{FF2B5EF4-FFF2-40B4-BE49-F238E27FC236}">
                <a16:creationId xmlns:a16="http://schemas.microsoft.com/office/drawing/2014/main" id="{6ACC106D-0B3A-451A-97C3-CBECB9DA5404}"/>
              </a:ext>
            </a:extLst>
          </p:cNvPr>
          <p:cNvSpPr/>
          <p:nvPr/>
        </p:nvSpPr>
        <p:spPr>
          <a:xfrm>
            <a:off x="412719" y="1791255"/>
            <a:ext cx="1193275" cy="333617"/>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Productive</a:t>
            </a:r>
          </a:p>
        </p:txBody>
      </p:sp>
      <p:sp>
        <p:nvSpPr>
          <p:cNvPr id="93"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00949" y="1160459"/>
            <a:ext cx="431098" cy="43109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Tree>
    <p:extLst>
      <p:ext uri="{BB962C8B-B14F-4D97-AF65-F5344CB8AC3E}">
        <p14:creationId xmlns:p14="http://schemas.microsoft.com/office/powerpoint/2010/main" val="2545069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par>
                                <p:cTn id="8" presetID="6" presetClass="emph" presetSubtype="0" accel="100000" autoRev="1" fill="hold" grpId="1" nodeType="withEffect">
                                  <p:stCondLst>
                                    <p:cond delay="0"/>
                                  </p:stCondLst>
                                  <p:childTnLst>
                                    <p:animScale>
                                      <p:cBhvr>
                                        <p:cTn id="9" dur="500" fill="hold"/>
                                        <p:tgtEl>
                                          <p:spTgt spid="38"/>
                                        </p:tgtEl>
                                      </p:cBhvr>
                                      <p:by x="50000" y="50000"/>
                                    </p:animScale>
                                  </p:childTnLst>
                                </p:cTn>
                              </p:par>
                              <p:par>
                                <p:cTn id="10" presetID="10" presetClass="entr" presetSubtype="0" fill="hold" grpId="0" nodeType="withEffect">
                                  <p:stCondLst>
                                    <p:cond delay="50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500"/>
                                        <p:tgtEl>
                                          <p:spTgt spid="40"/>
                                        </p:tgtEl>
                                      </p:cBhvr>
                                    </p:animEffect>
                                  </p:childTnLst>
                                </p:cTn>
                              </p:par>
                              <p:par>
                                <p:cTn id="13" presetID="6" presetClass="emph" presetSubtype="0" accel="100000" autoRev="1" fill="hold" grpId="1" nodeType="withEffect">
                                  <p:stCondLst>
                                    <p:cond delay="0"/>
                                  </p:stCondLst>
                                  <p:childTnLst>
                                    <p:animScale>
                                      <p:cBhvr>
                                        <p:cTn id="14" dur="500" fill="hold"/>
                                        <p:tgtEl>
                                          <p:spTgt spid="40"/>
                                        </p:tgtEl>
                                      </p:cBhvr>
                                      <p:by x="50000" y="50000"/>
                                    </p:animScale>
                                  </p:childTnLst>
                                </p:cTn>
                              </p:par>
                              <p:par>
                                <p:cTn id="15" presetID="10" presetClass="entr" presetSubtype="0" fill="hold" grpId="0" nodeType="withEffect">
                                  <p:stCondLst>
                                    <p:cond delay="500"/>
                                  </p:stCondLst>
                                  <p:childTnLst>
                                    <p:set>
                                      <p:cBhvr>
                                        <p:cTn id="16" dur="1" fill="hold">
                                          <p:stCondLst>
                                            <p:cond delay="0"/>
                                          </p:stCondLst>
                                        </p:cTn>
                                        <p:tgtEl>
                                          <p:spTgt spid="41"/>
                                        </p:tgtEl>
                                        <p:attrNameLst>
                                          <p:attrName>style.visibility</p:attrName>
                                        </p:attrNameLst>
                                      </p:cBhvr>
                                      <p:to>
                                        <p:strVal val="visible"/>
                                      </p:to>
                                    </p:set>
                                    <p:animEffect transition="in" filter="fade">
                                      <p:cBhvr>
                                        <p:cTn id="17" dur="500"/>
                                        <p:tgtEl>
                                          <p:spTgt spid="41"/>
                                        </p:tgtEl>
                                      </p:cBhvr>
                                    </p:animEffect>
                                  </p:childTnLst>
                                </p:cTn>
                              </p:par>
                              <p:par>
                                <p:cTn id="18" presetID="6" presetClass="emph" presetSubtype="0" accel="100000" autoRev="1" fill="hold" grpId="1" nodeType="withEffect">
                                  <p:stCondLst>
                                    <p:cond delay="0"/>
                                  </p:stCondLst>
                                  <p:childTnLst>
                                    <p:animScale>
                                      <p:cBhvr>
                                        <p:cTn id="19" dur="500" fill="hold"/>
                                        <p:tgtEl>
                                          <p:spTgt spid="41"/>
                                        </p:tgtEl>
                                      </p:cBhvr>
                                      <p:by x="50000" y="50000"/>
                                    </p:animScale>
                                  </p:childTnLst>
                                </p:cTn>
                              </p:par>
                              <p:par>
                                <p:cTn id="20" presetID="10" presetClass="entr" presetSubtype="0" fill="hold" grpId="0" nodeType="withEffect">
                                  <p:stCondLst>
                                    <p:cond delay="500"/>
                                  </p:stCondLst>
                                  <p:childTnLst>
                                    <p:set>
                                      <p:cBhvr>
                                        <p:cTn id="21" dur="1" fill="hold">
                                          <p:stCondLst>
                                            <p:cond delay="0"/>
                                          </p:stCondLst>
                                        </p:cTn>
                                        <p:tgtEl>
                                          <p:spTgt spid="87"/>
                                        </p:tgtEl>
                                        <p:attrNameLst>
                                          <p:attrName>style.visibility</p:attrName>
                                        </p:attrNameLst>
                                      </p:cBhvr>
                                      <p:to>
                                        <p:strVal val="visible"/>
                                      </p:to>
                                    </p:set>
                                    <p:animEffect transition="in" filter="fade">
                                      <p:cBhvr>
                                        <p:cTn id="22" dur="500"/>
                                        <p:tgtEl>
                                          <p:spTgt spid="87"/>
                                        </p:tgtEl>
                                      </p:cBhvr>
                                    </p:animEffect>
                                  </p:childTnLst>
                                </p:cTn>
                              </p:par>
                              <p:par>
                                <p:cTn id="23" presetID="6" presetClass="emph" presetSubtype="0" accel="100000" autoRev="1" fill="hold" grpId="1" nodeType="withEffect">
                                  <p:stCondLst>
                                    <p:cond delay="0"/>
                                  </p:stCondLst>
                                  <p:childTnLst>
                                    <p:animScale>
                                      <p:cBhvr>
                                        <p:cTn id="24" dur="500" fill="hold"/>
                                        <p:tgtEl>
                                          <p:spTgt spid="87"/>
                                        </p:tgtEl>
                                      </p:cBhvr>
                                      <p:by x="50000" y="50000"/>
                                    </p:animScale>
                                  </p:childTnLst>
                                </p:cTn>
                              </p:par>
                              <p:par>
                                <p:cTn id="25" presetID="1" presetClass="entr" presetSubtype="0" fill="hold" grpId="0" nodeType="withEffect">
                                  <p:stCondLst>
                                    <p:cond delay="250"/>
                                  </p:stCondLst>
                                  <p:childTnLst>
                                    <p:set>
                                      <p:cBhvr>
                                        <p:cTn id="26" dur="1" fill="hold">
                                          <p:stCondLst>
                                            <p:cond delay="249"/>
                                          </p:stCondLst>
                                        </p:cTn>
                                        <p:tgtEl>
                                          <p:spTgt spid="48"/>
                                        </p:tgtEl>
                                        <p:attrNameLst>
                                          <p:attrName>style.visibility</p:attrName>
                                        </p:attrNameLst>
                                      </p:cBhvr>
                                      <p:to>
                                        <p:strVal val="visible"/>
                                      </p:to>
                                    </p:set>
                                  </p:childTnLst>
                                </p:cTn>
                              </p:par>
                              <p:par>
                                <p:cTn id="27" presetID="6" presetClass="emph" presetSubtype="0" accel="100000" autoRev="1" fill="hold" grpId="1" nodeType="withEffect">
                                  <p:stCondLst>
                                    <p:cond delay="250"/>
                                  </p:stCondLst>
                                  <p:childTnLst>
                                    <p:animScale>
                                      <p:cBhvr>
                                        <p:cTn id="28" dur="250" fill="hold"/>
                                        <p:tgtEl>
                                          <p:spTgt spid="48"/>
                                        </p:tgtEl>
                                      </p:cBhvr>
                                      <p:by x="0" y="0"/>
                                    </p:animScale>
                                  </p:childTnLst>
                                </p:cTn>
                              </p:par>
                              <p:par>
                                <p:cTn id="29" presetID="35" presetClass="path" presetSubtype="0" decel="100000" fill="hold" grpId="2" nodeType="withEffect">
                                  <p:stCondLst>
                                    <p:cond delay="250"/>
                                  </p:stCondLst>
                                  <p:childTnLst>
                                    <p:animMotion origin="layout" path="M 1.04167E-6 -1.11111E-6 L 1.04167E-6 0.11667 " pathEditMode="relative" rAng="0" ptsTypes="AA">
                                      <p:cBhvr>
                                        <p:cTn id="30" dur="600" spd="-100000" fill="hold"/>
                                        <p:tgtEl>
                                          <p:spTgt spid="48"/>
                                        </p:tgtEl>
                                        <p:attrNameLst>
                                          <p:attrName>ppt_x</p:attrName>
                                          <p:attrName>ppt_y</p:attrName>
                                        </p:attrNameLst>
                                      </p:cBhvr>
                                      <p:rCtr x="0" y="5833"/>
                                    </p:animMotion>
                                  </p:childTnLst>
                                </p:cTn>
                              </p:par>
                              <p:par>
                                <p:cTn id="31" presetID="1" presetClass="entr" presetSubtype="0" fill="hold" grpId="0" nodeType="withEffect">
                                  <p:stCondLst>
                                    <p:cond delay="250"/>
                                  </p:stCondLst>
                                  <p:childTnLst>
                                    <p:set>
                                      <p:cBhvr>
                                        <p:cTn id="32" dur="1" fill="hold">
                                          <p:stCondLst>
                                            <p:cond delay="249"/>
                                          </p:stCondLst>
                                        </p:cTn>
                                        <p:tgtEl>
                                          <p:spTgt spid="50"/>
                                        </p:tgtEl>
                                        <p:attrNameLst>
                                          <p:attrName>style.visibility</p:attrName>
                                        </p:attrNameLst>
                                      </p:cBhvr>
                                      <p:to>
                                        <p:strVal val="visible"/>
                                      </p:to>
                                    </p:set>
                                  </p:childTnLst>
                                </p:cTn>
                              </p:par>
                              <p:par>
                                <p:cTn id="33" presetID="6" presetClass="emph" presetSubtype="0" accel="100000" autoRev="1" fill="hold" grpId="1" nodeType="withEffect">
                                  <p:stCondLst>
                                    <p:cond delay="250"/>
                                  </p:stCondLst>
                                  <p:childTnLst>
                                    <p:animScale>
                                      <p:cBhvr>
                                        <p:cTn id="34" dur="250" fill="hold"/>
                                        <p:tgtEl>
                                          <p:spTgt spid="50"/>
                                        </p:tgtEl>
                                      </p:cBhvr>
                                      <p:by x="0" y="0"/>
                                    </p:animScale>
                                  </p:childTnLst>
                                </p:cTn>
                              </p:par>
                              <p:par>
                                <p:cTn id="35" presetID="35" presetClass="path" presetSubtype="0" decel="100000" fill="hold" grpId="2" nodeType="withEffect">
                                  <p:stCondLst>
                                    <p:cond delay="250"/>
                                  </p:stCondLst>
                                  <p:childTnLst>
                                    <p:animMotion origin="layout" path="M 2.70833E-6 -1.11111E-6 L 2.70833E-6 0.11667 " pathEditMode="relative" rAng="0" ptsTypes="AA">
                                      <p:cBhvr>
                                        <p:cTn id="36" dur="600" spd="-100000" fill="hold"/>
                                        <p:tgtEl>
                                          <p:spTgt spid="50"/>
                                        </p:tgtEl>
                                        <p:attrNameLst>
                                          <p:attrName>ppt_x</p:attrName>
                                          <p:attrName>ppt_y</p:attrName>
                                        </p:attrNameLst>
                                      </p:cBhvr>
                                      <p:rCtr x="0" y="5833"/>
                                    </p:animMotion>
                                  </p:childTnLst>
                                </p:cTn>
                              </p:par>
                              <p:par>
                                <p:cTn id="37" presetID="1" presetClass="entr" presetSubtype="0" fill="hold" grpId="0" nodeType="withEffect">
                                  <p:stCondLst>
                                    <p:cond delay="250"/>
                                  </p:stCondLst>
                                  <p:childTnLst>
                                    <p:set>
                                      <p:cBhvr>
                                        <p:cTn id="38" dur="1" fill="hold">
                                          <p:stCondLst>
                                            <p:cond delay="249"/>
                                          </p:stCondLst>
                                        </p:cTn>
                                        <p:tgtEl>
                                          <p:spTgt spid="51"/>
                                        </p:tgtEl>
                                        <p:attrNameLst>
                                          <p:attrName>style.visibility</p:attrName>
                                        </p:attrNameLst>
                                      </p:cBhvr>
                                      <p:to>
                                        <p:strVal val="visible"/>
                                      </p:to>
                                    </p:set>
                                  </p:childTnLst>
                                </p:cTn>
                              </p:par>
                              <p:par>
                                <p:cTn id="39" presetID="6" presetClass="emph" presetSubtype="0" accel="100000" autoRev="1" fill="hold" grpId="1" nodeType="withEffect">
                                  <p:stCondLst>
                                    <p:cond delay="250"/>
                                  </p:stCondLst>
                                  <p:childTnLst>
                                    <p:animScale>
                                      <p:cBhvr>
                                        <p:cTn id="40" dur="250" fill="hold"/>
                                        <p:tgtEl>
                                          <p:spTgt spid="51"/>
                                        </p:tgtEl>
                                      </p:cBhvr>
                                      <p:by x="0" y="0"/>
                                    </p:animScale>
                                  </p:childTnLst>
                                </p:cTn>
                              </p:par>
                              <p:par>
                                <p:cTn id="41" presetID="35" presetClass="path" presetSubtype="0" decel="100000" fill="hold" grpId="2" nodeType="withEffect">
                                  <p:stCondLst>
                                    <p:cond delay="250"/>
                                  </p:stCondLst>
                                  <p:childTnLst>
                                    <p:animMotion origin="layout" path="M 4.16667E-6 -1.11111E-6 L 4.16667E-6 0.11667 " pathEditMode="relative" rAng="0" ptsTypes="AA">
                                      <p:cBhvr>
                                        <p:cTn id="42" dur="600" spd="-100000" fill="hold"/>
                                        <p:tgtEl>
                                          <p:spTgt spid="51"/>
                                        </p:tgtEl>
                                        <p:attrNameLst>
                                          <p:attrName>ppt_x</p:attrName>
                                          <p:attrName>ppt_y</p:attrName>
                                        </p:attrNameLst>
                                      </p:cBhvr>
                                      <p:rCtr x="0" y="5833"/>
                                    </p:animMotion>
                                  </p:childTnLst>
                                </p:cTn>
                              </p:par>
                              <p:par>
                                <p:cTn id="43" presetID="1" presetClass="entr" presetSubtype="0" fill="hold" grpId="0" nodeType="withEffect">
                                  <p:stCondLst>
                                    <p:cond delay="250"/>
                                  </p:stCondLst>
                                  <p:childTnLst>
                                    <p:set>
                                      <p:cBhvr>
                                        <p:cTn id="44" dur="1" fill="hold">
                                          <p:stCondLst>
                                            <p:cond delay="249"/>
                                          </p:stCondLst>
                                        </p:cTn>
                                        <p:tgtEl>
                                          <p:spTgt spid="88"/>
                                        </p:tgtEl>
                                        <p:attrNameLst>
                                          <p:attrName>style.visibility</p:attrName>
                                        </p:attrNameLst>
                                      </p:cBhvr>
                                      <p:to>
                                        <p:strVal val="visible"/>
                                      </p:to>
                                    </p:set>
                                  </p:childTnLst>
                                </p:cTn>
                              </p:par>
                              <p:par>
                                <p:cTn id="45" presetID="6" presetClass="emph" presetSubtype="0" accel="100000" autoRev="1" fill="hold" grpId="1" nodeType="withEffect">
                                  <p:stCondLst>
                                    <p:cond delay="250"/>
                                  </p:stCondLst>
                                  <p:childTnLst>
                                    <p:animScale>
                                      <p:cBhvr>
                                        <p:cTn id="46" dur="250" fill="hold"/>
                                        <p:tgtEl>
                                          <p:spTgt spid="88"/>
                                        </p:tgtEl>
                                      </p:cBhvr>
                                      <p:by x="0" y="0"/>
                                    </p:animScale>
                                  </p:childTnLst>
                                </p:cTn>
                              </p:par>
                              <p:par>
                                <p:cTn id="47" presetID="35" presetClass="path" presetSubtype="0" decel="100000" fill="hold" grpId="2" nodeType="withEffect">
                                  <p:stCondLst>
                                    <p:cond delay="250"/>
                                  </p:stCondLst>
                                  <p:childTnLst>
                                    <p:animMotion origin="layout" path="M -4.16667E-6 -1.11111E-6 L -4.16667E-6 0.11667 " pathEditMode="relative" rAng="0" ptsTypes="AA">
                                      <p:cBhvr>
                                        <p:cTn id="48" dur="600" spd="-100000" fill="hold"/>
                                        <p:tgtEl>
                                          <p:spTgt spid="88"/>
                                        </p:tgtEl>
                                        <p:attrNameLst>
                                          <p:attrName>ppt_x</p:attrName>
                                          <p:attrName>ppt_y</p:attrName>
                                        </p:attrNameLst>
                                      </p:cBhvr>
                                      <p:rCtr x="0" y="5833"/>
                                    </p:animMotion>
                                  </p:childTnLst>
                                </p:cTn>
                              </p:par>
                              <p:par>
                                <p:cTn id="49" presetID="1" presetClass="entr" presetSubtype="0" fill="hold" grpId="0" nodeType="withEffect">
                                  <p:stCondLst>
                                    <p:cond delay="250"/>
                                  </p:stCondLst>
                                  <p:childTnLst>
                                    <p:set>
                                      <p:cBhvr>
                                        <p:cTn id="50" dur="1" fill="hold">
                                          <p:stCondLst>
                                            <p:cond delay="249"/>
                                          </p:stCondLst>
                                        </p:cTn>
                                        <p:tgtEl>
                                          <p:spTgt spid="44"/>
                                        </p:tgtEl>
                                        <p:attrNameLst>
                                          <p:attrName>style.visibility</p:attrName>
                                        </p:attrNameLst>
                                      </p:cBhvr>
                                      <p:to>
                                        <p:strVal val="visible"/>
                                      </p:to>
                                    </p:set>
                                  </p:childTnLst>
                                </p:cTn>
                              </p:par>
                              <p:par>
                                <p:cTn id="51" presetID="6" presetClass="emph" presetSubtype="0" accel="100000" autoRev="1" fill="hold" grpId="1" nodeType="withEffect">
                                  <p:stCondLst>
                                    <p:cond delay="250"/>
                                  </p:stCondLst>
                                  <p:childTnLst>
                                    <p:animScale>
                                      <p:cBhvr>
                                        <p:cTn id="52" dur="250" fill="hold"/>
                                        <p:tgtEl>
                                          <p:spTgt spid="44"/>
                                        </p:tgtEl>
                                      </p:cBhvr>
                                      <p:by x="0" y="0"/>
                                    </p:animScale>
                                  </p:childTnLst>
                                </p:cTn>
                              </p:par>
                              <p:par>
                                <p:cTn id="53" presetID="35" presetClass="path" presetSubtype="0" decel="100000" fill="hold" grpId="2" nodeType="withEffect">
                                  <p:stCondLst>
                                    <p:cond delay="250"/>
                                  </p:stCondLst>
                                  <p:childTnLst>
                                    <p:animMotion origin="layout" path="M 1.04167E-6 7.40741E-7 L 1.04167E-6 -0.12431 " pathEditMode="relative" rAng="0" ptsTypes="AA">
                                      <p:cBhvr>
                                        <p:cTn id="54" dur="600" spd="-100000" fill="hold"/>
                                        <p:tgtEl>
                                          <p:spTgt spid="44"/>
                                        </p:tgtEl>
                                        <p:attrNameLst>
                                          <p:attrName>ppt_x</p:attrName>
                                          <p:attrName>ppt_y</p:attrName>
                                        </p:attrNameLst>
                                      </p:cBhvr>
                                      <p:rCtr x="0" y="-6227"/>
                                    </p:animMotion>
                                  </p:childTnLst>
                                </p:cTn>
                              </p:par>
                              <p:par>
                                <p:cTn id="55" presetID="1" presetClass="entr" presetSubtype="0" fill="hold" grpId="0" nodeType="withEffect">
                                  <p:stCondLst>
                                    <p:cond delay="250"/>
                                  </p:stCondLst>
                                  <p:childTnLst>
                                    <p:set>
                                      <p:cBhvr>
                                        <p:cTn id="56" dur="1" fill="hold">
                                          <p:stCondLst>
                                            <p:cond delay="249"/>
                                          </p:stCondLst>
                                        </p:cTn>
                                        <p:tgtEl>
                                          <p:spTgt spid="46"/>
                                        </p:tgtEl>
                                        <p:attrNameLst>
                                          <p:attrName>style.visibility</p:attrName>
                                        </p:attrNameLst>
                                      </p:cBhvr>
                                      <p:to>
                                        <p:strVal val="visible"/>
                                      </p:to>
                                    </p:set>
                                  </p:childTnLst>
                                </p:cTn>
                              </p:par>
                              <p:par>
                                <p:cTn id="57" presetID="6" presetClass="emph" presetSubtype="0" accel="100000" autoRev="1" fill="hold" grpId="1" nodeType="withEffect">
                                  <p:stCondLst>
                                    <p:cond delay="250"/>
                                  </p:stCondLst>
                                  <p:childTnLst>
                                    <p:animScale>
                                      <p:cBhvr>
                                        <p:cTn id="58" dur="250" fill="hold"/>
                                        <p:tgtEl>
                                          <p:spTgt spid="46"/>
                                        </p:tgtEl>
                                      </p:cBhvr>
                                      <p:by x="0" y="0"/>
                                    </p:animScale>
                                  </p:childTnLst>
                                </p:cTn>
                              </p:par>
                              <p:par>
                                <p:cTn id="59" presetID="35" presetClass="path" presetSubtype="0" decel="100000" fill="hold" grpId="2" nodeType="withEffect">
                                  <p:stCondLst>
                                    <p:cond delay="250"/>
                                  </p:stCondLst>
                                  <p:childTnLst>
                                    <p:animMotion origin="layout" path="M 2.70833E-6 7.40741E-7 L 2.70833E-6 -0.12431 " pathEditMode="relative" rAng="0" ptsTypes="AA">
                                      <p:cBhvr>
                                        <p:cTn id="60" dur="600" spd="-100000" fill="hold"/>
                                        <p:tgtEl>
                                          <p:spTgt spid="46"/>
                                        </p:tgtEl>
                                        <p:attrNameLst>
                                          <p:attrName>ppt_x</p:attrName>
                                          <p:attrName>ppt_y</p:attrName>
                                        </p:attrNameLst>
                                      </p:cBhvr>
                                      <p:rCtr x="0" y="-6227"/>
                                    </p:animMotion>
                                  </p:childTnLst>
                                </p:cTn>
                              </p:par>
                              <p:par>
                                <p:cTn id="61" presetID="1" presetClass="entr" presetSubtype="0" fill="hold" grpId="0" nodeType="withEffect">
                                  <p:stCondLst>
                                    <p:cond delay="250"/>
                                  </p:stCondLst>
                                  <p:childTnLst>
                                    <p:set>
                                      <p:cBhvr>
                                        <p:cTn id="62" dur="1" fill="hold">
                                          <p:stCondLst>
                                            <p:cond delay="249"/>
                                          </p:stCondLst>
                                        </p:cTn>
                                        <p:tgtEl>
                                          <p:spTgt spid="47"/>
                                        </p:tgtEl>
                                        <p:attrNameLst>
                                          <p:attrName>style.visibility</p:attrName>
                                        </p:attrNameLst>
                                      </p:cBhvr>
                                      <p:to>
                                        <p:strVal val="visible"/>
                                      </p:to>
                                    </p:set>
                                  </p:childTnLst>
                                </p:cTn>
                              </p:par>
                              <p:par>
                                <p:cTn id="63" presetID="6" presetClass="emph" presetSubtype="0" accel="100000" autoRev="1" fill="hold" grpId="1" nodeType="withEffect">
                                  <p:stCondLst>
                                    <p:cond delay="250"/>
                                  </p:stCondLst>
                                  <p:childTnLst>
                                    <p:animScale>
                                      <p:cBhvr>
                                        <p:cTn id="64" dur="250" fill="hold"/>
                                        <p:tgtEl>
                                          <p:spTgt spid="47"/>
                                        </p:tgtEl>
                                      </p:cBhvr>
                                      <p:by x="0" y="0"/>
                                    </p:animScale>
                                  </p:childTnLst>
                                </p:cTn>
                              </p:par>
                              <p:par>
                                <p:cTn id="65" presetID="35" presetClass="path" presetSubtype="0" decel="100000" fill="hold" grpId="2" nodeType="withEffect">
                                  <p:stCondLst>
                                    <p:cond delay="250"/>
                                  </p:stCondLst>
                                  <p:childTnLst>
                                    <p:animMotion origin="layout" path="M 4.16667E-6 7.40741E-7 L 4.16667E-6 -0.12431 " pathEditMode="relative" rAng="0" ptsTypes="AA">
                                      <p:cBhvr>
                                        <p:cTn id="66" dur="600" spd="-100000" fill="hold"/>
                                        <p:tgtEl>
                                          <p:spTgt spid="47"/>
                                        </p:tgtEl>
                                        <p:attrNameLst>
                                          <p:attrName>ppt_x</p:attrName>
                                          <p:attrName>ppt_y</p:attrName>
                                        </p:attrNameLst>
                                      </p:cBhvr>
                                      <p:rCtr x="0" y="-6227"/>
                                    </p:animMotion>
                                  </p:childTnLst>
                                </p:cTn>
                              </p:par>
                              <p:par>
                                <p:cTn id="67" presetID="1" presetClass="entr" presetSubtype="0" fill="hold" grpId="0" nodeType="withEffect">
                                  <p:stCondLst>
                                    <p:cond delay="250"/>
                                  </p:stCondLst>
                                  <p:childTnLst>
                                    <p:set>
                                      <p:cBhvr>
                                        <p:cTn id="68" dur="1" fill="hold">
                                          <p:stCondLst>
                                            <p:cond delay="249"/>
                                          </p:stCondLst>
                                        </p:cTn>
                                        <p:tgtEl>
                                          <p:spTgt spid="89"/>
                                        </p:tgtEl>
                                        <p:attrNameLst>
                                          <p:attrName>style.visibility</p:attrName>
                                        </p:attrNameLst>
                                      </p:cBhvr>
                                      <p:to>
                                        <p:strVal val="visible"/>
                                      </p:to>
                                    </p:set>
                                  </p:childTnLst>
                                </p:cTn>
                              </p:par>
                              <p:par>
                                <p:cTn id="69" presetID="6" presetClass="emph" presetSubtype="0" accel="100000" autoRev="1" fill="hold" grpId="1" nodeType="withEffect">
                                  <p:stCondLst>
                                    <p:cond delay="250"/>
                                  </p:stCondLst>
                                  <p:childTnLst>
                                    <p:animScale>
                                      <p:cBhvr>
                                        <p:cTn id="70" dur="250" fill="hold"/>
                                        <p:tgtEl>
                                          <p:spTgt spid="89"/>
                                        </p:tgtEl>
                                      </p:cBhvr>
                                      <p:by x="0" y="0"/>
                                    </p:animScale>
                                  </p:childTnLst>
                                </p:cTn>
                              </p:par>
                              <p:par>
                                <p:cTn id="71" presetID="35" presetClass="path" presetSubtype="0" decel="100000" fill="hold" grpId="2" nodeType="withEffect">
                                  <p:stCondLst>
                                    <p:cond delay="250"/>
                                  </p:stCondLst>
                                  <p:childTnLst>
                                    <p:animMotion origin="layout" path="M -4.16667E-6 7.40741E-7 L -4.16667E-6 -0.12431 " pathEditMode="relative" rAng="0" ptsTypes="AA">
                                      <p:cBhvr>
                                        <p:cTn id="72" dur="600" spd="-100000" fill="hold"/>
                                        <p:tgtEl>
                                          <p:spTgt spid="89"/>
                                        </p:tgtEl>
                                        <p:attrNameLst>
                                          <p:attrName>ppt_x</p:attrName>
                                          <p:attrName>ppt_y</p:attrName>
                                        </p:attrNameLst>
                                      </p:cBhvr>
                                      <p:rCtr x="0" y="-6227"/>
                                    </p:animMotion>
                                  </p:childTnLst>
                                </p:cTn>
                              </p:par>
                              <p:par>
                                <p:cTn id="73" presetID="10" presetClass="entr" presetSubtype="0" fill="hold" nodeType="withEffect">
                                  <p:stCondLst>
                                    <p:cond delay="250"/>
                                  </p:stCondLst>
                                  <p:childTnLst>
                                    <p:set>
                                      <p:cBhvr>
                                        <p:cTn id="74" dur="1" fill="hold">
                                          <p:stCondLst>
                                            <p:cond delay="0"/>
                                          </p:stCondLst>
                                        </p:cTn>
                                        <p:tgtEl>
                                          <p:spTgt spid="3"/>
                                        </p:tgtEl>
                                        <p:attrNameLst>
                                          <p:attrName>style.visibility</p:attrName>
                                        </p:attrNameLst>
                                      </p:cBhvr>
                                      <p:to>
                                        <p:strVal val="visible"/>
                                      </p:to>
                                    </p:set>
                                    <p:animEffect transition="in" filter="fade">
                                      <p:cBhvr>
                                        <p:cTn id="75" dur="500"/>
                                        <p:tgtEl>
                                          <p:spTgt spid="3"/>
                                        </p:tgtEl>
                                      </p:cBhvr>
                                    </p:animEffect>
                                  </p:childTnLst>
                                </p:cTn>
                              </p:par>
                              <p:par>
                                <p:cTn id="76" presetID="10" presetClass="entr" presetSubtype="0" fill="hold" grpId="0" nodeType="withEffect">
                                  <p:stCondLst>
                                    <p:cond delay="600"/>
                                  </p:stCondLst>
                                  <p:childTnLst>
                                    <p:set>
                                      <p:cBhvr>
                                        <p:cTn id="77" dur="1" fill="hold">
                                          <p:stCondLst>
                                            <p:cond delay="0"/>
                                          </p:stCondLst>
                                        </p:cTn>
                                        <p:tgtEl>
                                          <p:spTgt spid="53"/>
                                        </p:tgtEl>
                                        <p:attrNameLst>
                                          <p:attrName>style.visibility</p:attrName>
                                        </p:attrNameLst>
                                      </p:cBhvr>
                                      <p:to>
                                        <p:strVal val="visible"/>
                                      </p:to>
                                    </p:set>
                                    <p:animEffect transition="in" filter="fade">
                                      <p:cBhvr>
                                        <p:cTn id="78" dur="400"/>
                                        <p:tgtEl>
                                          <p:spTgt spid="53"/>
                                        </p:tgtEl>
                                      </p:cBhvr>
                                    </p:animEffect>
                                  </p:childTnLst>
                                </p:cTn>
                              </p:par>
                              <p:par>
                                <p:cTn id="79" presetID="42" presetClass="path" presetSubtype="0" decel="100000" fill="hold" grpId="1" nodeType="withEffect">
                                  <p:stCondLst>
                                    <p:cond delay="300"/>
                                  </p:stCondLst>
                                  <p:childTnLst>
                                    <p:animMotion origin="layout" path="M 1.25E-6 -1.85185E-6 L 1.25E-6 0.0963 " pathEditMode="relative" rAng="0" ptsTypes="AA">
                                      <p:cBhvr>
                                        <p:cTn id="80" dur="700" spd="-100000" fill="hold"/>
                                        <p:tgtEl>
                                          <p:spTgt spid="53"/>
                                        </p:tgtEl>
                                        <p:attrNameLst>
                                          <p:attrName>ppt_x</p:attrName>
                                          <p:attrName>ppt_y</p:attrName>
                                        </p:attrNameLst>
                                      </p:cBhvr>
                                      <p:rCtr x="0" y="4815"/>
                                    </p:animMotion>
                                  </p:childTnLst>
                                </p:cTn>
                              </p:par>
                              <p:par>
                                <p:cTn id="81" presetID="10" presetClass="entr" presetSubtype="0" fill="hold" grpId="0" nodeType="withEffect">
                                  <p:stCondLst>
                                    <p:cond delay="600"/>
                                  </p:stCondLst>
                                  <p:childTnLst>
                                    <p:set>
                                      <p:cBhvr>
                                        <p:cTn id="82" dur="1" fill="hold">
                                          <p:stCondLst>
                                            <p:cond delay="0"/>
                                          </p:stCondLst>
                                        </p:cTn>
                                        <p:tgtEl>
                                          <p:spTgt spid="59"/>
                                        </p:tgtEl>
                                        <p:attrNameLst>
                                          <p:attrName>style.visibility</p:attrName>
                                        </p:attrNameLst>
                                      </p:cBhvr>
                                      <p:to>
                                        <p:strVal val="visible"/>
                                      </p:to>
                                    </p:set>
                                    <p:animEffect transition="in" filter="fade">
                                      <p:cBhvr>
                                        <p:cTn id="83" dur="400"/>
                                        <p:tgtEl>
                                          <p:spTgt spid="59"/>
                                        </p:tgtEl>
                                      </p:cBhvr>
                                    </p:animEffect>
                                  </p:childTnLst>
                                </p:cTn>
                              </p:par>
                              <p:par>
                                <p:cTn id="84" presetID="42" presetClass="path" presetSubtype="0" decel="100000" fill="hold" grpId="1" nodeType="withEffect">
                                  <p:stCondLst>
                                    <p:cond delay="300"/>
                                  </p:stCondLst>
                                  <p:childTnLst>
                                    <p:animMotion origin="layout" path="M 2.70833E-6 -1.85185E-6 L 2.70833E-6 0.0963 " pathEditMode="relative" rAng="0" ptsTypes="AA">
                                      <p:cBhvr>
                                        <p:cTn id="85" dur="700" spd="-100000" fill="hold"/>
                                        <p:tgtEl>
                                          <p:spTgt spid="59"/>
                                        </p:tgtEl>
                                        <p:attrNameLst>
                                          <p:attrName>ppt_x</p:attrName>
                                          <p:attrName>ppt_y</p:attrName>
                                        </p:attrNameLst>
                                      </p:cBhvr>
                                      <p:rCtr x="0" y="4815"/>
                                    </p:animMotion>
                                  </p:childTnLst>
                                </p:cTn>
                              </p:par>
                              <p:par>
                                <p:cTn id="86" presetID="10" presetClass="entr" presetSubtype="0" fill="hold" grpId="0" nodeType="withEffect">
                                  <p:stCondLst>
                                    <p:cond delay="600"/>
                                  </p:stCondLst>
                                  <p:childTnLst>
                                    <p:set>
                                      <p:cBhvr>
                                        <p:cTn id="87" dur="1" fill="hold">
                                          <p:stCondLst>
                                            <p:cond delay="0"/>
                                          </p:stCondLst>
                                        </p:cTn>
                                        <p:tgtEl>
                                          <p:spTgt spid="62"/>
                                        </p:tgtEl>
                                        <p:attrNameLst>
                                          <p:attrName>style.visibility</p:attrName>
                                        </p:attrNameLst>
                                      </p:cBhvr>
                                      <p:to>
                                        <p:strVal val="visible"/>
                                      </p:to>
                                    </p:set>
                                    <p:animEffect transition="in" filter="fade">
                                      <p:cBhvr>
                                        <p:cTn id="88" dur="400"/>
                                        <p:tgtEl>
                                          <p:spTgt spid="62"/>
                                        </p:tgtEl>
                                      </p:cBhvr>
                                    </p:animEffect>
                                  </p:childTnLst>
                                </p:cTn>
                              </p:par>
                              <p:par>
                                <p:cTn id="89" presetID="42" presetClass="path" presetSubtype="0" decel="100000" fill="hold" grpId="1" nodeType="withEffect">
                                  <p:stCondLst>
                                    <p:cond delay="300"/>
                                  </p:stCondLst>
                                  <p:childTnLst>
                                    <p:animMotion origin="layout" path="M 4.375E-6 -1.85185E-6 L 4.375E-6 0.0963 " pathEditMode="relative" rAng="0" ptsTypes="AA">
                                      <p:cBhvr>
                                        <p:cTn id="90" dur="700" spd="-100000" fill="hold"/>
                                        <p:tgtEl>
                                          <p:spTgt spid="62"/>
                                        </p:tgtEl>
                                        <p:attrNameLst>
                                          <p:attrName>ppt_x</p:attrName>
                                          <p:attrName>ppt_y</p:attrName>
                                        </p:attrNameLst>
                                      </p:cBhvr>
                                      <p:rCtr x="0" y="4815"/>
                                    </p:animMotion>
                                  </p:childTnLst>
                                </p:cTn>
                              </p:par>
                              <p:par>
                                <p:cTn id="91" presetID="10" presetClass="entr" presetSubtype="0" fill="hold" grpId="0" nodeType="withEffect">
                                  <p:stCondLst>
                                    <p:cond delay="600"/>
                                  </p:stCondLst>
                                  <p:childTnLst>
                                    <p:set>
                                      <p:cBhvr>
                                        <p:cTn id="92" dur="1" fill="hold">
                                          <p:stCondLst>
                                            <p:cond delay="0"/>
                                          </p:stCondLst>
                                        </p:cTn>
                                        <p:tgtEl>
                                          <p:spTgt spid="90"/>
                                        </p:tgtEl>
                                        <p:attrNameLst>
                                          <p:attrName>style.visibility</p:attrName>
                                        </p:attrNameLst>
                                      </p:cBhvr>
                                      <p:to>
                                        <p:strVal val="visible"/>
                                      </p:to>
                                    </p:set>
                                    <p:animEffect transition="in" filter="fade">
                                      <p:cBhvr>
                                        <p:cTn id="93" dur="400"/>
                                        <p:tgtEl>
                                          <p:spTgt spid="90"/>
                                        </p:tgtEl>
                                      </p:cBhvr>
                                    </p:animEffect>
                                  </p:childTnLst>
                                </p:cTn>
                              </p:par>
                              <p:par>
                                <p:cTn id="94" presetID="42" presetClass="path" presetSubtype="0" decel="100000" fill="hold" grpId="1" nodeType="withEffect">
                                  <p:stCondLst>
                                    <p:cond delay="300"/>
                                  </p:stCondLst>
                                  <p:childTnLst>
                                    <p:animMotion origin="layout" path="M -4.16667E-6 -1.85185E-6 L -4.16667E-6 0.0963 " pathEditMode="relative" rAng="0" ptsTypes="AA">
                                      <p:cBhvr>
                                        <p:cTn id="95" dur="700" spd="-100000" fill="hold"/>
                                        <p:tgtEl>
                                          <p:spTgt spid="90"/>
                                        </p:tgtEl>
                                        <p:attrNameLst>
                                          <p:attrName>ppt_x</p:attrName>
                                          <p:attrName>ppt_y</p:attrName>
                                        </p:attrNameLst>
                                      </p:cBhvr>
                                      <p:rCtr x="0" y="4815"/>
                                    </p:animMotion>
                                  </p:childTnLst>
                                </p:cTn>
                              </p:par>
                              <p:par>
                                <p:cTn id="96" presetID="10" presetClass="entr" presetSubtype="0" fill="hold" grpId="0" nodeType="withEffect">
                                  <p:stCondLst>
                                    <p:cond delay="600"/>
                                  </p:stCondLst>
                                  <p:childTnLst>
                                    <p:set>
                                      <p:cBhvr>
                                        <p:cTn id="97" dur="1" fill="hold">
                                          <p:stCondLst>
                                            <p:cond delay="0"/>
                                          </p:stCondLst>
                                        </p:cTn>
                                        <p:tgtEl>
                                          <p:spTgt spid="67"/>
                                        </p:tgtEl>
                                        <p:attrNameLst>
                                          <p:attrName>style.visibility</p:attrName>
                                        </p:attrNameLst>
                                      </p:cBhvr>
                                      <p:to>
                                        <p:strVal val="visible"/>
                                      </p:to>
                                    </p:set>
                                    <p:animEffect transition="in" filter="fade">
                                      <p:cBhvr>
                                        <p:cTn id="98" dur="400"/>
                                        <p:tgtEl>
                                          <p:spTgt spid="67"/>
                                        </p:tgtEl>
                                      </p:cBhvr>
                                    </p:animEffect>
                                  </p:childTnLst>
                                </p:cTn>
                              </p:par>
                              <p:par>
                                <p:cTn id="99" presetID="42" presetClass="path" presetSubtype="0" decel="100000" fill="hold" grpId="1" nodeType="withEffect">
                                  <p:stCondLst>
                                    <p:cond delay="300"/>
                                  </p:stCondLst>
                                  <p:childTnLst>
                                    <p:animMotion origin="layout" path="M 1.25E-6 1.11111E-6 L 1.25E-6 -0.09537 " pathEditMode="relative" rAng="0" ptsTypes="AA">
                                      <p:cBhvr>
                                        <p:cTn id="100" dur="700" spd="-100000" fill="hold"/>
                                        <p:tgtEl>
                                          <p:spTgt spid="67"/>
                                        </p:tgtEl>
                                        <p:attrNameLst>
                                          <p:attrName>ppt_x</p:attrName>
                                          <p:attrName>ppt_y</p:attrName>
                                        </p:attrNameLst>
                                      </p:cBhvr>
                                      <p:rCtr x="0" y="-4769"/>
                                    </p:animMotion>
                                  </p:childTnLst>
                                </p:cTn>
                              </p:par>
                              <p:par>
                                <p:cTn id="101" presetID="10" presetClass="entr" presetSubtype="0" fill="hold" grpId="0" nodeType="withEffect">
                                  <p:stCondLst>
                                    <p:cond delay="600"/>
                                  </p:stCondLst>
                                  <p:childTnLst>
                                    <p:set>
                                      <p:cBhvr>
                                        <p:cTn id="102" dur="1" fill="hold">
                                          <p:stCondLst>
                                            <p:cond delay="0"/>
                                          </p:stCondLst>
                                        </p:cTn>
                                        <p:tgtEl>
                                          <p:spTgt spid="70"/>
                                        </p:tgtEl>
                                        <p:attrNameLst>
                                          <p:attrName>style.visibility</p:attrName>
                                        </p:attrNameLst>
                                      </p:cBhvr>
                                      <p:to>
                                        <p:strVal val="visible"/>
                                      </p:to>
                                    </p:set>
                                    <p:animEffect transition="in" filter="fade">
                                      <p:cBhvr>
                                        <p:cTn id="103" dur="400"/>
                                        <p:tgtEl>
                                          <p:spTgt spid="70"/>
                                        </p:tgtEl>
                                      </p:cBhvr>
                                    </p:animEffect>
                                  </p:childTnLst>
                                </p:cTn>
                              </p:par>
                              <p:par>
                                <p:cTn id="104" presetID="42" presetClass="path" presetSubtype="0" decel="100000" fill="hold" grpId="1" nodeType="withEffect">
                                  <p:stCondLst>
                                    <p:cond delay="300"/>
                                  </p:stCondLst>
                                  <p:childTnLst>
                                    <p:animMotion origin="layout" path="M 2.70833E-6 1.11111E-6 L 2.70833E-6 -0.09537 " pathEditMode="relative" rAng="0" ptsTypes="AA">
                                      <p:cBhvr>
                                        <p:cTn id="105" dur="700" spd="-100000" fill="hold"/>
                                        <p:tgtEl>
                                          <p:spTgt spid="70"/>
                                        </p:tgtEl>
                                        <p:attrNameLst>
                                          <p:attrName>ppt_x</p:attrName>
                                          <p:attrName>ppt_y</p:attrName>
                                        </p:attrNameLst>
                                      </p:cBhvr>
                                      <p:rCtr x="0" y="-4769"/>
                                    </p:animMotion>
                                  </p:childTnLst>
                                </p:cTn>
                              </p:par>
                              <p:par>
                                <p:cTn id="106" presetID="10" presetClass="entr" presetSubtype="0" fill="hold" grpId="0" nodeType="withEffect">
                                  <p:stCondLst>
                                    <p:cond delay="600"/>
                                  </p:stCondLst>
                                  <p:childTnLst>
                                    <p:set>
                                      <p:cBhvr>
                                        <p:cTn id="107" dur="1" fill="hold">
                                          <p:stCondLst>
                                            <p:cond delay="0"/>
                                          </p:stCondLst>
                                        </p:cTn>
                                        <p:tgtEl>
                                          <p:spTgt spid="76"/>
                                        </p:tgtEl>
                                        <p:attrNameLst>
                                          <p:attrName>style.visibility</p:attrName>
                                        </p:attrNameLst>
                                      </p:cBhvr>
                                      <p:to>
                                        <p:strVal val="visible"/>
                                      </p:to>
                                    </p:set>
                                    <p:animEffect transition="in" filter="fade">
                                      <p:cBhvr>
                                        <p:cTn id="108" dur="400"/>
                                        <p:tgtEl>
                                          <p:spTgt spid="76"/>
                                        </p:tgtEl>
                                      </p:cBhvr>
                                    </p:animEffect>
                                  </p:childTnLst>
                                </p:cTn>
                              </p:par>
                              <p:par>
                                <p:cTn id="109" presetID="42" presetClass="path" presetSubtype="0" decel="100000" fill="hold" grpId="1" nodeType="withEffect">
                                  <p:stCondLst>
                                    <p:cond delay="300"/>
                                  </p:stCondLst>
                                  <p:childTnLst>
                                    <p:animMotion origin="layout" path="M 4.375E-6 1.11111E-6 L 4.375E-6 -0.09537 " pathEditMode="relative" rAng="0" ptsTypes="AA">
                                      <p:cBhvr>
                                        <p:cTn id="110" dur="700" spd="-100000" fill="hold"/>
                                        <p:tgtEl>
                                          <p:spTgt spid="76"/>
                                        </p:tgtEl>
                                        <p:attrNameLst>
                                          <p:attrName>ppt_x</p:attrName>
                                          <p:attrName>ppt_y</p:attrName>
                                        </p:attrNameLst>
                                      </p:cBhvr>
                                      <p:rCtr x="0" y="-4769"/>
                                    </p:animMotion>
                                  </p:childTnLst>
                                </p:cTn>
                              </p:par>
                              <p:par>
                                <p:cTn id="111" presetID="10" presetClass="entr" presetSubtype="0" fill="hold" grpId="0" nodeType="withEffect">
                                  <p:stCondLst>
                                    <p:cond delay="600"/>
                                  </p:stCondLst>
                                  <p:childTnLst>
                                    <p:set>
                                      <p:cBhvr>
                                        <p:cTn id="112" dur="1" fill="hold">
                                          <p:stCondLst>
                                            <p:cond delay="0"/>
                                          </p:stCondLst>
                                        </p:cTn>
                                        <p:tgtEl>
                                          <p:spTgt spid="92"/>
                                        </p:tgtEl>
                                        <p:attrNameLst>
                                          <p:attrName>style.visibility</p:attrName>
                                        </p:attrNameLst>
                                      </p:cBhvr>
                                      <p:to>
                                        <p:strVal val="visible"/>
                                      </p:to>
                                    </p:set>
                                    <p:animEffect transition="in" filter="fade">
                                      <p:cBhvr>
                                        <p:cTn id="113" dur="400"/>
                                        <p:tgtEl>
                                          <p:spTgt spid="92"/>
                                        </p:tgtEl>
                                      </p:cBhvr>
                                    </p:animEffect>
                                  </p:childTnLst>
                                </p:cTn>
                              </p:par>
                              <p:par>
                                <p:cTn id="114" presetID="42" presetClass="path" presetSubtype="0" decel="100000" fill="hold" grpId="1" nodeType="withEffect">
                                  <p:stCondLst>
                                    <p:cond delay="300"/>
                                  </p:stCondLst>
                                  <p:childTnLst>
                                    <p:animMotion origin="layout" path="M -4.16667E-6 1.11111E-6 L -4.16667E-6 -0.09537 " pathEditMode="relative" rAng="0" ptsTypes="AA">
                                      <p:cBhvr>
                                        <p:cTn id="115" dur="700" spd="-100000" fill="hold"/>
                                        <p:tgtEl>
                                          <p:spTgt spid="92"/>
                                        </p:tgtEl>
                                        <p:attrNameLst>
                                          <p:attrName>ppt_x</p:attrName>
                                          <p:attrName>ppt_y</p:attrName>
                                        </p:attrNameLst>
                                      </p:cBhvr>
                                      <p:rCtr x="0" y="-4769"/>
                                    </p:animMotion>
                                  </p:childTnLst>
                                </p:cTn>
                              </p:par>
                              <p:par>
                                <p:cTn id="116" presetID="10" presetClass="entr" presetSubtype="0" fill="hold" grpId="0" nodeType="withEffect">
                                  <p:stCondLst>
                                    <p:cond delay="0"/>
                                  </p:stCondLst>
                                  <p:childTnLst>
                                    <p:set>
                                      <p:cBhvr>
                                        <p:cTn id="117" dur="1" fill="hold">
                                          <p:stCondLst>
                                            <p:cond delay="0"/>
                                          </p:stCondLst>
                                        </p:cTn>
                                        <p:tgtEl>
                                          <p:spTgt spid="49"/>
                                        </p:tgtEl>
                                        <p:attrNameLst>
                                          <p:attrName>style.visibility</p:attrName>
                                        </p:attrNameLst>
                                      </p:cBhvr>
                                      <p:to>
                                        <p:strVal val="visible"/>
                                      </p:to>
                                    </p:set>
                                    <p:animEffect transition="in" filter="fade">
                                      <p:cBhvr>
                                        <p:cTn id="118" dur="500"/>
                                        <p:tgtEl>
                                          <p:spTgt spid="49"/>
                                        </p:tgtEl>
                                      </p:cBhvr>
                                    </p:animEffect>
                                  </p:childTnLst>
                                </p:cTn>
                              </p:par>
                              <p:par>
                                <p:cTn id="119" presetID="42" presetClass="path" presetSubtype="0" decel="100000" fill="hold" grpId="1" nodeType="withEffect">
                                  <p:stCondLst>
                                    <p:cond delay="0"/>
                                  </p:stCondLst>
                                  <p:childTnLst>
                                    <p:animMotion origin="layout" path="M 3.75E-6 4.81481E-6 L 3.75E-6 0.04583 " pathEditMode="relative" rAng="0" ptsTypes="AA">
                                      <p:cBhvr>
                                        <p:cTn id="120" dur="500" spd="-100000" fill="hold"/>
                                        <p:tgtEl>
                                          <p:spTgt spid="49"/>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1" grpId="1" animBg="1"/>
      <p:bldP spid="51" grpId="2" animBg="1"/>
      <p:bldP spid="47" grpId="0" animBg="1"/>
      <p:bldP spid="47" grpId="1" animBg="1"/>
      <p:bldP spid="47" grpId="2" animBg="1"/>
      <p:bldP spid="62" grpId="0"/>
      <p:bldP spid="62" grpId="1"/>
      <p:bldP spid="76" grpId="0"/>
      <p:bldP spid="76" grpId="1"/>
      <p:bldP spid="88" grpId="0" animBg="1"/>
      <p:bldP spid="88" grpId="1" animBg="1"/>
      <p:bldP spid="88" grpId="2" animBg="1"/>
      <p:bldP spid="89" grpId="0" animBg="1"/>
      <p:bldP spid="89" grpId="1" animBg="1"/>
      <p:bldP spid="89" grpId="2" animBg="1"/>
      <p:bldP spid="90" grpId="0"/>
      <p:bldP spid="90" grpId="1"/>
      <p:bldP spid="92" grpId="0"/>
      <p:bldP spid="92" grpId="1"/>
      <p:bldP spid="50" grpId="0" animBg="1"/>
      <p:bldP spid="50" grpId="1" animBg="1"/>
      <p:bldP spid="50" grpId="2" animBg="1"/>
      <p:bldP spid="46" grpId="0" animBg="1"/>
      <p:bldP spid="46" grpId="1" animBg="1"/>
      <p:bldP spid="46" grpId="2" animBg="1"/>
      <p:bldP spid="59" grpId="0"/>
      <p:bldP spid="59" grpId="1"/>
      <p:bldP spid="70" grpId="0"/>
      <p:bldP spid="70" grpId="1"/>
      <p:bldP spid="41" grpId="0" animBg="1"/>
      <p:bldP spid="41" grpId="1" animBg="1"/>
      <p:bldP spid="87" grpId="0" animBg="1"/>
      <p:bldP spid="87" grpId="1" animBg="1"/>
      <p:bldP spid="40" grpId="0" animBg="1"/>
      <p:bldP spid="40" grpId="1" animBg="1"/>
      <p:bldP spid="38" grpId="0" animBg="1"/>
      <p:bldP spid="38" grpId="1" animBg="1"/>
      <p:bldP spid="48" grpId="0" animBg="1"/>
      <p:bldP spid="48" grpId="1" animBg="1"/>
      <p:bldP spid="48" grpId="2" animBg="1"/>
      <p:bldP spid="44" grpId="0" animBg="1"/>
      <p:bldP spid="44" grpId="1" animBg="1"/>
      <p:bldP spid="44" grpId="2" animBg="1"/>
      <p:bldP spid="53" grpId="0"/>
      <p:bldP spid="53" grpId="1"/>
      <p:bldP spid="67" grpId="0"/>
      <p:bldP spid="67" grpId="1"/>
      <p:bldP spid="49" grpId="0"/>
      <p:bldP spid="49" grpId="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COLOR TEMPLATE">
  <a:themeElements>
    <a:clrScheme name="Azure Hybrid Cloud">
      <a:dk1>
        <a:srgbClr val="505050"/>
      </a:dk1>
      <a:lt1>
        <a:srgbClr val="FFFFFF"/>
      </a:lt1>
      <a:dk2>
        <a:srgbClr val="0078D7"/>
      </a:dk2>
      <a:lt2>
        <a:srgbClr val="F2F2F2"/>
      </a:lt2>
      <a:accent1>
        <a:srgbClr val="002050"/>
      </a:accent1>
      <a:accent2>
        <a:srgbClr val="00BCF2"/>
      </a:accent2>
      <a:accent3>
        <a:srgbClr val="BAD80A"/>
      </a:accent3>
      <a:accent4>
        <a:srgbClr val="0078D7"/>
      </a:accent4>
      <a:accent5>
        <a:srgbClr val="32145A"/>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2.xml><?xml version="1.0" encoding="utf-8"?>
<a:theme xmlns:a="http://schemas.openxmlformats.org/drawingml/2006/main" name="3-50088_Microsoft_Inspire_Template">
  <a:themeElements>
    <a:clrScheme name="Microsoft Inspire">
      <a:dk1>
        <a:srgbClr val="353535"/>
      </a:dk1>
      <a:lt1>
        <a:srgbClr val="FFFFFF"/>
      </a:lt1>
      <a:dk2>
        <a:srgbClr val="5C2D91"/>
      </a:dk2>
      <a:lt2>
        <a:srgbClr val="E6E6E6"/>
      </a:lt2>
      <a:accent1>
        <a:srgbClr val="5C2D91"/>
      </a:accent1>
      <a:accent2>
        <a:srgbClr val="00188F"/>
      </a:accent2>
      <a:accent3>
        <a:srgbClr val="737373"/>
      </a:accent3>
      <a:accent4>
        <a:srgbClr val="002050"/>
      </a:accent4>
      <a:accent5>
        <a:srgbClr val="0078D7"/>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D548AE1E-2E1A-4A40-88A1-0A57EE1B0AE6}" vid="{5C881721-40CB-40F7-80C8-848112AE783B}"/>
    </a:ext>
  </a:extLst>
</a:theme>
</file>

<file path=ppt/theme/theme3.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40</TotalTime>
  <Words>3950</Words>
  <Application>Microsoft Office PowerPoint</Application>
  <PresentationFormat>Widescreen</PresentationFormat>
  <Paragraphs>560</Paragraphs>
  <Slides>23</Slides>
  <Notes>23</Notes>
  <HiddenSlides>13</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23</vt:i4>
      </vt:variant>
    </vt:vector>
  </HeadingPairs>
  <TitlesOfParts>
    <vt:vector size="39" baseType="lpstr">
      <vt:lpstr>MS PGothic</vt:lpstr>
      <vt:lpstr>PMingLiU</vt:lpstr>
      <vt:lpstr>Arial</vt:lpstr>
      <vt:lpstr>Calibri</vt:lpstr>
      <vt:lpstr>Consolas</vt:lpstr>
      <vt:lpstr>Segoe Pro Light</vt:lpstr>
      <vt:lpstr>Segoe Pro Semibold</vt:lpstr>
      <vt:lpstr>Segoe UI</vt:lpstr>
      <vt:lpstr>Segoe UI Light</vt:lpstr>
      <vt:lpstr>Segoe UI Semibold</vt:lpstr>
      <vt:lpstr>Segoe UI Semilight</vt:lpstr>
      <vt:lpstr>Wingdings</vt:lpstr>
      <vt:lpstr>4_COLOR TEMPLATE</vt:lpstr>
      <vt:lpstr>3-50088_Microsoft_Inspire_Template</vt:lpstr>
      <vt:lpstr>EBC_2017</vt:lpstr>
      <vt:lpstr>think-cell Slide</vt:lpstr>
      <vt:lpstr>Datacenter Cloud Assessment </vt:lpstr>
      <vt:lpstr> Executive Summary  What: This is a free assessment to assess your I.T environment cloud readiness for migration to Azure.  How: Utilizing Microsoft’s partnersto assess your virtual and physical server environments.  Why: To assist you in taking your first steps on your cloud journey.  </vt:lpstr>
      <vt:lpstr>Your datacenter cloud readiness assessment</vt:lpstr>
      <vt:lpstr>Why Microsoft Azure?</vt:lpstr>
      <vt:lpstr>PowerPoint Presentation</vt:lpstr>
      <vt:lpstr>PowerPoint Presentation</vt:lpstr>
      <vt:lpstr>PowerPoint Presentation</vt:lpstr>
      <vt:lpstr>PowerPoint Presentation</vt:lpstr>
      <vt:lpstr>PowerPoint Presentation</vt:lpstr>
      <vt:lpstr>Azure Stack: an extension of Azur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ssessment Process</vt:lpstr>
      <vt:lpstr>Assessment Outcome</vt:lpstr>
      <vt:lpstr>Assessment Outcome</vt:lpstr>
      <vt:lpstr>Assessment Proposal</vt:lpstr>
      <vt:lpstr>Partner Acceleration Framework Partners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center Cloud Assessment</dc:title>
  <dc:creator>Bradley Stewart</dc:creator>
  <cp:lastModifiedBy>Mohamed Garrana</cp:lastModifiedBy>
  <cp:revision>21</cp:revision>
  <dcterms:created xsi:type="dcterms:W3CDTF">2018-02-28T06:49:37Z</dcterms:created>
  <dcterms:modified xsi:type="dcterms:W3CDTF">2018-09-05T17:50: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brstewar@microsoft.com</vt:lpwstr>
  </property>
  <property fmtid="{D5CDD505-2E9C-101B-9397-08002B2CF9AE}" pid="5" name="MSIP_Label_f42aa342-8706-4288-bd11-ebb85995028c_SetDate">
    <vt:lpwstr>2018-02-28T07:10:34.250297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